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12.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13.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14.xml" ContentType="application/vnd.openxmlformats-officedocument.presentationml.notesSlide+xml"/>
  <Override PartName="/ppt/tags/tag56.xml" ContentType="application/vnd.openxmlformats-officedocument.presentationml.tags+xml"/>
  <Override PartName="/ppt/notesSlides/notesSlide15.xml" ContentType="application/vnd.openxmlformats-officedocument.presentationml.notesSlide+xml"/>
  <Override PartName="/ppt/tags/tag57.xml" ContentType="application/vnd.openxmlformats-officedocument.presentationml.tags+xml"/>
  <Override PartName="/ppt/notesSlides/notesSlide16.xml" ContentType="application/vnd.openxmlformats-officedocument.presentationml.notesSlide+xml"/>
  <Override PartName="/ppt/tags/tag58.xml" ContentType="application/vnd.openxmlformats-officedocument.presentationml.tags+xml"/>
  <Override PartName="/ppt/notesSlides/notesSlide17.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20.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notesSlides/notesSlide21.xml" ContentType="application/vnd.openxmlformats-officedocument.presentationml.notesSlid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notesSlides/notesSlide22.xml" ContentType="application/vnd.openxmlformats-officedocument.presentationml.notesSlide+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notesSlides/notesSlide23.xml" ContentType="application/vnd.openxmlformats-officedocument.presentationml.notesSlide+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219.xml" ContentType="application/vnd.openxmlformats-officedocument.presentationml.tags+xml"/>
  <Override PartName="/ppt/notesSlides/notesSlide38.xml" ContentType="application/vnd.openxmlformats-officedocument.presentationml.notesSlide+xml"/>
  <Override PartName="/ppt/tags/tag220.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tags/tag229.xml" ContentType="application/vnd.openxmlformats-officedocument.presentationml.tags+xml"/>
  <Override PartName="/ppt/tags/tag230.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tags/tag231.xml" ContentType="application/vnd.openxmlformats-officedocument.presentationml.tags+xml"/>
  <Override PartName="/ppt/notesSlides/notesSlide52.xml" ContentType="application/vnd.openxmlformats-officedocument.presentationml.notesSlide+xml"/>
  <Override PartName="/ppt/charts/chart1.xml" ContentType="application/vnd.openxmlformats-officedocument.drawingml.chart+xml"/>
  <Override PartName="/ppt/tags/tag232.xml" ContentType="application/vnd.openxmlformats-officedocument.presentationml.tags+xml"/>
  <Override PartName="/ppt/notesSlides/notesSlide53.xml" ContentType="application/vnd.openxmlformats-officedocument.presentationml.notesSlide+xml"/>
  <Override PartName="/ppt/charts/chart2.xml" ContentType="application/vnd.openxmlformats-officedocument.drawingml.chart+xml"/>
  <Override PartName="/ppt/tags/tag233.xml" ContentType="application/vnd.openxmlformats-officedocument.presentationml.tags+xml"/>
  <Override PartName="/ppt/notesSlides/notesSlide5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34.xml" ContentType="application/vnd.openxmlformats-officedocument.presentationml.tags+xml"/>
  <Override PartName="/ppt/notesSlides/notesSlide5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35.xml" ContentType="application/vnd.openxmlformats-officedocument.presentationml.tags+xml"/>
  <Override PartName="/ppt/notesSlides/notesSlide56.xml" ContentType="application/vnd.openxmlformats-officedocument.presentationml.notesSlide+xml"/>
  <Override PartName="/ppt/charts/chart3.xml" ContentType="application/vnd.openxmlformats-officedocument.drawingml.chart+xml"/>
  <Override PartName="/ppt/tags/tag236.xml" ContentType="application/vnd.openxmlformats-officedocument.presentationml.tags+xml"/>
  <Override PartName="/ppt/notesSlides/notesSlide57.xml" ContentType="application/vnd.openxmlformats-officedocument.presentationml.notesSlide+xml"/>
  <Override PartName="/ppt/charts/chart4.xml" ContentType="application/vnd.openxmlformats-officedocument.drawingml.chart+xml"/>
  <Override PartName="/ppt/notesSlides/notesSlide58.xml" ContentType="application/vnd.openxmlformats-officedocument.presentationml.notesSlide+xml"/>
  <Override PartName="/ppt/charts/chart5.xml" ContentType="application/vnd.openxmlformats-officedocument.drawingml.chart+xml"/>
  <Override PartName="/ppt/notesSlides/notesSlide59.xml" ContentType="application/vnd.openxmlformats-officedocument.presentationml.notesSlide+xml"/>
  <Override PartName="/ppt/charts/chart6.xml" ContentType="application/vnd.openxmlformats-officedocument.drawingml.chart+xml"/>
  <Override PartName="/ppt/notesSlides/notesSlide60.xml" ContentType="application/vnd.openxmlformats-officedocument.presentationml.notesSlide+xml"/>
  <Override PartName="/ppt/charts/chart7.xml" ContentType="application/vnd.openxmlformats-officedocument.drawingml.chart+xml"/>
  <Override PartName="/ppt/notesSlides/notesSlide61.xml" ContentType="application/vnd.openxmlformats-officedocument.presentationml.notesSlide+xml"/>
  <Override PartName="/ppt/charts/chart8.xml" ContentType="application/vnd.openxmlformats-officedocument.drawingml.chart+xml"/>
  <Override PartName="/ppt/notesSlides/notesSlide62.xml" ContentType="application/vnd.openxmlformats-officedocument.presentationml.notesSlide+xml"/>
  <Override PartName="/ppt/charts/chart9.xml" ContentType="application/vnd.openxmlformats-officedocument.drawingml.chart+xml"/>
  <Override PartName="/ppt/notesSlides/notesSlide63.xml" ContentType="application/vnd.openxmlformats-officedocument.presentationml.notesSlide+xml"/>
  <Override PartName="/ppt/charts/chart10.xml" ContentType="application/vnd.openxmlformats-officedocument.drawingml.chart+xml"/>
  <Override PartName="/ppt/notesSlides/notesSlide64.xml" ContentType="application/vnd.openxmlformats-officedocument.presentationml.notesSlide+xml"/>
  <Override PartName="/ppt/charts/chart11.xml" ContentType="application/vnd.openxmlformats-officedocument.drawingml.chart+xml"/>
  <Override PartName="/ppt/notesSlides/notesSlide65.xml" ContentType="application/vnd.openxmlformats-officedocument.presentationml.notesSlide+xml"/>
  <Override PartName="/ppt/charts/chart12.xml" ContentType="application/vnd.openxmlformats-officedocument.drawingml.chart+xml"/>
  <Override PartName="/ppt/notesSlides/notesSlide66.xml" ContentType="application/vnd.openxmlformats-officedocument.presentationml.notesSlide+xml"/>
  <Override PartName="/ppt/charts/chart13.xml" ContentType="application/vnd.openxmlformats-officedocument.drawingml.chart+xml"/>
  <Override PartName="/ppt/notesSlides/notesSlide67.xml" ContentType="application/vnd.openxmlformats-officedocument.presentationml.notesSlide+xml"/>
  <Override PartName="/ppt/charts/chart14.xml" ContentType="application/vnd.openxmlformats-officedocument.drawingml.chart+xml"/>
  <Override PartName="/ppt/notesSlides/notesSlide68.xml" ContentType="application/vnd.openxmlformats-officedocument.presentationml.notesSlide+xml"/>
  <Override PartName="/ppt/charts/chart15.xml" ContentType="application/vnd.openxmlformats-officedocument.drawingml.chart+xml"/>
  <Override PartName="/ppt/notesSlides/notesSlide69.xml" ContentType="application/vnd.openxmlformats-officedocument.presentationml.notesSlide+xml"/>
  <Override PartName="/ppt/charts/chart16.xml" ContentType="application/vnd.openxmlformats-officedocument.drawingml.chart+xml"/>
  <Override PartName="/ppt/notesSlides/notesSlide70.xml" ContentType="application/vnd.openxmlformats-officedocument.presentationml.notesSlide+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notesSlides/notesSlide71.xml" ContentType="application/vnd.openxmlformats-officedocument.presentationml.notesSlide+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notesSlides/notesSlide72.xml" ContentType="application/vnd.openxmlformats-officedocument.presentationml.notesSlide+xml"/>
  <Override PartName="/ppt/charts/chart23.xml" ContentType="application/vnd.openxmlformats-officedocument.drawingml.chart+xml"/>
  <Override PartName="/ppt/notesSlides/notesSlide73.xml" ContentType="application/vnd.openxmlformats-officedocument.presentationml.notesSlide+xml"/>
  <Override PartName="/ppt/charts/chart24.xml" ContentType="application/vnd.openxmlformats-officedocument.drawingml.chart+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charts/chart25.xml" ContentType="application/vnd.openxmlformats-officedocument.drawingml.chart+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charts/chart26.xml" ContentType="application/vnd.openxmlformats-officedocument.drawingml.chart+xml"/>
  <Override PartName="/ppt/notesSlides/notesSlide74.xml" ContentType="application/vnd.openxmlformats-officedocument.presentationml.notesSlide+xml"/>
  <Override PartName="/ppt/charts/chart27.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75.xml" ContentType="application/vnd.openxmlformats-officedocument.presentationml.notesSlide+xml"/>
  <Override PartName="/ppt/charts/chart28.xml" ContentType="application/vnd.openxmlformats-officedocument.drawingml.chart+xml"/>
  <Override PartName="/ppt/charts/style2.xml" ContentType="application/vnd.ms-office.chartstyle+xml"/>
  <Override PartName="/ppt/charts/colors2.xml" ContentType="application/vnd.ms-office.chartcolorstyle+xml"/>
  <Override PartName="/ppt/charts/chart29.xml" ContentType="application/vnd.openxmlformats-officedocument.drawingml.chart+xml"/>
  <Override PartName="/ppt/charts/style3.xml" ContentType="application/vnd.ms-office.chartstyle+xml"/>
  <Override PartName="/ppt/charts/colors3.xml" ContentType="application/vnd.ms-office.chartcolorstyle+xml"/>
  <Override PartName="/ppt/charts/chart30.xml" ContentType="application/vnd.openxmlformats-officedocument.drawingml.chart+xml"/>
  <Override PartName="/ppt/charts/style4.xml" ContentType="application/vnd.ms-office.chartstyle+xml"/>
  <Override PartName="/ppt/charts/colors4.xml" ContentType="application/vnd.ms-office.chartcolorstyle+xml"/>
  <Override PartName="/ppt/charts/chart31.xml" ContentType="application/vnd.openxmlformats-officedocument.drawingml.chart+xml"/>
  <Override PartName="/ppt/charts/style5.xml" ContentType="application/vnd.ms-office.chartstyle+xml"/>
  <Override PartName="/ppt/charts/colors5.xml" ContentType="application/vnd.ms-office.chartcolorstyle+xml"/>
  <Override PartName="/ppt/charts/chart32.xml" ContentType="application/vnd.openxmlformats-officedocument.drawingml.chart+xml"/>
  <Override PartName="/ppt/charts/style6.xml" ContentType="application/vnd.ms-office.chartstyle+xml"/>
  <Override PartName="/ppt/charts/colors6.xml" ContentType="application/vnd.ms-office.chartcolorstyle+xml"/>
  <Override PartName="/ppt/charts/chart33.xml" ContentType="application/vnd.openxmlformats-officedocument.drawingml.chart+xml"/>
  <Override PartName="/ppt/charts/style7.xml" ContentType="application/vnd.ms-office.chartstyle+xml"/>
  <Override PartName="/ppt/charts/colors7.xml" ContentType="application/vnd.ms-office.chartcolorstyle+xml"/>
  <Override PartName="/ppt/charts/chart34.xml" ContentType="application/vnd.openxmlformats-officedocument.drawingml.chart+xml"/>
  <Override PartName="/ppt/charts/style8.xml" ContentType="application/vnd.ms-office.chartstyle+xml"/>
  <Override PartName="/ppt/charts/colors8.xml" ContentType="application/vnd.ms-office.chartcolorstyle+xml"/>
  <Override PartName="/ppt/charts/chart35.xml" ContentType="application/vnd.openxmlformats-officedocument.drawingml.chart+xml"/>
  <Override PartName="/ppt/charts/style9.xml" ContentType="application/vnd.ms-office.chartstyle+xml"/>
  <Override PartName="/ppt/charts/colors9.xml" ContentType="application/vnd.ms-office.chartcolorstyle+xml"/>
  <Override PartName="/ppt/charts/chart36.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37.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38.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39.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40.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41.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42.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43.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44.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45.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46.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47.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48.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notesSlides/notesSlide76.xml" ContentType="application/vnd.openxmlformats-officedocument.presentationml.notesSlide+xml"/>
  <Override PartName="/ppt/tags/tag266.xml" ContentType="application/vnd.openxmlformats-officedocument.presentationml.tags+xml"/>
  <Override PartName="/ppt/notesSlides/notesSlide77.xml" ContentType="application/vnd.openxmlformats-officedocument.presentationml.notesSlide+xml"/>
  <Override PartName="/ppt/tags/tag267.xml" ContentType="application/vnd.openxmlformats-officedocument.presentationml.tags+xml"/>
  <Override PartName="/ppt/notesSlides/notesSlide78.xml" ContentType="application/vnd.openxmlformats-officedocument.presentationml.notesSlide+xml"/>
  <Override PartName="/ppt/tags/tag268.xml" ContentType="application/vnd.openxmlformats-officedocument.presentationml.tags+xml"/>
  <Override PartName="/ppt/notesSlides/notesSlide79.xml" ContentType="application/vnd.openxmlformats-officedocument.presentationml.notesSlide+xml"/>
  <Override PartName="/ppt/tags/tag269.xml" ContentType="application/vnd.openxmlformats-officedocument.presentationml.tags+xml"/>
  <Override PartName="/ppt/notesSlides/notesSlide80.xml" ContentType="application/vnd.openxmlformats-officedocument.presentationml.notesSlide+xml"/>
  <Override PartName="/ppt/tags/tag270.xml" ContentType="application/vnd.openxmlformats-officedocument.presentationml.tags+xml"/>
  <Override PartName="/ppt/notesSlides/notesSlide81.xml" ContentType="application/vnd.openxmlformats-officedocument.presentationml.notesSlide+xml"/>
  <Override PartName="/ppt/tags/tag271.xml" ContentType="application/vnd.openxmlformats-officedocument.presentationml.tags+xml"/>
  <Override PartName="/ppt/notesSlides/notesSlide82.xml" ContentType="application/vnd.openxmlformats-officedocument.presentationml.notesSlide+xml"/>
  <Override PartName="/ppt/tags/tag272.xml" ContentType="application/vnd.openxmlformats-officedocument.presentationml.tags+xml"/>
  <Override PartName="/ppt/notesSlides/notesSlide83.xml" ContentType="application/vnd.openxmlformats-officedocument.presentationml.notesSlide+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3"/>
  </p:sldMasterIdLst>
  <p:notesMasterIdLst>
    <p:notesMasterId r:id="rId217"/>
  </p:notesMasterIdLst>
  <p:handoutMasterIdLst>
    <p:handoutMasterId r:id="rId218"/>
  </p:handoutMasterIdLst>
  <p:sldIdLst>
    <p:sldId id="1147" r:id="rId4"/>
    <p:sldId id="1167" r:id="rId5"/>
    <p:sldId id="279" r:id="rId6"/>
    <p:sldId id="1183" r:id="rId7"/>
    <p:sldId id="938" r:id="rId8"/>
    <p:sldId id="1227" r:id="rId9"/>
    <p:sldId id="331" r:id="rId10"/>
    <p:sldId id="1112" r:id="rId11"/>
    <p:sldId id="1228" r:id="rId12"/>
    <p:sldId id="1022" r:id="rId13"/>
    <p:sldId id="1229" r:id="rId14"/>
    <p:sldId id="1131" r:id="rId15"/>
    <p:sldId id="1231" r:id="rId16"/>
    <p:sldId id="1208" r:id="rId17"/>
    <p:sldId id="1234" r:id="rId18"/>
    <p:sldId id="1149" r:id="rId19"/>
    <p:sldId id="1235" r:id="rId20"/>
    <p:sldId id="1209" r:id="rId21"/>
    <p:sldId id="1236" r:id="rId22"/>
    <p:sldId id="1150" r:id="rId23"/>
    <p:sldId id="1237" r:id="rId24"/>
    <p:sldId id="1182" r:id="rId25"/>
    <p:sldId id="1238" r:id="rId26"/>
    <p:sldId id="944" r:id="rId27"/>
    <p:sldId id="1239" r:id="rId28"/>
    <p:sldId id="1075" r:id="rId29"/>
    <p:sldId id="1240" r:id="rId30"/>
    <p:sldId id="1086" r:id="rId31"/>
    <p:sldId id="1241" r:id="rId32"/>
    <p:sldId id="1117" r:id="rId33"/>
    <p:sldId id="1242" r:id="rId34"/>
    <p:sldId id="1089" r:id="rId35"/>
    <p:sldId id="1243" r:id="rId36"/>
    <p:sldId id="1210" r:id="rId37"/>
    <p:sldId id="1244" r:id="rId38"/>
    <p:sldId id="1168" r:id="rId39"/>
    <p:sldId id="1245" r:id="rId40"/>
    <p:sldId id="1118" r:id="rId41"/>
    <p:sldId id="1246" r:id="rId42"/>
    <p:sldId id="1070" r:id="rId43"/>
    <p:sldId id="1199" r:id="rId44"/>
    <p:sldId id="1152" r:id="rId45"/>
    <p:sldId id="1247" r:id="rId46"/>
    <p:sldId id="1226" r:id="rId47"/>
    <p:sldId id="1250" r:id="rId48"/>
    <p:sldId id="958" r:id="rId49"/>
    <p:sldId id="1251" r:id="rId50"/>
    <p:sldId id="1030" r:id="rId51"/>
    <p:sldId id="1252" r:id="rId52"/>
    <p:sldId id="1171" r:id="rId53"/>
    <p:sldId id="1200" r:id="rId54"/>
    <p:sldId id="1170" r:id="rId55"/>
    <p:sldId id="1253" r:id="rId56"/>
    <p:sldId id="1154" r:id="rId57"/>
    <p:sldId id="1254" r:id="rId58"/>
    <p:sldId id="1211" r:id="rId59"/>
    <p:sldId id="1255" r:id="rId60"/>
    <p:sldId id="1212" r:id="rId61"/>
    <p:sldId id="1256" r:id="rId62"/>
    <p:sldId id="1159" r:id="rId63"/>
    <p:sldId id="1257" r:id="rId64"/>
    <p:sldId id="1121" r:id="rId65"/>
    <p:sldId id="1258" r:id="rId66"/>
    <p:sldId id="1179" r:id="rId67"/>
    <p:sldId id="1201" r:id="rId68"/>
    <p:sldId id="1038" r:id="rId69"/>
    <p:sldId id="1259" r:id="rId70"/>
    <p:sldId id="1040" r:id="rId71"/>
    <p:sldId id="1260" r:id="rId72"/>
    <p:sldId id="1039" r:id="rId73"/>
    <p:sldId id="1261" r:id="rId74"/>
    <p:sldId id="1124" r:id="rId75"/>
    <p:sldId id="1217" r:id="rId76"/>
    <p:sldId id="965" r:id="rId77"/>
    <p:sldId id="1262" r:id="rId78"/>
    <p:sldId id="1222" r:id="rId79"/>
    <p:sldId id="1263" r:id="rId80"/>
    <p:sldId id="1213" r:id="rId81"/>
    <p:sldId id="1264" r:id="rId82"/>
    <p:sldId id="1214" r:id="rId83"/>
    <p:sldId id="1265" r:id="rId84"/>
    <p:sldId id="1146" r:id="rId85"/>
    <p:sldId id="1266" r:id="rId86"/>
    <p:sldId id="1139" r:id="rId87"/>
    <p:sldId id="1267" r:id="rId88"/>
    <p:sldId id="1215" r:id="rId89"/>
    <p:sldId id="1268" r:id="rId90"/>
    <p:sldId id="969" r:id="rId91"/>
    <p:sldId id="1269" r:id="rId92"/>
    <p:sldId id="1123" r:id="rId93"/>
    <p:sldId id="1270" r:id="rId94"/>
    <p:sldId id="971" r:id="rId95"/>
    <p:sldId id="1271" r:id="rId96"/>
    <p:sldId id="1127" r:id="rId97"/>
    <p:sldId id="1272" r:id="rId98"/>
    <p:sldId id="1129" r:id="rId99"/>
    <p:sldId id="1273" r:id="rId100"/>
    <p:sldId id="991" r:id="rId101"/>
    <p:sldId id="1275" r:id="rId102"/>
    <p:sldId id="1216" r:id="rId103"/>
    <p:sldId id="1276" r:id="rId104"/>
    <p:sldId id="1103" r:id="rId105"/>
    <p:sldId id="1206" r:id="rId106"/>
    <p:sldId id="979" r:id="rId107"/>
    <p:sldId id="1277" r:id="rId108"/>
    <p:sldId id="980" r:id="rId109"/>
    <p:sldId id="1278" r:id="rId110"/>
    <p:sldId id="981" r:id="rId111"/>
    <p:sldId id="1279" r:id="rId112"/>
    <p:sldId id="982" r:id="rId113"/>
    <p:sldId id="1280" r:id="rId114"/>
    <p:sldId id="1134" r:id="rId115"/>
    <p:sldId id="1204" r:id="rId116"/>
    <p:sldId id="1223" r:id="rId117"/>
    <p:sldId id="1281" r:id="rId118"/>
    <p:sldId id="1173" r:id="rId119"/>
    <p:sldId id="1282" r:id="rId120"/>
    <p:sldId id="1224" r:id="rId121"/>
    <p:sldId id="1283" r:id="rId122"/>
    <p:sldId id="1132" r:id="rId123"/>
    <p:sldId id="1284" r:id="rId124"/>
    <p:sldId id="1140" r:id="rId125"/>
    <p:sldId id="1285" r:id="rId126"/>
    <p:sldId id="1145" r:id="rId127"/>
    <p:sldId id="1287" r:id="rId128"/>
    <p:sldId id="1049" r:id="rId129"/>
    <p:sldId id="1288" r:id="rId130"/>
    <p:sldId id="1165" r:id="rId131"/>
    <p:sldId id="1289" r:id="rId132"/>
    <p:sldId id="994" r:id="rId133"/>
    <p:sldId id="1290" r:id="rId134"/>
    <p:sldId id="995" r:id="rId135"/>
    <p:sldId id="1291" r:id="rId136"/>
    <p:sldId id="1053" r:id="rId137"/>
    <p:sldId id="1292" r:id="rId138"/>
    <p:sldId id="1177" r:id="rId139"/>
    <p:sldId id="1293" r:id="rId140"/>
    <p:sldId id="997" r:id="rId141"/>
    <p:sldId id="1294" r:id="rId142"/>
    <p:sldId id="1219" r:id="rId143"/>
    <p:sldId id="1295" r:id="rId144"/>
    <p:sldId id="1109" r:id="rId145"/>
    <p:sldId id="1296" r:id="rId146"/>
    <p:sldId id="1135" r:id="rId147"/>
    <p:sldId id="1297" r:id="rId148"/>
    <p:sldId id="1137" r:id="rId149"/>
    <p:sldId id="1298" r:id="rId150"/>
    <p:sldId id="993" r:id="rId151"/>
    <p:sldId id="1299" r:id="rId152"/>
    <p:sldId id="1174" r:id="rId153"/>
    <p:sldId id="1300" r:id="rId154"/>
    <p:sldId id="1218" r:id="rId155"/>
    <p:sldId id="1301" r:id="rId156"/>
    <p:sldId id="1220" r:id="rId157"/>
    <p:sldId id="1302" r:id="rId158"/>
    <p:sldId id="1178" r:id="rId159"/>
    <p:sldId id="1303" r:id="rId160"/>
    <p:sldId id="1079" r:id="rId161"/>
    <p:sldId id="1202" r:id="rId162"/>
    <p:sldId id="1004" r:id="rId163"/>
    <p:sldId id="1304" r:id="rId164"/>
    <p:sldId id="1061" r:id="rId165"/>
    <p:sldId id="1305" r:id="rId166"/>
    <p:sldId id="1062" r:id="rId167"/>
    <p:sldId id="1306" r:id="rId168"/>
    <p:sldId id="1063" r:id="rId169"/>
    <p:sldId id="1307" r:id="rId170"/>
    <p:sldId id="1064" r:id="rId171"/>
    <p:sldId id="1308" r:id="rId172"/>
    <p:sldId id="1065" r:id="rId173"/>
    <p:sldId id="1317" r:id="rId174"/>
    <p:sldId id="1066" r:id="rId175"/>
    <p:sldId id="1310" r:id="rId176"/>
    <p:sldId id="1006" r:id="rId177"/>
    <p:sldId id="1311" r:id="rId178"/>
    <p:sldId id="1080" r:id="rId179"/>
    <p:sldId id="1203" r:id="rId180"/>
    <p:sldId id="1148" r:id="rId181"/>
    <p:sldId id="1318" r:id="rId182"/>
    <p:sldId id="1184" r:id="rId183"/>
    <p:sldId id="1319" r:id="rId184"/>
    <p:sldId id="1095" r:id="rId185"/>
    <p:sldId id="1185" r:id="rId186"/>
    <p:sldId id="1188" r:id="rId187"/>
    <p:sldId id="1189" r:id="rId188"/>
    <p:sldId id="1186" r:id="rId189"/>
    <p:sldId id="1187" r:id="rId190"/>
    <p:sldId id="1180" r:id="rId191"/>
    <p:sldId id="1190" r:id="rId192"/>
    <p:sldId id="1191" r:id="rId193"/>
    <p:sldId id="1192" r:id="rId194"/>
    <p:sldId id="1156" r:id="rId195"/>
    <p:sldId id="1194" r:id="rId196"/>
    <p:sldId id="1155" r:id="rId197"/>
    <p:sldId id="1195" r:id="rId198"/>
    <p:sldId id="1196" r:id="rId199"/>
    <p:sldId id="1197" r:id="rId200"/>
    <p:sldId id="1221" r:id="rId201"/>
    <p:sldId id="1312" r:id="rId202"/>
    <p:sldId id="1009" r:id="rId203"/>
    <p:sldId id="1067" r:id="rId204"/>
    <p:sldId id="1068" r:id="rId205"/>
    <p:sldId id="1069" r:id="rId206"/>
    <p:sldId id="1207" r:id="rId207"/>
    <p:sldId id="1166" r:id="rId208"/>
    <p:sldId id="1181" r:id="rId209"/>
    <p:sldId id="1313" r:id="rId210"/>
    <p:sldId id="1010" r:id="rId211"/>
    <p:sldId id="1314" r:id="rId212"/>
    <p:sldId id="1072" r:id="rId213"/>
    <p:sldId id="1315" r:id="rId214"/>
    <p:sldId id="358" r:id="rId215"/>
    <p:sldId id="268" r:id="rId2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and principles" id="{82EB00F8-8AD4-49DC-AE0F-0697B7A55BEB}">
          <p14:sldIdLst>
            <p14:sldId id="1147"/>
            <p14:sldId id="1167"/>
            <p14:sldId id="279"/>
            <p14:sldId id="1183"/>
          </p14:sldIdLst>
        </p14:section>
        <p14:section name="Contents, agenda, etc." id="{7F354361-FF90-4124-96AC-C4B45EDD16A4}">
          <p14:sldIdLst>
            <p14:sldId id="938"/>
            <p14:sldId id="1227"/>
            <p14:sldId id="331"/>
            <p14:sldId id="1112"/>
            <p14:sldId id="1228"/>
            <p14:sldId id="1022"/>
            <p14:sldId id="1229"/>
          </p14:sldIdLst>
        </p14:section>
        <p14:section name="Achievements and goals, comparison, text blocks, text blocks with arrows" id="{0353CE42-E203-4E4E-9A10-2F75C4EFBF7D}">
          <p14:sldIdLst>
            <p14:sldId id="1131"/>
            <p14:sldId id="1231"/>
            <p14:sldId id="1208"/>
            <p14:sldId id="1234"/>
            <p14:sldId id="1149"/>
            <p14:sldId id="1235"/>
            <p14:sldId id="1209"/>
            <p14:sldId id="1236"/>
            <p14:sldId id="1150"/>
            <p14:sldId id="1237"/>
            <p14:sldId id="1182"/>
            <p14:sldId id="1238"/>
            <p14:sldId id="944"/>
            <p14:sldId id="1239"/>
            <p14:sldId id="1075"/>
            <p14:sldId id="1240"/>
          </p14:sldIdLst>
        </p14:section>
        <p14:section name="Topic overview, mindmap, change management, SWOT" id="{01432623-D2A1-4A73-98CB-3E6442AAA95F}">
          <p14:sldIdLst>
            <p14:sldId id="1086"/>
            <p14:sldId id="1241"/>
            <p14:sldId id="1117"/>
            <p14:sldId id="1242"/>
            <p14:sldId id="1089"/>
            <p14:sldId id="1243"/>
            <p14:sldId id="1210"/>
            <p14:sldId id="1244"/>
            <p14:sldId id="1168"/>
            <p14:sldId id="1245"/>
            <p14:sldId id="1118"/>
            <p14:sldId id="1246"/>
            <p14:sldId id="1070"/>
            <p14:sldId id="1199"/>
            <p14:sldId id="1152"/>
            <p14:sldId id="1247"/>
            <p14:sldId id="1226"/>
            <p14:sldId id="1250"/>
          </p14:sldIdLst>
        </p14:section>
        <p14:section name="Timeline, roadmap, evaluation, rating, checklist" id="{35A22F6D-2F21-4260-BA10-36552A5BD63C}">
          <p14:sldIdLst>
            <p14:sldId id="958"/>
            <p14:sldId id="1251"/>
            <p14:sldId id="1030"/>
            <p14:sldId id="1252"/>
            <p14:sldId id="1171"/>
            <p14:sldId id="1200"/>
            <p14:sldId id="1170"/>
            <p14:sldId id="1253"/>
            <p14:sldId id="1154"/>
            <p14:sldId id="1254"/>
            <p14:sldId id="1211"/>
            <p14:sldId id="1255"/>
            <p14:sldId id="1212"/>
            <p14:sldId id="1256"/>
            <p14:sldId id="1159"/>
            <p14:sldId id="1257"/>
            <p14:sldId id="1121"/>
            <p14:sldId id="1258"/>
            <p14:sldId id="1179"/>
            <p14:sldId id="1201"/>
          </p14:sldIdLst>
        </p14:section>
        <p14:section name="Organigram, flow chart, pyramid, onion diagram, radial diagram, context" id="{0353BAA8-9090-4EB5-9F7B-FC2640975D11}">
          <p14:sldIdLst>
            <p14:sldId id="1038"/>
            <p14:sldId id="1259"/>
            <p14:sldId id="1040"/>
            <p14:sldId id="1260"/>
            <p14:sldId id="1039"/>
            <p14:sldId id="1261"/>
            <p14:sldId id="1124"/>
            <p14:sldId id="1217"/>
            <p14:sldId id="965"/>
            <p14:sldId id="1262"/>
            <p14:sldId id="1222"/>
            <p14:sldId id="1263"/>
            <p14:sldId id="1213"/>
            <p14:sldId id="1264"/>
            <p14:sldId id="1214"/>
            <p14:sldId id="1265"/>
            <p14:sldId id="1146"/>
            <p14:sldId id="1266"/>
            <p14:sldId id="1139"/>
            <p14:sldId id="1267"/>
            <p14:sldId id="1215"/>
            <p14:sldId id="1268"/>
            <p14:sldId id="969"/>
            <p14:sldId id="1269"/>
            <p14:sldId id="1123"/>
            <p14:sldId id="1270"/>
            <p14:sldId id="971"/>
            <p14:sldId id="1271"/>
            <p14:sldId id="1127"/>
            <p14:sldId id="1272"/>
            <p14:sldId id="1129"/>
            <p14:sldId id="1273"/>
            <p14:sldId id="991"/>
            <p14:sldId id="1275"/>
            <p14:sldId id="1216"/>
            <p14:sldId id="1276"/>
          </p14:sldIdLst>
        </p14:section>
        <p14:section name="Process" id="{EF40A544-055D-4D51-BA7E-864194FA4EA5}">
          <p14:sldIdLst>
            <p14:sldId id="1103"/>
            <p14:sldId id="1206"/>
            <p14:sldId id="979"/>
            <p14:sldId id="1277"/>
            <p14:sldId id="980"/>
            <p14:sldId id="1278"/>
            <p14:sldId id="981"/>
            <p14:sldId id="1279"/>
            <p14:sldId id="982"/>
            <p14:sldId id="1280"/>
            <p14:sldId id="1134"/>
            <p14:sldId id="1204"/>
            <p14:sldId id="1223"/>
            <p14:sldId id="1281"/>
            <p14:sldId id="1173"/>
            <p14:sldId id="1282"/>
            <p14:sldId id="1224"/>
            <p14:sldId id="1283"/>
            <p14:sldId id="1132"/>
            <p14:sldId id="1284"/>
            <p14:sldId id="1140"/>
            <p14:sldId id="1285"/>
            <p14:sldId id="1145"/>
            <p14:sldId id="1287"/>
            <p14:sldId id="1049"/>
            <p14:sldId id="1288"/>
            <p14:sldId id="1165"/>
            <p14:sldId id="1289"/>
          </p14:sldIdLst>
        </p14:section>
        <p14:section name="Interaction, influence, scale, matrix" id="{278EDB10-17E2-4C70-B869-41F557825BBA}">
          <p14:sldIdLst>
            <p14:sldId id="994"/>
            <p14:sldId id="1290"/>
            <p14:sldId id="995"/>
            <p14:sldId id="1291"/>
            <p14:sldId id="1053"/>
            <p14:sldId id="1292"/>
            <p14:sldId id="1177"/>
            <p14:sldId id="1293"/>
            <p14:sldId id="997"/>
            <p14:sldId id="1294"/>
            <p14:sldId id="1219"/>
            <p14:sldId id="1295"/>
            <p14:sldId id="1109"/>
            <p14:sldId id="1296"/>
            <p14:sldId id="1135"/>
            <p14:sldId id="1297"/>
            <p14:sldId id="1137"/>
            <p14:sldId id="1298"/>
            <p14:sldId id="993"/>
            <p14:sldId id="1299"/>
            <p14:sldId id="1174"/>
            <p14:sldId id="1300"/>
            <p14:sldId id="1218"/>
            <p14:sldId id="1301"/>
          </p14:sldIdLst>
        </p14:section>
        <p14:section name="Graphs, charts, tables" id="{DAAA8786-9344-4C12-AF84-7EAE7E033BF8}">
          <p14:sldIdLst>
            <p14:sldId id="1220"/>
            <p14:sldId id="1302"/>
            <p14:sldId id="1178"/>
            <p14:sldId id="1303"/>
            <p14:sldId id="1079"/>
            <p14:sldId id="1202"/>
            <p14:sldId id="1004"/>
            <p14:sldId id="1304"/>
            <p14:sldId id="1061"/>
            <p14:sldId id="1305"/>
            <p14:sldId id="1062"/>
            <p14:sldId id="1306"/>
            <p14:sldId id="1063"/>
            <p14:sldId id="1307"/>
            <p14:sldId id="1064"/>
            <p14:sldId id="1308"/>
            <p14:sldId id="1065"/>
            <p14:sldId id="1317"/>
            <p14:sldId id="1066"/>
            <p14:sldId id="1310"/>
            <p14:sldId id="1006"/>
            <p14:sldId id="1311"/>
            <p14:sldId id="1080"/>
            <p14:sldId id="1203"/>
            <p14:sldId id="1148"/>
            <p14:sldId id="1318"/>
            <p14:sldId id="1184"/>
            <p14:sldId id="1319"/>
            <p14:sldId id="1095"/>
            <p14:sldId id="1185"/>
            <p14:sldId id="1188"/>
            <p14:sldId id="1189"/>
            <p14:sldId id="1186"/>
            <p14:sldId id="1187"/>
            <p14:sldId id="1180"/>
            <p14:sldId id="1190"/>
            <p14:sldId id="1191"/>
            <p14:sldId id="1192"/>
            <p14:sldId id="1156"/>
            <p14:sldId id="1194"/>
            <p14:sldId id="1155"/>
            <p14:sldId id="1195"/>
            <p14:sldId id="1196"/>
            <p14:sldId id="1197"/>
            <p14:sldId id="1221"/>
            <p14:sldId id="1312"/>
          </p14:sldIdLst>
        </p14:section>
        <p14:section name="Chapter divider, quotes, contact overview" id="{E63355BD-47AE-4C30-876D-7EDE4EA41504}">
          <p14:sldIdLst>
            <p14:sldId id="1009"/>
            <p14:sldId id="1067"/>
            <p14:sldId id="1068"/>
            <p14:sldId id="1069"/>
            <p14:sldId id="1207"/>
            <p14:sldId id="1166"/>
            <p14:sldId id="1181"/>
            <p14:sldId id="1313"/>
            <p14:sldId id="1010"/>
            <p14:sldId id="1314"/>
            <p14:sldId id="1072"/>
            <p14:sldId id="1315"/>
          </p14:sldIdLst>
        </p14:section>
        <p14:section name="Disclaimer, contact" id="{0D568892-780D-4C8E-9447-F21546C88527}">
          <p14:sldIdLst>
            <p14:sldId id="358"/>
            <p14:sldId id="26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nny Welle" initials="DW" lastIdx="1" clrIdx="0">
    <p:extLst>
      <p:ext uri="{19B8F6BF-5375-455C-9EA6-DF929625EA0E}">
        <p15:presenceInfo xmlns:p15="http://schemas.microsoft.com/office/powerpoint/2012/main" userId="S::denwelle1@publicisgroupe.net::08b00602-60fa-48c3-96fb-06a947b67cd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0E3FDE45-AF77-4B5C-9715-49D594BDF05E}">
  <a:tblStyle styleId="{0E3FDE45-AF77-4B5C-9715-49D594BDF05E}" styleName="Light Style 1 - Accent 2">
    <a:wholeTbl>
      <a:tcTxStyle>
        <a:fontRef idx="minor">
          <a:scrgbClr r="0" g="0" b="0"/>
        </a:fontRef>
        <a:schemeClr val="tx1"/>
      </a:tcTxStyle>
      <a:tcStyle>
        <a:tcBdr>
          <a:left>
            <a:ln>
              <a:noFill/>
            </a:ln>
          </a:left>
          <a:right>
            <a:ln>
              <a:noFill/>
            </a:ln>
          </a:right>
          <a:top>
            <a:ln>
              <a:noFill/>
            </a:ln>
          </a:top>
          <a:bottom>
            <a:ln w="12700" cmpd="sng">
              <a:solidFill>
                <a:srgbClr val="E5E5E9"/>
              </a:solidFill>
            </a:ln>
          </a:bottom>
          <a:insideH>
            <a:ln w="12700" cmpd="sng">
              <a:solidFill>
                <a:srgbClr val="E5E5E9"/>
              </a:solidFill>
            </a:ln>
          </a:insideH>
          <a:insideV>
            <a:ln>
              <a:noFill/>
            </a:ln>
          </a:insideV>
        </a:tcBdr>
        <a:fill>
          <a:noFill/>
        </a:fill>
      </a:tcStyle>
    </a:wholeTbl>
    <a:band1H>
      <a:tcStyle>
        <a:tcBdr>
          <a:bottom>
            <a:ln w="12700" cmpd="sng">
              <a:solidFill>
                <a:srgbClr val="E5E5E9"/>
              </a:solidFill>
            </a:ln>
          </a:bottom>
        </a:tcBdr>
        <a:fill>
          <a:solidFill>
            <a:srgbClr val="E5E5E9"/>
          </a:solidFill>
        </a:fill>
      </a:tcStyle>
    </a:band1H>
    <a:band2H>
      <a:tcStyle>
        <a:tcBdr>
          <a:bottom>
            <a:ln w="12700" cmpd="sng">
              <a:solidFill>
                <a:srgbClr val="E5E5E9"/>
              </a:solidFill>
            </a:ln>
          </a:bottom>
        </a:tcBdr>
      </a:tcStyle>
    </a:band2H>
    <a:band1V>
      <a:tcStyle>
        <a:tcBdr/>
        <a:fill>
          <a:solidFill>
            <a:srgbClr val="E5E5E9"/>
          </a:solidFill>
        </a:fill>
      </a:tcStyle>
    </a:band1V>
    <a:lastCol>
      <a:tcTxStyle b="on"/>
      <a:tcStyle>
        <a:tcBdr/>
      </a:tcStyle>
    </a:lastCol>
    <a:firstCol>
      <a:tcTxStyle b="on"/>
      <a:tcStyle>
        <a:tcBdr/>
      </a:tcStyle>
    </a:firstCol>
    <a:lastRow>
      <a:tcTxStyle b="on"/>
      <a:tcStyle>
        <a:tcBdr>
          <a:bottom>
            <a:ln w="28575" cmpd="sng">
              <a:solidFill>
                <a:schemeClr val="dk1"/>
              </a:solidFill>
            </a:ln>
          </a:bottom>
        </a:tcBdr>
        <a:fill>
          <a:noFill/>
        </a:fill>
      </a:tcStyle>
    </a:lastRow>
    <a:firstRow>
      <a:tcTxStyle b="on"/>
      <a:tcStyle>
        <a:tcBdr>
          <a:bottom>
            <a:ln w="28575" cmpd="sng">
              <a:solidFill>
                <a:schemeClr val="dk1"/>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9387" autoAdjust="0"/>
    <p:restoredTop sz="97461" autoAdjust="0"/>
  </p:normalViewPr>
  <p:slideViewPr>
    <p:cSldViewPr snapToGrid="0" showGuides="1">
      <p:cViewPr varScale="1">
        <p:scale>
          <a:sx n="160" d="100"/>
          <a:sy n="160" d="100"/>
        </p:scale>
        <p:origin x="690" y="138"/>
      </p:cViewPr>
      <p:guideLst/>
    </p:cSldViewPr>
  </p:slideViewPr>
  <p:outlineViewPr>
    <p:cViewPr>
      <p:scale>
        <a:sx n="33" d="100"/>
        <a:sy n="33" d="100"/>
      </p:scale>
      <p:origin x="0" y="0"/>
    </p:cViewPr>
    <p:sldLst>
      <p:sld r:id="rId1" collapse="1"/>
    </p:sldLst>
  </p:outlin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121" d="100"/>
          <a:sy n="121" d="100"/>
        </p:scale>
        <p:origin x="4938" y="120"/>
      </p:cViewPr>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4.xml"/><Relationship Id="rId21" Type="http://schemas.openxmlformats.org/officeDocument/2006/relationships/slide" Target="slides/slide18.xml"/><Relationship Id="rId42" Type="http://schemas.openxmlformats.org/officeDocument/2006/relationships/slide" Target="slides/slide39.xml"/><Relationship Id="rId63" Type="http://schemas.openxmlformats.org/officeDocument/2006/relationships/slide" Target="slides/slide60.xml"/><Relationship Id="rId84" Type="http://schemas.openxmlformats.org/officeDocument/2006/relationships/slide" Target="slides/slide81.xml"/><Relationship Id="rId138" Type="http://schemas.openxmlformats.org/officeDocument/2006/relationships/slide" Target="slides/slide135.xml"/><Relationship Id="rId159" Type="http://schemas.openxmlformats.org/officeDocument/2006/relationships/slide" Target="slides/slide156.xml"/><Relationship Id="rId170" Type="http://schemas.openxmlformats.org/officeDocument/2006/relationships/slide" Target="slides/slide167.xml"/><Relationship Id="rId191" Type="http://schemas.openxmlformats.org/officeDocument/2006/relationships/slide" Target="slides/slide188.xml"/><Relationship Id="rId205" Type="http://schemas.openxmlformats.org/officeDocument/2006/relationships/slide" Target="slides/slide202.xml"/><Relationship Id="rId107" Type="http://schemas.openxmlformats.org/officeDocument/2006/relationships/slide" Target="slides/slide104.xml"/><Relationship Id="rId11" Type="http://schemas.openxmlformats.org/officeDocument/2006/relationships/slide" Target="slides/slide8.xml"/><Relationship Id="rId32" Type="http://schemas.openxmlformats.org/officeDocument/2006/relationships/slide" Target="slides/slide29.xml"/><Relationship Id="rId53" Type="http://schemas.openxmlformats.org/officeDocument/2006/relationships/slide" Target="slides/slide50.xml"/><Relationship Id="rId74" Type="http://schemas.openxmlformats.org/officeDocument/2006/relationships/slide" Target="slides/slide71.xml"/><Relationship Id="rId128" Type="http://schemas.openxmlformats.org/officeDocument/2006/relationships/slide" Target="slides/slide125.xml"/><Relationship Id="rId149" Type="http://schemas.openxmlformats.org/officeDocument/2006/relationships/slide" Target="slides/slide146.xml"/><Relationship Id="rId5" Type="http://schemas.openxmlformats.org/officeDocument/2006/relationships/slide" Target="slides/slide2.xml"/><Relationship Id="rId95" Type="http://schemas.openxmlformats.org/officeDocument/2006/relationships/slide" Target="slides/slide92.xml"/><Relationship Id="rId160" Type="http://schemas.openxmlformats.org/officeDocument/2006/relationships/slide" Target="slides/slide157.xml"/><Relationship Id="rId181" Type="http://schemas.openxmlformats.org/officeDocument/2006/relationships/slide" Target="slides/slide178.xml"/><Relationship Id="rId216" Type="http://schemas.openxmlformats.org/officeDocument/2006/relationships/slide" Target="slides/slide213.xml"/><Relationship Id="rId211" Type="http://schemas.openxmlformats.org/officeDocument/2006/relationships/slide" Target="slides/slide208.xml"/><Relationship Id="rId22" Type="http://schemas.openxmlformats.org/officeDocument/2006/relationships/slide" Target="slides/slide19.xml"/><Relationship Id="rId27" Type="http://schemas.openxmlformats.org/officeDocument/2006/relationships/slide" Target="slides/slide24.xml"/><Relationship Id="rId43" Type="http://schemas.openxmlformats.org/officeDocument/2006/relationships/slide" Target="slides/slide40.xml"/><Relationship Id="rId48" Type="http://schemas.openxmlformats.org/officeDocument/2006/relationships/slide" Target="slides/slide45.xml"/><Relationship Id="rId64" Type="http://schemas.openxmlformats.org/officeDocument/2006/relationships/slide" Target="slides/slide61.xml"/><Relationship Id="rId69" Type="http://schemas.openxmlformats.org/officeDocument/2006/relationships/slide" Target="slides/slide66.xml"/><Relationship Id="rId113" Type="http://schemas.openxmlformats.org/officeDocument/2006/relationships/slide" Target="slides/slide110.xml"/><Relationship Id="rId118" Type="http://schemas.openxmlformats.org/officeDocument/2006/relationships/slide" Target="slides/slide115.xml"/><Relationship Id="rId134" Type="http://schemas.openxmlformats.org/officeDocument/2006/relationships/slide" Target="slides/slide131.xml"/><Relationship Id="rId139" Type="http://schemas.openxmlformats.org/officeDocument/2006/relationships/slide" Target="slides/slide136.xml"/><Relationship Id="rId80" Type="http://schemas.openxmlformats.org/officeDocument/2006/relationships/slide" Target="slides/slide77.xml"/><Relationship Id="rId85" Type="http://schemas.openxmlformats.org/officeDocument/2006/relationships/slide" Target="slides/slide82.xml"/><Relationship Id="rId150" Type="http://schemas.openxmlformats.org/officeDocument/2006/relationships/slide" Target="slides/slide147.xml"/><Relationship Id="rId155" Type="http://schemas.openxmlformats.org/officeDocument/2006/relationships/slide" Target="slides/slide152.xml"/><Relationship Id="rId171" Type="http://schemas.openxmlformats.org/officeDocument/2006/relationships/slide" Target="slides/slide168.xml"/><Relationship Id="rId176" Type="http://schemas.openxmlformats.org/officeDocument/2006/relationships/slide" Target="slides/slide173.xml"/><Relationship Id="rId192" Type="http://schemas.openxmlformats.org/officeDocument/2006/relationships/slide" Target="slides/slide189.xml"/><Relationship Id="rId197" Type="http://schemas.openxmlformats.org/officeDocument/2006/relationships/slide" Target="slides/slide194.xml"/><Relationship Id="rId206" Type="http://schemas.openxmlformats.org/officeDocument/2006/relationships/slide" Target="slides/slide203.xml"/><Relationship Id="rId201" Type="http://schemas.openxmlformats.org/officeDocument/2006/relationships/slide" Target="slides/slide198.xml"/><Relationship Id="rId222" Type="http://schemas.openxmlformats.org/officeDocument/2006/relationships/theme" Target="theme/theme1.xml"/><Relationship Id="rId12" Type="http://schemas.openxmlformats.org/officeDocument/2006/relationships/slide" Target="slides/slide9.xml"/><Relationship Id="rId17" Type="http://schemas.openxmlformats.org/officeDocument/2006/relationships/slide" Target="slides/slide14.xml"/><Relationship Id="rId33" Type="http://schemas.openxmlformats.org/officeDocument/2006/relationships/slide" Target="slides/slide30.xml"/><Relationship Id="rId38" Type="http://schemas.openxmlformats.org/officeDocument/2006/relationships/slide" Target="slides/slide35.xml"/><Relationship Id="rId59" Type="http://schemas.openxmlformats.org/officeDocument/2006/relationships/slide" Target="slides/slide56.xml"/><Relationship Id="rId103" Type="http://schemas.openxmlformats.org/officeDocument/2006/relationships/slide" Target="slides/slide100.xml"/><Relationship Id="rId108" Type="http://schemas.openxmlformats.org/officeDocument/2006/relationships/slide" Target="slides/slide105.xml"/><Relationship Id="rId124" Type="http://schemas.openxmlformats.org/officeDocument/2006/relationships/slide" Target="slides/slide121.xml"/><Relationship Id="rId129" Type="http://schemas.openxmlformats.org/officeDocument/2006/relationships/slide" Target="slides/slide126.xml"/><Relationship Id="rId54" Type="http://schemas.openxmlformats.org/officeDocument/2006/relationships/slide" Target="slides/slide51.xml"/><Relationship Id="rId70" Type="http://schemas.openxmlformats.org/officeDocument/2006/relationships/slide" Target="slides/slide67.xml"/><Relationship Id="rId75" Type="http://schemas.openxmlformats.org/officeDocument/2006/relationships/slide" Target="slides/slide72.xml"/><Relationship Id="rId91" Type="http://schemas.openxmlformats.org/officeDocument/2006/relationships/slide" Target="slides/slide88.xml"/><Relationship Id="rId96" Type="http://schemas.openxmlformats.org/officeDocument/2006/relationships/slide" Target="slides/slide93.xml"/><Relationship Id="rId140" Type="http://schemas.openxmlformats.org/officeDocument/2006/relationships/slide" Target="slides/slide137.xml"/><Relationship Id="rId145" Type="http://schemas.openxmlformats.org/officeDocument/2006/relationships/slide" Target="slides/slide142.xml"/><Relationship Id="rId161" Type="http://schemas.openxmlformats.org/officeDocument/2006/relationships/slide" Target="slides/slide158.xml"/><Relationship Id="rId166" Type="http://schemas.openxmlformats.org/officeDocument/2006/relationships/slide" Target="slides/slide163.xml"/><Relationship Id="rId182" Type="http://schemas.openxmlformats.org/officeDocument/2006/relationships/slide" Target="slides/slide179.xml"/><Relationship Id="rId187" Type="http://schemas.openxmlformats.org/officeDocument/2006/relationships/slide" Target="slides/slide184.xml"/><Relationship Id="rId217"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3.xml"/><Relationship Id="rId212" Type="http://schemas.openxmlformats.org/officeDocument/2006/relationships/slide" Target="slides/slide209.xml"/><Relationship Id="rId23" Type="http://schemas.openxmlformats.org/officeDocument/2006/relationships/slide" Target="slides/slide20.xml"/><Relationship Id="rId28" Type="http://schemas.openxmlformats.org/officeDocument/2006/relationships/slide" Target="slides/slide25.xml"/><Relationship Id="rId49" Type="http://schemas.openxmlformats.org/officeDocument/2006/relationships/slide" Target="slides/slide46.xml"/><Relationship Id="rId114" Type="http://schemas.openxmlformats.org/officeDocument/2006/relationships/slide" Target="slides/slide111.xml"/><Relationship Id="rId119" Type="http://schemas.openxmlformats.org/officeDocument/2006/relationships/slide" Target="slides/slide116.xml"/><Relationship Id="rId44" Type="http://schemas.openxmlformats.org/officeDocument/2006/relationships/slide" Target="slides/slide41.xml"/><Relationship Id="rId60" Type="http://schemas.openxmlformats.org/officeDocument/2006/relationships/slide" Target="slides/slide57.xml"/><Relationship Id="rId65" Type="http://schemas.openxmlformats.org/officeDocument/2006/relationships/slide" Target="slides/slide62.xml"/><Relationship Id="rId81" Type="http://schemas.openxmlformats.org/officeDocument/2006/relationships/slide" Target="slides/slide78.xml"/><Relationship Id="rId86" Type="http://schemas.openxmlformats.org/officeDocument/2006/relationships/slide" Target="slides/slide83.xml"/><Relationship Id="rId130" Type="http://schemas.openxmlformats.org/officeDocument/2006/relationships/slide" Target="slides/slide127.xml"/><Relationship Id="rId135" Type="http://schemas.openxmlformats.org/officeDocument/2006/relationships/slide" Target="slides/slide132.xml"/><Relationship Id="rId151" Type="http://schemas.openxmlformats.org/officeDocument/2006/relationships/slide" Target="slides/slide148.xml"/><Relationship Id="rId156" Type="http://schemas.openxmlformats.org/officeDocument/2006/relationships/slide" Target="slides/slide153.xml"/><Relationship Id="rId177" Type="http://schemas.openxmlformats.org/officeDocument/2006/relationships/slide" Target="slides/slide174.xml"/><Relationship Id="rId198" Type="http://schemas.openxmlformats.org/officeDocument/2006/relationships/slide" Target="slides/slide195.xml"/><Relationship Id="rId172" Type="http://schemas.openxmlformats.org/officeDocument/2006/relationships/slide" Target="slides/slide169.xml"/><Relationship Id="rId193" Type="http://schemas.openxmlformats.org/officeDocument/2006/relationships/slide" Target="slides/slide190.xml"/><Relationship Id="rId202" Type="http://schemas.openxmlformats.org/officeDocument/2006/relationships/slide" Target="slides/slide199.xml"/><Relationship Id="rId207" Type="http://schemas.openxmlformats.org/officeDocument/2006/relationships/slide" Target="slides/slide204.xml"/><Relationship Id="rId223" Type="http://schemas.openxmlformats.org/officeDocument/2006/relationships/tableStyles" Target="tableStyles.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109" Type="http://schemas.openxmlformats.org/officeDocument/2006/relationships/slide" Target="slides/slide10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04" Type="http://schemas.openxmlformats.org/officeDocument/2006/relationships/slide" Target="slides/slide101.xml"/><Relationship Id="rId120" Type="http://schemas.openxmlformats.org/officeDocument/2006/relationships/slide" Target="slides/slide117.xml"/><Relationship Id="rId125" Type="http://schemas.openxmlformats.org/officeDocument/2006/relationships/slide" Target="slides/slide122.xml"/><Relationship Id="rId141" Type="http://schemas.openxmlformats.org/officeDocument/2006/relationships/slide" Target="slides/slide138.xml"/><Relationship Id="rId146" Type="http://schemas.openxmlformats.org/officeDocument/2006/relationships/slide" Target="slides/slide143.xml"/><Relationship Id="rId167" Type="http://schemas.openxmlformats.org/officeDocument/2006/relationships/slide" Target="slides/slide164.xml"/><Relationship Id="rId188" Type="http://schemas.openxmlformats.org/officeDocument/2006/relationships/slide" Target="slides/slide185.xml"/><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slide" Target="slides/slide89.xml"/><Relationship Id="rId162" Type="http://schemas.openxmlformats.org/officeDocument/2006/relationships/slide" Target="slides/slide159.xml"/><Relationship Id="rId183" Type="http://schemas.openxmlformats.org/officeDocument/2006/relationships/slide" Target="slides/slide180.xml"/><Relationship Id="rId213" Type="http://schemas.openxmlformats.org/officeDocument/2006/relationships/slide" Target="slides/slide210.xml"/><Relationship Id="rId218" Type="http://schemas.openxmlformats.org/officeDocument/2006/relationships/handoutMaster" Target="handoutMasters/handoutMaster1.xml"/><Relationship Id="rId2" Type="http://schemas.openxmlformats.org/officeDocument/2006/relationships/customXml" Target="../customXml/item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slide" Target="slides/slide107.xml"/><Relationship Id="rId115" Type="http://schemas.openxmlformats.org/officeDocument/2006/relationships/slide" Target="slides/slide112.xml"/><Relationship Id="rId131" Type="http://schemas.openxmlformats.org/officeDocument/2006/relationships/slide" Target="slides/slide128.xml"/><Relationship Id="rId136" Type="http://schemas.openxmlformats.org/officeDocument/2006/relationships/slide" Target="slides/slide133.xml"/><Relationship Id="rId157" Type="http://schemas.openxmlformats.org/officeDocument/2006/relationships/slide" Target="slides/slide154.xml"/><Relationship Id="rId178" Type="http://schemas.openxmlformats.org/officeDocument/2006/relationships/slide" Target="slides/slide175.xml"/><Relationship Id="rId61" Type="http://schemas.openxmlformats.org/officeDocument/2006/relationships/slide" Target="slides/slide58.xml"/><Relationship Id="rId82" Type="http://schemas.openxmlformats.org/officeDocument/2006/relationships/slide" Target="slides/slide79.xml"/><Relationship Id="rId152" Type="http://schemas.openxmlformats.org/officeDocument/2006/relationships/slide" Target="slides/slide149.xml"/><Relationship Id="rId173" Type="http://schemas.openxmlformats.org/officeDocument/2006/relationships/slide" Target="slides/slide170.xml"/><Relationship Id="rId194" Type="http://schemas.openxmlformats.org/officeDocument/2006/relationships/slide" Target="slides/slide191.xml"/><Relationship Id="rId199" Type="http://schemas.openxmlformats.org/officeDocument/2006/relationships/slide" Target="slides/slide196.xml"/><Relationship Id="rId203" Type="http://schemas.openxmlformats.org/officeDocument/2006/relationships/slide" Target="slides/slide200.xml"/><Relationship Id="rId208" Type="http://schemas.openxmlformats.org/officeDocument/2006/relationships/slide" Target="slides/slide205.xml"/><Relationship Id="rId19" Type="http://schemas.openxmlformats.org/officeDocument/2006/relationships/slide" Target="slides/slide16.xml"/><Relationship Id="rId14" Type="http://schemas.openxmlformats.org/officeDocument/2006/relationships/slide" Target="slides/slide11.xml"/><Relationship Id="rId30" Type="http://schemas.openxmlformats.org/officeDocument/2006/relationships/slide" Target="slides/slide27.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slide" Target="slides/slide97.xml"/><Relationship Id="rId105" Type="http://schemas.openxmlformats.org/officeDocument/2006/relationships/slide" Target="slides/slide102.xml"/><Relationship Id="rId126" Type="http://schemas.openxmlformats.org/officeDocument/2006/relationships/slide" Target="slides/slide123.xml"/><Relationship Id="rId147" Type="http://schemas.openxmlformats.org/officeDocument/2006/relationships/slide" Target="slides/slide144.xml"/><Relationship Id="rId168" Type="http://schemas.openxmlformats.org/officeDocument/2006/relationships/slide" Target="slides/slide165.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slide" Target="slides/slide90.xml"/><Relationship Id="rId98" Type="http://schemas.openxmlformats.org/officeDocument/2006/relationships/slide" Target="slides/slide95.xml"/><Relationship Id="rId121" Type="http://schemas.openxmlformats.org/officeDocument/2006/relationships/slide" Target="slides/slide118.xml"/><Relationship Id="rId142" Type="http://schemas.openxmlformats.org/officeDocument/2006/relationships/slide" Target="slides/slide139.xml"/><Relationship Id="rId163" Type="http://schemas.openxmlformats.org/officeDocument/2006/relationships/slide" Target="slides/slide160.xml"/><Relationship Id="rId184" Type="http://schemas.openxmlformats.org/officeDocument/2006/relationships/slide" Target="slides/slide181.xml"/><Relationship Id="rId189" Type="http://schemas.openxmlformats.org/officeDocument/2006/relationships/slide" Target="slides/slide186.xml"/><Relationship Id="rId219" Type="http://schemas.openxmlformats.org/officeDocument/2006/relationships/commentAuthors" Target="commentAuthors.xml"/><Relationship Id="rId3" Type="http://schemas.openxmlformats.org/officeDocument/2006/relationships/slideMaster" Target="slideMasters/slideMaster1.xml"/><Relationship Id="rId214" Type="http://schemas.openxmlformats.org/officeDocument/2006/relationships/slide" Target="slides/slide211.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 Id="rId116" Type="http://schemas.openxmlformats.org/officeDocument/2006/relationships/slide" Target="slides/slide113.xml"/><Relationship Id="rId137" Type="http://schemas.openxmlformats.org/officeDocument/2006/relationships/slide" Target="slides/slide134.xml"/><Relationship Id="rId158" Type="http://schemas.openxmlformats.org/officeDocument/2006/relationships/slide" Target="slides/slide155.xml"/><Relationship Id="rId20" Type="http://schemas.openxmlformats.org/officeDocument/2006/relationships/slide" Target="slides/slide17.xml"/><Relationship Id="rId41" Type="http://schemas.openxmlformats.org/officeDocument/2006/relationships/slide" Target="slides/slide38.xml"/><Relationship Id="rId62" Type="http://schemas.openxmlformats.org/officeDocument/2006/relationships/slide" Target="slides/slide59.xml"/><Relationship Id="rId83" Type="http://schemas.openxmlformats.org/officeDocument/2006/relationships/slide" Target="slides/slide80.xml"/><Relationship Id="rId88" Type="http://schemas.openxmlformats.org/officeDocument/2006/relationships/slide" Target="slides/slide85.xml"/><Relationship Id="rId111" Type="http://schemas.openxmlformats.org/officeDocument/2006/relationships/slide" Target="slides/slide108.xml"/><Relationship Id="rId132" Type="http://schemas.openxmlformats.org/officeDocument/2006/relationships/slide" Target="slides/slide129.xml"/><Relationship Id="rId153" Type="http://schemas.openxmlformats.org/officeDocument/2006/relationships/slide" Target="slides/slide150.xml"/><Relationship Id="rId174" Type="http://schemas.openxmlformats.org/officeDocument/2006/relationships/slide" Target="slides/slide171.xml"/><Relationship Id="rId179" Type="http://schemas.openxmlformats.org/officeDocument/2006/relationships/slide" Target="slides/slide176.xml"/><Relationship Id="rId195" Type="http://schemas.openxmlformats.org/officeDocument/2006/relationships/slide" Target="slides/slide192.xml"/><Relationship Id="rId209" Type="http://schemas.openxmlformats.org/officeDocument/2006/relationships/slide" Target="slides/slide206.xml"/><Relationship Id="rId190" Type="http://schemas.openxmlformats.org/officeDocument/2006/relationships/slide" Target="slides/slide187.xml"/><Relationship Id="rId204" Type="http://schemas.openxmlformats.org/officeDocument/2006/relationships/slide" Target="slides/slide201.xml"/><Relationship Id="rId220" Type="http://schemas.openxmlformats.org/officeDocument/2006/relationships/presProps" Target="presProps.xml"/><Relationship Id="rId15" Type="http://schemas.openxmlformats.org/officeDocument/2006/relationships/slide" Target="slides/slide12.xml"/><Relationship Id="rId36" Type="http://schemas.openxmlformats.org/officeDocument/2006/relationships/slide" Target="slides/slide33.xml"/><Relationship Id="rId57" Type="http://schemas.openxmlformats.org/officeDocument/2006/relationships/slide" Target="slides/slide54.xml"/><Relationship Id="rId106" Type="http://schemas.openxmlformats.org/officeDocument/2006/relationships/slide" Target="slides/slide103.xml"/><Relationship Id="rId127" Type="http://schemas.openxmlformats.org/officeDocument/2006/relationships/slide" Target="slides/slide124.xml"/><Relationship Id="rId10" Type="http://schemas.openxmlformats.org/officeDocument/2006/relationships/slide" Target="slides/slide7.xml"/><Relationship Id="rId31" Type="http://schemas.openxmlformats.org/officeDocument/2006/relationships/slide" Target="slides/slide28.xml"/><Relationship Id="rId52" Type="http://schemas.openxmlformats.org/officeDocument/2006/relationships/slide" Target="slides/slide49.xml"/><Relationship Id="rId73" Type="http://schemas.openxmlformats.org/officeDocument/2006/relationships/slide" Target="slides/slide70.xml"/><Relationship Id="rId78" Type="http://schemas.openxmlformats.org/officeDocument/2006/relationships/slide" Target="slides/slide75.xml"/><Relationship Id="rId94" Type="http://schemas.openxmlformats.org/officeDocument/2006/relationships/slide" Target="slides/slide91.xml"/><Relationship Id="rId99" Type="http://schemas.openxmlformats.org/officeDocument/2006/relationships/slide" Target="slides/slide96.xml"/><Relationship Id="rId101" Type="http://schemas.openxmlformats.org/officeDocument/2006/relationships/slide" Target="slides/slide98.xml"/><Relationship Id="rId122" Type="http://schemas.openxmlformats.org/officeDocument/2006/relationships/slide" Target="slides/slide119.xml"/><Relationship Id="rId143" Type="http://schemas.openxmlformats.org/officeDocument/2006/relationships/slide" Target="slides/slide140.xml"/><Relationship Id="rId148" Type="http://schemas.openxmlformats.org/officeDocument/2006/relationships/slide" Target="slides/slide145.xml"/><Relationship Id="rId164" Type="http://schemas.openxmlformats.org/officeDocument/2006/relationships/slide" Target="slides/slide161.xml"/><Relationship Id="rId169" Type="http://schemas.openxmlformats.org/officeDocument/2006/relationships/slide" Target="slides/slide166.xml"/><Relationship Id="rId185" Type="http://schemas.openxmlformats.org/officeDocument/2006/relationships/slide" Target="slides/slide182.xml"/><Relationship Id="rId4" Type="http://schemas.openxmlformats.org/officeDocument/2006/relationships/slide" Target="slides/slide1.xml"/><Relationship Id="rId9" Type="http://schemas.openxmlformats.org/officeDocument/2006/relationships/slide" Target="slides/slide6.xml"/><Relationship Id="rId180" Type="http://schemas.openxmlformats.org/officeDocument/2006/relationships/slide" Target="slides/slide177.xml"/><Relationship Id="rId210" Type="http://schemas.openxmlformats.org/officeDocument/2006/relationships/slide" Target="slides/slide207.xml"/><Relationship Id="rId215" Type="http://schemas.openxmlformats.org/officeDocument/2006/relationships/slide" Target="slides/slide212.xml"/><Relationship Id="rId26" Type="http://schemas.openxmlformats.org/officeDocument/2006/relationships/slide" Target="slides/slide23.xml"/><Relationship Id="rId47" Type="http://schemas.openxmlformats.org/officeDocument/2006/relationships/slide" Target="slides/slide44.xml"/><Relationship Id="rId68" Type="http://schemas.openxmlformats.org/officeDocument/2006/relationships/slide" Target="slides/slide65.xml"/><Relationship Id="rId89" Type="http://schemas.openxmlformats.org/officeDocument/2006/relationships/slide" Target="slides/slide86.xml"/><Relationship Id="rId112" Type="http://schemas.openxmlformats.org/officeDocument/2006/relationships/slide" Target="slides/slide109.xml"/><Relationship Id="rId133" Type="http://schemas.openxmlformats.org/officeDocument/2006/relationships/slide" Target="slides/slide130.xml"/><Relationship Id="rId154" Type="http://schemas.openxmlformats.org/officeDocument/2006/relationships/slide" Target="slides/slide151.xml"/><Relationship Id="rId175" Type="http://schemas.openxmlformats.org/officeDocument/2006/relationships/slide" Target="slides/slide172.xml"/><Relationship Id="rId196" Type="http://schemas.openxmlformats.org/officeDocument/2006/relationships/slide" Target="slides/slide193.xml"/><Relationship Id="rId200" Type="http://schemas.openxmlformats.org/officeDocument/2006/relationships/slide" Target="slides/slide197.xml"/><Relationship Id="rId16" Type="http://schemas.openxmlformats.org/officeDocument/2006/relationships/slide" Target="slides/slide13.xml"/><Relationship Id="rId221" Type="http://schemas.openxmlformats.org/officeDocument/2006/relationships/viewProps" Target="viewProps.xml"/><Relationship Id="rId37" Type="http://schemas.openxmlformats.org/officeDocument/2006/relationships/slide" Target="slides/slide34.xml"/><Relationship Id="rId58" Type="http://schemas.openxmlformats.org/officeDocument/2006/relationships/slide" Target="slides/slide55.xml"/><Relationship Id="rId79" Type="http://schemas.openxmlformats.org/officeDocument/2006/relationships/slide" Target="slides/slide76.xml"/><Relationship Id="rId102" Type="http://schemas.openxmlformats.org/officeDocument/2006/relationships/slide" Target="slides/slide99.xml"/><Relationship Id="rId123" Type="http://schemas.openxmlformats.org/officeDocument/2006/relationships/slide" Target="slides/slide120.xml"/><Relationship Id="rId144" Type="http://schemas.openxmlformats.org/officeDocument/2006/relationships/slide" Target="slides/slide141.xml"/><Relationship Id="rId90" Type="http://schemas.openxmlformats.org/officeDocument/2006/relationships/slide" Target="slides/slide87.xml"/><Relationship Id="rId165" Type="http://schemas.openxmlformats.org/officeDocument/2006/relationships/slide" Target="slides/slide162.xml"/><Relationship Id="rId186" Type="http://schemas.openxmlformats.org/officeDocument/2006/relationships/slide" Target="slides/slide183.xml"/></Relationships>
</file>

<file path=ppt/_rels/viewProps.xml.rels><?xml version="1.0" encoding="UTF-8" standalone="yes"?>
<Relationships xmlns="http://schemas.openxmlformats.org/package/2006/relationships"><Relationship Id="rId1" Type="http://schemas.openxmlformats.org/officeDocument/2006/relationships/slide" Target="slides/slide20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1.xml"/><Relationship Id="rId1" Type="http://schemas.microsoft.com/office/2011/relationships/chartStyle" Target="style1.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xml"/><Relationship Id="rId1" Type="http://schemas.microsoft.com/office/2011/relationships/chartStyle" Target="style2.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3.xml"/><Relationship Id="rId1" Type="http://schemas.microsoft.com/office/2011/relationships/chartStyle" Target="style3.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4.xml"/><Relationship Id="rId1" Type="http://schemas.microsoft.com/office/2011/relationships/chartStyle" Target="style4.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5.xml"/><Relationship Id="rId1" Type="http://schemas.microsoft.com/office/2011/relationships/chartStyle" Target="style5.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6.xml"/><Relationship Id="rId1" Type="http://schemas.microsoft.com/office/2011/relationships/chartStyle" Target="style6.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7.xml"/><Relationship Id="rId1" Type="http://schemas.microsoft.com/office/2011/relationships/chartStyle" Target="style7.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8.xml"/><Relationship Id="rId1" Type="http://schemas.microsoft.com/office/2011/relationships/chartStyle" Target="style8.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9.xml"/><Relationship Id="rId1" Type="http://schemas.microsoft.com/office/2011/relationships/chartStyle" Target="style9.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10.xml"/><Relationship Id="rId1" Type="http://schemas.microsoft.com/office/2011/relationships/chartStyle" Target="style10.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11.xml"/><Relationship Id="rId1" Type="http://schemas.microsoft.com/office/2011/relationships/chartStyle" Target="style11.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12.xml"/><Relationship Id="rId1" Type="http://schemas.microsoft.com/office/2011/relationships/chartStyle" Target="style12.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13.xml"/><Relationship Id="rId1" Type="http://schemas.microsoft.com/office/2011/relationships/chartStyle" Target="style1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14.xml"/><Relationship Id="rId1" Type="http://schemas.microsoft.com/office/2011/relationships/chartStyle" Target="style14.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15.xml"/><Relationship Id="rId1" Type="http://schemas.microsoft.com/office/2011/relationships/chartStyle" Target="style15.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16.xml"/><Relationship Id="rId1" Type="http://schemas.microsoft.com/office/2011/relationships/chartStyle" Target="style16.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17.xml"/><Relationship Id="rId1" Type="http://schemas.microsoft.com/office/2011/relationships/chartStyle" Target="style17.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18.xml"/><Relationship Id="rId1" Type="http://schemas.microsoft.com/office/2011/relationships/chartStyle" Target="style18.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19.xml"/><Relationship Id="rId1" Type="http://schemas.microsoft.com/office/2011/relationships/chartStyle" Target="style19.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20.xml"/><Relationship Id="rId1" Type="http://schemas.microsoft.com/office/2011/relationships/chartStyle" Target="style20.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21.xml"/><Relationship Id="rId1" Type="http://schemas.microsoft.com/office/2011/relationships/chartStyle" Target="style21.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22.xml"/><Relationship Id="rId1" Type="http://schemas.microsoft.com/office/2011/relationships/chartStyle" Target="style22.xml"/></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714806763701209E-2"/>
          <c:y val="0.13031405660270098"/>
          <c:w val="0.46296579652063313"/>
          <c:h val="0.75808828080949553"/>
        </c:manualLayout>
      </c:layout>
      <c:radarChart>
        <c:radarStyle val="marker"/>
        <c:varyColors val="0"/>
        <c:ser>
          <c:idx val="0"/>
          <c:order val="0"/>
          <c:tx>
            <c:strRef>
              <c:f>Sheet1!$A$2</c:f>
              <c:strCache>
                <c:ptCount val="1"/>
                <c:pt idx="0">
                  <c:v>Data series 1</c:v>
                </c:pt>
              </c:strCache>
            </c:strRef>
          </c:tx>
          <c:spPr>
            <a:ln w="16230">
              <a:noFill/>
            </a:ln>
          </c:spPr>
          <c:marker>
            <c:symbol val="square"/>
            <c:size val="10"/>
            <c:spPr>
              <a:solidFill>
                <a:srgbClr val="00FFB9"/>
              </a:solidFill>
              <a:ln>
                <a:noFill/>
              </a:ln>
            </c:spPr>
          </c:marker>
          <c:cat>
            <c:strRef>
              <c:f>Sheet1!$B$1:$E$1</c:f>
              <c:strCache>
                <c:ptCount val="4"/>
                <c:pt idx="0">
                  <c:v>A</c:v>
                </c:pt>
                <c:pt idx="1">
                  <c:v>B</c:v>
                </c:pt>
                <c:pt idx="2">
                  <c:v>C</c:v>
                </c:pt>
                <c:pt idx="3">
                  <c:v>D</c:v>
                </c:pt>
              </c:strCache>
            </c:strRef>
          </c:cat>
          <c:val>
            <c:numRef>
              <c:f>Sheet1!$B$2:$E$2</c:f>
              <c:numCache>
                <c:formatCode>General</c:formatCode>
                <c:ptCount val="4"/>
                <c:pt idx="0">
                  <c:v>2.5</c:v>
                </c:pt>
                <c:pt idx="1">
                  <c:v>3</c:v>
                </c:pt>
                <c:pt idx="2">
                  <c:v>3</c:v>
                </c:pt>
                <c:pt idx="3">
                  <c:v>2.5</c:v>
                </c:pt>
              </c:numCache>
            </c:numRef>
          </c:val>
          <c:extLst>
            <c:ext xmlns:c16="http://schemas.microsoft.com/office/drawing/2014/chart" uri="{C3380CC4-5D6E-409C-BE32-E72D297353CC}">
              <c16:uniqueId val="{00000000-708C-4212-A51D-E89D496117A1}"/>
            </c:ext>
          </c:extLst>
        </c:ser>
        <c:ser>
          <c:idx val="1"/>
          <c:order val="1"/>
          <c:tx>
            <c:strRef>
              <c:f>Sheet1!$A$3</c:f>
              <c:strCache>
                <c:ptCount val="1"/>
                <c:pt idx="0">
                  <c:v>Data series 2</c:v>
                </c:pt>
              </c:strCache>
            </c:strRef>
          </c:tx>
          <c:spPr>
            <a:ln w="16230">
              <a:noFill/>
            </a:ln>
          </c:spPr>
          <c:marker>
            <c:symbol val="square"/>
            <c:size val="10"/>
            <c:spPr>
              <a:solidFill>
                <a:srgbClr val="66667E"/>
              </a:solidFill>
              <a:ln>
                <a:noFill/>
              </a:ln>
            </c:spPr>
          </c:marker>
          <c:cat>
            <c:strRef>
              <c:f>Sheet1!$B$1:$E$1</c:f>
              <c:strCache>
                <c:ptCount val="4"/>
                <c:pt idx="0">
                  <c:v>A</c:v>
                </c:pt>
                <c:pt idx="1">
                  <c:v>B</c:v>
                </c:pt>
                <c:pt idx="2">
                  <c:v>C</c:v>
                </c:pt>
                <c:pt idx="3">
                  <c:v>D</c:v>
                </c:pt>
              </c:strCache>
            </c:strRef>
          </c:cat>
          <c:val>
            <c:numRef>
              <c:f>Sheet1!$B$3:$E$3</c:f>
              <c:numCache>
                <c:formatCode>General</c:formatCode>
                <c:ptCount val="4"/>
                <c:pt idx="0">
                  <c:v>2</c:v>
                </c:pt>
                <c:pt idx="1">
                  <c:v>2.2000000000000002</c:v>
                </c:pt>
                <c:pt idx="2">
                  <c:v>1</c:v>
                </c:pt>
                <c:pt idx="3">
                  <c:v>2</c:v>
                </c:pt>
              </c:numCache>
            </c:numRef>
          </c:val>
          <c:extLst>
            <c:ext xmlns:c16="http://schemas.microsoft.com/office/drawing/2014/chart" uri="{C3380CC4-5D6E-409C-BE32-E72D297353CC}">
              <c16:uniqueId val="{00000001-708C-4212-A51D-E89D496117A1}"/>
            </c:ext>
          </c:extLst>
        </c:ser>
        <c:ser>
          <c:idx val="2"/>
          <c:order val="2"/>
          <c:tx>
            <c:strRef>
              <c:f>Sheet1!$A$4</c:f>
              <c:strCache>
                <c:ptCount val="1"/>
                <c:pt idx="0">
                  <c:v>Data series 3</c:v>
                </c:pt>
              </c:strCache>
            </c:strRef>
          </c:tx>
          <c:spPr>
            <a:ln w="16230">
              <a:noFill/>
            </a:ln>
          </c:spPr>
          <c:marker>
            <c:symbol val="square"/>
            <c:size val="10"/>
            <c:spPr>
              <a:solidFill>
                <a:srgbClr val="00646E"/>
              </a:solidFill>
              <a:ln>
                <a:noFill/>
              </a:ln>
            </c:spPr>
          </c:marker>
          <c:cat>
            <c:strRef>
              <c:f>Sheet1!$B$1:$E$1</c:f>
              <c:strCache>
                <c:ptCount val="4"/>
                <c:pt idx="0">
                  <c:v>A</c:v>
                </c:pt>
                <c:pt idx="1">
                  <c:v>B</c:v>
                </c:pt>
                <c:pt idx="2">
                  <c:v>C</c:v>
                </c:pt>
                <c:pt idx="3">
                  <c:v>D</c:v>
                </c:pt>
              </c:strCache>
            </c:strRef>
          </c:cat>
          <c:val>
            <c:numRef>
              <c:f>Sheet1!$B$4:$E$4</c:f>
              <c:numCache>
                <c:formatCode>General</c:formatCode>
                <c:ptCount val="4"/>
                <c:pt idx="0">
                  <c:v>3</c:v>
                </c:pt>
                <c:pt idx="1">
                  <c:v>3.2</c:v>
                </c:pt>
                <c:pt idx="2">
                  <c:v>2</c:v>
                </c:pt>
                <c:pt idx="3">
                  <c:v>2.9</c:v>
                </c:pt>
              </c:numCache>
            </c:numRef>
          </c:val>
          <c:extLst>
            <c:ext xmlns:c16="http://schemas.microsoft.com/office/drawing/2014/chart" uri="{C3380CC4-5D6E-409C-BE32-E72D297353CC}">
              <c16:uniqueId val="{00000002-708C-4212-A51D-E89D496117A1}"/>
            </c:ext>
          </c:extLst>
        </c:ser>
        <c:dLbls>
          <c:showLegendKey val="0"/>
          <c:showVal val="0"/>
          <c:showCatName val="0"/>
          <c:showSerName val="0"/>
          <c:showPercent val="0"/>
          <c:showBubbleSize val="0"/>
        </c:dLbls>
        <c:axId val="242516384"/>
        <c:axId val="1"/>
      </c:radarChart>
      <c:catAx>
        <c:axId val="242516384"/>
        <c:scaling>
          <c:orientation val="minMax"/>
        </c:scaling>
        <c:delete val="0"/>
        <c:axPos val="b"/>
        <c:majorGridlines>
          <c:spPr>
            <a:ln w="5410">
              <a:noFill/>
            </a:ln>
          </c:spPr>
        </c:majorGridlines>
        <c:numFmt formatCode="General" sourceLinked="1"/>
        <c:majorTickMark val="out"/>
        <c:minorTickMark val="none"/>
        <c:tickLblPos val="none"/>
        <c:txPr>
          <a:bodyPr rot="0" vert="horz"/>
          <a:lstStyle/>
          <a:p>
            <a:pPr>
              <a:defRPr sz="916" b="1" i="0" u="none" strike="noStrike" baseline="0">
                <a:solidFill>
                  <a:schemeClr val="tx1"/>
                </a:solidFill>
                <a:latin typeface="Arial"/>
                <a:ea typeface="Arial"/>
                <a:cs typeface="Arial"/>
              </a:defRPr>
            </a:pPr>
            <a:endParaRPr lang="de-DE"/>
          </a:p>
        </c:txPr>
        <c:crossAx val="1"/>
        <c:crosses val="autoZero"/>
        <c:auto val="0"/>
        <c:lblAlgn val="ctr"/>
        <c:lblOffset val="100"/>
        <c:noMultiLvlLbl val="0"/>
      </c:catAx>
      <c:valAx>
        <c:axId val="1"/>
        <c:scaling>
          <c:orientation val="minMax"/>
          <c:max val="3.5"/>
          <c:min val="0"/>
        </c:scaling>
        <c:delete val="0"/>
        <c:axPos val="l"/>
        <c:numFmt formatCode="General" sourceLinked="1"/>
        <c:majorTickMark val="cross"/>
        <c:minorTickMark val="none"/>
        <c:tickLblPos val="nextTo"/>
        <c:spPr>
          <a:ln w="5410">
            <a:noFill/>
          </a:ln>
        </c:spPr>
        <c:txPr>
          <a:bodyPr rot="0" vert="horz"/>
          <a:lstStyle/>
          <a:p>
            <a:pPr>
              <a:defRPr sz="852" b="0" i="0" u="none" strike="noStrike" baseline="0">
                <a:solidFill>
                  <a:schemeClr val="tx1"/>
                </a:solidFill>
                <a:latin typeface="Arial"/>
                <a:ea typeface="Arial"/>
                <a:cs typeface="Arial"/>
              </a:defRPr>
            </a:pPr>
            <a:endParaRPr lang="de-DE"/>
          </a:p>
        </c:txPr>
        <c:crossAx val="242516384"/>
        <c:crosses val="autoZero"/>
        <c:crossBetween val="between"/>
        <c:majorUnit val="1"/>
        <c:minorUnit val="1"/>
      </c:valAx>
      <c:spPr>
        <a:noFill/>
        <a:ln w="21641">
          <a:noFill/>
        </a:ln>
      </c:spPr>
    </c:plotArea>
    <c:legend>
      <c:legendPos val="r"/>
      <c:layout>
        <c:manualLayout>
          <c:xMode val="edge"/>
          <c:yMode val="edge"/>
          <c:x val="0.57646195526532473"/>
          <c:y val="0.13853635078532048"/>
          <c:w val="0.15459576905156347"/>
          <c:h val="0.1905641835016835"/>
        </c:manualLayout>
      </c:layout>
      <c:overlay val="0"/>
      <c:spPr>
        <a:noFill/>
        <a:ln w="21641">
          <a:noFill/>
        </a:ln>
      </c:spPr>
      <c:txPr>
        <a:bodyPr/>
        <a:lstStyle/>
        <a:p>
          <a:pPr>
            <a:defRPr sz="1200" b="0" i="0" u="none" strike="noStrike" baseline="0">
              <a:solidFill>
                <a:srgbClr val="66667E"/>
              </a:solidFill>
              <a:latin typeface="Arial"/>
              <a:ea typeface="Arial"/>
              <a:cs typeface="Arial"/>
            </a:defRPr>
          </a:pPr>
          <a:endParaRPr lang="de-DE"/>
        </a:p>
      </c:txPr>
    </c:legend>
    <c:plotVisOnly val="1"/>
    <c:dispBlanksAs val="gap"/>
    <c:showDLblsOverMax val="0"/>
  </c:chart>
  <c:spPr>
    <a:noFill/>
    <a:ln>
      <a:noFill/>
    </a:ln>
  </c:spPr>
  <c:txPr>
    <a:bodyPr/>
    <a:lstStyle/>
    <a:p>
      <a:pPr>
        <a:defRPr sz="1384" b="1" i="0" u="none" strike="noStrike" baseline="0">
          <a:solidFill>
            <a:schemeClr val="tx1"/>
          </a:solidFill>
          <a:latin typeface="Arial"/>
          <a:ea typeface="Arial"/>
          <a:cs typeface="Arial"/>
        </a:defRPr>
      </a:pPr>
      <a:endParaRPr lang="de-DE"/>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plotArea>
      <c:layout>
        <c:manualLayout>
          <c:layoutTarget val="inner"/>
          <c:xMode val="edge"/>
          <c:yMode val="edge"/>
          <c:x val="2.9737934469406289E-2"/>
          <c:y val="1.7919797573670269E-2"/>
          <c:w val="0.71131060893461329"/>
          <c:h val="0.90493651975788469"/>
        </c:manualLayout>
      </c:layout>
      <c:barChart>
        <c:barDir val="col"/>
        <c:grouping val="stacked"/>
        <c:varyColors val="0"/>
        <c:ser>
          <c:idx val="0"/>
          <c:order val="0"/>
          <c:tx>
            <c:strRef>
              <c:f>Tabelle1!$B$1</c:f>
              <c:strCache>
                <c:ptCount val="1"/>
                <c:pt idx="0">
                  <c:v>Data series 1</c:v>
                </c:pt>
              </c:strCache>
            </c:strRef>
          </c:tx>
          <c:spPr>
            <a:solidFill>
              <a:srgbClr val="00646E"/>
            </a:solidFill>
            <a:ln w="19050">
              <a:solidFill>
                <a:schemeClr val="bg2"/>
              </a:solidFill>
            </a:ln>
          </c:spPr>
          <c:invertIfNegative val="0"/>
          <c:cat>
            <c:strRef>
              <c:f>Tabelle1!$A$2:$A$7</c:f>
              <c:strCache>
                <c:ptCount val="6"/>
                <c:pt idx="0">
                  <c:v>Category 1</c:v>
                </c:pt>
                <c:pt idx="1">
                  <c:v>Category 2</c:v>
                </c:pt>
                <c:pt idx="2">
                  <c:v>Category 3</c:v>
                </c:pt>
                <c:pt idx="3">
                  <c:v>Category 4</c:v>
                </c:pt>
                <c:pt idx="4">
                  <c:v>Category 5</c:v>
                </c:pt>
                <c:pt idx="5">
                  <c:v>Category 6</c:v>
                </c:pt>
              </c:strCache>
            </c:strRef>
          </c:cat>
          <c:val>
            <c:numRef>
              <c:f>Tabelle1!$B$2:$B$7</c:f>
              <c:numCache>
                <c:formatCode>General</c:formatCode>
                <c:ptCount val="6"/>
                <c:pt idx="0">
                  <c:v>4.3</c:v>
                </c:pt>
                <c:pt idx="1">
                  <c:v>2.5</c:v>
                </c:pt>
                <c:pt idx="2">
                  <c:v>3.5</c:v>
                </c:pt>
                <c:pt idx="3">
                  <c:v>3</c:v>
                </c:pt>
                <c:pt idx="4">
                  <c:v>1.5</c:v>
                </c:pt>
                <c:pt idx="5">
                  <c:v>4</c:v>
                </c:pt>
              </c:numCache>
            </c:numRef>
          </c:val>
          <c:extLst>
            <c:ext xmlns:c16="http://schemas.microsoft.com/office/drawing/2014/chart" uri="{C3380CC4-5D6E-409C-BE32-E72D297353CC}">
              <c16:uniqueId val="{00000000-D466-4B9F-9604-BB2E6BADF15F}"/>
            </c:ext>
          </c:extLst>
        </c:ser>
        <c:ser>
          <c:idx val="1"/>
          <c:order val="1"/>
          <c:tx>
            <c:strRef>
              <c:f>Tabelle1!$C$1</c:f>
              <c:strCache>
                <c:ptCount val="1"/>
                <c:pt idx="0">
                  <c:v>Data series 2</c:v>
                </c:pt>
              </c:strCache>
            </c:strRef>
          </c:tx>
          <c:spPr>
            <a:solidFill>
              <a:schemeClr val="accent1"/>
            </a:solidFill>
            <a:ln w="19050">
              <a:solidFill>
                <a:schemeClr val="bg2"/>
              </a:solidFill>
            </a:ln>
          </c:spPr>
          <c:invertIfNegative val="0"/>
          <c:cat>
            <c:strRef>
              <c:f>Tabelle1!$A$2:$A$7</c:f>
              <c:strCache>
                <c:ptCount val="6"/>
                <c:pt idx="0">
                  <c:v>Category 1</c:v>
                </c:pt>
                <c:pt idx="1">
                  <c:v>Category 2</c:v>
                </c:pt>
                <c:pt idx="2">
                  <c:v>Category 3</c:v>
                </c:pt>
                <c:pt idx="3">
                  <c:v>Category 4</c:v>
                </c:pt>
                <c:pt idx="4">
                  <c:v>Category 5</c:v>
                </c:pt>
                <c:pt idx="5">
                  <c:v>Category 6</c:v>
                </c:pt>
              </c:strCache>
            </c:strRef>
          </c:cat>
          <c:val>
            <c:numRef>
              <c:f>Tabelle1!$C$2:$C$7</c:f>
              <c:numCache>
                <c:formatCode>General</c:formatCode>
                <c:ptCount val="6"/>
                <c:pt idx="0">
                  <c:v>2.4</c:v>
                </c:pt>
                <c:pt idx="1">
                  <c:v>4.4000000000000004</c:v>
                </c:pt>
                <c:pt idx="2">
                  <c:v>1.8</c:v>
                </c:pt>
                <c:pt idx="3">
                  <c:v>2</c:v>
                </c:pt>
                <c:pt idx="4">
                  <c:v>2</c:v>
                </c:pt>
                <c:pt idx="5">
                  <c:v>3</c:v>
                </c:pt>
              </c:numCache>
            </c:numRef>
          </c:val>
          <c:extLst>
            <c:ext xmlns:c16="http://schemas.microsoft.com/office/drawing/2014/chart" uri="{C3380CC4-5D6E-409C-BE32-E72D297353CC}">
              <c16:uniqueId val="{00000001-D466-4B9F-9604-BB2E6BADF15F}"/>
            </c:ext>
          </c:extLst>
        </c:ser>
        <c:ser>
          <c:idx val="2"/>
          <c:order val="2"/>
          <c:tx>
            <c:strRef>
              <c:f>Tabelle1!$D$1</c:f>
              <c:strCache>
                <c:ptCount val="1"/>
                <c:pt idx="0">
                  <c:v>Data series 3</c:v>
                </c:pt>
              </c:strCache>
            </c:strRef>
          </c:tx>
          <c:spPr>
            <a:solidFill>
              <a:srgbClr val="00E6DC"/>
            </a:solidFill>
            <a:ln w="19050">
              <a:solidFill>
                <a:schemeClr val="bg2"/>
              </a:solidFill>
            </a:ln>
          </c:spPr>
          <c:invertIfNegative val="0"/>
          <c:cat>
            <c:strRef>
              <c:f>Tabelle1!$A$2:$A$7</c:f>
              <c:strCache>
                <c:ptCount val="6"/>
                <c:pt idx="0">
                  <c:v>Category 1</c:v>
                </c:pt>
                <c:pt idx="1">
                  <c:v>Category 2</c:v>
                </c:pt>
                <c:pt idx="2">
                  <c:v>Category 3</c:v>
                </c:pt>
                <c:pt idx="3">
                  <c:v>Category 4</c:v>
                </c:pt>
                <c:pt idx="4">
                  <c:v>Category 5</c:v>
                </c:pt>
                <c:pt idx="5">
                  <c:v>Category 6</c:v>
                </c:pt>
              </c:strCache>
            </c:strRef>
          </c:cat>
          <c:val>
            <c:numRef>
              <c:f>Tabelle1!$D$2:$D$7</c:f>
              <c:numCache>
                <c:formatCode>General</c:formatCode>
                <c:ptCount val="6"/>
                <c:pt idx="0">
                  <c:v>2</c:v>
                </c:pt>
                <c:pt idx="1">
                  <c:v>2</c:v>
                </c:pt>
                <c:pt idx="2">
                  <c:v>3</c:v>
                </c:pt>
                <c:pt idx="3">
                  <c:v>4.3</c:v>
                </c:pt>
                <c:pt idx="4">
                  <c:v>2.5</c:v>
                </c:pt>
                <c:pt idx="5">
                  <c:v>3.5</c:v>
                </c:pt>
              </c:numCache>
            </c:numRef>
          </c:val>
          <c:extLst>
            <c:ext xmlns:c16="http://schemas.microsoft.com/office/drawing/2014/chart" uri="{C3380CC4-5D6E-409C-BE32-E72D297353CC}">
              <c16:uniqueId val="{00000002-D466-4B9F-9604-BB2E6BADF15F}"/>
            </c:ext>
          </c:extLst>
        </c:ser>
        <c:dLbls>
          <c:showLegendKey val="0"/>
          <c:showVal val="0"/>
          <c:showCatName val="0"/>
          <c:showSerName val="0"/>
          <c:showPercent val="0"/>
          <c:showBubbleSize val="0"/>
        </c:dLbls>
        <c:gapWidth val="150"/>
        <c:overlap val="100"/>
        <c:axId val="117478528"/>
        <c:axId val="117480064"/>
      </c:barChart>
      <c:catAx>
        <c:axId val="117478528"/>
        <c:scaling>
          <c:orientation val="minMax"/>
        </c:scaling>
        <c:delete val="0"/>
        <c:axPos val="b"/>
        <c:numFmt formatCode="General" sourceLinked="0"/>
        <c:majorTickMark val="out"/>
        <c:minorTickMark val="none"/>
        <c:tickLblPos val="nextTo"/>
        <c:spPr>
          <a:ln>
            <a:solidFill>
              <a:srgbClr val="9999A9"/>
            </a:solidFill>
          </a:ln>
        </c:spPr>
        <c:txPr>
          <a:bodyPr/>
          <a:lstStyle/>
          <a:p>
            <a:pPr>
              <a:defRPr sz="1200" b="1">
                <a:solidFill>
                  <a:srgbClr val="9999A9"/>
                </a:solidFill>
              </a:defRPr>
            </a:pPr>
            <a:endParaRPr lang="de-DE"/>
          </a:p>
        </c:txPr>
        <c:crossAx val="117480064"/>
        <c:crosses val="autoZero"/>
        <c:auto val="1"/>
        <c:lblAlgn val="ctr"/>
        <c:lblOffset val="100"/>
        <c:noMultiLvlLbl val="0"/>
      </c:catAx>
      <c:valAx>
        <c:axId val="117480064"/>
        <c:scaling>
          <c:orientation val="minMax"/>
        </c:scaling>
        <c:delete val="0"/>
        <c:axPos val="l"/>
        <c:majorGridlines>
          <c:spPr>
            <a:ln>
              <a:solidFill>
                <a:srgbClr val="9999A9"/>
              </a:solidFill>
            </a:ln>
          </c:spPr>
        </c:majorGridlines>
        <c:numFmt formatCode="General" sourceLinked="1"/>
        <c:majorTickMark val="out"/>
        <c:minorTickMark val="none"/>
        <c:tickLblPos val="nextTo"/>
        <c:spPr>
          <a:ln>
            <a:noFill/>
          </a:ln>
        </c:spPr>
        <c:txPr>
          <a:bodyPr/>
          <a:lstStyle/>
          <a:p>
            <a:pPr>
              <a:defRPr sz="1200" b="1">
                <a:solidFill>
                  <a:srgbClr val="9999A9"/>
                </a:solidFill>
              </a:defRPr>
            </a:pPr>
            <a:endParaRPr lang="de-DE"/>
          </a:p>
        </c:txPr>
        <c:crossAx val="117478528"/>
        <c:crosses val="autoZero"/>
        <c:crossBetween val="between"/>
      </c:valAx>
    </c:plotArea>
    <c:legend>
      <c:legendPos val="r"/>
      <c:layout>
        <c:manualLayout>
          <c:xMode val="edge"/>
          <c:yMode val="edge"/>
          <c:x val="0.86515745920553322"/>
          <c:y val="0.73560375517340137"/>
          <c:w val="0.11694006233805601"/>
          <c:h val="0.18592008438709307"/>
        </c:manualLayout>
      </c:layout>
      <c:overlay val="0"/>
      <c:txPr>
        <a:bodyPr/>
        <a:lstStyle/>
        <a:p>
          <a:pPr>
            <a:defRPr sz="1400">
              <a:solidFill>
                <a:srgbClr val="9999A9"/>
              </a:solidFill>
            </a:defRPr>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plotArea>
      <c:layout>
        <c:manualLayout>
          <c:layoutTarget val="inner"/>
          <c:xMode val="edge"/>
          <c:yMode val="edge"/>
          <c:x val="8.3593453618015914E-2"/>
          <c:y val="0"/>
          <c:w val="0.65831340093530788"/>
          <c:h val="0.92548926459591907"/>
        </c:manualLayout>
      </c:layout>
      <c:barChart>
        <c:barDir val="bar"/>
        <c:grouping val="stacked"/>
        <c:varyColors val="0"/>
        <c:ser>
          <c:idx val="0"/>
          <c:order val="0"/>
          <c:tx>
            <c:strRef>
              <c:f>Tabelle1!$B$1</c:f>
              <c:strCache>
                <c:ptCount val="1"/>
                <c:pt idx="0">
                  <c:v>Data series 1</c:v>
                </c:pt>
              </c:strCache>
            </c:strRef>
          </c:tx>
          <c:spPr>
            <a:solidFill>
              <a:srgbClr val="00E6DC"/>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D466-4B9F-9604-BB2E6BADF15F}"/>
            </c:ext>
          </c:extLst>
        </c:ser>
        <c:ser>
          <c:idx val="1"/>
          <c:order val="1"/>
          <c:tx>
            <c:strRef>
              <c:f>Tabelle1!$C$1</c:f>
              <c:strCache>
                <c:ptCount val="1"/>
                <c:pt idx="0">
                  <c:v>Data series 2</c:v>
                </c:pt>
              </c:strCache>
            </c:strRef>
          </c:tx>
          <c:spPr>
            <a:solidFill>
              <a:schemeClr val="accent1"/>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D466-4B9F-9604-BB2E6BADF15F}"/>
            </c:ext>
          </c:extLst>
        </c:ser>
        <c:ser>
          <c:idx val="2"/>
          <c:order val="2"/>
          <c:tx>
            <c:strRef>
              <c:f>Tabelle1!$D$1</c:f>
              <c:strCache>
                <c:ptCount val="1"/>
                <c:pt idx="0">
                  <c:v>Data series 3</c:v>
                </c:pt>
              </c:strCache>
            </c:strRef>
          </c:tx>
          <c:spPr>
            <a:solidFill>
              <a:srgbClr val="00646E"/>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D466-4B9F-9604-BB2E6BADF15F}"/>
            </c:ext>
          </c:extLst>
        </c:ser>
        <c:dLbls>
          <c:showLegendKey val="0"/>
          <c:showVal val="0"/>
          <c:showCatName val="0"/>
          <c:showSerName val="0"/>
          <c:showPercent val="0"/>
          <c:showBubbleSize val="0"/>
        </c:dLbls>
        <c:gapWidth val="150"/>
        <c:overlap val="100"/>
        <c:axId val="117478528"/>
        <c:axId val="117480064"/>
      </c:barChart>
      <c:catAx>
        <c:axId val="117478528"/>
        <c:scaling>
          <c:orientation val="maxMin"/>
        </c:scaling>
        <c:delete val="0"/>
        <c:axPos val="l"/>
        <c:numFmt formatCode="General" sourceLinked="0"/>
        <c:majorTickMark val="out"/>
        <c:minorTickMark val="none"/>
        <c:tickLblPos val="nextTo"/>
        <c:spPr>
          <a:ln>
            <a:solidFill>
              <a:srgbClr val="66667E"/>
            </a:solidFill>
          </a:ln>
        </c:spPr>
        <c:txPr>
          <a:bodyPr/>
          <a:lstStyle/>
          <a:p>
            <a:pPr>
              <a:defRPr sz="1200" b="1">
                <a:solidFill>
                  <a:srgbClr val="66667E"/>
                </a:solidFill>
              </a:defRPr>
            </a:pPr>
            <a:endParaRPr lang="de-DE"/>
          </a:p>
        </c:txPr>
        <c:crossAx val="117480064"/>
        <c:crosses val="autoZero"/>
        <c:auto val="1"/>
        <c:lblAlgn val="ctr"/>
        <c:lblOffset val="100"/>
        <c:noMultiLvlLbl val="0"/>
      </c:catAx>
      <c:valAx>
        <c:axId val="117480064"/>
        <c:scaling>
          <c:orientation val="minMax"/>
        </c:scaling>
        <c:delete val="0"/>
        <c:axPos val="b"/>
        <c:majorGridlines>
          <c:spPr>
            <a:ln>
              <a:solidFill>
                <a:srgbClr val="66667E"/>
              </a:solidFill>
            </a:ln>
          </c:spPr>
        </c:majorGridlines>
        <c:numFmt formatCode="General" sourceLinked="1"/>
        <c:majorTickMark val="out"/>
        <c:minorTickMark val="none"/>
        <c:tickLblPos val="nextTo"/>
        <c:spPr>
          <a:ln>
            <a:noFill/>
          </a:ln>
        </c:spPr>
        <c:txPr>
          <a:bodyPr/>
          <a:lstStyle/>
          <a:p>
            <a:pPr>
              <a:defRPr sz="1200" b="1">
                <a:solidFill>
                  <a:srgbClr val="66667E"/>
                </a:solidFill>
              </a:defRPr>
            </a:pPr>
            <a:endParaRPr lang="de-DE"/>
          </a:p>
        </c:txPr>
        <c:crossAx val="117478528"/>
        <c:crosses val="max"/>
        <c:crossBetween val="between"/>
      </c:valAx>
    </c:plotArea>
    <c:legend>
      <c:legendPos val="r"/>
      <c:layout>
        <c:manualLayout>
          <c:xMode val="edge"/>
          <c:yMode val="edge"/>
          <c:x val="0.86608759871415375"/>
          <c:y val="0.73848815507885712"/>
          <c:w val="0.11694006233805601"/>
          <c:h val="0.18592008438709307"/>
        </c:manualLayout>
      </c:layout>
      <c:overlay val="0"/>
      <c:txPr>
        <a:bodyPr/>
        <a:lstStyle/>
        <a:p>
          <a:pPr>
            <a:defRPr sz="1400">
              <a:solidFill>
                <a:srgbClr val="66667E"/>
              </a:solidFill>
            </a:defRPr>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plotArea>
      <c:layout>
        <c:manualLayout>
          <c:layoutTarget val="inner"/>
          <c:xMode val="edge"/>
          <c:yMode val="edge"/>
          <c:x val="8.3593453618015914E-2"/>
          <c:y val="0"/>
          <c:w val="0.65831340093530788"/>
          <c:h val="0.92548926459591907"/>
        </c:manualLayout>
      </c:layout>
      <c:barChart>
        <c:barDir val="bar"/>
        <c:grouping val="stacked"/>
        <c:varyColors val="0"/>
        <c:ser>
          <c:idx val="0"/>
          <c:order val="0"/>
          <c:tx>
            <c:strRef>
              <c:f>Tabelle1!$B$1</c:f>
              <c:strCache>
                <c:ptCount val="1"/>
                <c:pt idx="0">
                  <c:v>Data series 1</c:v>
                </c:pt>
              </c:strCache>
            </c:strRef>
          </c:tx>
          <c:spPr>
            <a:solidFill>
              <a:srgbClr val="00E6DC"/>
            </a:solidFill>
            <a:ln w="19050">
              <a:solidFill>
                <a:schemeClr val="bg2"/>
              </a:solidFill>
            </a:ln>
          </c:spPr>
          <c:invertIfNegative val="0"/>
          <c:cat>
            <c:strRef>
              <c:f>Tabelle1!$A$2:$A$5</c:f>
              <c:strCache>
                <c:ptCount val="4"/>
                <c:pt idx="0">
                  <c:v>Category 1</c:v>
                </c:pt>
                <c:pt idx="1">
                  <c:v>Category 2</c:v>
                </c:pt>
                <c:pt idx="2">
                  <c:v>Category 3</c:v>
                </c:pt>
                <c:pt idx="3">
                  <c:v>Category 4</c:v>
                </c:pt>
              </c:strCache>
            </c:strRef>
          </c:cat>
          <c:val>
            <c:numRef>
              <c:f>Tabelle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D466-4B9F-9604-BB2E6BADF15F}"/>
            </c:ext>
          </c:extLst>
        </c:ser>
        <c:ser>
          <c:idx val="1"/>
          <c:order val="1"/>
          <c:tx>
            <c:strRef>
              <c:f>Tabelle1!$C$1</c:f>
              <c:strCache>
                <c:ptCount val="1"/>
                <c:pt idx="0">
                  <c:v>Data series 2</c:v>
                </c:pt>
              </c:strCache>
            </c:strRef>
          </c:tx>
          <c:spPr>
            <a:solidFill>
              <a:schemeClr val="accent1"/>
            </a:solidFill>
            <a:ln w="19050">
              <a:solidFill>
                <a:schemeClr val="bg2"/>
              </a:solidFill>
            </a:ln>
          </c:spPr>
          <c:invertIfNegative val="0"/>
          <c:cat>
            <c:strRef>
              <c:f>Tabelle1!$A$2:$A$5</c:f>
              <c:strCache>
                <c:ptCount val="4"/>
                <c:pt idx="0">
                  <c:v>Category 1</c:v>
                </c:pt>
                <c:pt idx="1">
                  <c:v>Category 2</c:v>
                </c:pt>
                <c:pt idx="2">
                  <c:v>Category 3</c:v>
                </c:pt>
                <c:pt idx="3">
                  <c:v>Category 4</c:v>
                </c:pt>
              </c:strCache>
            </c:strRef>
          </c:cat>
          <c:val>
            <c:numRef>
              <c:f>Tabelle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D466-4B9F-9604-BB2E6BADF15F}"/>
            </c:ext>
          </c:extLst>
        </c:ser>
        <c:ser>
          <c:idx val="2"/>
          <c:order val="2"/>
          <c:tx>
            <c:strRef>
              <c:f>Tabelle1!$D$1</c:f>
              <c:strCache>
                <c:ptCount val="1"/>
                <c:pt idx="0">
                  <c:v>Data series 3</c:v>
                </c:pt>
              </c:strCache>
            </c:strRef>
          </c:tx>
          <c:spPr>
            <a:solidFill>
              <a:srgbClr val="00646E"/>
            </a:solidFill>
            <a:ln w="19050">
              <a:solidFill>
                <a:schemeClr val="bg2"/>
              </a:solidFill>
            </a:ln>
          </c:spPr>
          <c:invertIfNegative val="0"/>
          <c:cat>
            <c:strRef>
              <c:f>Tabelle1!$A$2:$A$5</c:f>
              <c:strCache>
                <c:ptCount val="4"/>
                <c:pt idx="0">
                  <c:v>Category 1</c:v>
                </c:pt>
                <c:pt idx="1">
                  <c:v>Category 2</c:v>
                </c:pt>
                <c:pt idx="2">
                  <c:v>Category 3</c:v>
                </c:pt>
                <c:pt idx="3">
                  <c:v>Category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D466-4B9F-9604-BB2E6BADF15F}"/>
            </c:ext>
          </c:extLst>
        </c:ser>
        <c:dLbls>
          <c:showLegendKey val="0"/>
          <c:showVal val="0"/>
          <c:showCatName val="0"/>
          <c:showSerName val="0"/>
          <c:showPercent val="0"/>
          <c:showBubbleSize val="0"/>
        </c:dLbls>
        <c:gapWidth val="150"/>
        <c:overlap val="100"/>
        <c:axId val="117478528"/>
        <c:axId val="117480064"/>
      </c:barChart>
      <c:catAx>
        <c:axId val="117478528"/>
        <c:scaling>
          <c:orientation val="maxMin"/>
        </c:scaling>
        <c:delete val="0"/>
        <c:axPos val="l"/>
        <c:numFmt formatCode="General" sourceLinked="0"/>
        <c:majorTickMark val="out"/>
        <c:minorTickMark val="none"/>
        <c:tickLblPos val="nextTo"/>
        <c:spPr>
          <a:ln>
            <a:solidFill>
              <a:srgbClr val="9999A9"/>
            </a:solidFill>
          </a:ln>
        </c:spPr>
        <c:txPr>
          <a:bodyPr/>
          <a:lstStyle/>
          <a:p>
            <a:pPr>
              <a:defRPr sz="1200" b="1">
                <a:solidFill>
                  <a:srgbClr val="9999A9"/>
                </a:solidFill>
              </a:defRPr>
            </a:pPr>
            <a:endParaRPr lang="de-DE"/>
          </a:p>
        </c:txPr>
        <c:crossAx val="117480064"/>
        <c:crosses val="autoZero"/>
        <c:auto val="1"/>
        <c:lblAlgn val="ctr"/>
        <c:lblOffset val="100"/>
        <c:noMultiLvlLbl val="0"/>
      </c:catAx>
      <c:valAx>
        <c:axId val="117480064"/>
        <c:scaling>
          <c:orientation val="minMax"/>
        </c:scaling>
        <c:delete val="0"/>
        <c:axPos val="b"/>
        <c:majorGridlines>
          <c:spPr>
            <a:ln>
              <a:solidFill>
                <a:srgbClr val="9999A9"/>
              </a:solidFill>
            </a:ln>
          </c:spPr>
        </c:majorGridlines>
        <c:numFmt formatCode="General" sourceLinked="1"/>
        <c:majorTickMark val="out"/>
        <c:minorTickMark val="none"/>
        <c:tickLblPos val="nextTo"/>
        <c:spPr>
          <a:ln>
            <a:noFill/>
          </a:ln>
        </c:spPr>
        <c:txPr>
          <a:bodyPr/>
          <a:lstStyle/>
          <a:p>
            <a:pPr>
              <a:defRPr sz="1200" b="1">
                <a:solidFill>
                  <a:srgbClr val="9999A9"/>
                </a:solidFill>
              </a:defRPr>
            </a:pPr>
            <a:endParaRPr lang="de-DE"/>
          </a:p>
        </c:txPr>
        <c:crossAx val="117478528"/>
        <c:crosses val="max"/>
        <c:crossBetween val="between"/>
      </c:valAx>
    </c:plotArea>
    <c:legend>
      <c:legendPos val="r"/>
      <c:layout>
        <c:manualLayout>
          <c:xMode val="edge"/>
          <c:yMode val="edge"/>
          <c:x val="0.86608759871415375"/>
          <c:y val="0.73848815507885712"/>
          <c:w val="0.11694006233805601"/>
          <c:h val="0.18592008438709307"/>
        </c:manualLayout>
      </c:layout>
      <c:overlay val="0"/>
      <c:txPr>
        <a:bodyPr/>
        <a:lstStyle/>
        <a:p>
          <a:pPr>
            <a:defRPr sz="1400">
              <a:solidFill>
                <a:srgbClr val="9999A9"/>
              </a:solidFill>
            </a:defRPr>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plotArea>
      <c:layout>
        <c:manualLayout>
          <c:layoutTarget val="inner"/>
          <c:xMode val="edge"/>
          <c:yMode val="edge"/>
          <c:x val="8.2477145570436922E-2"/>
          <c:y val="0"/>
          <c:w val="0.65942970898288678"/>
          <c:h val="0.92548926459591907"/>
        </c:manualLayout>
      </c:layout>
      <c:barChart>
        <c:barDir val="bar"/>
        <c:grouping val="percentStacked"/>
        <c:varyColors val="0"/>
        <c:ser>
          <c:idx val="0"/>
          <c:order val="0"/>
          <c:tx>
            <c:strRef>
              <c:f>Tabelle1!$B$1</c:f>
              <c:strCache>
                <c:ptCount val="1"/>
                <c:pt idx="0">
                  <c:v>Data series 1</c:v>
                </c:pt>
              </c:strCache>
            </c:strRef>
          </c:tx>
          <c:spPr>
            <a:solidFill>
              <a:srgbClr val="00E6DC"/>
            </a:solidFill>
            <a:ln w="19050">
              <a:solidFill>
                <a:schemeClr val="bg1"/>
              </a:solidFill>
            </a:ln>
          </c:spPr>
          <c:invertIfNegative val="0"/>
          <c:dLbls>
            <c:spPr>
              <a:noFill/>
              <a:ln>
                <a:noFill/>
              </a:ln>
              <a:effectLst/>
            </c:spPr>
            <c:txPr>
              <a:bodyPr wrap="square" lIns="38100" tIns="19050" rIns="38100" bIns="19050" anchor="ctr">
                <a:spAutoFit/>
              </a:bodyPr>
              <a:lstStyle/>
              <a:p>
                <a:pPr>
                  <a:defRPr sz="1400" b="1">
                    <a:solidFill>
                      <a:srgbClr val="333353"/>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A$2:$A$5</c:f>
              <c:strCache>
                <c:ptCount val="4"/>
                <c:pt idx="0">
                  <c:v>Category 1</c:v>
                </c:pt>
                <c:pt idx="1">
                  <c:v>Category 2</c:v>
                </c:pt>
                <c:pt idx="2">
                  <c:v>Category 3</c:v>
                </c:pt>
                <c:pt idx="3">
                  <c:v>Category 4</c:v>
                </c:pt>
              </c:strCache>
            </c:strRef>
          </c:cat>
          <c:val>
            <c:numRef>
              <c:f>Tabelle1!$B$2:$B$5</c:f>
              <c:numCache>
                <c:formatCode>0.0</c:formatCode>
                <c:ptCount val="4"/>
                <c:pt idx="0">
                  <c:v>4.3</c:v>
                </c:pt>
                <c:pt idx="1">
                  <c:v>2.5</c:v>
                </c:pt>
                <c:pt idx="2">
                  <c:v>3.5</c:v>
                </c:pt>
                <c:pt idx="3">
                  <c:v>4.5</c:v>
                </c:pt>
              </c:numCache>
            </c:numRef>
          </c:val>
          <c:extLst>
            <c:ext xmlns:c16="http://schemas.microsoft.com/office/drawing/2014/chart" uri="{C3380CC4-5D6E-409C-BE32-E72D297353CC}">
              <c16:uniqueId val="{00000000-D466-4B9F-9604-BB2E6BADF15F}"/>
            </c:ext>
          </c:extLst>
        </c:ser>
        <c:ser>
          <c:idx val="1"/>
          <c:order val="1"/>
          <c:tx>
            <c:strRef>
              <c:f>Tabelle1!$C$1</c:f>
              <c:strCache>
                <c:ptCount val="1"/>
                <c:pt idx="0">
                  <c:v>Data series 2</c:v>
                </c:pt>
              </c:strCache>
            </c:strRef>
          </c:tx>
          <c:spPr>
            <a:solidFill>
              <a:schemeClr val="accent1"/>
            </a:solidFill>
            <a:ln w="19050">
              <a:solidFill>
                <a:schemeClr val="bg1"/>
              </a:solidFill>
            </a:ln>
          </c:spPr>
          <c:invertIfNegative val="0"/>
          <c:dLbls>
            <c:spPr>
              <a:noFill/>
              <a:ln>
                <a:noFill/>
              </a:ln>
              <a:effectLst/>
            </c:spPr>
            <c:txPr>
              <a:bodyPr wrap="square" lIns="38100" tIns="19050" rIns="38100" bIns="19050" anchor="ctr">
                <a:spAutoFit/>
              </a:bodyPr>
              <a:lstStyle/>
              <a:p>
                <a:pPr>
                  <a:defRPr sz="1400">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A$2:$A$5</c:f>
              <c:strCache>
                <c:ptCount val="4"/>
                <c:pt idx="0">
                  <c:v>Category 1</c:v>
                </c:pt>
                <c:pt idx="1">
                  <c:v>Category 2</c:v>
                </c:pt>
                <c:pt idx="2">
                  <c:v>Category 3</c:v>
                </c:pt>
                <c:pt idx="3">
                  <c:v>Category 4</c:v>
                </c:pt>
              </c:strCache>
            </c:strRef>
          </c:cat>
          <c:val>
            <c:numRef>
              <c:f>Tabelle1!$C$2:$C$5</c:f>
              <c:numCache>
                <c:formatCode>0.0</c:formatCode>
                <c:ptCount val="4"/>
                <c:pt idx="0">
                  <c:v>2.4</c:v>
                </c:pt>
                <c:pt idx="1">
                  <c:v>4.4000000000000004</c:v>
                </c:pt>
                <c:pt idx="2">
                  <c:v>1.8</c:v>
                </c:pt>
                <c:pt idx="3">
                  <c:v>2.8</c:v>
                </c:pt>
              </c:numCache>
            </c:numRef>
          </c:val>
          <c:extLst>
            <c:ext xmlns:c16="http://schemas.microsoft.com/office/drawing/2014/chart" uri="{C3380CC4-5D6E-409C-BE32-E72D297353CC}">
              <c16:uniqueId val="{00000001-D466-4B9F-9604-BB2E6BADF15F}"/>
            </c:ext>
          </c:extLst>
        </c:ser>
        <c:ser>
          <c:idx val="2"/>
          <c:order val="2"/>
          <c:tx>
            <c:strRef>
              <c:f>Tabelle1!$D$1</c:f>
              <c:strCache>
                <c:ptCount val="1"/>
                <c:pt idx="0">
                  <c:v>Data series 3</c:v>
                </c:pt>
              </c:strCache>
            </c:strRef>
          </c:tx>
          <c:spPr>
            <a:solidFill>
              <a:srgbClr val="00646E"/>
            </a:solidFill>
            <a:ln w="19050">
              <a:solidFill>
                <a:schemeClr val="bg1"/>
              </a:solidFill>
            </a:ln>
          </c:spPr>
          <c:invertIfNegative val="0"/>
          <c:dLbls>
            <c:spPr>
              <a:noFill/>
              <a:ln>
                <a:noFill/>
              </a:ln>
              <a:effectLst/>
            </c:spPr>
            <c:txPr>
              <a:bodyPr wrap="square" lIns="38100" tIns="19050" rIns="38100" bIns="19050" anchor="ctr">
                <a:spAutoFit/>
              </a:bodyPr>
              <a:lstStyle/>
              <a:p>
                <a:pPr>
                  <a:defRPr sz="1400" b="0">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A$2:$A$5</c:f>
              <c:strCache>
                <c:ptCount val="4"/>
                <c:pt idx="0">
                  <c:v>Category 1</c:v>
                </c:pt>
                <c:pt idx="1">
                  <c:v>Category 2</c:v>
                </c:pt>
                <c:pt idx="2">
                  <c:v>Category 3</c:v>
                </c:pt>
                <c:pt idx="3">
                  <c:v>Category 4</c:v>
                </c:pt>
              </c:strCache>
            </c:strRef>
          </c:cat>
          <c:val>
            <c:numRef>
              <c:f>Tabelle1!$D$2:$D$5</c:f>
              <c:numCache>
                <c:formatCode>0.0</c:formatCode>
                <c:ptCount val="4"/>
                <c:pt idx="0">
                  <c:v>2</c:v>
                </c:pt>
                <c:pt idx="1">
                  <c:v>2</c:v>
                </c:pt>
                <c:pt idx="2">
                  <c:v>3</c:v>
                </c:pt>
                <c:pt idx="3">
                  <c:v>5</c:v>
                </c:pt>
              </c:numCache>
            </c:numRef>
          </c:val>
          <c:extLst>
            <c:ext xmlns:c16="http://schemas.microsoft.com/office/drawing/2014/chart" uri="{C3380CC4-5D6E-409C-BE32-E72D297353CC}">
              <c16:uniqueId val="{00000002-D466-4B9F-9604-BB2E6BADF15F}"/>
            </c:ext>
          </c:extLst>
        </c:ser>
        <c:dLbls>
          <c:showLegendKey val="0"/>
          <c:showVal val="0"/>
          <c:showCatName val="0"/>
          <c:showSerName val="0"/>
          <c:showPercent val="0"/>
          <c:showBubbleSize val="0"/>
        </c:dLbls>
        <c:gapWidth val="150"/>
        <c:overlap val="100"/>
        <c:axId val="117478528"/>
        <c:axId val="117480064"/>
      </c:barChart>
      <c:catAx>
        <c:axId val="117478528"/>
        <c:scaling>
          <c:orientation val="maxMin"/>
        </c:scaling>
        <c:delete val="0"/>
        <c:axPos val="l"/>
        <c:numFmt formatCode="General" sourceLinked="0"/>
        <c:majorTickMark val="out"/>
        <c:minorTickMark val="none"/>
        <c:tickLblPos val="nextTo"/>
        <c:spPr>
          <a:ln>
            <a:solidFill>
              <a:srgbClr val="66667E"/>
            </a:solidFill>
          </a:ln>
        </c:spPr>
        <c:txPr>
          <a:bodyPr/>
          <a:lstStyle/>
          <a:p>
            <a:pPr>
              <a:defRPr sz="1200" b="1">
                <a:solidFill>
                  <a:srgbClr val="66667E"/>
                </a:solidFill>
              </a:defRPr>
            </a:pPr>
            <a:endParaRPr lang="de-DE"/>
          </a:p>
        </c:txPr>
        <c:crossAx val="117480064"/>
        <c:crosses val="autoZero"/>
        <c:auto val="1"/>
        <c:lblAlgn val="ctr"/>
        <c:lblOffset val="100"/>
        <c:noMultiLvlLbl val="0"/>
      </c:catAx>
      <c:valAx>
        <c:axId val="117480064"/>
        <c:scaling>
          <c:orientation val="minMax"/>
        </c:scaling>
        <c:delete val="1"/>
        <c:axPos val="t"/>
        <c:numFmt formatCode="0%" sourceLinked="1"/>
        <c:majorTickMark val="out"/>
        <c:minorTickMark val="none"/>
        <c:tickLblPos val="nextTo"/>
        <c:crossAx val="117478528"/>
        <c:crosses val="autoZero"/>
        <c:crossBetween val="between"/>
      </c:valAx>
    </c:plotArea>
    <c:legend>
      <c:legendPos val="r"/>
      <c:layout>
        <c:manualLayout>
          <c:xMode val="edge"/>
          <c:yMode val="edge"/>
          <c:x val="0.86608759871415375"/>
          <c:y val="0.73848815507885712"/>
          <c:w val="0.11694006233805601"/>
          <c:h val="0.18592008438709307"/>
        </c:manualLayout>
      </c:layout>
      <c:overlay val="0"/>
      <c:txPr>
        <a:bodyPr/>
        <a:lstStyle/>
        <a:p>
          <a:pPr>
            <a:defRPr sz="1400">
              <a:solidFill>
                <a:srgbClr val="66667E"/>
              </a:solidFill>
            </a:defRPr>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plotArea>
      <c:layout>
        <c:manualLayout>
          <c:layoutTarget val="inner"/>
          <c:xMode val="edge"/>
          <c:yMode val="edge"/>
          <c:x val="8.2477145570436922E-2"/>
          <c:y val="0"/>
          <c:w val="0.65942970898288678"/>
          <c:h val="0.92548926459591907"/>
        </c:manualLayout>
      </c:layout>
      <c:barChart>
        <c:barDir val="bar"/>
        <c:grouping val="percentStacked"/>
        <c:varyColors val="0"/>
        <c:ser>
          <c:idx val="0"/>
          <c:order val="0"/>
          <c:tx>
            <c:strRef>
              <c:f>Tabelle1!$B$1</c:f>
              <c:strCache>
                <c:ptCount val="1"/>
                <c:pt idx="0">
                  <c:v>Data series 1</c:v>
                </c:pt>
              </c:strCache>
            </c:strRef>
          </c:tx>
          <c:spPr>
            <a:solidFill>
              <a:srgbClr val="00E6DC"/>
            </a:solidFill>
            <a:ln w="19050">
              <a:solidFill>
                <a:schemeClr val="bg2"/>
              </a:solidFill>
            </a:ln>
          </c:spPr>
          <c:invertIfNegative val="0"/>
          <c:dLbls>
            <c:spPr>
              <a:noFill/>
              <a:ln>
                <a:noFill/>
              </a:ln>
              <a:effectLst/>
            </c:spPr>
            <c:txPr>
              <a:bodyPr wrap="square" lIns="38100" tIns="19050" rIns="38100" bIns="19050" anchor="ctr">
                <a:spAutoFit/>
              </a:bodyPr>
              <a:lstStyle/>
              <a:p>
                <a:pPr>
                  <a:defRPr sz="1400" b="1">
                    <a:solidFill>
                      <a:srgbClr val="333353"/>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A$2:$A$5</c:f>
              <c:strCache>
                <c:ptCount val="4"/>
                <c:pt idx="0">
                  <c:v>Category 1</c:v>
                </c:pt>
                <c:pt idx="1">
                  <c:v>Category 2</c:v>
                </c:pt>
                <c:pt idx="2">
                  <c:v>Category 3</c:v>
                </c:pt>
                <c:pt idx="3">
                  <c:v>Category 4</c:v>
                </c:pt>
              </c:strCache>
            </c:strRef>
          </c:cat>
          <c:val>
            <c:numRef>
              <c:f>Tabelle1!$B$2:$B$5</c:f>
              <c:numCache>
                <c:formatCode>0.0</c:formatCode>
                <c:ptCount val="4"/>
                <c:pt idx="0">
                  <c:v>4.3</c:v>
                </c:pt>
                <c:pt idx="1">
                  <c:v>2.5</c:v>
                </c:pt>
                <c:pt idx="2">
                  <c:v>3.5</c:v>
                </c:pt>
                <c:pt idx="3">
                  <c:v>4.5</c:v>
                </c:pt>
              </c:numCache>
            </c:numRef>
          </c:val>
          <c:extLst>
            <c:ext xmlns:c16="http://schemas.microsoft.com/office/drawing/2014/chart" uri="{C3380CC4-5D6E-409C-BE32-E72D297353CC}">
              <c16:uniqueId val="{00000000-D466-4B9F-9604-BB2E6BADF15F}"/>
            </c:ext>
          </c:extLst>
        </c:ser>
        <c:ser>
          <c:idx val="1"/>
          <c:order val="1"/>
          <c:tx>
            <c:strRef>
              <c:f>Tabelle1!$C$1</c:f>
              <c:strCache>
                <c:ptCount val="1"/>
                <c:pt idx="0">
                  <c:v>Data series 2</c:v>
                </c:pt>
              </c:strCache>
            </c:strRef>
          </c:tx>
          <c:spPr>
            <a:solidFill>
              <a:schemeClr val="accent1"/>
            </a:solidFill>
            <a:ln w="19050">
              <a:solidFill>
                <a:schemeClr val="bg2"/>
              </a:solidFill>
            </a:ln>
          </c:spPr>
          <c:invertIfNegative val="0"/>
          <c:dLbls>
            <c:spPr>
              <a:noFill/>
              <a:ln>
                <a:noFill/>
              </a:ln>
              <a:effectLst/>
            </c:spPr>
            <c:txPr>
              <a:bodyPr wrap="square" lIns="38100" tIns="19050" rIns="38100" bIns="19050" anchor="ctr">
                <a:spAutoFit/>
              </a:bodyPr>
              <a:lstStyle/>
              <a:p>
                <a:pPr>
                  <a:defRPr sz="1400">
                    <a:solidFill>
                      <a:schemeClr val="tx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A$2:$A$5</c:f>
              <c:strCache>
                <c:ptCount val="4"/>
                <c:pt idx="0">
                  <c:v>Category 1</c:v>
                </c:pt>
                <c:pt idx="1">
                  <c:v>Category 2</c:v>
                </c:pt>
                <c:pt idx="2">
                  <c:v>Category 3</c:v>
                </c:pt>
                <c:pt idx="3">
                  <c:v>Category 4</c:v>
                </c:pt>
              </c:strCache>
            </c:strRef>
          </c:cat>
          <c:val>
            <c:numRef>
              <c:f>Tabelle1!$C$2:$C$5</c:f>
              <c:numCache>
                <c:formatCode>0.0</c:formatCode>
                <c:ptCount val="4"/>
                <c:pt idx="0">
                  <c:v>2.4</c:v>
                </c:pt>
                <c:pt idx="1">
                  <c:v>4.4000000000000004</c:v>
                </c:pt>
                <c:pt idx="2">
                  <c:v>1.8</c:v>
                </c:pt>
                <c:pt idx="3">
                  <c:v>2.8</c:v>
                </c:pt>
              </c:numCache>
            </c:numRef>
          </c:val>
          <c:extLst>
            <c:ext xmlns:c16="http://schemas.microsoft.com/office/drawing/2014/chart" uri="{C3380CC4-5D6E-409C-BE32-E72D297353CC}">
              <c16:uniqueId val="{00000001-D466-4B9F-9604-BB2E6BADF15F}"/>
            </c:ext>
          </c:extLst>
        </c:ser>
        <c:ser>
          <c:idx val="2"/>
          <c:order val="2"/>
          <c:tx>
            <c:strRef>
              <c:f>Tabelle1!$D$1</c:f>
              <c:strCache>
                <c:ptCount val="1"/>
                <c:pt idx="0">
                  <c:v>Data series 3</c:v>
                </c:pt>
              </c:strCache>
            </c:strRef>
          </c:tx>
          <c:spPr>
            <a:solidFill>
              <a:srgbClr val="00646E"/>
            </a:solidFill>
            <a:ln w="19050">
              <a:solidFill>
                <a:schemeClr val="bg2"/>
              </a:solidFill>
            </a:ln>
          </c:spPr>
          <c:invertIfNegative val="0"/>
          <c:dLbls>
            <c:spPr>
              <a:noFill/>
              <a:ln>
                <a:noFill/>
              </a:ln>
              <a:effectLst/>
            </c:spPr>
            <c:txPr>
              <a:bodyPr wrap="square" lIns="38100" tIns="19050" rIns="38100" bIns="19050" anchor="ctr">
                <a:spAutoFit/>
              </a:bodyPr>
              <a:lstStyle/>
              <a:p>
                <a:pPr>
                  <a:defRPr sz="1400" b="0">
                    <a:solidFill>
                      <a:schemeClr val="tx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A$2:$A$5</c:f>
              <c:strCache>
                <c:ptCount val="4"/>
                <c:pt idx="0">
                  <c:v>Category 1</c:v>
                </c:pt>
                <c:pt idx="1">
                  <c:v>Category 2</c:v>
                </c:pt>
                <c:pt idx="2">
                  <c:v>Category 3</c:v>
                </c:pt>
                <c:pt idx="3">
                  <c:v>Category 4</c:v>
                </c:pt>
              </c:strCache>
            </c:strRef>
          </c:cat>
          <c:val>
            <c:numRef>
              <c:f>Tabelle1!$D$2:$D$5</c:f>
              <c:numCache>
                <c:formatCode>0.0</c:formatCode>
                <c:ptCount val="4"/>
                <c:pt idx="0">
                  <c:v>2</c:v>
                </c:pt>
                <c:pt idx="1">
                  <c:v>2</c:v>
                </c:pt>
                <c:pt idx="2">
                  <c:v>3</c:v>
                </c:pt>
                <c:pt idx="3">
                  <c:v>5</c:v>
                </c:pt>
              </c:numCache>
            </c:numRef>
          </c:val>
          <c:extLst>
            <c:ext xmlns:c16="http://schemas.microsoft.com/office/drawing/2014/chart" uri="{C3380CC4-5D6E-409C-BE32-E72D297353CC}">
              <c16:uniqueId val="{00000002-D466-4B9F-9604-BB2E6BADF15F}"/>
            </c:ext>
          </c:extLst>
        </c:ser>
        <c:dLbls>
          <c:showLegendKey val="0"/>
          <c:showVal val="0"/>
          <c:showCatName val="0"/>
          <c:showSerName val="0"/>
          <c:showPercent val="0"/>
          <c:showBubbleSize val="0"/>
        </c:dLbls>
        <c:gapWidth val="150"/>
        <c:overlap val="100"/>
        <c:axId val="117478528"/>
        <c:axId val="117480064"/>
      </c:barChart>
      <c:catAx>
        <c:axId val="117478528"/>
        <c:scaling>
          <c:orientation val="maxMin"/>
        </c:scaling>
        <c:delete val="0"/>
        <c:axPos val="l"/>
        <c:numFmt formatCode="General" sourceLinked="0"/>
        <c:majorTickMark val="out"/>
        <c:minorTickMark val="none"/>
        <c:tickLblPos val="nextTo"/>
        <c:spPr>
          <a:ln>
            <a:solidFill>
              <a:srgbClr val="9999A9"/>
            </a:solidFill>
          </a:ln>
        </c:spPr>
        <c:txPr>
          <a:bodyPr/>
          <a:lstStyle/>
          <a:p>
            <a:pPr>
              <a:defRPr sz="1200" b="1">
                <a:solidFill>
                  <a:srgbClr val="9999A9"/>
                </a:solidFill>
              </a:defRPr>
            </a:pPr>
            <a:endParaRPr lang="de-DE"/>
          </a:p>
        </c:txPr>
        <c:crossAx val="117480064"/>
        <c:crosses val="autoZero"/>
        <c:auto val="1"/>
        <c:lblAlgn val="ctr"/>
        <c:lblOffset val="100"/>
        <c:noMultiLvlLbl val="0"/>
      </c:catAx>
      <c:valAx>
        <c:axId val="117480064"/>
        <c:scaling>
          <c:orientation val="minMax"/>
        </c:scaling>
        <c:delete val="1"/>
        <c:axPos val="t"/>
        <c:numFmt formatCode="0%" sourceLinked="1"/>
        <c:majorTickMark val="out"/>
        <c:minorTickMark val="none"/>
        <c:tickLblPos val="nextTo"/>
        <c:crossAx val="117478528"/>
        <c:crosses val="autoZero"/>
        <c:crossBetween val="between"/>
      </c:valAx>
    </c:plotArea>
    <c:legend>
      <c:legendPos val="r"/>
      <c:layout>
        <c:manualLayout>
          <c:xMode val="edge"/>
          <c:yMode val="edge"/>
          <c:x val="0.86608759871415375"/>
          <c:y val="0.73848815507885712"/>
          <c:w val="0.11694006233805601"/>
          <c:h val="0.18592008438709307"/>
        </c:manualLayout>
      </c:layout>
      <c:overlay val="0"/>
      <c:txPr>
        <a:bodyPr/>
        <a:lstStyle/>
        <a:p>
          <a:pPr>
            <a:defRPr sz="1400">
              <a:solidFill>
                <a:srgbClr val="9999A9"/>
              </a:solidFill>
            </a:defRPr>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31560032585647196"/>
          <c:y val="4.3813605345054754E-2"/>
          <c:w val="0.36776276397169394"/>
          <c:h val="0.88103509160938509"/>
        </c:manualLayout>
      </c:layout>
      <c:doughnutChart>
        <c:varyColors val="1"/>
        <c:ser>
          <c:idx val="0"/>
          <c:order val="0"/>
          <c:tx>
            <c:strRef>
              <c:f>Tabelle1!$B$1</c:f>
              <c:strCache>
                <c:ptCount val="1"/>
                <c:pt idx="0">
                  <c:v>Data series</c:v>
                </c:pt>
              </c:strCache>
            </c:strRef>
          </c:tx>
          <c:spPr>
            <a:solidFill>
              <a:srgbClr val="00646E"/>
            </a:solidFill>
            <a:ln w="22225">
              <a:solidFill>
                <a:schemeClr val="bg1"/>
              </a:solidFill>
            </a:ln>
          </c:spPr>
          <c:dPt>
            <c:idx val="0"/>
            <c:bubble3D val="0"/>
            <c:extLst>
              <c:ext xmlns:c16="http://schemas.microsoft.com/office/drawing/2014/chart" uri="{C3380CC4-5D6E-409C-BE32-E72D297353CC}">
                <c16:uniqueId val="{00000001-01F3-4398-A5ED-E010078CAB2D}"/>
              </c:ext>
            </c:extLst>
          </c:dPt>
          <c:dPt>
            <c:idx val="1"/>
            <c:bubble3D val="0"/>
            <c:spPr>
              <a:solidFill>
                <a:srgbClr val="00AF8E"/>
              </a:solidFill>
              <a:ln w="22225">
                <a:solidFill>
                  <a:schemeClr val="bg1"/>
                </a:solidFill>
              </a:ln>
            </c:spPr>
            <c:extLst>
              <c:ext xmlns:c16="http://schemas.microsoft.com/office/drawing/2014/chart" uri="{C3380CC4-5D6E-409C-BE32-E72D297353CC}">
                <c16:uniqueId val="{00000002-01F3-4398-A5ED-E010078CAB2D}"/>
              </c:ext>
            </c:extLst>
          </c:dPt>
          <c:dPt>
            <c:idx val="2"/>
            <c:bubble3D val="0"/>
            <c:spPr>
              <a:solidFill>
                <a:srgbClr val="00FFB9"/>
              </a:solidFill>
              <a:ln w="22225">
                <a:solidFill>
                  <a:schemeClr val="bg1"/>
                </a:solidFill>
              </a:ln>
            </c:spPr>
            <c:extLst>
              <c:ext xmlns:c16="http://schemas.microsoft.com/office/drawing/2014/chart" uri="{C3380CC4-5D6E-409C-BE32-E72D297353CC}">
                <c16:uniqueId val="{00000003-01F3-4398-A5ED-E010078CAB2D}"/>
              </c:ext>
            </c:extLst>
          </c:dPt>
          <c:dPt>
            <c:idx val="3"/>
            <c:bubble3D val="0"/>
            <c:spPr>
              <a:solidFill>
                <a:srgbClr val="CCCCD4"/>
              </a:solidFill>
              <a:ln w="22225">
                <a:solidFill>
                  <a:schemeClr val="bg1"/>
                </a:solidFill>
              </a:ln>
            </c:spPr>
            <c:extLst>
              <c:ext xmlns:c16="http://schemas.microsoft.com/office/drawing/2014/chart" uri="{C3380CC4-5D6E-409C-BE32-E72D297353CC}">
                <c16:uniqueId val="{00000004-01F3-4398-A5ED-E010078CAB2D}"/>
              </c:ext>
            </c:extLst>
          </c:dPt>
          <c:cat>
            <c:strRef>
              <c:f>Tabelle1!$A$2:$A$5</c:f>
              <c:strCache>
                <c:ptCount val="4"/>
                <c:pt idx="0">
                  <c:v>Category 1</c:v>
                </c:pt>
                <c:pt idx="1">
                  <c:v>Category 2</c:v>
                </c:pt>
                <c:pt idx="2">
                  <c:v>Category 3</c:v>
                </c:pt>
                <c:pt idx="3">
                  <c:v>Category 4</c:v>
                </c:pt>
              </c:strCache>
            </c:strRef>
          </c:cat>
          <c:val>
            <c:numRef>
              <c:f>Tabelle1!$B$2:$B$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0-01F3-4398-A5ED-E010078CAB2D}"/>
            </c:ext>
          </c:extLst>
        </c:ser>
        <c:dLbls>
          <c:showLegendKey val="0"/>
          <c:showVal val="0"/>
          <c:showCatName val="0"/>
          <c:showSerName val="0"/>
          <c:showPercent val="0"/>
          <c:showBubbleSize val="0"/>
          <c:showLeaderLines val="1"/>
        </c:dLbls>
        <c:firstSliceAng val="0"/>
        <c:holeSize val="70"/>
      </c:doughnutChart>
    </c:plotArea>
    <c:legend>
      <c:legendPos val="r"/>
      <c:layout>
        <c:manualLayout>
          <c:xMode val="edge"/>
          <c:yMode val="edge"/>
          <c:x val="0.86511526803523109"/>
          <c:y val="0.67541982765319142"/>
          <c:w val="0.11437147286211187"/>
          <c:h val="0.24789344584945744"/>
        </c:manualLayout>
      </c:layout>
      <c:overlay val="0"/>
      <c:txPr>
        <a:bodyPr/>
        <a:lstStyle/>
        <a:p>
          <a:pPr>
            <a:defRPr sz="1400">
              <a:solidFill>
                <a:srgbClr val="66667E"/>
              </a:solidFill>
            </a:defRPr>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31560032585647196"/>
          <c:y val="4.3813605345054754E-2"/>
          <c:w val="0.36776276397169394"/>
          <c:h val="0.88103509160938509"/>
        </c:manualLayout>
      </c:layout>
      <c:doughnutChart>
        <c:varyColors val="1"/>
        <c:ser>
          <c:idx val="0"/>
          <c:order val="0"/>
          <c:tx>
            <c:strRef>
              <c:f>Tabelle1!$B$1</c:f>
              <c:strCache>
                <c:ptCount val="1"/>
                <c:pt idx="0">
                  <c:v>Data series</c:v>
                </c:pt>
              </c:strCache>
            </c:strRef>
          </c:tx>
          <c:spPr>
            <a:solidFill>
              <a:srgbClr val="00646E"/>
            </a:solidFill>
            <a:ln w="22225">
              <a:solidFill>
                <a:schemeClr val="bg2"/>
              </a:solidFill>
            </a:ln>
          </c:spPr>
          <c:dPt>
            <c:idx val="0"/>
            <c:bubble3D val="0"/>
            <c:extLst>
              <c:ext xmlns:c16="http://schemas.microsoft.com/office/drawing/2014/chart" uri="{C3380CC4-5D6E-409C-BE32-E72D297353CC}">
                <c16:uniqueId val="{00000001-01F3-4398-A5ED-E010078CAB2D}"/>
              </c:ext>
            </c:extLst>
          </c:dPt>
          <c:dPt>
            <c:idx val="1"/>
            <c:bubble3D val="0"/>
            <c:spPr>
              <a:solidFill>
                <a:srgbClr val="00AF8E"/>
              </a:solidFill>
              <a:ln w="22225">
                <a:solidFill>
                  <a:schemeClr val="bg2"/>
                </a:solidFill>
              </a:ln>
            </c:spPr>
            <c:extLst>
              <c:ext xmlns:c16="http://schemas.microsoft.com/office/drawing/2014/chart" uri="{C3380CC4-5D6E-409C-BE32-E72D297353CC}">
                <c16:uniqueId val="{00000002-01F3-4398-A5ED-E010078CAB2D}"/>
              </c:ext>
            </c:extLst>
          </c:dPt>
          <c:dPt>
            <c:idx val="2"/>
            <c:bubble3D val="0"/>
            <c:spPr>
              <a:solidFill>
                <a:srgbClr val="00FFB9"/>
              </a:solidFill>
              <a:ln w="22225">
                <a:solidFill>
                  <a:schemeClr val="bg2"/>
                </a:solidFill>
              </a:ln>
            </c:spPr>
            <c:extLst>
              <c:ext xmlns:c16="http://schemas.microsoft.com/office/drawing/2014/chart" uri="{C3380CC4-5D6E-409C-BE32-E72D297353CC}">
                <c16:uniqueId val="{00000003-01F3-4398-A5ED-E010078CAB2D}"/>
              </c:ext>
            </c:extLst>
          </c:dPt>
          <c:dPt>
            <c:idx val="3"/>
            <c:bubble3D val="0"/>
            <c:spPr>
              <a:solidFill>
                <a:srgbClr val="333353"/>
              </a:solidFill>
              <a:ln w="22225">
                <a:solidFill>
                  <a:schemeClr val="bg2"/>
                </a:solidFill>
              </a:ln>
            </c:spPr>
            <c:extLst>
              <c:ext xmlns:c16="http://schemas.microsoft.com/office/drawing/2014/chart" uri="{C3380CC4-5D6E-409C-BE32-E72D297353CC}">
                <c16:uniqueId val="{00000004-01F3-4398-A5ED-E010078CAB2D}"/>
              </c:ext>
            </c:extLst>
          </c:dPt>
          <c:cat>
            <c:strRef>
              <c:f>Tabelle1!$A$2:$A$5</c:f>
              <c:strCache>
                <c:ptCount val="4"/>
                <c:pt idx="0">
                  <c:v>Category 1</c:v>
                </c:pt>
                <c:pt idx="1">
                  <c:v>Category 2</c:v>
                </c:pt>
                <c:pt idx="2">
                  <c:v>Category 3</c:v>
                </c:pt>
                <c:pt idx="3">
                  <c:v>Category 4</c:v>
                </c:pt>
              </c:strCache>
            </c:strRef>
          </c:cat>
          <c:val>
            <c:numRef>
              <c:f>Tabelle1!$B$2:$B$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0-01F3-4398-A5ED-E010078CAB2D}"/>
            </c:ext>
          </c:extLst>
        </c:ser>
        <c:dLbls>
          <c:showLegendKey val="0"/>
          <c:showVal val="0"/>
          <c:showCatName val="0"/>
          <c:showSerName val="0"/>
          <c:showPercent val="0"/>
          <c:showBubbleSize val="0"/>
          <c:showLeaderLines val="1"/>
        </c:dLbls>
        <c:firstSliceAng val="0"/>
        <c:holeSize val="70"/>
      </c:doughnutChart>
    </c:plotArea>
    <c:legend>
      <c:legendPos val="r"/>
      <c:layout>
        <c:manualLayout>
          <c:xMode val="edge"/>
          <c:yMode val="edge"/>
          <c:x val="0.86511526803523109"/>
          <c:y val="0.67541982765319142"/>
          <c:w val="0.11437147286211187"/>
          <c:h val="0.24789344584945744"/>
        </c:manualLayout>
      </c:layout>
      <c:overlay val="0"/>
      <c:txPr>
        <a:bodyPr/>
        <a:lstStyle/>
        <a:p>
          <a:pPr>
            <a:defRPr sz="1400">
              <a:solidFill>
                <a:srgbClr val="9999A9"/>
              </a:solidFill>
            </a:defRPr>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5.2491111111111113E-2"/>
          <c:y val="0.13800714991633295"/>
          <c:w val="0.9016477777777776"/>
          <c:h val="0.73728134641387777"/>
        </c:manualLayout>
      </c:layout>
      <c:doughnutChart>
        <c:varyColors val="1"/>
        <c:ser>
          <c:idx val="0"/>
          <c:order val="0"/>
          <c:tx>
            <c:strRef>
              <c:f>Tabelle1!$B$1</c:f>
              <c:strCache>
                <c:ptCount val="1"/>
                <c:pt idx="0">
                  <c:v>Data series 1</c:v>
                </c:pt>
              </c:strCache>
            </c:strRef>
          </c:tx>
          <c:spPr>
            <a:ln w="22225">
              <a:solidFill>
                <a:schemeClr val="bg1"/>
              </a:solidFill>
            </a:ln>
          </c:spPr>
          <c:dPt>
            <c:idx val="0"/>
            <c:bubble3D val="0"/>
            <c:spPr>
              <a:solidFill>
                <a:srgbClr val="00646E"/>
              </a:solidFill>
              <a:ln w="22225">
                <a:solidFill>
                  <a:schemeClr val="bg1"/>
                </a:solidFill>
              </a:ln>
            </c:spPr>
            <c:extLst>
              <c:ext xmlns:c16="http://schemas.microsoft.com/office/drawing/2014/chart" uri="{C3380CC4-5D6E-409C-BE32-E72D297353CC}">
                <c16:uniqueId val="{00000001-01F3-4398-A5ED-E010078CAB2D}"/>
              </c:ext>
            </c:extLst>
          </c:dPt>
          <c:dPt>
            <c:idx val="1"/>
            <c:bubble3D val="0"/>
            <c:spPr>
              <a:solidFill>
                <a:srgbClr val="00AF8E"/>
              </a:solidFill>
              <a:ln w="22225">
                <a:solidFill>
                  <a:schemeClr val="bg1"/>
                </a:solidFill>
              </a:ln>
            </c:spPr>
            <c:extLst>
              <c:ext xmlns:c16="http://schemas.microsoft.com/office/drawing/2014/chart" uri="{C3380CC4-5D6E-409C-BE32-E72D297353CC}">
                <c16:uniqueId val="{00000002-01F3-4398-A5ED-E010078CAB2D}"/>
              </c:ext>
            </c:extLst>
          </c:dPt>
          <c:dPt>
            <c:idx val="2"/>
            <c:bubble3D val="0"/>
            <c:spPr>
              <a:solidFill>
                <a:srgbClr val="00FFB9"/>
              </a:solidFill>
              <a:ln w="22225">
                <a:solidFill>
                  <a:schemeClr val="bg1"/>
                </a:solidFill>
              </a:ln>
            </c:spPr>
            <c:extLst>
              <c:ext xmlns:c16="http://schemas.microsoft.com/office/drawing/2014/chart" uri="{C3380CC4-5D6E-409C-BE32-E72D297353CC}">
                <c16:uniqueId val="{00000003-01F3-4398-A5ED-E010078CAB2D}"/>
              </c:ext>
            </c:extLst>
          </c:dPt>
          <c:dPt>
            <c:idx val="3"/>
            <c:bubble3D val="0"/>
            <c:spPr>
              <a:solidFill>
                <a:srgbClr val="CCCCD4"/>
              </a:solidFill>
              <a:ln w="22225">
                <a:solidFill>
                  <a:schemeClr val="bg1"/>
                </a:solidFill>
              </a:ln>
            </c:spPr>
            <c:extLst>
              <c:ext xmlns:c16="http://schemas.microsoft.com/office/drawing/2014/chart" uri="{C3380CC4-5D6E-409C-BE32-E72D297353CC}">
                <c16:uniqueId val="{00000004-01F3-4398-A5ED-E010078CAB2D}"/>
              </c:ext>
            </c:extLst>
          </c:dPt>
          <c:val>
            <c:numRef>
              <c:f>Tabelle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01F3-4398-A5ED-E010078CAB2D}"/>
            </c:ext>
          </c:extLst>
        </c:ser>
        <c:dLbls>
          <c:showLegendKey val="0"/>
          <c:showVal val="0"/>
          <c:showCatName val="0"/>
          <c:showSerName val="0"/>
          <c:showPercent val="0"/>
          <c:showBubbleSize val="0"/>
          <c:showLeaderLines val="1"/>
        </c:dLbls>
        <c:firstSliceAng val="0"/>
        <c:holeSize val="70"/>
      </c:doughnutChart>
    </c:plotArea>
    <c:plotVisOnly val="1"/>
    <c:dispBlanksAs val="gap"/>
    <c:showDLblsOverMax val="0"/>
  </c:chart>
  <c:txPr>
    <a:bodyPr/>
    <a:lstStyle/>
    <a:p>
      <a:pPr>
        <a:defRPr sz="1800"/>
      </a:pPr>
      <a:endParaRPr lang="de-DE"/>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5.2491111111111113E-2"/>
          <c:y val="0.13800714991633295"/>
          <c:w val="0.9016477777777776"/>
          <c:h val="0.73728134641387777"/>
        </c:manualLayout>
      </c:layout>
      <c:doughnutChart>
        <c:varyColors val="1"/>
        <c:ser>
          <c:idx val="0"/>
          <c:order val="0"/>
          <c:tx>
            <c:strRef>
              <c:f>Tabelle1!$C$1</c:f>
              <c:strCache>
                <c:ptCount val="1"/>
                <c:pt idx="0">
                  <c:v>Data series 2</c:v>
                </c:pt>
              </c:strCache>
            </c:strRef>
          </c:tx>
          <c:spPr>
            <a:solidFill>
              <a:srgbClr val="9999A9"/>
            </a:solidFill>
            <a:ln w="22225">
              <a:solidFill>
                <a:schemeClr val="bg1"/>
              </a:solidFill>
            </a:ln>
          </c:spPr>
          <c:dPt>
            <c:idx val="0"/>
            <c:bubble3D val="0"/>
            <c:spPr>
              <a:solidFill>
                <a:srgbClr val="00646E"/>
              </a:solidFill>
              <a:ln w="22225">
                <a:solidFill>
                  <a:schemeClr val="bg1"/>
                </a:solidFill>
              </a:ln>
            </c:spPr>
            <c:extLst>
              <c:ext xmlns:c16="http://schemas.microsoft.com/office/drawing/2014/chart" uri="{C3380CC4-5D6E-409C-BE32-E72D297353CC}">
                <c16:uniqueId val="{00000001-01F3-4398-A5ED-E010078CAB2D}"/>
              </c:ext>
            </c:extLst>
          </c:dPt>
          <c:dPt>
            <c:idx val="1"/>
            <c:bubble3D val="0"/>
            <c:spPr>
              <a:solidFill>
                <a:srgbClr val="00AF8E"/>
              </a:solidFill>
              <a:ln w="22225">
                <a:solidFill>
                  <a:schemeClr val="bg1"/>
                </a:solidFill>
              </a:ln>
            </c:spPr>
            <c:extLst>
              <c:ext xmlns:c16="http://schemas.microsoft.com/office/drawing/2014/chart" uri="{C3380CC4-5D6E-409C-BE32-E72D297353CC}">
                <c16:uniqueId val="{00000002-01F3-4398-A5ED-E010078CAB2D}"/>
              </c:ext>
            </c:extLst>
          </c:dPt>
          <c:dPt>
            <c:idx val="2"/>
            <c:bubble3D val="0"/>
            <c:spPr>
              <a:solidFill>
                <a:srgbClr val="00FFB9"/>
              </a:solidFill>
              <a:ln w="22225">
                <a:solidFill>
                  <a:schemeClr val="bg1"/>
                </a:solidFill>
              </a:ln>
            </c:spPr>
            <c:extLst>
              <c:ext xmlns:c16="http://schemas.microsoft.com/office/drawing/2014/chart" uri="{C3380CC4-5D6E-409C-BE32-E72D297353CC}">
                <c16:uniqueId val="{00000003-01F3-4398-A5ED-E010078CAB2D}"/>
              </c:ext>
            </c:extLst>
          </c:dPt>
          <c:dPt>
            <c:idx val="3"/>
            <c:bubble3D val="0"/>
            <c:spPr>
              <a:solidFill>
                <a:srgbClr val="CCCCD4"/>
              </a:solidFill>
              <a:ln w="22225">
                <a:solidFill>
                  <a:schemeClr val="bg1"/>
                </a:solidFill>
              </a:ln>
            </c:spPr>
            <c:extLst>
              <c:ext xmlns:c16="http://schemas.microsoft.com/office/drawing/2014/chart" uri="{C3380CC4-5D6E-409C-BE32-E72D297353CC}">
                <c16:uniqueId val="{00000004-01F3-4398-A5ED-E010078CAB2D}"/>
              </c:ext>
            </c:extLst>
          </c:dPt>
          <c:val>
            <c:numRef>
              <c:f>Tabelle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0-01F3-4398-A5ED-E010078CAB2D}"/>
            </c:ext>
          </c:extLst>
        </c:ser>
        <c:dLbls>
          <c:showLegendKey val="0"/>
          <c:showVal val="0"/>
          <c:showCatName val="0"/>
          <c:showSerName val="0"/>
          <c:showPercent val="0"/>
          <c:showBubbleSize val="0"/>
          <c:showLeaderLines val="1"/>
        </c:dLbls>
        <c:firstSliceAng val="0"/>
        <c:holeSize val="70"/>
      </c:doughnutChart>
    </c:plotArea>
    <c:legend>
      <c:legendPos val="b"/>
      <c:overlay val="0"/>
      <c:txPr>
        <a:bodyPr/>
        <a:lstStyle/>
        <a:p>
          <a:pPr rtl="0">
            <a:defRPr sz="1400">
              <a:solidFill>
                <a:srgbClr val="66667E"/>
              </a:solidFill>
            </a:defRPr>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5.2491111111111113E-2"/>
          <c:y val="0.13800714991633295"/>
          <c:w val="0.9016477777777776"/>
          <c:h val="0.73728134641387777"/>
        </c:manualLayout>
      </c:layout>
      <c:doughnutChart>
        <c:varyColors val="1"/>
        <c:ser>
          <c:idx val="0"/>
          <c:order val="0"/>
          <c:tx>
            <c:strRef>
              <c:f>Tabelle1!$D$1</c:f>
              <c:strCache>
                <c:ptCount val="1"/>
                <c:pt idx="0">
                  <c:v>Data series 3</c:v>
                </c:pt>
              </c:strCache>
            </c:strRef>
          </c:tx>
          <c:spPr>
            <a:solidFill>
              <a:srgbClr val="9999A9"/>
            </a:solidFill>
            <a:ln w="22225">
              <a:solidFill>
                <a:schemeClr val="bg1"/>
              </a:solidFill>
            </a:ln>
          </c:spPr>
          <c:dPt>
            <c:idx val="0"/>
            <c:bubble3D val="0"/>
            <c:spPr>
              <a:solidFill>
                <a:srgbClr val="00646E"/>
              </a:solidFill>
              <a:ln w="22225">
                <a:solidFill>
                  <a:schemeClr val="bg1"/>
                </a:solidFill>
              </a:ln>
            </c:spPr>
            <c:extLst>
              <c:ext xmlns:c16="http://schemas.microsoft.com/office/drawing/2014/chart" uri="{C3380CC4-5D6E-409C-BE32-E72D297353CC}">
                <c16:uniqueId val="{00000001-01F3-4398-A5ED-E010078CAB2D}"/>
              </c:ext>
            </c:extLst>
          </c:dPt>
          <c:dPt>
            <c:idx val="1"/>
            <c:bubble3D val="0"/>
            <c:spPr>
              <a:solidFill>
                <a:srgbClr val="00AF8E"/>
              </a:solidFill>
              <a:ln w="22225">
                <a:solidFill>
                  <a:schemeClr val="bg1"/>
                </a:solidFill>
              </a:ln>
            </c:spPr>
            <c:extLst>
              <c:ext xmlns:c16="http://schemas.microsoft.com/office/drawing/2014/chart" uri="{C3380CC4-5D6E-409C-BE32-E72D297353CC}">
                <c16:uniqueId val="{00000002-01F3-4398-A5ED-E010078CAB2D}"/>
              </c:ext>
            </c:extLst>
          </c:dPt>
          <c:dPt>
            <c:idx val="2"/>
            <c:bubble3D val="0"/>
            <c:spPr>
              <a:solidFill>
                <a:srgbClr val="00FFB9"/>
              </a:solidFill>
              <a:ln w="22225">
                <a:solidFill>
                  <a:schemeClr val="bg1"/>
                </a:solidFill>
              </a:ln>
            </c:spPr>
            <c:extLst>
              <c:ext xmlns:c16="http://schemas.microsoft.com/office/drawing/2014/chart" uri="{C3380CC4-5D6E-409C-BE32-E72D297353CC}">
                <c16:uniqueId val="{00000003-01F3-4398-A5ED-E010078CAB2D}"/>
              </c:ext>
            </c:extLst>
          </c:dPt>
          <c:dPt>
            <c:idx val="3"/>
            <c:bubble3D val="0"/>
            <c:spPr>
              <a:solidFill>
                <a:srgbClr val="CCCCD4"/>
              </a:solidFill>
              <a:ln w="22225">
                <a:solidFill>
                  <a:schemeClr val="bg1"/>
                </a:solidFill>
              </a:ln>
            </c:spPr>
            <c:extLst>
              <c:ext xmlns:c16="http://schemas.microsoft.com/office/drawing/2014/chart" uri="{C3380CC4-5D6E-409C-BE32-E72D297353CC}">
                <c16:uniqueId val="{00000004-01F3-4398-A5ED-E010078CAB2D}"/>
              </c:ext>
            </c:extLst>
          </c:dPt>
          <c:cat>
            <c:strRef>
              <c:f>Tabelle1!$A$2:$A$5</c:f>
              <c:strCache>
                <c:ptCount val="4"/>
                <c:pt idx="0">
                  <c:v>Category 1</c:v>
                </c:pt>
                <c:pt idx="1">
                  <c:v>Category 2</c:v>
                </c:pt>
                <c:pt idx="2">
                  <c:v>Category 3</c:v>
                </c:pt>
                <c:pt idx="3">
                  <c:v>Category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0-01F3-4398-A5ED-E010078CAB2D}"/>
            </c:ext>
          </c:extLst>
        </c:ser>
        <c:dLbls>
          <c:showLegendKey val="0"/>
          <c:showVal val="0"/>
          <c:showCatName val="0"/>
          <c:showSerName val="0"/>
          <c:showPercent val="0"/>
          <c:showBubbleSize val="0"/>
          <c:showLeaderLines val="1"/>
        </c:dLbls>
        <c:firstSliceAng val="0"/>
        <c:holeSize val="70"/>
      </c:doughnutChart>
    </c:plotArea>
    <c:plotVisOnly val="1"/>
    <c:dispBlanksAs val="gap"/>
    <c:showDLblsOverMax val="0"/>
  </c:chart>
  <c:txPr>
    <a:bodyPr/>
    <a:lstStyle/>
    <a:p>
      <a:pPr>
        <a:defRPr sz="1800"/>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714806763701209E-2"/>
          <c:y val="0.13031405660270098"/>
          <c:w val="0.46296579652063313"/>
          <c:h val="0.75808828080949553"/>
        </c:manualLayout>
      </c:layout>
      <c:radarChart>
        <c:radarStyle val="marker"/>
        <c:varyColors val="0"/>
        <c:ser>
          <c:idx val="0"/>
          <c:order val="0"/>
          <c:tx>
            <c:strRef>
              <c:f>Sheet1!$A$2</c:f>
              <c:strCache>
                <c:ptCount val="1"/>
                <c:pt idx="0">
                  <c:v>Data series 1</c:v>
                </c:pt>
              </c:strCache>
            </c:strRef>
          </c:tx>
          <c:spPr>
            <a:ln w="16230">
              <a:noFill/>
            </a:ln>
          </c:spPr>
          <c:marker>
            <c:symbol val="square"/>
            <c:size val="10"/>
            <c:spPr>
              <a:solidFill>
                <a:srgbClr val="00FFB9"/>
              </a:solidFill>
              <a:ln>
                <a:noFill/>
              </a:ln>
            </c:spPr>
          </c:marker>
          <c:cat>
            <c:strRef>
              <c:f>Sheet1!$B$1:$E$1</c:f>
              <c:strCache>
                <c:ptCount val="4"/>
                <c:pt idx="0">
                  <c:v>A</c:v>
                </c:pt>
                <c:pt idx="1">
                  <c:v>B</c:v>
                </c:pt>
                <c:pt idx="2">
                  <c:v>C</c:v>
                </c:pt>
                <c:pt idx="3">
                  <c:v>D</c:v>
                </c:pt>
              </c:strCache>
            </c:strRef>
          </c:cat>
          <c:val>
            <c:numRef>
              <c:f>Sheet1!$B$2:$E$2</c:f>
              <c:numCache>
                <c:formatCode>General</c:formatCode>
                <c:ptCount val="4"/>
                <c:pt idx="0">
                  <c:v>2.5</c:v>
                </c:pt>
                <c:pt idx="1">
                  <c:v>3</c:v>
                </c:pt>
                <c:pt idx="2">
                  <c:v>3</c:v>
                </c:pt>
                <c:pt idx="3">
                  <c:v>2.5</c:v>
                </c:pt>
              </c:numCache>
            </c:numRef>
          </c:val>
          <c:extLst>
            <c:ext xmlns:c16="http://schemas.microsoft.com/office/drawing/2014/chart" uri="{C3380CC4-5D6E-409C-BE32-E72D297353CC}">
              <c16:uniqueId val="{00000000-708C-4212-A51D-E89D496117A1}"/>
            </c:ext>
          </c:extLst>
        </c:ser>
        <c:ser>
          <c:idx val="1"/>
          <c:order val="1"/>
          <c:tx>
            <c:strRef>
              <c:f>Sheet1!$A$3</c:f>
              <c:strCache>
                <c:ptCount val="1"/>
                <c:pt idx="0">
                  <c:v>Data series 2</c:v>
                </c:pt>
              </c:strCache>
            </c:strRef>
          </c:tx>
          <c:spPr>
            <a:ln w="16230">
              <a:noFill/>
            </a:ln>
          </c:spPr>
          <c:marker>
            <c:symbol val="square"/>
            <c:size val="10"/>
            <c:spPr>
              <a:solidFill>
                <a:srgbClr val="9999A9"/>
              </a:solidFill>
              <a:ln>
                <a:noFill/>
              </a:ln>
            </c:spPr>
          </c:marker>
          <c:cat>
            <c:strRef>
              <c:f>Sheet1!$B$1:$E$1</c:f>
              <c:strCache>
                <c:ptCount val="4"/>
                <c:pt idx="0">
                  <c:v>A</c:v>
                </c:pt>
                <c:pt idx="1">
                  <c:v>B</c:v>
                </c:pt>
                <c:pt idx="2">
                  <c:v>C</c:v>
                </c:pt>
                <c:pt idx="3">
                  <c:v>D</c:v>
                </c:pt>
              </c:strCache>
            </c:strRef>
          </c:cat>
          <c:val>
            <c:numRef>
              <c:f>Sheet1!$B$3:$E$3</c:f>
              <c:numCache>
                <c:formatCode>General</c:formatCode>
                <c:ptCount val="4"/>
                <c:pt idx="0">
                  <c:v>2</c:v>
                </c:pt>
                <c:pt idx="1">
                  <c:v>2.2000000000000002</c:v>
                </c:pt>
                <c:pt idx="2">
                  <c:v>1</c:v>
                </c:pt>
                <c:pt idx="3">
                  <c:v>2</c:v>
                </c:pt>
              </c:numCache>
            </c:numRef>
          </c:val>
          <c:extLst>
            <c:ext xmlns:c16="http://schemas.microsoft.com/office/drawing/2014/chart" uri="{C3380CC4-5D6E-409C-BE32-E72D297353CC}">
              <c16:uniqueId val="{00000001-708C-4212-A51D-E89D496117A1}"/>
            </c:ext>
          </c:extLst>
        </c:ser>
        <c:ser>
          <c:idx val="2"/>
          <c:order val="2"/>
          <c:tx>
            <c:strRef>
              <c:f>Sheet1!$A$4</c:f>
              <c:strCache>
                <c:ptCount val="1"/>
                <c:pt idx="0">
                  <c:v>Data series 3</c:v>
                </c:pt>
              </c:strCache>
            </c:strRef>
          </c:tx>
          <c:spPr>
            <a:ln w="16230">
              <a:noFill/>
            </a:ln>
          </c:spPr>
          <c:marker>
            <c:symbol val="square"/>
            <c:size val="10"/>
            <c:spPr>
              <a:solidFill>
                <a:srgbClr val="00646E"/>
              </a:solidFill>
              <a:ln>
                <a:noFill/>
              </a:ln>
            </c:spPr>
          </c:marker>
          <c:cat>
            <c:strRef>
              <c:f>Sheet1!$B$1:$E$1</c:f>
              <c:strCache>
                <c:ptCount val="4"/>
                <c:pt idx="0">
                  <c:v>A</c:v>
                </c:pt>
                <c:pt idx="1">
                  <c:v>B</c:v>
                </c:pt>
                <c:pt idx="2">
                  <c:v>C</c:v>
                </c:pt>
                <c:pt idx="3">
                  <c:v>D</c:v>
                </c:pt>
              </c:strCache>
            </c:strRef>
          </c:cat>
          <c:val>
            <c:numRef>
              <c:f>Sheet1!$B$4:$E$4</c:f>
              <c:numCache>
                <c:formatCode>General</c:formatCode>
                <c:ptCount val="4"/>
                <c:pt idx="0">
                  <c:v>3</c:v>
                </c:pt>
                <c:pt idx="1">
                  <c:v>3.2</c:v>
                </c:pt>
                <c:pt idx="2">
                  <c:v>2</c:v>
                </c:pt>
                <c:pt idx="3">
                  <c:v>2.9</c:v>
                </c:pt>
              </c:numCache>
            </c:numRef>
          </c:val>
          <c:extLst>
            <c:ext xmlns:c16="http://schemas.microsoft.com/office/drawing/2014/chart" uri="{C3380CC4-5D6E-409C-BE32-E72D297353CC}">
              <c16:uniqueId val="{00000002-708C-4212-A51D-E89D496117A1}"/>
            </c:ext>
          </c:extLst>
        </c:ser>
        <c:dLbls>
          <c:showLegendKey val="0"/>
          <c:showVal val="0"/>
          <c:showCatName val="0"/>
          <c:showSerName val="0"/>
          <c:showPercent val="0"/>
          <c:showBubbleSize val="0"/>
        </c:dLbls>
        <c:axId val="242516384"/>
        <c:axId val="1"/>
      </c:radarChart>
      <c:catAx>
        <c:axId val="242516384"/>
        <c:scaling>
          <c:orientation val="minMax"/>
        </c:scaling>
        <c:delete val="0"/>
        <c:axPos val="b"/>
        <c:majorGridlines>
          <c:spPr>
            <a:ln w="5410">
              <a:noFill/>
            </a:ln>
          </c:spPr>
        </c:majorGridlines>
        <c:numFmt formatCode="General" sourceLinked="1"/>
        <c:majorTickMark val="out"/>
        <c:minorTickMark val="none"/>
        <c:tickLblPos val="none"/>
        <c:txPr>
          <a:bodyPr rot="0" vert="horz"/>
          <a:lstStyle/>
          <a:p>
            <a:pPr>
              <a:defRPr sz="916" b="1" i="0" u="none" strike="noStrike" baseline="0">
                <a:solidFill>
                  <a:schemeClr val="tx1"/>
                </a:solidFill>
                <a:latin typeface="Arial"/>
                <a:ea typeface="Arial"/>
                <a:cs typeface="Arial"/>
              </a:defRPr>
            </a:pPr>
            <a:endParaRPr lang="de-DE"/>
          </a:p>
        </c:txPr>
        <c:crossAx val="1"/>
        <c:crosses val="autoZero"/>
        <c:auto val="0"/>
        <c:lblAlgn val="ctr"/>
        <c:lblOffset val="100"/>
        <c:noMultiLvlLbl val="0"/>
      </c:catAx>
      <c:valAx>
        <c:axId val="1"/>
        <c:scaling>
          <c:orientation val="minMax"/>
          <c:max val="3.5"/>
          <c:min val="0"/>
        </c:scaling>
        <c:delete val="0"/>
        <c:axPos val="l"/>
        <c:numFmt formatCode="General" sourceLinked="1"/>
        <c:majorTickMark val="cross"/>
        <c:minorTickMark val="none"/>
        <c:tickLblPos val="nextTo"/>
        <c:spPr>
          <a:ln w="5410">
            <a:noFill/>
          </a:ln>
        </c:spPr>
        <c:txPr>
          <a:bodyPr rot="0" vert="horz"/>
          <a:lstStyle/>
          <a:p>
            <a:pPr>
              <a:defRPr sz="852" b="0" i="0" u="none" strike="noStrike" baseline="0">
                <a:solidFill>
                  <a:schemeClr val="tx2"/>
                </a:solidFill>
                <a:latin typeface="Arial"/>
                <a:ea typeface="Arial"/>
                <a:cs typeface="Arial"/>
              </a:defRPr>
            </a:pPr>
            <a:endParaRPr lang="de-DE"/>
          </a:p>
        </c:txPr>
        <c:crossAx val="242516384"/>
        <c:crosses val="autoZero"/>
        <c:crossBetween val="between"/>
        <c:majorUnit val="1"/>
        <c:minorUnit val="1"/>
      </c:valAx>
      <c:spPr>
        <a:noFill/>
        <a:ln w="21641">
          <a:noFill/>
        </a:ln>
      </c:spPr>
    </c:plotArea>
    <c:legend>
      <c:legendPos val="r"/>
      <c:layout>
        <c:manualLayout>
          <c:xMode val="edge"/>
          <c:yMode val="edge"/>
          <c:x val="0.57646195526532473"/>
          <c:y val="0.13853635078532048"/>
          <c:w val="0.15459576905156347"/>
          <c:h val="0.1905641835016835"/>
        </c:manualLayout>
      </c:layout>
      <c:overlay val="0"/>
      <c:spPr>
        <a:noFill/>
        <a:ln w="21641">
          <a:noFill/>
        </a:ln>
      </c:spPr>
      <c:txPr>
        <a:bodyPr/>
        <a:lstStyle/>
        <a:p>
          <a:pPr>
            <a:defRPr sz="1200" b="0" i="0" u="none" strike="noStrike" baseline="0">
              <a:solidFill>
                <a:srgbClr val="9999A9"/>
              </a:solidFill>
              <a:latin typeface="Arial"/>
              <a:ea typeface="Arial"/>
              <a:cs typeface="Arial"/>
            </a:defRPr>
          </a:pPr>
          <a:endParaRPr lang="de-DE"/>
        </a:p>
      </c:txPr>
    </c:legend>
    <c:plotVisOnly val="1"/>
    <c:dispBlanksAs val="gap"/>
    <c:showDLblsOverMax val="0"/>
  </c:chart>
  <c:spPr>
    <a:noFill/>
    <a:ln>
      <a:noFill/>
    </a:ln>
  </c:spPr>
  <c:txPr>
    <a:bodyPr/>
    <a:lstStyle/>
    <a:p>
      <a:pPr>
        <a:defRPr sz="1384" b="1" i="0" u="none" strike="noStrike" baseline="0">
          <a:solidFill>
            <a:schemeClr val="tx1"/>
          </a:solidFill>
          <a:latin typeface="Arial"/>
          <a:ea typeface="Arial"/>
          <a:cs typeface="Arial"/>
        </a:defRPr>
      </a:pPr>
      <a:endParaRPr lang="de-DE"/>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5.2491111111111113E-2"/>
          <c:y val="0.13800714991633295"/>
          <c:w val="0.9016477777777776"/>
          <c:h val="0.73728134641387777"/>
        </c:manualLayout>
      </c:layout>
      <c:doughnutChart>
        <c:varyColors val="1"/>
        <c:ser>
          <c:idx val="0"/>
          <c:order val="0"/>
          <c:tx>
            <c:strRef>
              <c:f>Tabelle1!$B$1</c:f>
              <c:strCache>
                <c:ptCount val="1"/>
                <c:pt idx="0">
                  <c:v>Data series 1</c:v>
                </c:pt>
              </c:strCache>
            </c:strRef>
          </c:tx>
          <c:spPr>
            <a:ln w="22225">
              <a:solidFill>
                <a:schemeClr val="bg1"/>
              </a:solidFill>
            </a:ln>
          </c:spPr>
          <c:dPt>
            <c:idx val="0"/>
            <c:bubble3D val="0"/>
            <c:spPr>
              <a:solidFill>
                <a:srgbClr val="00646E"/>
              </a:solidFill>
              <a:ln w="22225">
                <a:solidFill>
                  <a:schemeClr val="bg1"/>
                </a:solidFill>
              </a:ln>
            </c:spPr>
            <c:extLst>
              <c:ext xmlns:c16="http://schemas.microsoft.com/office/drawing/2014/chart" uri="{C3380CC4-5D6E-409C-BE32-E72D297353CC}">
                <c16:uniqueId val="{00000001-01F3-4398-A5ED-E010078CAB2D}"/>
              </c:ext>
            </c:extLst>
          </c:dPt>
          <c:dPt>
            <c:idx val="1"/>
            <c:bubble3D val="0"/>
            <c:spPr>
              <a:solidFill>
                <a:srgbClr val="00AF8E"/>
              </a:solidFill>
              <a:ln w="22225">
                <a:solidFill>
                  <a:schemeClr val="bg1"/>
                </a:solidFill>
              </a:ln>
            </c:spPr>
            <c:extLst>
              <c:ext xmlns:c16="http://schemas.microsoft.com/office/drawing/2014/chart" uri="{C3380CC4-5D6E-409C-BE32-E72D297353CC}">
                <c16:uniqueId val="{00000002-01F3-4398-A5ED-E010078CAB2D}"/>
              </c:ext>
            </c:extLst>
          </c:dPt>
          <c:dPt>
            <c:idx val="2"/>
            <c:bubble3D val="0"/>
            <c:spPr>
              <a:solidFill>
                <a:srgbClr val="00FFB9"/>
              </a:solidFill>
              <a:ln w="22225">
                <a:solidFill>
                  <a:schemeClr val="bg1"/>
                </a:solidFill>
              </a:ln>
            </c:spPr>
            <c:extLst>
              <c:ext xmlns:c16="http://schemas.microsoft.com/office/drawing/2014/chart" uri="{C3380CC4-5D6E-409C-BE32-E72D297353CC}">
                <c16:uniqueId val="{00000003-01F3-4398-A5ED-E010078CAB2D}"/>
              </c:ext>
            </c:extLst>
          </c:dPt>
          <c:dPt>
            <c:idx val="3"/>
            <c:bubble3D val="0"/>
            <c:spPr>
              <a:solidFill>
                <a:srgbClr val="333353"/>
              </a:solidFill>
              <a:ln w="22225">
                <a:solidFill>
                  <a:schemeClr val="bg1"/>
                </a:solidFill>
              </a:ln>
            </c:spPr>
            <c:extLst>
              <c:ext xmlns:c16="http://schemas.microsoft.com/office/drawing/2014/chart" uri="{C3380CC4-5D6E-409C-BE32-E72D297353CC}">
                <c16:uniqueId val="{00000004-01F3-4398-A5ED-E010078CAB2D}"/>
              </c:ext>
            </c:extLst>
          </c:dPt>
          <c:val>
            <c:numRef>
              <c:f>Tabelle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01F3-4398-A5ED-E010078CAB2D}"/>
            </c:ext>
          </c:extLst>
        </c:ser>
        <c:dLbls>
          <c:showLegendKey val="0"/>
          <c:showVal val="0"/>
          <c:showCatName val="0"/>
          <c:showSerName val="0"/>
          <c:showPercent val="0"/>
          <c:showBubbleSize val="0"/>
          <c:showLeaderLines val="1"/>
        </c:dLbls>
        <c:firstSliceAng val="0"/>
        <c:holeSize val="70"/>
      </c:doughnutChart>
    </c:plotArea>
    <c:plotVisOnly val="1"/>
    <c:dispBlanksAs val="gap"/>
    <c:showDLblsOverMax val="0"/>
  </c:chart>
  <c:txPr>
    <a:bodyPr/>
    <a:lstStyle/>
    <a:p>
      <a:pPr>
        <a:defRPr sz="1800"/>
      </a:pPr>
      <a:endParaRPr lang="de-DE"/>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5.2491111111111113E-2"/>
          <c:y val="0.13800714991633295"/>
          <c:w val="0.9016477777777776"/>
          <c:h val="0.73728134641387777"/>
        </c:manualLayout>
      </c:layout>
      <c:doughnutChart>
        <c:varyColors val="1"/>
        <c:ser>
          <c:idx val="0"/>
          <c:order val="0"/>
          <c:tx>
            <c:strRef>
              <c:f>Tabelle1!$C$1</c:f>
              <c:strCache>
                <c:ptCount val="1"/>
                <c:pt idx="0">
                  <c:v>Data series 2</c:v>
                </c:pt>
              </c:strCache>
            </c:strRef>
          </c:tx>
          <c:spPr>
            <a:solidFill>
              <a:srgbClr val="9999A9"/>
            </a:solidFill>
            <a:ln w="22225">
              <a:solidFill>
                <a:schemeClr val="bg1"/>
              </a:solidFill>
            </a:ln>
          </c:spPr>
          <c:dPt>
            <c:idx val="0"/>
            <c:bubble3D val="0"/>
            <c:spPr>
              <a:solidFill>
                <a:srgbClr val="00646E"/>
              </a:solidFill>
              <a:ln w="22225">
                <a:solidFill>
                  <a:schemeClr val="bg1"/>
                </a:solidFill>
              </a:ln>
            </c:spPr>
            <c:extLst>
              <c:ext xmlns:c16="http://schemas.microsoft.com/office/drawing/2014/chart" uri="{C3380CC4-5D6E-409C-BE32-E72D297353CC}">
                <c16:uniqueId val="{00000001-01F3-4398-A5ED-E010078CAB2D}"/>
              </c:ext>
            </c:extLst>
          </c:dPt>
          <c:dPt>
            <c:idx val="1"/>
            <c:bubble3D val="0"/>
            <c:spPr>
              <a:solidFill>
                <a:srgbClr val="00AF8E"/>
              </a:solidFill>
              <a:ln w="22225">
                <a:solidFill>
                  <a:schemeClr val="bg1"/>
                </a:solidFill>
              </a:ln>
            </c:spPr>
            <c:extLst>
              <c:ext xmlns:c16="http://schemas.microsoft.com/office/drawing/2014/chart" uri="{C3380CC4-5D6E-409C-BE32-E72D297353CC}">
                <c16:uniqueId val="{00000002-01F3-4398-A5ED-E010078CAB2D}"/>
              </c:ext>
            </c:extLst>
          </c:dPt>
          <c:dPt>
            <c:idx val="2"/>
            <c:bubble3D val="0"/>
            <c:spPr>
              <a:solidFill>
                <a:srgbClr val="00FFB9"/>
              </a:solidFill>
              <a:ln w="22225">
                <a:solidFill>
                  <a:schemeClr val="bg1"/>
                </a:solidFill>
              </a:ln>
            </c:spPr>
            <c:extLst>
              <c:ext xmlns:c16="http://schemas.microsoft.com/office/drawing/2014/chart" uri="{C3380CC4-5D6E-409C-BE32-E72D297353CC}">
                <c16:uniqueId val="{00000003-01F3-4398-A5ED-E010078CAB2D}"/>
              </c:ext>
            </c:extLst>
          </c:dPt>
          <c:dPt>
            <c:idx val="3"/>
            <c:bubble3D val="0"/>
            <c:spPr>
              <a:solidFill>
                <a:srgbClr val="333353"/>
              </a:solidFill>
              <a:ln w="22225">
                <a:solidFill>
                  <a:schemeClr val="bg1"/>
                </a:solidFill>
              </a:ln>
            </c:spPr>
            <c:extLst>
              <c:ext xmlns:c16="http://schemas.microsoft.com/office/drawing/2014/chart" uri="{C3380CC4-5D6E-409C-BE32-E72D297353CC}">
                <c16:uniqueId val="{00000004-01F3-4398-A5ED-E010078CAB2D}"/>
              </c:ext>
            </c:extLst>
          </c:dPt>
          <c:val>
            <c:numRef>
              <c:f>Tabelle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0-01F3-4398-A5ED-E010078CAB2D}"/>
            </c:ext>
          </c:extLst>
        </c:ser>
        <c:dLbls>
          <c:showLegendKey val="0"/>
          <c:showVal val="0"/>
          <c:showCatName val="0"/>
          <c:showSerName val="0"/>
          <c:showPercent val="0"/>
          <c:showBubbleSize val="0"/>
          <c:showLeaderLines val="1"/>
        </c:dLbls>
        <c:firstSliceAng val="0"/>
        <c:holeSize val="70"/>
      </c:doughnutChart>
    </c:plotArea>
    <c:legend>
      <c:legendPos val="b"/>
      <c:overlay val="0"/>
      <c:txPr>
        <a:bodyPr/>
        <a:lstStyle/>
        <a:p>
          <a:pPr rtl="0">
            <a:defRPr sz="1400">
              <a:solidFill>
                <a:srgbClr val="9999A9"/>
              </a:solidFill>
            </a:defRPr>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5.2491111111111113E-2"/>
          <c:y val="0.13800714991633295"/>
          <c:w val="0.9016477777777776"/>
          <c:h val="0.73728134641387777"/>
        </c:manualLayout>
      </c:layout>
      <c:doughnutChart>
        <c:varyColors val="1"/>
        <c:ser>
          <c:idx val="0"/>
          <c:order val="0"/>
          <c:tx>
            <c:strRef>
              <c:f>Tabelle1!$D$1</c:f>
              <c:strCache>
                <c:ptCount val="1"/>
                <c:pt idx="0">
                  <c:v>Data series 3</c:v>
                </c:pt>
              </c:strCache>
            </c:strRef>
          </c:tx>
          <c:spPr>
            <a:solidFill>
              <a:srgbClr val="9999A9"/>
            </a:solidFill>
            <a:ln w="22225">
              <a:solidFill>
                <a:schemeClr val="bg1"/>
              </a:solidFill>
            </a:ln>
          </c:spPr>
          <c:dPt>
            <c:idx val="0"/>
            <c:bubble3D val="0"/>
            <c:spPr>
              <a:solidFill>
                <a:srgbClr val="00646E"/>
              </a:solidFill>
              <a:ln w="22225">
                <a:solidFill>
                  <a:schemeClr val="bg1"/>
                </a:solidFill>
              </a:ln>
            </c:spPr>
            <c:extLst>
              <c:ext xmlns:c16="http://schemas.microsoft.com/office/drawing/2014/chart" uri="{C3380CC4-5D6E-409C-BE32-E72D297353CC}">
                <c16:uniqueId val="{00000001-01F3-4398-A5ED-E010078CAB2D}"/>
              </c:ext>
            </c:extLst>
          </c:dPt>
          <c:dPt>
            <c:idx val="1"/>
            <c:bubble3D val="0"/>
            <c:spPr>
              <a:solidFill>
                <a:srgbClr val="00AF8E"/>
              </a:solidFill>
              <a:ln w="22225">
                <a:solidFill>
                  <a:schemeClr val="bg1"/>
                </a:solidFill>
              </a:ln>
            </c:spPr>
            <c:extLst>
              <c:ext xmlns:c16="http://schemas.microsoft.com/office/drawing/2014/chart" uri="{C3380CC4-5D6E-409C-BE32-E72D297353CC}">
                <c16:uniqueId val="{00000002-01F3-4398-A5ED-E010078CAB2D}"/>
              </c:ext>
            </c:extLst>
          </c:dPt>
          <c:dPt>
            <c:idx val="2"/>
            <c:bubble3D val="0"/>
            <c:spPr>
              <a:solidFill>
                <a:srgbClr val="00FFB9"/>
              </a:solidFill>
              <a:ln w="22225">
                <a:solidFill>
                  <a:schemeClr val="bg1"/>
                </a:solidFill>
              </a:ln>
            </c:spPr>
            <c:extLst>
              <c:ext xmlns:c16="http://schemas.microsoft.com/office/drawing/2014/chart" uri="{C3380CC4-5D6E-409C-BE32-E72D297353CC}">
                <c16:uniqueId val="{00000003-01F3-4398-A5ED-E010078CAB2D}"/>
              </c:ext>
            </c:extLst>
          </c:dPt>
          <c:dPt>
            <c:idx val="3"/>
            <c:bubble3D val="0"/>
            <c:spPr>
              <a:solidFill>
                <a:srgbClr val="333353"/>
              </a:solidFill>
              <a:ln w="22225">
                <a:solidFill>
                  <a:schemeClr val="bg1"/>
                </a:solidFill>
              </a:ln>
            </c:spPr>
            <c:extLst>
              <c:ext xmlns:c16="http://schemas.microsoft.com/office/drawing/2014/chart" uri="{C3380CC4-5D6E-409C-BE32-E72D297353CC}">
                <c16:uniqueId val="{00000004-01F3-4398-A5ED-E010078CAB2D}"/>
              </c:ext>
            </c:extLst>
          </c:dPt>
          <c:cat>
            <c:strRef>
              <c:f>Tabelle1!$A$2:$A$5</c:f>
              <c:strCache>
                <c:ptCount val="4"/>
                <c:pt idx="0">
                  <c:v>Category 1</c:v>
                </c:pt>
                <c:pt idx="1">
                  <c:v>Category 2</c:v>
                </c:pt>
                <c:pt idx="2">
                  <c:v>Category 3</c:v>
                </c:pt>
                <c:pt idx="3">
                  <c:v>Category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0-01F3-4398-A5ED-E010078CAB2D}"/>
            </c:ext>
          </c:extLst>
        </c:ser>
        <c:dLbls>
          <c:showLegendKey val="0"/>
          <c:showVal val="0"/>
          <c:showCatName val="0"/>
          <c:showSerName val="0"/>
          <c:showPercent val="0"/>
          <c:showBubbleSize val="0"/>
          <c:showLeaderLines val="1"/>
        </c:dLbls>
        <c:firstSliceAng val="0"/>
        <c:holeSize val="70"/>
      </c:doughnutChart>
    </c:plotArea>
    <c:plotVisOnly val="1"/>
    <c:dispBlanksAs val="gap"/>
    <c:showDLblsOverMax val="0"/>
  </c:chart>
  <c:txPr>
    <a:bodyPr/>
    <a:lstStyle/>
    <a:p>
      <a:pPr>
        <a:defRPr sz="1800"/>
      </a:pPr>
      <a:endParaRPr lang="de-DE"/>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3.1827964096720444E-2"/>
          <c:y val="1.7919797573670269E-2"/>
          <c:w val="0.71160533183882835"/>
          <c:h val="0.90683784407709589"/>
        </c:manualLayout>
      </c:layout>
      <c:lineChart>
        <c:grouping val="standard"/>
        <c:varyColors val="0"/>
        <c:ser>
          <c:idx val="0"/>
          <c:order val="0"/>
          <c:tx>
            <c:strRef>
              <c:f>Tabelle1!$A$2</c:f>
              <c:strCache>
                <c:ptCount val="1"/>
                <c:pt idx="0">
                  <c:v>Data series 1</c:v>
                </c:pt>
              </c:strCache>
            </c:strRef>
          </c:tx>
          <c:spPr>
            <a:ln w="19050">
              <a:solidFill>
                <a:srgbClr val="00FFB9"/>
              </a:solidFill>
            </a:ln>
          </c:spPr>
          <c:marker>
            <c:symbol val="circle"/>
            <c:size val="8"/>
            <c:spPr>
              <a:solidFill>
                <a:srgbClr val="00FFB9"/>
              </a:solidFill>
              <a:ln>
                <a:solidFill>
                  <a:srgbClr val="00FFB9"/>
                </a:solidFill>
              </a:ln>
            </c:spPr>
          </c:marker>
          <c:dPt>
            <c:idx val="9"/>
            <c:bubble3D val="0"/>
            <c:extLst>
              <c:ext xmlns:c16="http://schemas.microsoft.com/office/drawing/2014/chart" uri="{C3380CC4-5D6E-409C-BE32-E72D297353CC}">
                <c16:uniqueId val="{00000000-6582-469D-A30C-3174422A1C01}"/>
              </c:ext>
            </c:extLst>
          </c:dPt>
          <c:cat>
            <c:strRef>
              <c:f>Tabelle1!$B$1:$K$1</c:f>
              <c:strCache>
                <c:ptCount val="10"/>
                <c:pt idx="0">
                  <c:v>Lorem</c:v>
                </c:pt>
                <c:pt idx="1">
                  <c:v>Ipsum</c:v>
                </c:pt>
                <c:pt idx="2">
                  <c:v>Dolore</c:v>
                </c:pt>
                <c:pt idx="3">
                  <c:v>Esta</c:v>
                </c:pt>
                <c:pt idx="4">
                  <c:v>Conses</c:v>
                </c:pt>
                <c:pt idx="5">
                  <c:v>Loreme</c:v>
                </c:pt>
                <c:pt idx="6">
                  <c:v>Ipsume</c:v>
                </c:pt>
                <c:pt idx="7">
                  <c:v>Dolores</c:v>
                </c:pt>
                <c:pt idx="8">
                  <c:v>Estal</c:v>
                </c:pt>
                <c:pt idx="9">
                  <c:v>Consest</c:v>
                </c:pt>
              </c:strCache>
            </c:strRef>
          </c:cat>
          <c:val>
            <c:numRef>
              <c:f>Tabelle1!$B$2:$K$2</c:f>
              <c:numCache>
                <c:formatCode>General</c:formatCode>
                <c:ptCount val="10"/>
                <c:pt idx="0">
                  <c:v>2.5</c:v>
                </c:pt>
                <c:pt idx="1">
                  <c:v>3</c:v>
                </c:pt>
                <c:pt idx="2">
                  <c:v>3</c:v>
                </c:pt>
                <c:pt idx="3">
                  <c:v>2</c:v>
                </c:pt>
                <c:pt idx="4">
                  <c:v>2</c:v>
                </c:pt>
                <c:pt idx="5">
                  <c:v>2</c:v>
                </c:pt>
                <c:pt idx="6">
                  <c:v>1</c:v>
                </c:pt>
                <c:pt idx="7">
                  <c:v>2</c:v>
                </c:pt>
                <c:pt idx="8">
                  <c:v>2</c:v>
                </c:pt>
                <c:pt idx="9">
                  <c:v>2.5</c:v>
                </c:pt>
              </c:numCache>
            </c:numRef>
          </c:val>
          <c:smooth val="0"/>
          <c:extLst>
            <c:ext xmlns:c16="http://schemas.microsoft.com/office/drawing/2014/chart" uri="{C3380CC4-5D6E-409C-BE32-E72D297353CC}">
              <c16:uniqueId val="{00000000-894A-4298-A87B-70947069997B}"/>
            </c:ext>
          </c:extLst>
        </c:ser>
        <c:ser>
          <c:idx val="1"/>
          <c:order val="1"/>
          <c:tx>
            <c:strRef>
              <c:f>Tabelle1!$A$3</c:f>
              <c:strCache>
                <c:ptCount val="1"/>
                <c:pt idx="0">
                  <c:v>Data series 2</c:v>
                </c:pt>
              </c:strCache>
            </c:strRef>
          </c:tx>
          <c:spPr>
            <a:ln w="19050">
              <a:solidFill>
                <a:srgbClr val="00AF8E"/>
              </a:solidFill>
            </a:ln>
          </c:spPr>
          <c:marker>
            <c:symbol val="circle"/>
            <c:size val="8"/>
            <c:spPr>
              <a:solidFill>
                <a:srgbClr val="00AF8E"/>
              </a:solidFill>
              <a:ln>
                <a:solidFill>
                  <a:srgbClr val="00AF8E"/>
                </a:solidFill>
              </a:ln>
            </c:spPr>
          </c:marker>
          <c:cat>
            <c:strRef>
              <c:f>Tabelle1!$B$1:$K$1</c:f>
              <c:strCache>
                <c:ptCount val="10"/>
                <c:pt idx="0">
                  <c:v>Lorem</c:v>
                </c:pt>
                <c:pt idx="1">
                  <c:v>Ipsum</c:v>
                </c:pt>
                <c:pt idx="2">
                  <c:v>Dolore</c:v>
                </c:pt>
                <c:pt idx="3">
                  <c:v>Esta</c:v>
                </c:pt>
                <c:pt idx="4">
                  <c:v>Conses</c:v>
                </c:pt>
                <c:pt idx="5">
                  <c:v>Loreme</c:v>
                </c:pt>
                <c:pt idx="6">
                  <c:v>Ipsume</c:v>
                </c:pt>
                <c:pt idx="7">
                  <c:v>Dolores</c:v>
                </c:pt>
                <c:pt idx="8">
                  <c:v>Estal</c:v>
                </c:pt>
                <c:pt idx="9">
                  <c:v>Consest</c:v>
                </c:pt>
              </c:strCache>
            </c:strRef>
          </c:cat>
          <c:val>
            <c:numRef>
              <c:f>Tabelle1!$B$3:$K$3</c:f>
              <c:numCache>
                <c:formatCode>General</c:formatCode>
                <c:ptCount val="10"/>
                <c:pt idx="0">
                  <c:v>2</c:v>
                </c:pt>
                <c:pt idx="1">
                  <c:v>2.2000000000000002</c:v>
                </c:pt>
                <c:pt idx="2">
                  <c:v>2.4</c:v>
                </c:pt>
                <c:pt idx="3">
                  <c:v>1.8</c:v>
                </c:pt>
                <c:pt idx="4">
                  <c:v>2.5</c:v>
                </c:pt>
                <c:pt idx="5">
                  <c:v>3</c:v>
                </c:pt>
                <c:pt idx="6">
                  <c:v>3</c:v>
                </c:pt>
                <c:pt idx="7">
                  <c:v>2.4</c:v>
                </c:pt>
                <c:pt idx="8">
                  <c:v>2.5</c:v>
                </c:pt>
                <c:pt idx="9">
                  <c:v>2</c:v>
                </c:pt>
              </c:numCache>
            </c:numRef>
          </c:val>
          <c:smooth val="0"/>
          <c:extLst>
            <c:ext xmlns:c16="http://schemas.microsoft.com/office/drawing/2014/chart" uri="{C3380CC4-5D6E-409C-BE32-E72D297353CC}">
              <c16:uniqueId val="{00000001-894A-4298-A87B-70947069997B}"/>
            </c:ext>
          </c:extLst>
        </c:ser>
        <c:ser>
          <c:idx val="2"/>
          <c:order val="2"/>
          <c:tx>
            <c:strRef>
              <c:f>Tabelle1!$A$4</c:f>
              <c:strCache>
                <c:ptCount val="1"/>
                <c:pt idx="0">
                  <c:v>Data series 3</c:v>
                </c:pt>
              </c:strCache>
            </c:strRef>
          </c:tx>
          <c:spPr>
            <a:ln w="19050">
              <a:solidFill>
                <a:srgbClr val="66667E"/>
              </a:solidFill>
              <a:prstDash val="solid"/>
            </a:ln>
          </c:spPr>
          <c:marker>
            <c:symbol val="circle"/>
            <c:size val="8"/>
            <c:spPr>
              <a:solidFill>
                <a:srgbClr val="66667E"/>
              </a:solidFill>
              <a:ln>
                <a:noFill/>
              </a:ln>
            </c:spPr>
          </c:marker>
          <c:cat>
            <c:strRef>
              <c:f>Tabelle1!$B$1:$K$1</c:f>
              <c:strCache>
                <c:ptCount val="10"/>
                <c:pt idx="0">
                  <c:v>Lorem</c:v>
                </c:pt>
                <c:pt idx="1">
                  <c:v>Ipsum</c:v>
                </c:pt>
                <c:pt idx="2">
                  <c:v>Dolore</c:v>
                </c:pt>
                <c:pt idx="3">
                  <c:v>Esta</c:v>
                </c:pt>
                <c:pt idx="4">
                  <c:v>Conses</c:v>
                </c:pt>
                <c:pt idx="5">
                  <c:v>Loreme</c:v>
                </c:pt>
                <c:pt idx="6">
                  <c:v>Ipsume</c:v>
                </c:pt>
                <c:pt idx="7">
                  <c:v>Dolores</c:v>
                </c:pt>
                <c:pt idx="8">
                  <c:v>Estal</c:v>
                </c:pt>
                <c:pt idx="9">
                  <c:v>Consest</c:v>
                </c:pt>
              </c:strCache>
            </c:strRef>
          </c:cat>
          <c:val>
            <c:numRef>
              <c:f>Tabelle1!$B$4:$K$4</c:f>
              <c:numCache>
                <c:formatCode>General</c:formatCode>
                <c:ptCount val="10"/>
                <c:pt idx="0">
                  <c:v>3</c:v>
                </c:pt>
                <c:pt idx="1">
                  <c:v>3.2</c:v>
                </c:pt>
                <c:pt idx="2">
                  <c:v>3.3</c:v>
                </c:pt>
                <c:pt idx="3">
                  <c:v>2.5</c:v>
                </c:pt>
                <c:pt idx="4">
                  <c:v>1.8</c:v>
                </c:pt>
                <c:pt idx="5">
                  <c:v>1.8</c:v>
                </c:pt>
                <c:pt idx="6">
                  <c:v>1.2</c:v>
                </c:pt>
                <c:pt idx="7">
                  <c:v>1.5</c:v>
                </c:pt>
                <c:pt idx="8">
                  <c:v>1.6</c:v>
                </c:pt>
                <c:pt idx="9">
                  <c:v>1.9</c:v>
                </c:pt>
              </c:numCache>
            </c:numRef>
          </c:val>
          <c:smooth val="0"/>
          <c:extLst>
            <c:ext xmlns:c16="http://schemas.microsoft.com/office/drawing/2014/chart" uri="{C3380CC4-5D6E-409C-BE32-E72D297353CC}">
              <c16:uniqueId val="{00000000-ED94-4665-923E-3BCF628E1DF0}"/>
            </c:ext>
          </c:extLst>
        </c:ser>
        <c:dLbls>
          <c:showLegendKey val="0"/>
          <c:showVal val="0"/>
          <c:showCatName val="0"/>
          <c:showSerName val="0"/>
          <c:showPercent val="0"/>
          <c:showBubbleSize val="0"/>
        </c:dLbls>
        <c:marker val="1"/>
        <c:smooth val="0"/>
        <c:axId val="117580928"/>
        <c:axId val="117582464"/>
      </c:lineChart>
      <c:catAx>
        <c:axId val="117580928"/>
        <c:scaling>
          <c:orientation val="minMax"/>
        </c:scaling>
        <c:delete val="0"/>
        <c:axPos val="b"/>
        <c:majorGridlines>
          <c:spPr>
            <a:ln>
              <a:solidFill>
                <a:srgbClr val="66667E"/>
              </a:solidFill>
            </a:ln>
          </c:spPr>
        </c:majorGridlines>
        <c:numFmt formatCode="General" sourceLinked="1"/>
        <c:majorTickMark val="none"/>
        <c:minorTickMark val="none"/>
        <c:tickLblPos val="nextTo"/>
        <c:spPr>
          <a:ln>
            <a:noFill/>
          </a:ln>
        </c:spPr>
        <c:txPr>
          <a:bodyPr/>
          <a:lstStyle/>
          <a:p>
            <a:pPr>
              <a:defRPr sz="1200" b="1">
                <a:solidFill>
                  <a:srgbClr val="66667E"/>
                </a:solidFill>
              </a:defRPr>
            </a:pPr>
            <a:endParaRPr lang="de-DE"/>
          </a:p>
        </c:txPr>
        <c:crossAx val="117582464"/>
        <c:crosses val="autoZero"/>
        <c:auto val="1"/>
        <c:lblAlgn val="ctr"/>
        <c:lblOffset val="100"/>
        <c:noMultiLvlLbl val="0"/>
      </c:catAx>
      <c:valAx>
        <c:axId val="117582464"/>
        <c:scaling>
          <c:orientation val="minMax"/>
        </c:scaling>
        <c:delete val="0"/>
        <c:axPos val="l"/>
        <c:majorGridlines>
          <c:spPr>
            <a:ln w="12700">
              <a:noFill/>
            </a:ln>
          </c:spPr>
        </c:majorGridlines>
        <c:numFmt formatCode="General" sourceLinked="1"/>
        <c:majorTickMark val="none"/>
        <c:minorTickMark val="none"/>
        <c:tickLblPos val="nextTo"/>
        <c:spPr>
          <a:ln>
            <a:solidFill>
              <a:srgbClr val="66667E"/>
            </a:solidFill>
          </a:ln>
        </c:spPr>
        <c:txPr>
          <a:bodyPr/>
          <a:lstStyle/>
          <a:p>
            <a:pPr>
              <a:defRPr sz="1200" b="1">
                <a:solidFill>
                  <a:srgbClr val="66667E"/>
                </a:solidFill>
              </a:defRPr>
            </a:pPr>
            <a:endParaRPr lang="de-DE"/>
          </a:p>
        </c:txPr>
        <c:crossAx val="117580928"/>
        <c:crosses val="autoZero"/>
        <c:crossBetween val="midCat"/>
      </c:valAx>
    </c:plotArea>
    <c:legend>
      <c:legendPos val="r"/>
      <c:layout>
        <c:manualLayout>
          <c:xMode val="edge"/>
          <c:yMode val="edge"/>
          <c:x val="0.86643576376741838"/>
          <c:y val="0.75211970830507302"/>
          <c:w val="0.12218422282282135"/>
          <c:h val="0.17192475259109363"/>
        </c:manualLayout>
      </c:layout>
      <c:overlay val="0"/>
      <c:txPr>
        <a:bodyPr/>
        <a:lstStyle/>
        <a:p>
          <a:pPr>
            <a:defRPr sz="1200">
              <a:solidFill>
                <a:srgbClr val="66667E"/>
              </a:solidFill>
            </a:defRPr>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3.1827964096720444E-2"/>
          <c:y val="1.7919797573670269E-2"/>
          <c:w val="0.71160533183882835"/>
          <c:h val="0.90683784407709589"/>
        </c:manualLayout>
      </c:layout>
      <c:lineChart>
        <c:grouping val="standard"/>
        <c:varyColors val="0"/>
        <c:ser>
          <c:idx val="0"/>
          <c:order val="0"/>
          <c:tx>
            <c:strRef>
              <c:f>Tabelle1!$A$2</c:f>
              <c:strCache>
                <c:ptCount val="1"/>
                <c:pt idx="0">
                  <c:v>Data series 1</c:v>
                </c:pt>
              </c:strCache>
            </c:strRef>
          </c:tx>
          <c:spPr>
            <a:ln w="19050">
              <a:solidFill>
                <a:srgbClr val="00FFB9"/>
              </a:solidFill>
            </a:ln>
          </c:spPr>
          <c:marker>
            <c:symbol val="circle"/>
            <c:size val="8"/>
            <c:spPr>
              <a:solidFill>
                <a:srgbClr val="00FFB9"/>
              </a:solidFill>
              <a:ln>
                <a:solidFill>
                  <a:srgbClr val="00FFB9"/>
                </a:solidFill>
              </a:ln>
            </c:spPr>
          </c:marker>
          <c:dPt>
            <c:idx val="9"/>
            <c:bubble3D val="0"/>
            <c:extLst>
              <c:ext xmlns:c16="http://schemas.microsoft.com/office/drawing/2014/chart" uri="{C3380CC4-5D6E-409C-BE32-E72D297353CC}">
                <c16:uniqueId val="{00000000-6582-469D-A30C-3174422A1C01}"/>
              </c:ext>
            </c:extLst>
          </c:dPt>
          <c:cat>
            <c:strRef>
              <c:f>Tabelle1!$B$1:$K$1</c:f>
              <c:strCache>
                <c:ptCount val="10"/>
                <c:pt idx="0">
                  <c:v>Lorem</c:v>
                </c:pt>
                <c:pt idx="1">
                  <c:v>Ipsum</c:v>
                </c:pt>
                <c:pt idx="2">
                  <c:v>Dolore</c:v>
                </c:pt>
                <c:pt idx="3">
                  <c:v>Esta</c:v>
                </c:pt>
                <c:pt idx="4">
                  <c:v>Conses</c:v>
                </c:pt>
                <c:pt idx="5">
                  <c:v>Loreme</c:v>
                </c:pt>
                <c:pt idx="6">
                  <c:v>Ipsume</c:v>
                </c:pt>
                <c:pt idx="7">
                  <c:v>Dolores</c:v>
                </c:pt>
                <c:pt idx="8">
                  <c:v>Estal</c:v>
                </c:pt>
                <c:pt idx="9">
                  <c:v>Consest</c:v>
                </c:pt>
              </c:strCache>
            </c:strRef>
          </c:cat>
          <c:val>
            <c:numRef>
              <c:f>Tabelle1!$B$2:$K$2</c:f>
              <c:numCache>
                <c:formatCode>General</c:formatCode>
                <c:ptCount val="10"/>
                <c:pt idx="0">
                  <c:v>2.5</c:v>
                </c:pt>
                <c:pt idx="1">
                  <c:v>3</c:v>
                </c:pt>
                <c:pt idx="2">
                  <c:v>3</c:v>
                </c:pt>
                <c:pt idx="3">
                  <c:v>2</c:v>
                </c:pt>
                <c:pt idx="4">
                  <c:v>2</c:v>
                </c:pt>
                <c:pt idx="5">
                  <c:v>2</c:v>
                </c:pt>
                <c:pt idx="6">
                  <c:v>1</c:v>
                </c:pt>
                <c:pt idx="7">
                  <c:v>2</c:v>
                </c:pt>
                <c:pt idx="8">
                  <c:v>2</c:v>
                </c:pt>
                <c:pt idx="9">
                  <c:v>2.5</c:v>
                </c:pt>
              </c:numCache>
            </c:numRef>
          </c:val>
          <c:smooth val="0"/>
          <c:extLst>
            <c:ext xmlns:c16="http://schemas.microsoft.com/office/drawing/2014/chart" uri="{C3380CC4-5D6E-409C-BE32-E72D297353CC}">
              <c16:uniqueId val="{00000000-894A-4298-A87B-70947069997B}"/>
            </c:ext>
          </c:extLst>
        </c:ser>
        <c:ser>
          <c:idx val="1"/>
          <c:order val="1"/>
          <c:tx>
            <c:strRef>
              <c:f>Tabelle1!$A$3</c:f>
              <c:strCache>
                <c:ptCount val="1"/>
                <c:pt idx="0">
                  <c:v>Data series 2</c:v>
                </c:pt>
              </c:strCache>
            </c:strRef>
          </c:tx>
          <c:spPr>
            <a:ln w="19050">
              <a:solidFill>
                <a:srgbClr val="00646E"/>
              </a:solidFill>
            </a:ln>
          </c:spPr>
          <c:marker>
            <c:symbol val="circle"/>
            <c:size val="8"/>
            <c:spPr>
              <a:solidFill>
                <a:srgbClr val="00646E"/>
              </a:solidFill>
              <a:ln>
                <a:solidFill>
                  <a:srgbClr val="00646E"/>
                </a:solidFill>
              </a:ln>
            </c:spPr>
          </c:marker>
          <c:cat>
            <c:strRef>
              <c:f>Tabelle1!$B$1:$K$1</c:f>
              <c:strCache>
                <c:ptCount val="10"/>
                <c:pt idx="0">
                  <c:v>Lorem</c:v>
                </c:pt>
                <c:pt idx="1">
                  <c:v>Ipsum</c:v>
                </c:pt>
                <c:pt idx="2">
                  <c:v>Dolore</c:v>
                </c:pt>
                <c:pt idx="3">
                  <c:v>Esta</c:v>
                </c:pt>
                <c:pt idx="4">
                  <c:v>Conses</c:v>
                </c:pt>
                <c:pt idx="5">
                  <c:v>Loreme</c:v>
                </c:pt>
                <c:pt idx="6">
                  <c:v>Ipsume</c:v>
                </c:pt>
                <c:pt idx="7">
                  <c:v>Dolores</c:v>
                </c:pt>
                <c:pt idx="8">
                  <c:v>Estal</c:v>
                </c:pt>
                <c:pt idx="9">
                  <c:v>Consest</c:v>
                </c:pt>
              </c:strCache>
            </c:strRef>
          </c:cat>
          <c:val>
            <c:numRef>
              <c:f>Tabelle1!$B$3:$K$3</c:f>
              <c:numCache>
                <c:formatCode>General</c:formatCode>
                <c:ptCount val="10"/>
                <c:pt idx="0">
                  <c:v>2</c:v>
                </c:pt>
                <c:pt idx="1">
                  <c:v>2.2000000000000002</c:v>
                </c:pt>
                <c:pt idx="2">
                  <c:v>2.4</c:v>
                </c:pt>
                <c:pt idx="3">
                  <c:v>1.8</c:v>
                </c:pt>
                <c:pt idx="4">
                  <c:v>2.5</c:v>
                </c:pt>
                <c:pt idx="5">
                  <c:v>3</c:v>
                </c:pt>
                <c:pt idx="6">
                  <c:v>3</c:v>
                </c:pt>
                <c:pt idx="7">
                  <c:v>2.4</c:v>
                </c:pt>
                <c:pt idx="8">
                  <c:v>2.5</c:v>
                </c:pt>
                <c:pt idx="9">
                  <c:v>2</c:v>
                </c:pt>
              </c:numCache>
            </c:numRef>
          </c:val>
          <c:smooth val="0"/>
          <c:extLst>
            <c:ext xmlns:c16="http://schemas.microsoft.com/office/drawing/2014/chart" uri="{C3380CC4-5D6E-409C-BE32-E72D297353CC}">
              <c16:uniqueId val="{00000001-894A-4298-A87B-70947069997B}"/>
            </c:ext>
          </c:extLst>
        </c:ser>
        <c:ser>
          <c:idx val="2"/>
          <c:order val="2"/>
          <c:tx>
            <c:strRef>
              <c:f>Tabelle1!$A$4</c:f>
              <c:strCache>
                <c:ptCount val="1"/>
                <c:pt idx="0">
                  <c:v>Data series 3</c:v>
                </c:pt>
              </c:strCache>
            </c:strRef>
          </c:tx>
          <c:spPr>
            <a:ln w="19050">
              <a:solidFill>
                <a:srgbClr val="9999A9"/>
              </a:solidFill>
              <a:prstDash val="solid"/>
            </a:ln>
          </c:spPr>
          <c:marker>
            <c:symbol val="circle"/>
            <c:size val="8"/>
            <c:spPr>
              <a:solidFill>
                <a:srgbClr val="9999A9"/>
              </a:solidFill>
              <a:ln>
                <a:solidFill>
                  <a:srgbClr val="9999A9"/>
                </a:solidFill>
              </a:ln>
            </c:spPr>
          </c:marker>
          <c:cat>
            <c:strRef>
              <c:f>Tabelle1!$B$1:$K$1</c:f>
              <c:strCache>
                <c:ptCount val="10"/>
                <c:pt idx="0">
                  <c:v>Lorem</c:v>
                </c:pt>
                <c:pt idx="1">
                  <c:v>Ipsum</c:v>
                </c:pt>
                <c:pt idx="2">
                  <c:v>Dolore</c:v>
                </c:pt>
                <c:pt idx="3">
                  <c:v>Esta</c:v>
                </c:pt>
                <c:pt idx="4">
                  <c:v>Conses</c:v>
                </c:pt>
                <c:pt idx="5">
                  <c:v>Loreme</c:v>
                </c:pt>
                <c:pt idx="6">
                  <c:v>Ipsume</c:v>
                </c:pt>
                <c:pt idx="7">
                  <c:v>Dolores</c:v>
                </c:pt>
                <c:pt idx="8">
                  <c:v>Estal</c:v>
                </c:pt>
                <c:pt idx="9">
                  <c:v>Consest</c:v>
                </c:pt>
              </c:strCache>
            </c:strRef>
          </c:cat>
          <c:val>
            <c:numRef>
              <c:f>Tabelle1!$B$4:$K$4</c:f>
              <c:numCache>
                <c:formatCode>General</c:formatCode>
                <c:ptCount val="10"/>
                <c:pt idx="0">
                  <c:v>3</c:v>
                </c:pt>
                <c:pt idx="1">
                  <c:v>3.2</c:v>
                </c:pt>
                <c:pt idx="2">
                  <c:v>3.3</c:v>
                </c:pt>
                <c:pt idx="3">
                  <c:v>2.5</c:v>
                </c:pt>
                <c:pt idx="4">
                  <c:v>1.8</c:v>
                </c:pt>
                <c:pt idx="5">
                  <c:v>1.8</c:v>
                </c:pt>
                <c:pt idx="6">
                  <c:v>1.2</c:v>
                </c:pt>
                <c:pt idx="7">
                  <c:v>1.5</c:v>
                </c:pt>
                <c:pt idx="8">
                  <c:v>1.6</c:v>
                </c:pt>
                <c:pt idx="9">
                  <c:v>1.9</c:v>
                </c:pt>
              </c:numCache>
            </c:numRef>
          </c:val>
          <c:smooth val="0"/>
          <c:extLst>
            <c:ext xmlns:c16="http://schemas.microsoft.com/office/drawing/2014/chart" uri="{C3380CC4-5D6E-409C-BE32-E72D297353CC}">
              <c16:uniqueId val="{00000000-ED94-4665-923E-3BCF628E1DF0}"/>
            </c:ext>
          </c:extLst>
        </c:ser>
        <c:dLbls>
          <c:showLegendKey val="0"/>
          <c:showVal val="0"/>
          <c:showCatName val="0"/>
          <c:showSerName val="0"/>
          <c:showPercent val="0"/>
          <c:showBubbleSize val="0"/>
        </c:dLbls>
        <c:marker val="1"/>
        <c:smooth val="0"/>
        <c:axId val="117580928"/>
        <c:axId val="117582464"/>
      </c:lineChart>
      <c:catAx>
        <c:axId val="117580928"/>
        <c:scaling>
          <c:orientation val="minMax"/>
        </c:scaling>
        <c:delete val="0"/>
        <c:axPos val="b"/>
        <c:majorGridlines>
          <c:spPr>
            <a:ln>
              <a:solidFill>
                <a:srgbClr val="9999A9"/>
              </a:solidFill>
            </a:ln>
          </c:spPr>
        </c:majorGridlines>
        <c:numFmt formatCode="General" sourceLinked="1"/>
        <c:majorTickMark val="none"/>
        <c:minorTickMark val="none"/>
        <c:tickLblPos val="nextTo"/>
        <c:spPr>
          <a:ln>
            <a:noFill/>
          </a:ln>
        </c:spPr>
        <c:txPr>
          <a:bodyPr/>
          <a:lstStyle/>
          <a:p>
            <a:pPr>
              <a:defRPr sz="1200" b="1">
                <a:solidFill>
                  <a:srgbClr val="9999A9"/>
                </a:solidFill>
              </a:defRPr>
            </a:pPr>
            <a:endParaRPr lang="de-DE"/>
          </a:p>
        </c:txPr>
        <c:crossAx val="117582464"/>
        <c:crosses val="autoZero"/>
        <c:auto val="1"/>
        <c:lblAlgn val="ctr"/>
        <c:lblOffset val="100"/>
        <c:noMultiLvlLbl val="0"/>
      </c:catAx>
      <c:valAx>
        <c:axId val="117582464"/>
        <c:scaling>
          <c:orientation val="minMax"/>
        </c:scaling>
        <c:delete val="0"/>
        <c:axPos val="l"/>
        <c:majorGridlines>
          <c:spPr>
            <a:ln w="12700">
              <a:noFill/>
            </a:ln>
          </c:spPr>
        </c:majorGridlines>
        <c:numFmt formatCode="General" sourceLinked="1"/>
        <c:majorTickMark val="none"/>
        <c:minorTickMark val="none"/>
        <c:tickLblPos val="nextTo"/>
        <c:spPr>
          <a:ln>
            <a:solidFill>
              <a:srgbClr val="9999A9"/>
            </a:solidFill>
          </a:ln>
        </c:spPr>
        <c:txPr>
          <a:bodyPr/>
          <a:lstStyle/>
          <a:p>
            <a:pPr>
              <a:defRPr sz="1200" b="1">
                <a:solidFill>
                  <a:srgbClr val="9999A9"/>
                </a:solidFill>
              </a:defRPr>
            </a:pPr>
            <a:endParaRPr lang="de-DE"/>
          </a:p>
        </c:txPr>
        <c:crossAx val="117580928"/>
        <c:crosses val="autoZero"/>
        <c:crossBetween val="midCat"/>
      </c:valAx>
    </c:plotArea>
    <c:legend>
      <c:legendPos val="r"/>
      <c:layout>
        <c:manualLayout>
          <c:xMode val="edge"/>
          <c:yMode val="edge"/>
          <c:x val="0.86643576376741838"/>
          <c:y val="0.75211970830507302"/>
          <c:w val="0.12218422282282135"/>
          <c:h val="0.17192475259109363"/>
        </c:manualLayout>
      </c:layout>
      <c:overlay val="0"/>
      <c:txPr>
        <a:bodyPr/>
        <a:lstStyle/>
        <a:p>
          <a:pPr>
            <a:defRPr sz="1200">
              <a:solidFill>
                <a:srgbClr val="9999A9"/>
              </a:solidFill>
            </a:defRPr>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914691943127965E-2"/>
          <c:y val="4.3455369470875957E-2"/>
          <c:w val="0.59187041933262541"/>
          <c:h val="0.86896856019751556"/>
        </c:manualLayout>
      </c:layout>
      <c:scatterChart>
        <c:scatterStyle val="lineMarker"/>
        <c:varyColors val="0"/>
        <c:ser>
          <c:idx val="0"/>
          <c:order val="0"/>
          <c:tx>
            <c:strRef>
              <c:f>Sheet1!$A$2</c:f>
              <c:strCache>
                <c:ptCount val="1"/>
                <c:pt idx="0">
                  <c:v>Y-Werte</c:v>
                </c:pt>
              </c:strCache>
            </c:strRef>
          </c:tx>
          <c:spPr>
            <a:ln w="19050">
              <a:solidFill>
                <a:schemeClr val="accent1"/>
              </a:solidFill>
              <a:prstDash val="solid"/>
            </a:ln>
          </c:spPr>
          <c:marker>
            <c:symbol val="circle"/>
            <c:size val="5"/>
            <c:spPr>
              <a:solidFill>
                <a:schemeClr val="accent1"/>
              </a:solidFill>
              <a:ln w="28575">
                <a:solidFill>
                  <a:schemeClr val="accent1"/>
                </a:solidFill>
              </a:ln>
            </c:spPr>
          </c:marker>
          <c:dPt>
            <c:idx val="0"/>
            <c:marker>
              <c:spPr>
                <a:solidFill>
                  <a:srgbClr val="00FFB9"/>
                </a:solidFill>
                <a:ln w="28575">
                  <a:solidFill>
                    <a:srgbClr val="00FFB9"/>
                  </a:solidFill>
                </a:ln>
              </c:spPr>
            </c:marker>
            <c:bubble3D val="0"/>
            <c:spPr>
              <a:ln w="19050">
                <a:solidFill>
                  <a:srgbClr val="00FFB9"/>
                </a:solidFill>
                <a:prstDash val="solid"/>
              </a:ln>
            </c:spPr>
            <c:extLst>
              <c:ext xmlns:c16="http://schemas.microsoft.com/office/drawing/2014/chart" uri="{C3380CC4-5D6E-409C-BE32-E72D297353CC}">
                <c16:uniqueId val="{00000014-CE90-48F5-97ED-9DB0D7665FCB}"/>
              </c:ext>
            </c:extLst>
          </c:dPt>
          <c:dPt>
            <c:idx val="1"/>
            <c:marker>
              <c:spPr>
                <a:solidFill>
                  <a:srgbClr val="00FFB9"/>
                </a:solidFill>
                <a:ln w="28575">
                  <a:solidFill>
                    <a:srgbClr val="00FFB9"/>
                  </a:solidFill>
                </a:ln>
              </c:spPr>
            </c:marker>
            <c:bubble3D val="0"/>
            <c:spPr>
              <a:ln w="19050">
                <a:solidFill>
                  <a:srgbClr val="00FFB9"/>
                </a:solidFill>
                <a:prstDash val="solid"/>
              </a:ln>
            </c:spPr>
            <c:extLst>
              <c:ext xmlns:c16="http://schemas.microsoft.com/office/drawing/2014/chart" uri="{C3380CC4-5D6E-409C-BE32-E72D297353CC}">
                <c16:uniqueId val="{00000014-AD9C-4AFE-AE12-01DBA2D49AA7}"/>
              </c:ext>
            </c:extLst>
          </c:dPt>
          <c:dPt>
            <c:idx val="2"/>
            <c:marker>
              <c:spPr>
                <a:solidFill>
                  <a:srgbClr val="00FFB9"/>
                </a:solidFill>
                <a:ln w="28575">
                  <a:solidFill>
                    <a:srgbClr val="00FFB9"/>
                  </a:solidFill>
                </a:ln>
              </c:spPr>
            </c:marker>
            <c:bubble3D val="0"/>
            <c:spPr>
              <a:ln w="19050">
                <a:solidFill>
                  <a:srgbClr val="00FFB9"/>
                </a:solidFill>
                <a:prstDash val="solid"/>
              </a:ln>
            </c:spPr>
            <c:extLst>
              <c:ext xmlns:c16="http://schemas.microsoft.com/office/drawing/2014/chart" uri="{C3380CC4-5D6E-409C-BE32-E72D297353CC}">
                <c16:uniqueId val="{00000015-CE90-48F5-97ED-9DB0D7665FCB}"/>
              </c:ext>
            </c:extLst>
          </c:dPt>
          <c:dPt>
            <c:idx val="3"/>
            <c:marker>
              <c:spPr>
                <a:solidFill>
                  <a:srgbClr val="00FFB9"/>
                </a:solidFill>
                <a:ln w="28575">
                  <a:solidFill>
                    <a:srgbClr val="00FFB9"/>
                  </a:solidFill>
                </a:ln>
              </c:spPr>
            </c:marker>
            <c:bubble3D val="0"/>
            <c:spPr>
              <a:ln w="19050">
                <a:solidFill>
                  <a:srgbClr val="00FFB9"/>
                </a:solidFill>
                <a:prstDash val="solid"/>
              </a:ln>
            </c:spPr>
            <c:extLst>
              <c:ext xmlns:c16="http://schemas.microsoft.com/office/drawing/2014/chart" uri="{C3380CC4-5D6E-409C-BE32-E72D297353CC}">
                <c16:uniqueId val="{00000015-AD9C-4AFE-AE12-01DBA2D49AA7}"/>
              </c:ext>
            </c:extLst>
          </c:dPt>
          <c:dPt>
            <c:idx val="4"/>
            <c:marker>
              <c:spPr>
                <a:solidFill>
                  <a:srgbClr val="00FFB9"/>
                </a:solidFill>
                <a:ln w="28575">
                  <a:solidFill>
                    <a:srgbClr val="00FFB9"/>
                  </a:solidFill>
                </a:ln>
              </c:spPr>
            </c:marker>
            <c:bubble3D val="0"/>
            <c:spPr>
              <a:ln w="19050">
                <a:solidFill>
                  <a:srgbClr val="00FFB9"/>
                </a:solidFill>
                <a:prstDash val="solid"/>
              </a:ln>
            </c:spPr>
            <c:extLst>
              <c:ext xmlns:c16="http://schemas.microsoft.com/office/drawing/2014/chart" uri="{C3380CC4-5D6E-409C-BE32-E72D297353CC}">
                <c16:uniqueId val="{00000016-CE90-48F5-97ED-9DB0D7665FCB}"/>
              </c:ext>
            </c:extLst>
          </c:dPt>
          <c:dPt>
            <c:idx val="5"/>
            <c:marker>
              <c:spPr>
                <a:solidFill>
                  <a:srgbClr val="00FFB9"/>
                </a:solidFill>
                <a:ln w="28575">
                  <a:solidFill>
                    <a:srgbClr val="00FFB9"/>
                  </a:solidFill>
                </a:ln>
              </c:spPr>
            </c:marker>
            <c:bubble3D val="0"/>
            <c:spPr>
              <a:ln w="19050">
                <a:solidFill>
                  <a:srgbClr val="00FFB9"/>
                </a:solidFill>
                <a:prstDash val="solid"/>
              </a:ln>
            </c:spPr>
            <c:extLst>
              <c:ext xmlns:c16="http://schemas.microsoft.com/office/drawing/2014/chart" uri="{C3380CC4-5D6E-409C-BE32-E72D297353CC}">
                <c16:uniqueId val="{00000017-CE90-48F5-97ED-9DB0D7665FCB}"/>
              </c:ext>
            </c:extLst>
          </c:dPt>
          <c:dPt>
            <c:idx val="6"/>
            <c:marker>
              <c:spPr>
                <a:solidFill>
                  <a:srgbClr val="00FFB9"/>
                </a:solidFill>
                <a:ln w="28575">
                  <a:solidFill>
                    <a:srgbClr val="00FFB9"/>
                  </a:solidFill>
                </a:ln>
              </c:spPr>
            </c:marker>
            <c:bubble3D val="0"/>
            <c:spPr>
              <a:ln w="19050">
                <a:solidFill>
                  <a:srgbClr val="00FFB9"/>
                </a:solidFill>
                <a:prstDash val="solid"/>
              </a:ln>
            </c:spPr>
            <c:extLst>
              <c:ext xmlns:c16="http://schemas.microsoft.com/office/drawing/2014/chart" uri="{C3380CC4-5D6E-409C-BE32-E72D297353CC}">
                <c16:uniqueId val="{00000016-AD9C-4AFE-AE12-01DBA2D49AA7}"/>
              </c:ext>
            </c:extLst>
          </c:dPt>
          <c:dPt>
            <c:idx val="7"/>
            <c:marker>
              <c:spPr>
                <a:solidFill>
                  <a:srgbClr val="00FFB9"/>
                </a:solidFill>
                <a:ln w="28575">
                  <a:solidFill>
                    <a:srgbClr val="00FFB9"/>
                  </a:solidFill>
                </a:ln>
              </c:spPr>
            </c:marker>
            <c:bubble3D val="0"/>
            <c:spPr>
              <a:ln w="19050">
                <a:solidFill>
                  <a:srgbClr val="00FFB9"/>
                </a:solidFill>
                <a:prstDash val="solid"/>
              </a:ln>
            </c:spPr>
            <c:extLst>
              <c:ext xmlns:c16="http://schemas.microsoft.com/office/drawing/2014/chart" uri="{C3380CC4-5D6E-409C-BE32-E72D297353CC}">
                <c16:uniqueId val="{00000018-CE90-48F5-97ED-9DB0D7665FCB}"/>
              </c:ext>
            </c:extLst>
          </c:dPt>
          <c:dPt>
            <c:idx val="8"/>
            <c:marker>
              <c:spPr>
                <a:solidFill>
                  <a:srgbClr val="00FFB9"/>
                </a:solidFill>
                <a:ln w="28575">
                  <a:solidFill>
                    <a:srgbClr val="00FFB9"/>
                  </a:solidFill>
                </a:ln>
              </c:spPr>
            </c:marker>
            <c:bubble3D val="0"/>
            <c:spPr>
              <a:ln w="19050">
                <a:solidFill>
                  <a:srgbClr val="00FFB9"/>
                </a:solidFill>
                <a:prstDash val="solid"/>
              </a:ln>
            </c:spPr>
            <c:extLst>
              <c:ext xmlns:c16="http://schemas.microsoft.com/office/drawing/2014/chart" uri="{C3380CC4-5D6E-409C-BE32-E72D297353CC}">
                <c16:uniqueId val="{00000019-CE90-48F5-97ED-9DB0D7665FCB}"/>
              </c:ext>
            </c:extLst>
          </c:dPt>
          <c:dPt>
            <c:idx val="9"/>
            <c:marker>
              <c:spPr>
                <a:solidFill>
                  <a:srgbClr val="00FFB9"/>
                </a:solidFill>
                <a:ln w="28575">
                  <a:solidFill>
                    <a:srgbClr val="00FFB9"/>
                  </a:solidFill>
                </a:ln>
              </c:spPr>
            </c:marker>
            <c:bubble3D val="0"/>
            <c:spPr>
              <a:ln w="19050">
                <a:solidFill>
                  <a:srgbClr val="00FFB9"/>
                </a:solidFill>
                <a:prstDash val="solid"/>
              </a:ln>
            </c:spPr>
            <c:extLst>
              <c:ext xmlns:c16="http://schemas.microsoft.com/office/drawing/2014/chart" uri="{C3380CC4-5D6E-409C-BE32-E72D297353CC}">
                <c16:uniqueId val="{00000017-AD9C-4AFE-AE12-01DBA2D49AA7}"/>
              </c:ext>
            </c:extLst>
          </c:dPt>
          <c:dPt>
            <c:idx val="11"/>
            <c:bubble3D val="0"/>
            <c:extLst>
              <c:ext xmlns:c16="http://schemas.microsoft.com/office/drawing/2014/chart" uri="{C3380CC4-5D6E-409C-BE32-E72D297353CC}">
                <c16:uniqueId val="{00000001-CE90-48F5-97ED-9DB0D7665FCB}"/>
              </c:ext>
            </c:extLst>
          </c:dPt>
          <c:dPt>
            <c:idx val="12"/>
            <c:bubble3D val="0"/>
            <c:extLst>
              <c:ext xmlns:c16="http://schemas.microsoft.com/office/drawing/2014/chart" uri="{C3380CC4-5D6E-409C-BE32-E72D297353CC}">
                <c16:uniqueId val="{00000003-CE90-48F5-97ED-9DB0D7665FCB}"/>
              </c:ext>
            </c:extLst>
          </c:dPt>
          <c:dPt>
            <c:idx val="13"/>
            <c:bubble3D val="0"/>
            <c:extLst>
              <c:ext xmlns:c16="http://schemas.microsoft.com/office/drawing/2014/chart" uri="{C3380CC4-5D6E-409C-BE32-E72D297353CC}">
                <c16:uniqueId val="{00000005-CE90-48F5-97ED-9DB0D7665FCB}"/>
              </c:ext>
            </c:extLst>
          </c:dPt>
          <c:dPt>
            <c:idx val="14"/>
            <c:bubble3D val="0"/>
            <c:extLst>
              <c:ext xmlns:c16="http://schemas.microsoft.com/office/drawing/2014/chart" uri="{C3380CC4-5D6E-409C-BE32-E72D297353CC}">
                <c16:uniqueId val="{00000007-CE90-48F5-97ED-9DB0D7665FCB}"/>
              </c:ext>
            </c:extLst>
          </c:dPt>
          <c:dPt>
            <c:idx val="15"/>
            <c:bubble3D val="0"/>
            <c:extLst>
              <c:ext xmlns:c16="http://schemas.microsoft.com/office/drawing/2014/chart" uri="{C3380CC4-5D6E-409C-BE32-E72D297353CC}">
                <c16:uniqueId val="{00000009-CE90-48F5-97ED-9DB0D7665FCB}"/>
              </c:ext>
            </c:extLst>
          </c:dPt>
          <c:dPt>
            <c:idx val="16"/>
            <c:bubble3D val="0"/>
            <c:extLst>
              <c:ext xmlns:c16="http://schemas.microsoft.com/office/drawing/2014/chart" uri="{C3380CC4-5D6E-409C-BE32-E72D297353CC}">
                <c16:uniqueId val="{0000000B-CE90-48F5-97ED-9DB0D7665FCB}"/>
              </c:ext>
            </c:extLst>
          </c:dPt>
          <c:dPt>
            <c:idx val="17"/>
            <c:bubble3D val="0"/>
            <c:extLst>
              <c:ext xmlns:c16="http://schemas.microsoft.com/office/drawing/2014/chart" uri="{C3380CC4-5D6E-409C-BE32-E72D297353CC}">
                <c16:uniqueId val="{0000000D-CE90-48F5-97ED-9DB0D7665FCB}"/>
              </c:ext>
            </c:extLst>
          </c:dPt>
          <c:dPt>
            <c:idx val="18"/>
            <c:bubble3D val="0"/>
            <c:extLst>
              <c:ext xmlns:c16="http://schemas.microsoft.com/office/drawing/2014/chart" uri="{C3380CC4-5D6E-409C-BE32-E72D297353CC}">
                <c16:uniqueId val="{0000000F-CE90-48F5-97ED-9DB0D7665FCB}"/>
              </c:ext>
            </c:extLst>
          </c:dPt>
          <c:dPt>
            <c:idx val="19"/>
            <c:bubble3D val="0"/>
            <c:extLst>
              <c:ext xmlns:c16="http://schemas.microsoft.com/office/drawing/2014/chart" uri="{C3380CC4-5D6E-409C-BE32-E72D297353CC}">
                <c16:uniqueId val="{00000011-CE90-48F5-97ED-9DB0D7665FCB}"/>
              </c:ext>
            </c:extLst>
          </c:dPt>
          <c:dPt>
            <c:idx val="20"/>
            <c:bubble3D val="0"/>
            <c:extLst>
              <c:ext xmlns:c16="http://schemas.microsoft.com/office/drawing/2014/chart" uri="{C3380CC4-5D6E-409C-BE32-E72D297353CC}">
                <c16:uniqueId val="{00000013-CE90-48F5-97ED-9DB0D7665FCB}"/>
              </c:ext>
            </c:extLst>
          </c:dPt>
          <c:dLbls>
            <c:dLbl>
              <c:idx val="0"/>
              <c:layout>
                <c:manualLayout>
                  <c:x val="0"/>
                  <c:y val="-2.939420170440081E-2"/>
                </c:manualLayout>
              </c:layout>
              <c:numFmt formatCode="0.0" sourceLinked="0"/>
              <c:spPr>
                <a:noFill/>
                <a:ln w="17931">
                  <a:noFill/>
                </a:ln>
              </c:spPr>
              <c:txPr>
                <a:bodyPr/>
                <a:lstStyle/>
                <a:p>
                  <a:pPr>
                    <a:defRPr sz="1000" b="0" i="0" u="none" strike="noStrike" baseline="0">
                      <a:solidFill>
                        <a:srgbClr val="66667E"/>
                      </a:solidFill>
                      <a:latin typeface="Arial"/>
                      <a:ea typeface="Arial"/>
                      <a:cs typeface="Arial"/>
                    </a:defRPr>
                  </a:pPr>
                  <a:endParaRPr lang="de-DE"/>
                </a:p>
              </c:txP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4-CE90-48F5-97ED-9DB0D7665FCB}"/>
                </c:ext>
              </c:extLst>
            </c:dLbl>
            <c:dLbl>
              <c:idx val="2"/>
              <c:layout>
                <c:manualLayout>
                  <c:x val="-3.5193207814377431E-2"/>
                  <c:y val="-2.6545270017923894E-2"/>
                </c:manualLayout>
              </c:layout>
              <c:numFmt formatCode="0.0" sourceLinked="0"/>
              <c:spPr>
                <a:noFill/>
                <a:ln w="17931">
                  <a:noFill/>
                </a:ln>
              </c:spPr>
              <c:txPr>
                <a:bodyPr/>
                <a:lstStyle/>
                <a:p>
                  <a:pPr>
                    <a:defRPr sz="1000" b="0" i="0" u="none" strike="noStrike" baseline="0">
                      <a:solidFill>
                        <a:srgbClr val="66667E"/>
                      </a:solidFill>
                      <a:latin typeface="Arial"/>
                      <a:ea typeface="Arial"/>
                      <a:cs typeface="Arial"/>
                    </a:defRPr>
                  </a:pPr>
                  <a:endParaRPr lang="de-DE"/>
                </a:p>
              </c:txPr>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5-CE90-48F5-97ED-9DB0D7665FCB}"/>
                </c:ext>
              </c:extLst>
            </c:dLbl>
            <c:dLbl>
              <c:idx val="4"/>
              <c:layout>
                <c:manualLayout>
                  <c:x val="-3.2762792888975711E-2"/>
                  <c:y val="-4.4666608543661945E-2"/>
                </c:manualLayout>
              </c:layout>
              <c:numFmt formatCode="0.0" sourceLinked="0"/>
              <c:spPr>
                <a:noFill/>
                <a:ln w="17931">
                  <a:noFill/>
                </a:ln>
              </c:spPr>
              <c:txPr>
                <a:bodyPr/>
                <a:lstStyle/>
                <a:p>
                  <a:pPr>
                    <a:defRPr sz="1000" b="0" i="0" u="none" strike="noStrike" baseline="0">
                      <a:solidFill>
                        <a:srgbClr val="66667E"/>
                      </a:solidFill>
                      <a:latin typeface="Arial"/>
                      <a:ea typeface="Arial"/>
                      <a:cs typeface="Arial"/>
                    </a:defRPr>
                  </a:pPr>
                  <a:endParaRPr lang="de-DE"/>
                </a:p>
              </c:txPr>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6-CE90-48F5-97ED-9DB0D7665FCB}"/>
                </c:ext>
              </c:extLst>
            </c:dLbl>
            <c:dLbl>
              <c:idx val="5"/>
              <c:layout>
                <c:manualLayout>
                  <c:x val="-3.7927498843173646E-2"/>
                  <c:y val="-2.7149204716830022E-2"/>
                </c:manualLayout>
              </c:layout>
              <c:numFmt formatCode="0.0" sourceLinked="0"/>
              <c:spPr>
                <a:noFill/>
                <a:ln w="17931">
                  <a:noFill/>
                </a:ln>
              </c:spPr>
              <c:txPr>
                <a:bodyPr/>
                <a:lstStyle/>
                <a:p>
                  <a:pPr>
                    <a:defRPr sz="1000" b="0" i="0" u="none" strike="noStrike" baseline="0">
                      <a:solidFill>
                        <a:srgbClr val="66667E"/>
                      </a:solidFill>
                      <a:latin typeface="Arial"/>
                      <a:ea typeface="Arial"/>
                      <a:cs typeface="Arial"/>
                    </a:defRPr>
                  </a:pPr>
                  <a:endParaRPr lang="de-DE"/>
                </a:p>
              </c:txPr>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7-CE90-48F5-97ED-9DB0D7665FCB}"/>
                </c:ext>
              </c:extLst>
            </c:dLbl>
            <c:dLbl>
              <c:idx val="7"/>
              <c:layout>
                <c:manualLayout>
                  <c:x val="-3.8352765476304757E-2"/>
                  <c:y val="-2.5336988425292306E-2"/>
                </c:manualLayout>
              </c:layout>
              <c:numFmt formatCode="0.0" sourceLinked="0"/>
              <c:spPr>
                <a:noFill/>
                <a:ln w="17931">
                  <a:noFill/>
                </a:ln>
              </c:spPr>
              <c:txPr>
                <a:bodyPr/>
                <a:lstStyle/>
                <a:p>
                  <a:pPr>
                    <a:defRPr sz="1000" b="0" i="0" u="none" strike="noStrike" baseline="0">
                      <a:solidFill>
                        <a:srgbClr val="66667E"/>
                      </a:solidFill>
                      <a:latin typeface="Arial"/>
                      <a:ea typeface="Arial"/>
                      <a:cs typeface="Arial"/>
                    </a:defRPr>
                  </a:pPr>
                  <a:endParaRPr lang="de-DE"/>
                </a:p>
              </c:txPr>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8-CE90-48F5-97ED-9DB0D7665FCB}"/>
                </c:ext>
              </c:extLst>
            </c:dLbl>
            <c:dLbl>
              <c:idx val="8"/>
              <c:layout>
                <c:manualLayout>
                  <c:x val="-3.2762792888975711E-2"/>
                  <c:y val="8.7914982684678122E-3"/>
                </c:manualLayout>
              </c:layout>
              <c:numFmt formatCode="0.0" sourceLinked="0"/>
              <c:spPr>
                <a:noFill/>
                <a:ln w="17931">
                  <a:noFill/>
                </a:ln>
              </c:spPr>
              <c:txPr>
                <a:bodyPr/>
                <a:lstStyle/>
                <a:p>
                  <a:pPr>
                    <a:defRPr sz="1000" b="0" i="0" u="none" strike="noStrike" baseline="0">
                      <a:solidFill>
                        <a:srgbClr val="66667E"/>
                      </a:solidFill>
                      <a:latin typeface="Arial"/>
                      <a:ea typeface="Arial"/>
                      <a:cs typeface="Arial"/>
                    </a:defRPr>
                  </a:pPr>
                  <a:endParaRPr lang="de-DE"/>
                </a:p>
              </c:txPr>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9-CE90-48F5-97ED-9DB0D7665FCB}"/>
                </c:ext>
              </c:extLst>
            </c:dLbl>
            <c:dLbl>
              <c:idx val="11"/>
              <c:layout>
                <c:manualLayout>
                  <c:x val="-3.476794118124632E-2"/>
                  <c:y val="-2.5035014359114094E-2"/>
                </c:manualLayout>
              </c:layout>
              <c:numFmt formatCode="0.0" sourceLinked="0"/>
              <c:spPr>
                <a:noFill/>
                <a:ln w="17931">
                  <a:noFill/>
                </a:ln>
              </c:spPr>
              <c:txPr>
                <a:bodyPr/>
                <a:lstStyle/>
                <a:p>
                  <a:pPr>
                    <a:defRPr sz="1000" b="0" i="0" u="none" strike="noStrike" baseline="0">
                      <a:solidFill>
                        <a:srgbClr val="66667E"/>
                      </a:solidFill>
                      <a:latin typeface="Arial"/>
                      <a:ea typeface="Arial"/>
                      <a:cs typeface="Arial"/>
                    </a:defRPr>
                  </a:pPr>
                  <a:endParaRPr lang="de-DE"/>
                </a:p>
              </c:txPr>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E90-48F5-97ED-9DB0D7665FCB}"/>
                </c:ext>
              </c:extLst>
            </c:dLbl>
            <c:dLbl>
              <c:idx val="13"/>
              <c:layout>
                <c:manualLayout>
                  <c:x val="-3.6347720012209983E-2"/>
                  <c:y val="-2.9867529154136541E-2"/>
                </c:manualLayout>
              </c:layout>
              <c:numFmt formatCode="0.0" sourceLinked="0"/>
              <c:spPr>
                <a:noFill/>
                <a:ln w="17931">
                  <a:noFill/>
                </a:ln>
              </c:spPr>
              <c:txPr>
                <a:bodyPr/>
                <a:lstStyle/>
                <a:p>
                  <a:pPr>
                    <a:defRPr sz="1000" b="0" i="0" u="none" strike="noStrike" baseline="0">
                      <a:solidFill>
                        <a:srgbClr val="66667E"/>
                      </a:solidFill>
                      <a:latin typeface="Arial"/>
                      <a:ea typeface="Arial"/>
                      <a:cs typeface="Arial"/>
                    </a:defRPr>
                  </a:pPr>
                  <a:endParaRPr lang="de-DE"/>
                </a:p>
              </c:txPr>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E90-48F5-97ED-9DB0D7665FCB}"/>
                </c:ext>
              </c:extLst>
            </c:dLbl>
            <c:dLbl>
              <c:idx val="16"/>
              <c:layout>
                <c:manualLayout>
                  <c:x val="-3.75021293818667E-2"/>
                  <c:y val="-3.0471463853042668E-2"/>
                </c:manualLayout>
              </c:layout>
              <c:numFmt formatCode="0.0" sourceLinked="0"/>
              <c:spPr>
                <a:noFill/>
                <a:ln w="17931">
                  <a:noFill/>
                </a:ln>
              </c:spPr>
              <c:txPr>
                <a:bodyPr/>
                <a:lstStyle/>
                <a:p>
                  <a:pPr>
                    <a:defRPr sz="1000" b="0" i="0" u="none" strike="noStrike" baseline="0">
                      <a:solidFill>
                        <a:srgbClr val="66667E"/>
                      </a:solidFill>
                      <a:latin typeface="Arial"/>
                      <a:ea typeface="Arial"/>
                      <a:cs typeface="Arial"/>
                    </a:defRPr>
                  </a:pPr>
                  <a:endParaRPr lang="de-DE"/>
                </a:p>
              </c:txPr>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B-CE90-48F5-97ED-9DB0D7665FCB}"/>
                </c:ext>
              </c:extLst>
            </c:dLbl>
            <c:dLbl>
              <c:idx val="18"/>
              <c:layout>
                <c:manualLayout>
                  <c:x val="-3.5922350550903037E-2"/>
                  <c:y val="-2.5336988425292306E-2"/>
                </c:manualLayout>
              </c:layout>
              <c:numFmt formatCode="0.0" sourceLinked="0"/>
              <c:spPr>
                <a:noFill/>
                <a:ln w="17931">
                  <a:noFill/>
                </a:ln>
              </c:spPr>
              <c:txPr>
                <a:bodyPr/>
                <a:lstStyle/>
                <a:p>
                  <a:pPr>
                    <a:defRPr sz="1000" b="0" i="0" u="none" strike="noStrike" baseline="0">
                      <a:solidFill>
                        <a:srgbClr val="66667E"/>
                      </a:solidFill>
                      <a:latin typeface="Arial"/>
                      <a:ea typeface="Arial"/>
                      <a:cs typeface="Arial"/>
                    </a:defRPr>
                  </a:pPr>
                  <a:endParaRPr lang="de-DE"/>
                </a:p>
              </c:txPr>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F-CE90-48F5-97ED-9DB0D7665FCB}"/>
                </c:ext>
              </c:extLst>
            </c:dLbl>
            <c:numFmt formatCode="0.0" sourceLinked="0"/>
            <c:spPr>
              <a:noFill/>
              <a:ln w="17931">
                <a:noFill/>
              </a:ln>
            </c:spPr>
            <c:txPr>
              <a:bodyPr wrap="square" lIns="38100" tIns="19050" rIns="38100" bIns="19050" anchor="ctr">
                <a:spAutoFit/>
              </a:bodyPr>
              <a:lstStyle/>
              <a:p>
                <a:pPr>
                  <a:defRPr sz="1000" b="0" i="0" u="none" strike="noStrike" baseline="0">
                    <a:solidFill>
                      <a:srgbClr val="66667E"/>
                    </a:solidFill>
                    <a:latin typeface="Arial"/>
                    <a:ea typeface="Arial"/>
                    <a:cs typeface="Arial"/>
                  </a:defRPr>
                </a:pPr>
                <a:endParaRPr lang="de-DE"/>
              </a:p>
            </c:txPr>
            <c:showLegendKey val="0"/>
            <c:showVal val="0"/>
            <c:showCatName val="1"/>
            <c:showSerName val="0"/>
            <c:showPercent val="0"/>
            <c:showBubbleSize val="0"/>
            <c:showLeaderLines val="0"/>
            <c:extLst>
              <c:ext xmlns:c15="http://schemas.microsoft.com/office/drawing/2012/chart" uri="{CE6537A1-D6FC-4f65-9D91-7224C49458BB}">
                <c15:showLeaderLines val="0"/>
              </c:ext>
            </c:extLst>
          </c:dLbls>
          <c:xVal>
            <c:numRef>
              <c:f>Sheet1!$B$1:$V$1</c:f>
              <c:numCache>
                <c:formatCode>General</c:formatCode>
                <c:ptCount val="21"/>
                <c:pt idx="0">
                  <c:v>1</c:v>
                </c:pt>
                <c:pt idx="1">
                  <c:v>3</c:v>
                </c:pt>
                <c:pt idx="2">
                  <c:v>2</c:v>
                </c:pt>
                <c:pt idx="3">
                  <c:v>5</c:v>
                </c:pt>
                <c:pt idx="4">
                  <c:v>4</c:v>
                </c:pt>
                <c:pt idx="5">
                  <c:v>3</c:v>
                </c:pt>
                <c:pt idx="6">
                  <c:v>4</c:v>
                </c:pt>
                <c:pt idx="7">
                  <c:v>2</c:v>
                </c:pt>
                <c:pt idx="8">
                  <c:v>4</c:v>
                </c:pt>
                <c:pt idx="9">
                  <c:v>5</c:v>
                </c:pt>
                <c:pt idx="11">
                  <c:v>3</c:v>
                </c:pt>
                <c:pt idx="12">
                  <c:v>5</c:v>
                </c:pt>
                <c:pt idx="13">
                  <c:v>3</c:v>
                </c:pt>
                <c:pt idx="14">
                  <c:v>6</c:v>
                </c:pt>
                <c:pt idx="15">
                  <c:v>5</c:v>
                </c:pt>
                <c:pt idx="16">
                  <c:v>4</c:v>
                </c:pt>
                <c:pt idx="17">
                  <c:v>5</c:v>
                </c:pt>
                <c:pt idx="18">
                  <c:v>4</c:v>
                </c:pt>
                <c:pt idx="19">
                  <c:v>6</c:v>
                </c:pt>
                <c:pt idx="20">
                  <c:v>6</c:v>
                </c:pt>
              </c:numCache>
            </c:numRef>
          </c:xVal>
          <c:yVal>
            <c:numRef>
              <c:f>Sheet1!$B$2:$V$2</c:f>
              <c:numCache>
                <c:formatCode>0.0</c:formatCode>
                <c:ptCount val="21"/>
                <c:pt idx="0">
                  <c:v>10</c:v>
                </c:pt>
                <c:pt idx="1">
                  <c:v>9</c:v>
                </c:pt>
                <c:pt idx="2">
                  <c:v>8</c:v>
                </c:pt>
                <c:pt idx="3">
                  <c:v>7</c:v>
                </c:pt>
                <c:pt idx="4">
                  <c:v>6</c:v>
                </c:pt>
                <c:pt idx="5">
                  <c:v>5</c:v>
                </c:pt>
                <c:pt idx="6">
                  <c:v>4</c:v>
                </c:pt>
                <c:pt idx="7">
                  <c:v>3</c:v>
                </c:pt>
                <c:pt idx="8">
                  <c:v>2</c:v>
                </c:pt>
                <c:pt idx="9">
                  <c:v>1</c:v>
                </c:pt>
                <c:pt idx="11">
                  <c:v>10</c:v>
                </c:pt>
                <c:pt idx="12">
                  <c:v>9</c:v>
                </c:pt>
                <c:pt idx="13">
                  <c:v>8</c:v>
                </c:pt>
                <c:pt idx="14">
                  <c:v>7</c:v>
                </c:pt>
                <c:pt idx="15">
                  <c:v>6</c:v>
                </c:pt>
                <c:pt idx="16">
                  <c:v>5</c:v>
                </c:pt>
                <c:pt idx="17">
                  <c:v>4</c:v>
                </c:pt>
                <c:pt idx="18">
                  <c:v>3</c:v>
                </c:pt>
                <c:pt idx="19">
                  <c:v>2</c:v>
                </c:pt>
                <c:pt idx="20">
                  <c:v>1</c:v>
                </c:pt>
              </c:numCache>
            </c:numRef>
          </c:yVal>
          <c:smooth val="0"/>
          <c:extLst>
            <c:ext xmlns:c16="http://schemas.microsoft.com/office/drawing/2014/chart" uri="{C3380CC4-5D6E-409C-BE32-E72D297353CC}">
              <c16:uniqueId val="{0000001A-CE90-48F5-97ED-9DB0D7665FCB}"/>
            </c:ext>
          </c:extLst>
        </c:ser>
        <c:dLbls>
          <c:showLegendKey val="0"/>
          <c:showVal val="0"/>
          <c:showCatName val="0"/>
          <c:showSerName val="0"/>
          <c:showPercent val="0"/>
          <c:showBubbleSize val="0"/>
        </c:dLbls>
        <c:axId val="77598488"/>
        <c:axId val="1"/>
      </c:scatterChart>
      <c:valAx>
        <c:axId val="77598488"/>
        <c:scaling>
          <c:orientation val="minMax"/>
          <c:max val="6.2"/>
          <c:min val="1"/>
        </c:scaling>
        <c:delete val="0"/>
        <c:axPos val="t"/>
        <c:majorGridlines>
          <c:spPr>
            <a:ln w="6350">
              <a:solidFill>
                <a:srgbClr val="66667E"/>
              </a:solidFill>
              <a:prstDash val="solid"/>
            </a:ln>
          </c:spPr>
        </c:majorGridlines>
        <c:numFmt formatCode="0.0" sourceLinked="0"/>
        <c:majorTickMark val="out"/>
        <c:minorTickMark val="none"/>
        <c:tickLblPos val="nextTo"/>
        <c:spPr>
          <a:ln w="4483">
            <a:noFill/>
          </a:ln>
        </c:spPr>
        <c:txPr>
          <a:bodyPr rot="0" vert="horz"/>
          <a:lstStyle/>
          <a:p>
            <a:pPr>
              <a:defRPr sz="1100" b="1" i="0" u="none" strike="noStrike" baseline="0">
                <a:solidFill>
                  <a:srgbClr val="66667E"/>
                </a:solidFill>
                <a:latin typeface="+mn-lt"/>
                <a:ea typeface="Arial"/>
                <a:cs typeface="Arial"/>
              </a:defRPr>
            </a:pPr>
            <a:endParaRPr lang="de-DE"/>
          </a:p>
        </c:txPr>
        <c:crossAx val="1"/>
        <c:crosses val="max"/>
        <c:crossBetween val="midCat"/>
        <c:majorUnit val="1"/>
      </c:valAx>
      <c:valAx>
        <c:axId val="1"/>
        <c:scaling>
          <c:orientation val="minMax"/>
          <c:max val="11"/>
          <c:min val="0"/>
        </c:scaling>
        <c:delete val="1"/>
        <c:axPos val="l"/>
        <c:numFmt formatCode="0.0" sourceLinked="1"/>
        <c:majorTickMark val="out"/>
        <c:minorTickMark val="none"/>
        <c:tickLblPos val="nextTo"/>
        <c:crossAx val="77598488"/>
        <c:crosses val="autoZero"/>
        <c:crossBetween val="midCat"/>
      </c:valAx>
      <c:spPr>
        <a:noFill/>
        <a:ln w="17931">
          <a:noFill/>
        </a:ln>
      </c:spPr>
    </c:plotArea>
    <c:plotVisOnly val="1"/>
    <c:dispBlanksAs val="gap"/>
    <c:showDLblsOverMax val="0"/>
  </c:chart>
  <c:spPr>
    <a:noFill/>
    <a:ln>
      <a:noFill/>
    </a:ln>
  </c:spPr>
  <c:txPr>
    <a:bodyPr/>
    <a:lstStyle/>
    <a:p>
      <a:pPr>
        <a:defRPr sz="988" b="1" i="0" u="none" strike="noStrike" baseline="0">
          <a:solidFill>
            <a:schemeClr val="tx1"/>
          </a:solidFill>
          <a:latin typeface="Arial"/>
          <a:ea typeface="Arial"/>
          <a:cs typeface="Arial"/>
        </a:defRPr>
      </a:pPr>
      <a:endParaRPr lang="de-DE"/>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914691943127965E-2"/>
          <c:y val="4.3455369470875957E-2"/>
          <c:w val="0.59187041933262541"/>
          <c:h val="0.86896856019751556"/>
        </c:manualLayout>
      </c:layout>
      <c:scatterChart>
        <c:scatterStyle val="lineMarker"/>
        <c:varyColors val="0"/>
        <c:ser>
          <c:idx val="0"/>
          <c:order val="0"/>
          <c:tx>
            <c:strRef>
              <c:f>Sheet1!$A$2</c:f>
              <c:strCache>
                <c:ptCount val="1"/>
                <c:pt idx="0">
                  <c:v>Y-Werte</c:v>
                </c:pt>
              </c:strCache>
            </c:strRef>
          </c:tx>
          <c:spPr>
            <a:ln w="19050">
              <a:solidFill>
                <a:schemeClr val="accent2"/>
              </a:solidFill>
              <a:prstDash val="solid"/>
            </a:ln>
          </c:spPr>
          <c:marker>
            <c:symbol val="circle"/>
            <c:size val="5"/>
            <c:spPr>
              <a:solidFill>
                <a:schemeClr val="accent2"/>
              </a:solidFill>
              <a:ln w="28575">
                <a:solidFill>
                  <a:schemeClr val="accent2"/>
                </a:solidFill>
              </a:ln>
            </c:spPr>
          </c:marker>
          <c:dPt>
            <c:idx val="0"/>
            <c:marker>
              <c:spPr>
                <a:solidFill>
                  <a:srgbClr val="00FFB9"/>
                </a:solidFill>
                <a:ln w="28575">
                  <a:solidFill>
                    <a:srgbClr val="00FFB9"/>
                  </a:solidFill>
                </a:ln>
              </c:spPr>
            </c:marker>
            <c:bubble3D val="0"/>
            <c:spPr>
              <a:ln w="19050">
                <a:solidFill>
                  <a:srgbClr val="00FFB9"/>
                </a:solidFill>
                <a:prstDash val="solid"/>
              </a:ln>
            </c:spPr>
            <c:extLst>
              <c:ext xmlns:c16="http://schemas.microsoft.com/office/drawing/2014/chart" uri="{C3380CC4-5D6E-409C-BE32-E72D297353CC}">
                <c16:uniqueId val="{00000014-CE90-48F5-97ED-9DB0D7665FCB}"/>
              </c:ext>
            </c:extLst>
          </c:dPt>
          <c:dPt>
            <c:idx val="1"/>
            <c:marker>
              <c:spPr>
                <a:solidFill>
                  <a:srgbClr val="00FFB9"/>
                </a:solidFill>
                <a:ln w="28575">
                  <a:solidFill>
                    <a:srgbClr val="00FFB9"/>
                  </a:solidFill>
                </a:ln>
              </c:spPr>
            </c:marker>
            <c:bubble3D val="0"/>
            <c:spPr>
              <a:ln w="19050">
                <a:solidFill>
                  <a:srgbClr val="00FFB9"/>
                </a:solidFill>
                <a:prstDash val="solid"/>
              </a:ln>
            </c:spPr>
            <c:extLst>
              <c:ext xmlns:c16="http://schemas.microsoft.com/office/drawing/2014/chart" uri="{C3380CC4-5D6E-409C-BE32-E72D297353CC}">
                <c16:uniqueId val="{00000014-FD5B-40D7-9804-E07139B182A5}"/>
              </c:ext>
            </c:extLst>
          </c:dPt>
          <c:dPt>
            <c:idx val="2"/>
            <c:marker>
              <c:spPr>
                <a:solidFill>
                  <a:srgbClr val="00FFB9"/>
                </a:solidFill>
                <a:ln w="28575">
                  <a:solidFill>
                    <a:srgbClr val="00FFB9"/>
                  </a:solidFill>
                </a:ln>
              </c:spPr>
            </c:marker>
            <c:bubble3D val="0"/>
            <c:spPr>
              <a:ln w="19050">
                <a:solidFill>
                  <a:srgbClr val="00FFB9"/>
                </a:solidFill>
                <a:prstDash val="solid"/>
              </a:ln>
            </c:spPr>
            <c:extLst>
              <c:ext xmlns:c16="http://schemas.microsoft.com/office/drawing/2014/chart" uri="{C3380CC4-5D6E-409C-BE32-E72D297353CC}">
                <c16:uniqueId val="{00000015-CE90-48F5-97ED-9DB0D7665FCB}"/>
              </c:ext>
            </c:extLst>
          </c:dPt>
          <c:dPt>
            <c:idx val="3"/>
            <c:marker>
              <c:spPr>
                <a:solidFill>
                  <a:srgbClr val="00FFB9"/>
                </a:solidFill>
                <a:ln w="28575">
                  <a:solidFill>
                    <a:srgbClr val="00FFB9"/>
                  </a:solidFill>
                </a:ln>
              </c:spPr>
            </c:marker>
            <c:bubble3D val="0"/>
            <c:spPr>
              <a:ln w="19050">
                <a:solidFill>
                  <a:srgbClr val="00FFB9"/>
                </a:solidFill>
                <a:prstDash val="solid"/>
              </a:ln>
            </c:spPr>
            <c:extLst>
              <c:ext xmlns:c16="http://schemas.microsoft.com/office/drawing/2014/chart" uri="{C3380CC4-5D6E-409C-BE32-E72D297353CC}">
                <c16:uniqueId val="{00000015-FD5B-40D7-9804-E07139B182A5}"/>
              </c:ext>
            </c:extLst>
          </c:dPt>
          <c:dPt>
            <c:idx val="4"/>
            <c:marker>
              <c:spPr>
                <a:solidFill>
                  <a:srgbClr val="00FFB9"/>
                </a:solidFill>
                <a:ln w="28575">
                  <a:solidFill>
                    <a:srgbClr val="00FFB9"/>
                  </a:solidFill>
                </a:ln>
              </c:spPr>
            </c:marker>
            <c:bubble3D val="0"/>
            <c:spPr>
              <a:ln w="19050">
                <a:solidFill>
                  <a:srgbClr val="00FFB9"/>
                </a:solidFill>
                <a:prstDash val="solid"/>
              </a:ln>
            </c:spPr>
            <c:extLst>
              <c:ext xmlns:c16="http://schemas.microsoft.com/office/drawing/2014/chart" uri="{C3380CC4-5D6E-409C-BE32-E72D297353CC}">
                <c16:uniqueId val="{00000016-CE90-48F5-97ED-9DB0D7665FCB}"/>
              </c:ext>
            </c:extLst>
          </c:dPt>
          <c:dPt>
            <c:idx val="5"/>
            <c:marker>
              <c:spPr>
                <a:solidFill>
                  <a:srgbClr val="00FFB9"/>
                </a:solidFill>
                <a:ln w="28575">
                  <a:solidFill>
                    <a:srgbClr val="00FFB9"/>
                  </a:solidFill>
                </a:ln>
              </c:spPr>
            </c:marker>
            <c:bubble3D val="0"/>
            <c:spPr>
              <a:ln w="19050">
                <a:solidFill>
                  <a:srgbClr val="00FFB9"/>
                </a:solidFill>
                <a:prstDash val="solid"/>
              </a:ln>
            </c:spPr>
            <c:extLst>
              <c:ext xmlns:c16="http://schemas.microsoft.com/office/drawing/2014/chart" uri="{C3380CC4-5D6E-409C-BE32-E72D297353CC}">
                <c16:uniqueId val="{00000017-CE90-48F5-97ED-9DB0D7665FCB}"/>
              </c:ext>
            </c:extLst>
          </c:dPt>
          <c:dPt>
            <c:idx val="6"/>
            <c:marker>
              <c:spPr>
                <a:solidFill>
                  <a:srgbClr val="00FFB9"/>
                </a:solidFill>
                <a:ln w="28575">
                  <a:solidFill>
                    <a:srgbClr val="00FFB9"/>
                  </a:solidFill>
                </a:ln>
              </c:spPr>
            </c:marker>
            <c:bubble3D val="0"/>
            <c:spPr>
              <a:ln w="19050">
                <a:solidFill>
                  <a:srgbClr val="00FFB9"/>
                </a:solidFill>
                <a:prstDash val="solid"/>
              </a:ln>
            </c:spPr>
            <c:extLst>
              <c:ext xmlns:c16="http://schemas.microsoft.com/office/drawing/2014/chart" uri="{C3380CC4-5D6E-409C-BE32-E72D297353CC}">
                <c16:uniqueId val="{00000016-FD5B-40D7-9804-E07139B182A5}"/>
              </c:ext>
            </c:extLst>
          </c:dPt>
          <c:dPt>
            <c:idx val="7"/>
            <c:marker>
              <c:spPr>
                <a:solidFill>
                  <a:srgbClr val="00FFB9"/>
                </a:solidFill>
                <a:ln w="28575">
                  <a:solidFill>
                    <a:srgbClr val="00FFB9"/>
                  </a:solidFill>
                </a:ln>
              </c:spPr>
            </c:marker>
            <c:bubble3D val="0"/>
            <c:spPr>
              <a:ln w="19050">
                <a:solidFill>
                  <a:srgbClr val="00FFB9"/>
                </a:solidFill>
                <a:prstDash val="solid"/>
              </a:ln>
            </c:spPr>
            <c:extLst>
              <c:ext xmlns:c16="http://schemas.microsoft.com/office/drawing/2014/chart" uri="{C3380CC4-5D6E-409C-BE32-E72D297353CC}">
                <c16:uniqueId val="{00000018-CE90-48F5-97ED-9DB0D7665FCB}"/>
              </c:ext>
            </c:extLst>
          </c:dPt>
          <c:dPt>
            <c:idx val="8"/>
            <c:marker>
              <c:spPr>
                <a:solidFill>
                  <a:srgbClr val="00FFB9"/>
                </a:solidFill>
                <a:ln w="28575">
                  <a:solidFill>
                    <a:srgbClr val="00FFB9"/>
                  </a:solidFill>
                </a:ln>
              </c:spPr>
            </c:marker>
            <c:bubble3D val="0"/>
            <c:spPr>
              <a:ln w="19050">
                <a:solidFill>
                  <a:srgbClr val="00FFB9"/>
                </a:solidFill>
                <a:prstDash val="solid"/>
              </a:ln>
            </c:spPr>
            <c:extLst>
              <c:ext xmlns:c16="http://schemas.microsoft.com/office/drawing/2014/chart" uri="{C3380CC4-5D6E-409C-BE32-E72D297353CC}">
                <c16:uniqueId val="{00000019-CE90-48F5-97ED-9DB0D7665FCB}"/>
              </c:ext>
            </c:extLst>
          </c:dPt>
          <c:dPt>
            <c:idx val="9"/>
            <c:marker>
              <c:spPr>
                <a:solidFill>
                  <a:srgbClr val="00FFB9"/>
                </a:solidFill>
                <a:ln w="28575">
                  <a:solidFill>
                    <a:srgbClr val="00FFB9"/>
                  </a:solidFill>
                </a:ln>
              </c:spPr>
            </c:marker>
            <c:bubble3D val="0"/>
            <c:spPr>
              <a:ln w="19050">
                <a:solidFill>
                  <a:srgbClr val="00FFB9"/>
                </a:solidFill>
                <a:prstDash val="solid"/>
              </a:ln>
            </c:spPr>
            <c:extLst>
              <c:ext xmlns:c16="http://schemas.microsoft.com/office/drawing/2014/chart" uri="{C3380CC4-5D6E-409C-BE32-E72D297353CC}">
                <c16:uniqueId val="{00000017-FD5B-40D7-9804-E07139B182A5}"/>
              </c:ext>
            </c:extLst>
          </c:dPt>
          <c:dPt>
            <c:idx val="11"/>
            <c:marker>
              <c:spPr>
                <a:solidFill>
                  <a:schemeClr val="accent1"/>
                </a:solidFill>
                <a:ln w="28575">
                  <a:solidFill>
                    <a:schemeClr val="accent1"/>
                  </a:solidFill>
                </a:ln>
              </c:spPr>
            </c:marker>
            <c:bubble3D val="0"/>
            <c:spPr>
              <a:ln w="19050">
                <a:solidFill>
                  <a:schemeClr val="accent1"/>
                </a:solidFill>
                <a:prstDash val="solid"/>
              </a:ln>
            </c:spPr>
            <c:extLst>
              <c:ext xmlns:c16="http://schemas.microsoft.com/office/drawing/2014/chart" uri="{C3380CC4-5D6E-409C-BE32-E72D297353CC}">
                <c16:uniqueId val="{00000001-CE90-48F5-97ED-9DB0D7665FCB}"/>
              </c:ext>
            </c:extLst>
          </c:dPt>
          <c:dPt>
            <c:idx val="12"/>
            <c:marker>
              <c:spPr>
                <a:solidFill>
                  <a:schemeClr val="accent1"/>
                </a:solidFill>
                <a:ln w="28575">
                  <a:solidFill>
                    <a:schemeClr val="accent1"/>
                  </a:solidFill>
                </a:ln>
              </c:spPr>
            </c:marker>
            <c:bubble3D val="0"/>
            <c:spPr>
              <a:ln w="19050">
                <a:solidFill>
                  <a:schemeClr val="accent1"/>
                </a:solidFill>
                <a:prstDash val="solid"/>
              </a:ln>
            </c:spPr>
            <c:extLst>
              <c:ext xmlns:c16="http://schemas.microsoft.com/office/drawing/2014/chart" uri="{C3380CC4-5D6E-409C-BE32-E72D297353CC}">
                <c16:uniqueId val="{00000003-CE90-48F5-97ED-9DB0D7665FCB}"/>
              </c:ext>
            </c:extLst>
          </c:dPt>
          <c:dPt>
            <c:idx val="13"/>
            <c:marker>
              <c:spPr>
                <a:solidFill>
                  <a:schemeClr val="accent1"/>
                </a:solidFill>
                <a:ln w="28575">
                  <a:solidFill>
                    <a:schemeClr val="accent1"/>
                  </a:solidFill>
                </a:ln>
              </c:spPr>
            </c:marker>
            <c:bubble3D val="0"/>
            <c:spPr>
              <a:ln w="19050">
                <a:solidFill>
                  <a:schemeClr val="accent1"/>
                </a:solidFill>
                <a:prstDash val="solid"/>
              </a:ln>
            </c:spPr>
            <c:extLst>
              <c:ext xmlns:c16="http://schemas.microsoft.com/office/drawing/2014/chart" uri="{C3380CC4-5D6E-409C-BE32-E72D297353CC}">
                <c16:uniqueId val="{00000005-CE90-48F5-97ED-9DB0D7665FCB}"/>
              </c:ext>
            </c:extLst>
          </c:dPt>
          <c:dPt>
            <c:idx val="14"/>
            <c:marker>
              <c:spPr>
                <a:solidFill>
                  <a:schemeClr val="accent1"/>
                </a:solidFill>
                <a:ln w="28575">
                  <a:solidFill>
                    <a:schemeClr val="accent1"/>
                  </a:solidFill>
                </a:ln>
              </c:spPr>
            </c:marker>
            <c:bubble3D val="0"/>
            <c:spPr>
              <a:ln w="19050">
                <a:solidFill>
                  <a:schemeClr val="accent1"/>
                </a:solidFill>
                <a:prstDash val="solid"/>
              </a:ln>
            </c:spPr>
            <c:extLst>
              <c:ext xmlns:c16="http://schemas.microsoft.com/office/drawing/2014/chart" uri="{C3380CC4-5D6E-409C-BE32-E72D297353CC}">
                <c16:uniqueId val="{00000007-CE90-48F5-97ED-9DB0D7665FCB}"/>
              </c:ext>
            </c:extLst>
          </c:dPt>
          <c:dPt>
            <c:idx val="15"/>
            <c:marker>
              <c:spPr>
                <a:solidFill>
                  <a:schemeClr val="accent1"/>
                </a:solidFill>
                <a:ln w="28575">
                  <a:solidFill>
                    <a:schemeClr val="accent1"/>
                  </a:solidFill>
                </a:ln>
              </c:spPr>
            </c:marker>
            <c:bubble3D val="0"/>
            <c:spPr>
              <a:ln w="19050">
                <a:solidFill>
                  <a:schemeClr val="accent1"/>
                </a:solidFill>
                <a:prstDash val="solid"/>
              </a:ln>
            </c:spPr>
            <c:extLst>
              <c:ext xmlns:c16="http://schemas.microsoft.com/office/drawing/2014/chart" uri="{C3380CC4-5D6E-409C-BE32-E72D297353CC}">
                <c16:uniqueId val="{00000009-CE90-48F5-97ED-9DB0D7665FCB}"/>
              </c:ext>
            </c:extLst>
          </c:dPt>
          <c:dPt>
            <c:idx val="16"/>
            <c:marker>
              <c:spPr>
                <a:solidFill>
                  <a:schemeClr val="accent1"/>
                </a:solidFill>
                <a:ln w="28575">
                  <a:solidFill>
                    <a:schemeClr val="accent1"/>
                  </a:solidFill>
                </a:ln>
              </c:spPr>
            </c:marker>
            <c:bubble3D val="0"/>
            <c:spPr>
              <a:ln w="19050">
                <a:solidFill>
                  <a:schemeClr val="accent1"/>
                </a:solidFill>
                <a:prstDash val="solid"/>
              </a:ln>
            </c:spPr>
            <c:extLst>
              <c:ext xmlns:c16="http://schemas.microsoft.com/office/drawing/2014/chart" uri="{C3380CC4-5D6E-409C-BE32-E72D297353CC}">
                <c16:uniqueId val="{0000000B-CE90-48F5-97ED-9DB0D7665FCB}"/>
              </c:ext>
            </c:extLst>
          </c:dPt>
          <c:dPt>
            <c:idx val="17"/>
            <c:marker>
              <c:spPr>
                <a:solidFill>
                  <a:schemeClr val="accent1"/>
                </a:solidFill>
                <a:ln w="28575">
                  <a:solidFill>
                    <a:schemeClr val="accent1"/>
                  </a:solidFill>
                </a:ln>
              </c:spPr>
            </c:marker>
            <c:bubble3D val="0"/>
            <c:spPr>
              <a:ln w="19050">
                <a:solidFill>
                  <a:schemeClr val="accent1"/>
                </a:solidFill>
                <a:prstDash val="solid"/>
              </a:ln>
            </c:spPr>
            <c:extLst>
              <c:ext xmlns:c16="http://schemas.microsoft.com/office/drawing/2014/chart" uri="{C3380CC4-5D6E-409C-BE32-E72D297353CC}">
                <c16:uniqueId val="{0000000D-CE90-48F5-97ED-9DB0D7665FCB}"/>
              </c:ext>
            </c:extLst>
          </c:dPt>
          <c:dPt>
            <c:idx val="18"/>
            <c:marker>
              <c:spPr>
                <a:solidFill>
                  <a:schemeClr val="accent1"/>
                </a:solidFill>
                <a:ln w="28575">
                  <a:solidFill>
                    <a:schemeClr val="accent1"/>
                  </a:solidFill>
                </a:ln>
              </c:spPr>
            </c:marker>
            <c:bubble3D val="0"/>
            <c:spPr>
              <a:ln w="19050">
                <a:solidFill>
                  <a:schemeClr val="accent1"/>
                </a:solidFill>
                <a:prstDash val="solid"/>
              </a:ln>
            </c:spPr>
            <c:extLst>
              <c:ext xmlns:c16="http://schemas.microsoft.com/office/drawing/2014/chart" uri="{C3380CC4-5D6E-409C-BE32-E72D297353CC}">
                <c16:uniqueId val="{0000000F-CE90-48F5-97ED-9DB0D7665FCB}"/>
              </c:ext>
            </c:extLst>
          </c:dPt>
          <c:dPt>
            <c:idx val="19"/>
            <c:marker>
              <c:spPr>
                <a:solidFill>
                  <a:schemeClr val="accent1"/>
                </a:solidFill>
                <a:ln w="28575">
                  <a:solidFill>
                    <a:schemeClr val="accent1"/>
                  </a:solidFill>
                </a:ln>
              </c:spPr>
            </c:marker>
            <c:bubble3D val="0"/>
            <c:spPr>
              <a:ln w="19050">
                <a:solidFill>
                  <a:schemeClr val="accent1"/>
                </a:solidFill>
                <a:prstDash val="solid"/>
              </a:ln>
            </c:spPr>
            <c:extLst>
              <c:ext xmlns:c16="http://schemas.microsoft.com/office/drawing/2014/chart" uri="{C3380CC4-5D6E-409C-BE32-E72D297353CC}">
                <c16:uniqueId val="{00000011-CE90-48F5-97ED-9DB0D7665FCB}"/>
              </c:ext>
            </c:extLst>
          </c:dPt>
          <c:dPt>
            <c:idx val="20"/>
            <c:marker>
              <c:spPr>
                <a:solidFill>
                  <a:schemeClr val="accent1"/>
                </a:solidFill>
                <a:ln w="28575">
                  <a:solidFill>
                    <a:schemeClr val="accent1"/>
                  </a:solidFill>
                </a:ln>
              </c:spPr>
            </c:marker>
            <c:bubble3D val="0"/>
            <c:spPr>
              <a:ln w="19050">
                <a:solidFill>
                  <a:schemeClr val="accent1"/>
                </a:solidFill>
                <a:prstDash val="solid"/>
              </a:ln>
            </c:spPr>
            <c:extLst>
              <c:ext xmlns:c16="http://schemas.microsoft.com/office/drawing/2014/chart" uri="{C3380CC4-5D6E-409C-BE32-E72D297353CC}">
                <c16:uniqueId val="{00000013-CE90-48F5-97ED-9DB0D7665FCB}"/>
              </c:ext>
            </c:extLst>
          </c:dPt>
          <c:dLbls>
            <c:dLbl>
              <c:idx val="0"/>
              <c:layout>
                <c:manualLayout>
                  <c:x val="0"/>
                  <c:y val="-2.939420170440081E-2"/>
                </c:manualLayout>
              </c:layout>
              <c:numFmt formatCode="0.0" sourceLinked="0"/>
              <c:spPr>
                <a:noFill/>
                <a:ln w="17931">
                  <a:noFill/>
                </a:ln>
              </c:spPr>
              <c:txPr>
                <a:bodyPr/>
                <a:lstStyle/>
                <a:p>
                  <a:pPr>
                    <a:defRPr sz="1000" b="0" i="0" u="none" strike="noStrike" baseline="0">
                      <a:solidFill>
                        <a:srgbClr val="9999A9"/>
                      </a:solidFill>
                      <a:latin typeface="Arial"/>
                      <a:ea typeface="Arial"/>
                      <a:cs typeface="Arial"/>
                    </a:defRPr>
                  </a:pPr>
                  <a:endParaRPr lang="de-DE"/>
                </a:p>
              </c:txP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4-CE90-48F5-97ED-9DB0D7665FCB}"/>
                </c:ext>
              </c:extLst>
            </c:dLbl>
            <c:dLbl>
              <c:idx val="2"/>
              <c:layout>
                <c:manualLayout>
                  <c:x val="-3.5193207814377431E-2"/>
                  <c:y val="-2.6545270017923894E-2"/>
                </c:manualLayout>
              </c:layout>
              <c:numFmt formatCode="0.0" sourceLinked="0"/>
              <c:spPr>
                <a:noFill/>
                <a:ln w="17931">
                  <a:noFill/>
                </a:ln>
              </c:spPr>
              <c:txPr>
                <a:bodyPr/>
                <a:lstStyle/>
                <a:p>
                  <a:pPr>
                    <a:defRPr sz="1000" b="0" i="0" u="none" strike="noStrike" baseline="0">
                      <a:solidFill>
                        <a:srgbClr val="9999A9"/>
                      </a:solidFill>
                      <a:latin typeface="Arial"/>
                      <a:ea typeface="Arial"/>
                      <a:cs typeface="Arial"/>
                    </a:defRPr>
                  </a:pPr>
                  <a:endParaRPr lang="de-DE"/>
                </a:p>
              </c:txPr>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5-CE90-48F5-97ED-9DB0D7665FCB}"/>
                </c:ext>
              </c:extLst>
            </c:dLbl>
            <c:dLbl>
              <c:idx val="4"/>
              <c:layout>
                <c:manualLayout>
                  <c:x val="-3.2762792888975711E-2"/>
                  <c:y val="-4.4666608543661945E-2"/>
                </c:manualLayout>
              </c:layout>
              <c:numFmt formatCode="0.0" sourceLinked="0"/>
              <c:spPr>
                <a:noFill/>
                <a:ln w="17931">
                  <a:noFill/>
                </a:ln>
              </c:spPr>
              <c:txPr>
                <a:bodyPr/>
                <a:lstStyle/>
                <a:p>
                  <a:pPr>
                    <a:defRPr sz="1000" b="0" i="0" u="none" strike="noStrike" baseline="0">
                      <a:solidFill>
                        <a:srgbClr val="9999A9"/>
                      </a:solidFill>
                      <a:latin typeface="Arial"/>
                      <a:ea typeface="Arial"/>
                      <a:cs typeface="Arial"/>
                    </a:defRPr>
                  </a:pPr>
                  <a:endParaRPr lang="de-DE"/>
                </a:p>
              </c:txPr>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6-CE90-48F5-97ED-9DB0D7665FCB}"/>
                </c:ext>
              </c:extLst>
            </c:dLbl>
            <c:dLbl>
              <c:idx val="5"/>
              <c:layout>
                <c:manualLayout>
                  <c:x val="-3.7927498843173646E-2"/>
                  <c:y val="-2.7149204716830022E-2"/>
                </c:manualLayout>
              </c:layout>
              <c:numFmt formatCode="0.0" sourceLinked="0"/>
              <c:spPr>
                <a:noFill/>
                <a:ln w="17931">
                  <a:noFill/>
                </a:ln>
              </c:spPr>
              <c:txPr>
                <a:bodyPr/>
                <a:lstStyle/>
                <a:p>
                  <a:pPr>
                    <a:defRPr sz="1000" b="0" i="0" u="none" strike="noStrike" baseline="0">
                      <a:solidFill>
                        <a:srgbClr val="9999A9"/>
                      </a:solidFill>
                      <a:latin typeface="Arial"/>
                      <a:ea typeface="Arial"/>
                      <a:cs typeface="Arial"/>
                    </a:defRPr>
                  </a:pPr>
                  <a:endParaRPr lang="de-DE"/>
                </a:p>
              </c:txPr>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7-CE90-48F5-97ED-9DB0D7665FCB}"/>
                </c:ext>
              </c:extLst>
            </c:dLbl>
            <c:dLbl>
              <c:idx val="7"/>
              <c:layout>
                <c:manualLayout>
                  <c:x val="-3.8352765476304757E-2"/>
                  <c:y val="-2.5336988425292306E-2"/>
                </c:manualLayout>
              </c:layout>
              <c:numFmt formatCode="0.0" sourceLinked="0"/>
              <c:spPr>
                <a:noFill/>
                <a:ln w="17931">
                  <a:noFill/>
                </a:ln>
              </c:spPr>
              <c:txPr>
                <a:bodyPr/>
                <a:lstStyle/>
                <a:p>
                  <a:pPr>
                    <a:defRPr sz="1000" b="0" i="0" u="none" strike="noStrike" baseline="0">
                      <a:solidFill>
                        <a:srgbClr val="9999A9"/>
                      </a:solidFill>
                      <a:latin typeface="Arial"/>
                      <a:ea typeface="Arial"/>
                      <a:cs typeface="Arial"/>
                    </a:defRPr>
                  </a:pPr>
                  <a:endParaRPr lang="de-DE"/>
                </a:p>
              </c:txPr>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8-CE90-48F5-97ED-9DB0D7665FCB}"/>
                </c:ext>
              </c:extLst>
            </c:dLbl>
            <c:dLbl>
              <c:idx val="8"/>
              <c:layout>
                <c:manualLayout>
                  <c:x val="-3.2762792888975711E-2"/>
                  <c:y val="8.7914982684678122E-3"/>
                </c:manualLayout>
              </c:layout>
              <c:numFmt formatCode="0.0" sourceLinked="0"/>
              <c:spPr>
                <a:noFill/>
                <a:ln w="17931">
                  <a:noFill/>
                </a:ln>
              </c:spPr>
              <c:txPr>
                <a:bodyPr/>
                <a:lstStyle/>
                <a:p>
                  <a:pPr>
                    <a:defRPr sz="1000" b="0" i="0" u="none" strike="noStrike" baseline="0">
                      <a:solidFill>
                        <a:srgbClr val="9999A9"/>
                      </a:solidFill>
                      <a:latin typeface="Arial"/>
                      <a:ea typeface="Arial"/>
                      <a:cs typeface="Arial"/>
                    </a:defRPr>
                  </a:pPr>
                  <a:endParaRPr lang="de-DE"/>
                </a:p>
              </c:txPr>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9-CE90-48F5-97ED-9DB0D7665FCB}"/>
                </c:ext>
              </c:extLst>
            </c:dLbl>
            <c:dLbl>
              <c:idx val="11"/>
              <c:layout>
                <c:manualLayout>
                  <c:x val="-3.476794118124632E-2"/>
                  <c:y val="-2.5035014359114094E-2"/>
                </c:manualLayout>
              </c:layout>
              <c:numFmt formatCode="0.0" sourceLinked="0"/>
              <c:spPr>
                <a:noFill/>
                <a:ln w="17931">
                  <a:noFill/>
                </a:ln>
              </c:spPr>
              <c:txPr>
                <a:bodyPr/>
                <a:lstStyle/>
                <a:p>
                  <a:pPr>
                    <a:defRPr sz="1000" b="0" i="0" u="none" strike="noStrike" baseline="0">
                      <a:solidFill>
                        <a:srgbClr val="9999A9"/>
                      </a:solidFill>
                      <a:latin typeface="Arial"/>
                      <a:ea typeface="Arial"/>
                      <a:cs typeface="Arial"/>
                    </a:defRPr>
                  </a:pPr>
                  <a:endParaRPr lang="de-DE"/>
                </a:p>
              </c:txPr>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E90-48F5-97ED-9DB0D7665FCB}"/>
                </c:ext>
              </c:extLst>
            </c:dLbl>
            <c:dLbl>
              <c:idx val="13"/>
              <c:layout>
                <c:manualLayout>
                  <c:x val="-3.6347720012209983E-2"/>
                  <c:y val="-2.9867529154136541E-2"/>
                </c:manualLayout>
              </c:layout>
              <c:numFmt formatCode="0.0" sourceLinked="0"/>
              <c:spPr>
                <a:noFill/>
                <a:ln w="17931">
                  <a:noFill/>
                </a:ln>
              </c:spPr>
              <c:txPr>
                <a:bodyPr/>
                <a:lstStyle/>
                <a:p>
                  <a:pPr>
                    <a:defRPr sz="1000" b="0" i="0" u="none" strike="noStrike" baseline="0">
                      <a:solidFill>
                        <a:srgbClr val="9999A9"/>
                      </a:solidFill>
                      <a:latin typeface="Arial"/>
                      <a:ea typeface="Arial"/>
                      <a:cs typeface="Arial"/>
                    </a:defRPr>
                  </a:pPr>
                  <a:endParaRPr lang="de-DE"/>
                </a:p>
              </c:txPr>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E90-48F5-97ED-9DB0D7665FCB}"/>
                </c:ext>
              </c:extLst>
            </c:dLbl>
            <c:dLbl>
              <c:idx val="16"/>
              <c:layout>
                <c:manualLayout>
                  <c:x val="-3.75021293818667E-2"/>
                  <c:y val="-3.0471463853042668E-2"/>
                </c:manualLayout>
              </c:layout>
              <c:numFmt formatCode="0.0" sourceLinked="0"/>
              <c:spPr>
                <a:noFill/>
                <a:ln w="17931">
                  <a:noFill/>
                </a:ln>
              </c:spPr>
              <c:txPr>
                <a:bodyPr/>
                <a:lstStyle/>
                <a:p>
                  <a:pPr>
                    <a:defRPr sz="1000" b="0" i="0" u="none" strike="noStrike" baseline="0">
                      <a:solidFill>
                        <a:srgbClr val="9999A9"/>
                      </a:solidFill>
                      <a:latin typeface="Arial"/>
                      <a:ea typeface="Arial"/>
                      <a:cs typeface="Arial"/>
                    </a:defRPr>
                  </a:pPr>
                  <a:endParaRPr lang="de-DE"/>
                </a:p>
              </c:txPr>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B-CE90-48F5-97ED-9DB0D7665FCB}"/>
                </c:ext>
              </c:extLst>
            </c:dLbl>
            <c:dLbl>
              <c:idx val="18"/>
              <c:layout>
                <c:manualLayout>
                  <c:x val="-3.5922350550903037E-2"/>
                  <c:y val="-2.5336988425292306E-2"/>
                </c:manualLayout>
              </c:layout>
              <c:numFmt formatCode="0.0" sourceLinked="0"/>
              <c:spPr>
                <a:noFill/>
                <a:ln w="17931">
                  <a:noFill/>
                </a:ln>
              </c:spPr>
              <c:txPr>
                <a:bodyPr/>
                <a:lstStyle/>
                <a:p>
                  <a:pPr>
                    <a:defRPr sz="1000" b="0" i="0" u="none" strike="noStrike" baseline="0">
                      <a:solidFill>
                        <a:srgbClr val="9999A9"/>
                      </a:solidFill>
                      <a:latin typeface="Arial"/>
                      <a:ea typeface="Arial"/>
                      <a:cs typeface="Arial"/>
                    </a:defRPr>
                  </a:pPr>
                  <a:endParaRPr lang="de-DE"/>
                </a:p>
              </c:txPr>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F-CE90-48F5-97ED-9DB0D7665FCB}"/>
                </c:ext>
              </c:extLst>
            </c:dLbl>
            <c:numFmt formatCode="0.0" sourceLinked="0"/>
            <c:spPr>
              <a:noFill/>
              <a:ln w="17931">
                <a:noFill/>
              </a:ln>
            </c:spPr>
            <c:txPr>
              <a:bodyPr wrap="square" lIns="38100" tIns="19050" rIns="38100" bIns="19050" anchor="ctr">
                <a:spAutoFit/>
              </a:bodyPr>
              <a:lstStyle/>
              <a:p>
                <a:pPr>
                  <a:defRPr sz="1000" b="0" i="0" u="none" strike="noStrike" baseline="0">
                    <a:solidFill>
                      <a:srgbClr val="9999A9"/>
                    </a:solidFill>
                    <a:latin typeface="Arial"/>
                    <a:ea typeface="Arial"/>
                    <a:cs typeface="Arial"/>
                  </a:defRPr>
                </a:pPr>
                <a:endParaRPr lang="de-DE"/>
              </a:p>
            </c:txPr>
            <c:showLegendKey val="0"/>
            <c:showVal val="0"/>
            <c:showCatName val="1"/>
            <c:showSerName val="0"/>
            <c:showPercent val="0"/>
            <c:showBubbleSize val="0"/>
            <c:showLeaderLines val="0"/>
            <c:extLst>
              <c:ext xmlns:c15="http://schemas.microsoft.com/office/drawing/2012/chart" uri="{CE6537A1-D6FC-4f65-9D91-7224C49458BB}">
                <c15:showLeaderLines val="0"/>
              </c:ext>
            </c:extLst>
          </c:dLbls>
          <c:xVal>
            <c:numRef>
              <c:f>Sheet1!$B$1:$V$1</c:f>
              <c:numCache>
                <c:formatCode>General</c:formatCode>
                <c:ptCount val="21"/>
                <c:pt idx="0">
                  <c:v>1</c:v>
                </c:pt>
                <c:pt idx="1">
                  <c:v>3</c:v>
                </c:pt>
                <c:pt idx="2">
                  <c:v>2</c:v>
                </c:pt>
                <c:pt idx="3">
                  <c:v>5</c:v>
                </c:pt>
                <c:pt idx="4">
                  <c:v>4</c:v>
                </c:pt>
                <c:pt idx="5">
                  <c:v>3</c:v>
                </c:pt>
                <c:pt idx="6">
                  <c:v>4</c:v>
                </c:pt>
                <c:pt idx="7">
                  <c:v>2</c:v>
                </c:pt>
                <c:pt idx="8">
                  <c:v>4</c:v>
                </c:pt>
                <c:pt idx="9">
                  <c:v>5</c:v>
                </c:pt>
                <c:pt idx="11">
                  <c:v>3</c:v>
                </c:pt>
                <c:pt idx="12">
                  <c:v>5</c:v>
                </c:pt>
                <c:pt idx="13">
                  <c:v>3</c:v>
                </c:pt>
                <c:pt idx="14">
                  <c:v>6</c:v>
                </c:pt>
                <c:pt idx="15">
                  <c:v>5</c:v>
                </c:pt>
                <c:pt idx="16">
                  <c:v>4</c:v>
                </c:pt>
                <c:pt idx="17">
                  <c:v>5</c:v>
                </c:pt>
                <c:pt idx="18">
                  <c:v>4</c:v>
                </c:pt>
                <c:pt idx="19">
                  <c:v>6</c:v>
                </c:pt>
                <c:pt idx="20">
                  <c:v>6</c:v>
                </c:pt>
              </c:numCache>
            </c:numRef>
          </c:xVal>
          <c:yVal>
            <c:numRef>
              <c:f>Sheet1!$B$2:$V$2</c:f>
              <c:numCache>
                <c:formatCode>0.0</c:formatCode>
                <c:ptCount val="21"/>
                <c:pt idx="0">
                  <c:v>10</c:v>
                </c:pt>
                <c:pt idx="1">
                  <c:v>9</c:v>
                </c:pt>
                <c:pt idx="2">
                  <c:v>8</c:v>
                </c:pt>
                <c:pt idx="3">
                  <c:v>7</c:v>
                </c:pt>
                <c:pt idx="4">
                  <c:v>6</c:v>
                </c:pt>
                <c:pt idx="5">
                  <c:v>5</c:v>
                </c:pt>
                <c:pt idx="6">
                  <c:v>4</c:v>
                </c:pt>
                <c:pt idx="7">
                  <c:v>3</c:v>
                </c:pt>
                <c:pt idx="8">
                  <c:v>2</c:v>
                </c:pt>
                <c:pt idx="9">
                  <c:v>1</c:v>
                </c:pt>
                <c:pt idx="11">
                  <c:v>10</c:v>
                </c:pt>
                <c:pt idx="12">
                  <c:v>9</c:v>
                </c:pt>
                <c:pt idx="13">
                  <c:v>8</c:v>
                </c:pt>
                <c:pt idx="14">
                  <c:v>7</c:v>
                </c:pt>
                <c:pt idx="15">
                  <c:v>6</c:v>
                </c:pt>
                <c:pt idx="16">
                  <c:v>5</c:v>
                </c:pt>
                <c:pt idx="17">
                  <c:v>4</c:v>
                </c:pt>
                <c:pt idx="18">
                  <c:v>3</c:v>
                </c:pt>
                <c:pt idx="19">
                  <c:v>2</c:v>
                </c:pt>
                <c:pt idx="20">
                  <c:v>1</c:v>
                </c:pt>
              </c:numCache>
            </c:numRef>
          </c:yVal>
          <c:smooth val="0"/>
          <c:extLst>
            <c:ext xmlns:c16="http://schemas.microsoft.com/office/drawing/2014/chart" uri="{C3380CC4-5D6E-409C-BE32-E72D297353CC}">
              <c16:uniqueId val="{0000001A-CE90-48F5-97ED-9DB0D7665FCB}"/>
            </c:ext>
          </c:extLst>
        </c:ser>
        <c:dLbls>
          <c:showLegendKey val="0"/>
          <c:showVal val="0"/>
          <c:showCatName val="0"/>
          <c:showSerName val="0"/>
          <c:showPercent val="0"/>
          <c:showBubbleSize val="0"/>
        </c:dLbls>
        <c:axId val="77598488"/>
        <c:axId val="1"/>
      </c:scatterChart>
      <c:valAx>
        <c:axId val="77598488"/>
        <c:scaling>
          <c:orientation val="minMax"/>
          <c:max val="6.2"/>
          <c:min val="1"/>
        </c:scaling>
        <c:delete val="0"/>
        <c:axPos val="t"/>
        <c:majorGridlines>
          <c:spPr>
            <a:ln w="6350">
              <a:solidFill>
                <a:srgbClr val="9999A9"/>
              </a:solidFill>
              <a:prstDash val="solid"/>
            </a:ln>
          </c:spPr>
        </c:majorGridlines>
        <c:numFmt formatCode="0.0" sourceLinked="0"/>
        <c:majorTickMark val="out"/>
        <c:minorTickMark val="none"/>
        <c:tickLblPos val="nextTo"/>
        <c:spPr>
          <a:ln w="4483">
            <a:noFill/>
          </a:ln>
        </c:spPr>
        <c:txPr>
          <a:bodyPr rot="0" vert="horz"/>
          <a:lstStyle/>
          <a:p>
            <a:pPr>
              <a:defRPr sz="1100" b="1" i="0" u="none" strike="noStrike" baseline="0">
                <a:solidFill>
                  <a:srgbClr val="9999A9"/>
                </a:solidFill>
                <a:latin typeface="+mn-lt"/>
                <a:ea typeface="Arial"/>
                <a:cs typeface="Arial"/>
              </a:defRPr>
            </a:pPr>
            <a:endParaRPr lang="de-DE"/>
          </a:p>
        </c:txPr>
        <c:crossAx val="1"/>
        <c:crosses val="max"/>
        <c:crossBetween val="midCat"/>
        <c:majorUnit val="1"/>
      </c:valAx>
      <c:valAx>
        <c:axId val="1"/>
        <c:scaling>
          <c:orientation val="minMax"/>
          <c:max val="11"/>
          <c:min val="0"/>
        </c:scaling>
        <c:delete val="1"/>
        <c:axPos val="l"/>
        <c:numFmt formatCode="0.0" sourceLinked="1"/>
        <c:majorTickMark val="out"/>
        <c:minorTickMark val="none"/>
        <c:tickLblPos val="nextTo"/>
        <c:crossAx val="77598488"/>
        <c:crosses val="autoZero"/>
        <c:crossBetween val="midCat"/>
      </c:valAx>
      <c:spPr>
        <a:noFill/>
        <a:ln w="17931">
          <a:noFill/>
        </a:ln>
      </c:spPr>
    </c:plotArea>
    <c:plotVisOnly val="1"/>
    <c:dispBlanksAs val="gap"/>
    <c:showDLblsOverMax val="0"/>
  </c:chart>
  <c:spPr>
    <a:noFill/>
    <a:ln>
      <a:noFill/>
    </a:ln>
  </c:spPr>
  <c:txPr>
    <a:bodyPr/>
    <a:lstStyle/>
    <a:p>
      <a:pPr>
        <a:defRPr sz="988" b="1" i="0" u="none" strike="noStrike" baseline="0">
          <a:solidFill>
            <a:schemeClr val="tx1"/>
          </a:solidFill>
          <a:latin typeface="Arial"/>
          <a:ea typeface="Arial"/>
          <a:cs typeface="Arial"/>
        </a:defRPr>
      </a:pPr>
      <a:endParaRPr lang="de-DE"/>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259176645620942E-2"/>
          <c:y val="3.3414447386313939E-2"/>
          <c:w val="0.71636094329961486"/>
          <c:h val="0.88952687527285546"/>
        </c:manualLayout>
      </c:layout>
      <c:areaChart>
        <c:grouping val="stacked"/>
        <c:varyColors val="0"/>
        <c:ser>
          <c:idx val="0"/>
          <c:order val="0"/>
          <c:tx>
            <c:strRef>
              <c:f>Tabelle1!$A$2</c:f>
              <c:strCache>
                <c:ptCount val="1"/>
                <c:pt idx="0">
                  <c:v>Data series 1</c:v>
                </c:pt>
              </c:strCache>
            </c:strRef>
          </c:tx>
          <c:spPr>
            <a:solidFill>
              <a:srgbClr val="00646E"/>
            </a:solidFill>
            <a:ln>
              <a:noFill/>
            </a:ln>
            <a:effectLst/>
          </c:spPr>
          <c:cat>
            <c:strRef>
              <c:f>Tabelle1!$B$1:$K$1</c:f>
              <c:strCache>
                <c:ptCount val="10"/>
                <c:pt idx="0">
                  <c:v>Lorem</c:v>
                </c:pt>
                <c:pt idx="1">
                  <c:v>Ipsum</c:v>
                </c:pt>
                <c:pt idx="2">
                  <c:v>Dolore</c:v>
                </c:pt>
                <c:pt idx="3">
                  <c:v>Esta</c:v>
                </c:pt>
                <c:pt idx="4">
                  <c:v>Conses</c:v>
                </c:pt>
                <c:pt idx="5">
                  <c:v>Loreme</c:v>
                </c:pt>
                <c:pt idx="6">
                  <c:v>Ipsume</c:v>
                </c:pt>
                <c:pt idx="7">
                  <c:v>Dolores</c:v>
                </c:pt>
                <c:pt idx="8">
                  <c:v>Estal</c:v>
                </c:pt>
                <c:pt idx="9">
                  <c:v>Consest</c:v>
                </c:pt>
              </c:strCache>
            </c:strRef>
          </c:cat>
          <c:val>
            <c:numRef>
              <c:f>Tabelle1!$B$2:$K$2</c:f>
              <c:numCache>
                <c:formatCode>General</c:formatCode>
                <c:ptCount val="10"/>
                <c:pt idx="0">
                  <c:v>2.5</c:v>
                </c:pt>
                <c:pt idx="1">
                  <c:v>3</c:v>
                </c:pt>
                <c:pt idx="2">
                  <c:v>3</c:v>
                </c:pt>
                <c:pt idx="3">
                  <c:v>2</c:v>
                </c:pt>
                <c:pt idx="4">
                  <c:v>2</c:v>
                </c:pt>
                <c:pt idx="5">
                  <c:v>2</c:v>
                </c:pt>
                <c:pt idx="6">
                  <c:v>1</c:v>
                </c:pt>
                <c:pt idx="7">
                  <c:v>2</c:v>
                </c:pt>
                <c:pt idx="8">
                  <c:v>2</c:v>
                </c:pt>
                <c:pt idx="9">
                  <c:v>2.5</c:v>
                </c:pt>
              </c:numCache>
            </c:numRef>
          </c:val>
          <c:extLst>
            <c:ext xmlns:c16="http://schemas.microsoft.com/office/drawing/2014/chart" uri="{C3380CC4-5D6E-409C-BE32-E72D297353CC}">
              <c16:uniqueId val="{00000000-6A22-47F0-8B1D-DEB4D0FFE461}"/>
            </c:ext>
          </c:extLst>
        </c:ser>
        <c:ser>
          <c:idx val="1"/>
          <c:order val="1"/>
          <c:tx>
            <c:strRef>
              <c:f>Tabelle1!$A$3</c:f>
              <c:strCache>
                <c:ptCount val="1"/>
                <c:pt idx="0">
                  <c:v>Data series 2</c:v>
                </c:pt>
              </c:strCache>
            </c:strRef>
          </c:tx>
          <c:spPr>
            <a:solidFill>
              <a:srgbClr val="00AF8E"/>
            </a:solidFill>
            <a:ln>
              <a:noFill/>
            </a:ln>
            <a:effectLst/>
          </c:spPr>
          <c:cat>
            <c:strRef>
              <c:f>Tabelle1!$B$1:$K$1</c:f>
              <c:strCache>
                <c:ptCount val="10"/>
                <c:pt idx="0">
                  <c:v>Lorem</c:v>
                </c:pt>
                <c:pt idx="1">
                  <c:v>Ipsum</c:v>
                </c:pt>
                <c:pt idx="2">
                  <c:v>Dolore</c:v>
                </c:pt>
                <c:pt idx="3">
                  <c:v>Esta</c:v>
                </c:pt>
                <c:pt idx="4">
                  <c:v>Conses</c:v>
                </c:pt>
                <c:pt idx="5">
                  <c:v>Loreme</c:v>
                </c:pt>
                <c:pt idx="6">
                  <c:v>Ipsume</c:v>
                </c:pt>
                <c:pt idx="7">
                  <c:v>Dolores</c:v>
                </c:pt>
                <c:pt idx="8">
                  <c:v>Estal</c:v>
                </c:pt>
                <c:pt idx="9">
                  <c:v>Consest</c:v>
                </c:pt>
              </c:strCache>
            </c:strRef>
          </c:cat>
          <c:val>
            <c:numRef>
              <c:f>Tabelle1!$B$3:$K$3</c:f>
              <c:numCache>
                <c:formatCode>General</c:formatCode>
                <c:ptCount val="10"/>
                <c:pt idx="0">
                  <c:v>2</c:v>
                </c:pt>
                <c:pt idx="1">
                  <c:v>2.2000000000000002</c:v>
                </c:pt>
                <c:pt idx="2">
                  <c:v>2.4</c:v>
                </c:pt>
                <c:pt idx="3">
                  <c:v>1.8</c:v>
                </c:pt>
                <c:pt idx="4">
                  <c:v>2.5</c:v>
                </c:pt>
                <c:pt idx="5">
                  <c:v>3</c:v>
                </c:pt>
                <c:pt idx="6">
                  <c:v>3</c:v>
                </c:pt>
                <c:pt idx="7">
                  <c:v>2.4</c:v>
                </c:pt>
                <c:pt idx="8">
                  <c:v>2.5</c:v>
                </c:pt>
                <c:pt idx="9">
                  <c:v>2</c:v>
                </c:pt>
              </c:numCache>
            </c:numRef>
          </c:val>
          <c:extLst>
            <c:ext xmlns:c16="http://schemas.microsoft.com/office/drawing/2014/chart" uri="{C3380CC4-5D6E-409C-BE32-E72D297353CC}">
              <c16:uniqueId val="{00000001-6A22-47F0-8B1D-DEB4D0FFE461}"/>
            </c:ext>
          </c:extLst>
        </c:ser>
        <c:ser>
          <c:idx val="2"/>
          <c:order val="2"/>
          <c:tx>
            <c:strRef>
              <c:f>Tabelle1!$A$4</c:f>
              <c:strCache>
                <c:ptCount val="1"/>
                <c:pt idx="0">
                  <c:v>Data series 3</c:v>
                </c:pt>
              </c:strCache>
            </c:strRef>
          </c:tx>
          <c:spPr>
            <a:solidFill>
              <a:srgbClr val="00FFB9"/>
            </a:solidFill>
            <a:ln>
              <a:noFill/>
            </a:ln>
            <a:effectLst/>
          </c:spPr>
          <c:cat>
            <c:strRef>
              <c:f>Tabelle1!$B$1:$K$1</c:f>
              <c:strCache>
                <c:ptCount val="10"/>
                <c:pt idx="0">
                  <c:v>Lorem</c:v>
                </c:pt>
                <c:pt idx="1">
                  <c:v>Ipsum</c:v>
                </c:pt>
                <c:pt idx="2">
                  <c:v>Dolore</c:v>
                </c:pt>
                <c:pt idx="3">
                  <c:v>Esta</c:v>
                </c:pt>
                <c:pt idx="4">
                  <c:v>Conses</c:v>
                </c:pt>
                <c:pt idx="5">
                  <c:v>Loreme</c:v>
                </c:pt>
                <c:pt idx="6">
                  <c:v>Ipsume</c:v>
                </c:pt>
                <c:pt idx="7">
                  <c:v>Dolores</c:v>
                </c:pt>
                <c:pt idx="8">
                  <c:v>Estal</c:v>
                </c:pt>
                <c:pt idx="9">
                  <c:v>Consest</c:v>
                </c:pt>
              </c:strCache>
            </c:strRef>
          </c:cat>
          <c:val>
            <c:numRef>
              <c:f>Tabelle1!$B$4:$K$4</c:f>
              <c:numCache>
                <c:formatCode>General</c:formatCode>
                <c:ptCount val="10"/>
                <c:pt idx="0">
                  <c:v>3</c:v>
                </c:pt>
                <c:pt idx="1">
                  <c:v>3.2</c:v>
                </c:pt>
                <c:pt idx="2">
                  <c:v>3.3</c:v>
                </c:pt>
                <c:pt idx="3">
                  <c:v>2.5</c:v>
                </c:pt>
                <c:pt idx="4">
                  <c:v>1.8</c:v>
                </c:pt>
                <c:pt idx="5">
                  <c:v>1.8</c:v>
                </c:pt>
                <c:pt idx="6">
                  <c:v>1.2</c:v>
                </c:pt>
                <c:pt idx="7">
                  <c:v>1.5</c:v>
                </c:pt>
                <c:pt idx="8">
                  <c:v>1.6</c:v>
                </c:pt>
                <c:pt idx="9">
                  <c:v>1.9</c:v>
                </c:pt>
              </c:numCache>
            </c:numRef>
          </c:val>
          <c:extLst>
            <c:ext xmlns:c16="http://schemas.microsoft.com/office/drawing/2014/chart" uri="{C3380CC4-5D6E-409C-BE32-E72D297353CC}">
              <c16:uniqueId val="{00000002-6A22-47F0-8B1D-DEB4D0FFE461}"/>
            </c:ext>
          </c:extLst>
        </c:ser>
        <c:dLbls>
          <c:showLegendKey val="0"/>
          <c:showVal val="0"/>
          <c:showCatName val="0"/>
          <c:showSerName val="0"/>
          <c:showPercent val="0"/>
          <c:showBubbleSize val="0"/>
        </c:dLbls>
        <c:axId val="117580928"/>
        <c:axId val="117582464"/>
      </c:areaChart>
      <c:catAx>
        <c:axId val="117580928"/>
        <c:scaling>
          <c:orientation val="minMax"/>
        </c:scaling>
        <c:delete val="0"/>
        <c:axPos val="b"/>
        <c:numFmt formatCode="General" sourceLinked="1"/>
        <c:majorTickMark val="out"/>
        <c:minorTickMark val="none"/>
        <c:tickLblPos val="nextTo"/>
        <c:spPr>
          <a:noFill/>
          <a:ln w="6350" cap="flat" cmpd="sng" algn="ctr">
            <a:solidFill>
              <a:srgbClr val="66667E"/>
            </a:solidFill>
            <a:prstDash val="solid"/>
            <a:round/>
          </a:ln>
          <a:effectLst/>
        </c:spPr>
        <c:txPr>
          <a:bodyPr rot="-60000000" spcFirstLastPara="1" vertOverflow="ellipsis" vert="horz" wrap="square" anchor="ctr" anchorCtr="1"/>
          <a:lstStyle/>
          <a:p>
            <a:pPr>
              <a:defRPr sz="1000" b="1" i="0" u="none" strike="noStrike" kern="1200" baseline="0">
                <a:solidFill>
                  <a:srgbClr val="66667E"/>
                </a:solidFill>
                <a:latin typeface="+mn-lt"/>
                <a:ea typeface="+mn-ea"/>
                <a:cs typeface="+mn-cs"/>
              </a:defRPr>
            </a:pPr>
            <a:endParaRPr lang="de-DE"/>
          </a:p>
        </c:txPr>
        <c:crossAx val="117582464"/>
        <c:crosses val="autoZero"/>
        <c:auto val="1"/>
        <c:lblAlgn val="ctr"/>
        <c:lblOffset val="100"/>
        <c:noMultiLvlLbl val="0"/>
      </c:catAx>
      <c:valAx>
        <c:axId val="117582464"/>
        <c:scaling>
          <c:orientation val="minMax"/>
        </c:scaling>
        <c:delete val="0"/>
        <c:axPos val="l"/>
        <c:majorGridlines>
          <c:spPr>
            <a:ln w="12700" cap="flat" cmpd="sng" algn="ctr">
              <a:noFill/>
              <a:prstDash val="solid"/>
              <a:round/>
            </a:ln>
            <a:effectLst/>
          </c:spPr>
        </c:majorGridlines>
        <c:numFmt formatCode="General" sourceLinked="1"/>
        <c:majorTickMark val="none"/>
        <c:minorTickMark val="none"/>
        <c:tickLblPos val="nextTo"/>
        <c:spPr>
          <a:noFill/>
          <a:ln w="6350" cap="flat" cmpd="sng" algn="ctr">
            <a:solidFill>
              <a:srgbClr val="66667E"/>
            </a:solidFill>
            <a:prstDash val="solid"/>
            <a:round/>
          </a:ln>
          <a:effectLst/>
        </c:spPr>
        <c:txPr>
          <a:bodyPr rot="-60000000" spcFirstLastPara="1" vertOverflow="ellipsis" vert="horz" wrap="square" anchor="ctr" anchorCtr="1"/>
          <a:lstStyle/>
          <a:p>
            <a:pPr>
              <a:defRPr sz="1000" b="1" i="0" u="none" strike="noStrike" kern="1200" baseline="0">
                <a:solidFill>
                  <a:srgbClr val="66667E"/>
                </a:solidFill>
                <a:latin typeface="+mn-lt"/>
                <a:ea typeface="+mn-ea"/>
                <a:cs typeface="+mn-cs"/>
              </a:defRPr>
            </a:pPr>
            <a:endParaRPr lang="de-DE"/>
          </a:p>
        </c:txPr>
        <c:crossAx val="117580928"/>
        <c:crosses val="autoZero"/>
        <c:crossBetween val="midCat"/>
      </c:valAx>
      <c:spPr>
        <a:noFill/>
        <a:ln>
          <a:noFill/>
        </a:ln>
        <a:effectLst/>
      </c:spPr>
    </c:plotArea>
    <c:legend>
      <c:legendPos val="r"/>
      <c:layout>
        <c:manualLayout>
          <c:xMode val="edge"/>
          <c:yMode val="edge"/>
          <c:x val="0.86549660360275227"/>
          <c:y val="0.76501201878823266"/>
          <c:w val="0.12006293938348413"/>
          <c:h val="0.15729874447056844"/>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66667E"/>
              </a:solidFill>
              <a:latin typeface="+mn-lt"/>
              <a:ea typeface="+mn-ea"/>
              <a:cs typeface="+mn-cs"/>
            </a:defRPr>
          </a:pPr>
          <a:endParaRPr lang="de-DE"/>
        </a:p>
      </c:txPr>
    </c:legend>
    <c:plotVisOnly val="1"/>
    <c:dispBlanksAs val="gap"/>
    <c:showDLblsOverMax val="0"/>
  </c:chart>
  <c:spPr>
    <a:noFill/>
    <a:ln w="6350" cap="flat" cmpd="sng" algn="ctr">
      <a:noFill/>
      <a:prstDash val="solid"/>
      <a:miter lim="800000"/>
    </a:ln>
    <a:effectLst/>
  </c:spPr>
  <c:txPr>
    <a:bodyPr/>
    <a:lstStyle/>
    <a:p>
      <a:pPr>
        <a:defRPr sz="1800"/>
      </a:pPr>
      <a:endParaRPr lang="de-DE"/>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259176645620942E-2"/>
          <c:y val="3.3414447386313939E-2"/>
          <c:w val="0.71636094329961486"/>
          <c:h val="0.88952687527285546"/>
        </c:manualLayout>
      </c:layout>
      <c:areaChart>
        <c:grouping val="stacked"/>
        <c:varyColors val="0"/>
        <c:ser>
          <c:idx val="0"/>
          <c:order val="0"/>
          <c:tx>
            <c:strRef>
              <c:f>Tabelle1!$A$2</c:f>
              <c:strCache>
                <c:ptCount val="1"/>
                <c:pt idx="0">
                  <c:v>Data series 1</c:v>
                </c:pt>
              </c:strCache>
            </c:strRef>
          </c:tx>
          <c:spPr>
            <a:solidFill>
              <a:srgbClr val="00646E"/>
            </a:solidFill>
            <a:ln>
              <a:noFill/>
            </a:ln>
            <a:effectLst/>
          </c:spPr>
          <c:cat>
            <c:strRef>
              <c:f>Tabelle1!$B$1:$K$1</c:f>
              <c:strCache>
                <c:ptCount val="10"/>
                <c:pt idx="0">
                  <c:v>Lorem</c:v>
                </c:pt>
                <c:pt idx="1">
                  <c:v>Ipsum</c:v>
                </c:pt>
                <c:pt idx="2">
                  <c:v>Dolore</c:v>
                </c:pt>
                <c:pt idx="3">
                  <c:v>Esta</c:v>
                </c:pt>
                <c:pt idx="4">
                  <c:v>Conses</c:v>
                </c:pt>
                <c:pt idx="5">
                  <c:v>Loreme</c:v>
                </c:pt>
                <c:pt idx="6">
                  <c:v>Ipsume</c:v>
                </c:pt>
                <c:pt idx="7">
                  <c:v>Dolores</c:v>
                </c:pt>
                <c:pt idx="8">
                  <c:v>Estal</c:v>
                </c:pt>
                <c:pt idx="9">
                  <c:v>Consest</c:v>
                </c:pt>
              </c:strCache>
            </c:strRef>
          </c:cat>
          <c:val>
            <c:numRef>
              <c:f>Tabelle1!$B$2:$K$2</c:f>
              <c:numCache>
                <c:formatCode>General</c:formatCode>
                <c:ptCount val="10"/>
                <c:pt idx="0">
                  <c:v>2.5</c:v>
                </c:pt>
                <c:pt idx="1">
                  <c:v>3</c:v>
                </c:pt>
                <c:pt idx="2">
                  <c:v>3</c:v>
                </c:pt>
                <c:pt idx="3">
                  <c:v>2</c:v>
                </c:pt>
                <c:pt idx="4">
                  <c:v>2</c:v>
                </c:pt>
                <c:pt idx="5">
                  <c:v>2</c:v>
                </c:pt>
                <c:pt idx="6">
                  <c:v>1</c:v>
                </c:pt>
                <c:pt idx="7">
                  <c:v>2</c:v>
                </c:pt>
                <c:pt idx="8">
                  <c:v>2</c:v>
                </c:pt>
                <c:pt idx="9">
                  <c:v>2.5</c:v>
                </c:pt>
              </c:numCache>
            </c:numRef>
          </c:val>
          <c:extLst>
            <c:ext xmlns:c16="http://schemas.microsoft.com/office/drawing/2014/chart" uri="{C3380CC4-5D6E-409C-BE32-E72D297353CC}">
              <c16:uniqueId val="{00000000-6A22-47F0-8B1D-DEB4D0FFE461}"/>
            </c:ext>
          </c:extLst>
        </c:ser>
        <c:ser>
          <c:idx val="1"/>
          <c:order val="1"/>
          <c:tx>
            <c:strRef>
              <c:f>Tabelle1!$A$3</c:f>
              <c:strCache>
                <c:ptCount val="1"/>
                <c:pt idx="0">
                  <c:v>Data series 2</c:v>
                </c:pt>
              </c:strCache>
            </c:strRef>
          </c:tx>
          <c:spPr>
            <a:solidFill>
              <a:srgbClr val="00AF8E"/>
            </a:solidFill>
            <a:ln>
              <a:noFill/>
            </a:ln>
            <a:effectLst/>
          </c:spPr>
          <c:cat>
            <c:strRef>
              <c:f>Tabelle1!$B$1:$K$1</c:f>
              <c:strCache>
                <c:ptCount val="10"/>
                <c:pt idx="0">
                  <c:v>Lorem</c:v>
                </c:pt>
                <c:pt idx="1">
                  <c:v>Ipsum</c:v>
                </c:pt>
                <c:pt idx="2">
                  <c:v>Dolore</c:v>
                </c:pt>
                <c:pt idx="3">
                  <c:v>Esta</c:v>
                </c:pt>
                <c:pt idx="4">
                  <c:v>Conses</c:v>
                </c:pt>
                <c:pt idx="5">
                  <c:v>Loreme</c:v>
                </c:pt>
                <c:pt idx="6">
                  <c:v>Ipsume</c:v>
                </c:pt>
                <c:pt idx="7">
                  <c:v>Dolores</c:v>
                </c:pt>
                <c:pt idx="8">
                  <c:v>Estal</c:v>
                </c:pt>
                <c:pt idx="9">
                  <c:v>Consest</c:v>
                </c:pt>
              </c:strCache>
            </c:strRef>
          </c:cat>
          <c:val>
            <c:numRef>
              <c:f>Tabelle1!$B$3:$K$3</c:f>
              <c:numCache>
                <c:formatCode>General</c:formatCode>
                <c:ptCount val="10"/>
                <c:pt idx="0">
                  <c:v>2</c:v>
                </c:pt>
                <c:pt idx="1">
                  <c:v>2.2000000000000002</c:v>
                </c:pt>
                <c:pt idx="2">
                  <c:v>2.4</c:v>
                </c:pt>
                <c:pt idx="3">
                  <c:v>1.8</c:v>
                </c:pt>
                <c:pt idx="4">
                  <c:v>2.5</c:v>
                </c:pt>
                <c:pt idx="5">
                  <c:v>3</c:v>
                </c:pt>
                <c:pt idx="6">
                  <c:v>3</c:v>
                </c:pt>
                <c:pt idx="7">
                  <c:v>2.4</c:v>
                </c:pt>
                <c:pt idx="8">
                  <c:v>2.5</c:v>
                </c:pt>
                <c:pt idx="9">
                  <c:v>2</c:v>
                </c:pt>
              </c:numCache>
            </c:numRef>
          </c:val>
          <c:extLst>
            <c:ext xmlns:c16="http://schemas.microsoft.com/office/drawing/2014/chart" uri="{C3380CC4-5D6E-409C-BE32-E72D297353CC}">
              <c16:uniqueId val="{00000001-6A22-47F0-8B1D-DEB4D0FFE461}"/>
            </c:ext>
          </c:extLst>
        </c:ser>
        <c:ser>
          <c:idx val="2"/>
          <c:order val="2"/>
          <c:tx>
            <c:strRef>
              <c:f>Tabelle1!$A$4</c:f>
              <c:strCache>
                <c:ptCount val="1"/>
                <c:pt idx="0">
                  <c:v>Data series 3</c:v>
                </c:pt>
              </c:strCache>
            </c:strRef>
          </c:tx>
          <c:spPr>
            <a:solidFill>
              <a:srgbClr val="00FFB9"/>
            </a:solidFill>
            <a:ln>
              <a:noFill/>
            </a:ln>
            <a:effectLst/>
          </c:spPr>
          <c:cat>
            <c:strRef>
              <c:f>Tabelle1!$B$1:$K$1</c:f>
              <c:strCache>
                <c:ptCount val="10"/>
                <c:pt idx="0">
                  <c:v>Lorem</c:v>
                </c:pt>
                <c:pt idx="1">
                  <c:v>Ipsum</c:v>
                </c:pt>
                <c:pt idx="2">
                  <c:v>Dolore</c:v>
                </c:pt>
                <c:pt idx="3">
                  <c:v>Esta</c:v>
                </c:pt>
                <c:pt idx="4">
                  <c:v>Conses</c:v>
                </c:pt>
                <c:pt idx="5">
                  <c:v>Loreme</c:v>
                </c:pt>
                <c:pt idx="6">
                  <c:v>Ipsume</c:v>
                </c:pt>
                <c:pt idx="7">
                  <c:v>Dolores</c:v>
                </c:pt>
                <c:pt idx="8">
                  <c:v>Estal</c:v>
                </c:pt>
                <c:pt idx="9">
                  <c:v>Consest</c:v>
                </c:pt>
              </c:strCache>
            </c:strRef>
          </c:cat>
          <c:val>
            <c:numRef>
              <c:f>Tabelle1!$B$4:$K$4</c:f>
              <c:numCache>
                <c:formatCode>General</c:formatCode>
                <c:ptCount val="10"/>
                <c:pt idx="0">
                  <c:v>3</c:v>
                </c:pt>
                <c:pt idx="1">
                  <c:v>3.2</c:v>
                </c:pt>
                <c:pt idx="2">
                  <c:v>3.3</c:v>
                </c:pt>
                <c:pt idx="3">
                  <c:v>2.5</c:v>
                </c:pt>
                <c:pt idx="4">
                  <c:v>1.8</c:v>
                </c:pt>
                <c:pt idx="5">
                  <c:v>1.8</c:v>
                </c:pt>
                <c:pt idx="6">
                  <c:v>1.2</c:v>
                </c:pt>
                <c:pt idx="7">
                  <c:v>1.5</c:v>
                </c:pt>
                <c:pt idx="8">
                  <c:v>1.6</c:v>
                </c:pt>
                <c:pt idx="9">
                  <c:v>1.9</c:v>
                </c:pt>
              </c:numCache>
            </c:numRef>
          </c:val>
          <c:extLst>
            <c:ext xmlns:c16="http://schemas.microsoft.com/office/drawing/2014/chart" uri="{C3380CC4-5D6E-409C-BE32-E72D297353CC}">
              <c16:uniqueId val="{00000002-6A22-47F0-8B1D-DEB4D0FFE461}"/>
            </c:ext>
          </c:extLst>
        </c:ser>
        <c:dLbls>
          <c:showLegendKey val="0"/>
          <c:showVal val="0"/>
          <c:showCatName val="0"/>
          <c:showSerName val="0"/>
          <c:showPercent val="0"/>
          <c:showBubbleSize val="0"/>
        </c:dLbls>
        <c:axId val="117580928"/>
        <c:axId val="117582464"/>
      </c:areaChart>
      <c:catAx>
        <c:axId val="117580928"/>
        <c:scaling>
          <c:orientation val="minMax"/>
        </c:scaling>
        <c:delete val="0"/>
        <c:axPos val="b"/>
        <c:numFmt formatCode="General" sourceLinked="1"/>
        <c:majorTickMark val="out"/>
        <c:minorTickMark val="none"/>
        <c:tickLblPos val="nextTo"/>
        <c:spPr>
          <a:noFill/>
          <a:ln w="6350" cap="flat" cmpd="sng" algn="ctr">
            <a:solidFill>
              <a:srgbClr val="9999A9"/>
            </a:solidFill>
            <a:prstDash val="solid"/>
            <a:round/>
          </a:ln>
          <a:effectLst/>
        </c:spPr>
        <c:txPr>
          <a:bodyPr rot="-60000000" spcFirstLastPara="1" vertOverflow="ellipsis" vert="horz" wrap="square" anchor="ctr" anchorCtr="1"/>
          <a:lstStyle/>
          <a:p>
            <a:pPr>
              <a:defRPr sz="1000" b="1" i="0" u="none" strike="noStrike" kern="1200" baseline="0">
                <a:solidFill>
                  <a:srgbClr val="9999A9"/>
                </a:solidFill>
                <a:latin typeface="+mn-lt"/>
                <a:ea typeface="+mn-ea"/>
                <a:cs typeface="+mn-cs"/>
              </a:defRPr>
            </a:pPr>
            <a:endParaRPr lang="de-DE"/>
          </a:p>
        </c:txPr>
        <c:crossAx val="117582464"/>
        <c:crosses val="autoZero"/>
        <c:auto val="1"/>
        <c:lblAlgn val="ctr"/>
        <c:lblOffset val="100"/>
        <c:noMultiLvlLbl val="0"/>
      </c:catAx>
      <c:valAx>
        <c:axId val="117582464"/>
        <c:scaling>
          <c:orientation val="minMax"/>
        </c:scaling>
        <c:delete val="0"/>
        <c:axPos val="l"/>
        <c:majorGridlines>
          <c:spPr>
            <a:ln w="12700" cap="flat" cmpd="sng" algn="ctr">
              <a:noFill/>
              <a:prstDash val="solid"/>
              <a:round/>
            </a:ln>
            <a:effectLst/>
          </c:spPr>
        </c:majorGridlines>
        <c:numFmt formatCode="General" sourceLinked="1"/>
        <c:majorTickMark val="none"/>
        <c:minorTickMark val="none"/>
        <c:tickLblPos val="nextTo"/>
        <c:spPr>
          <a:noFill/>
          <a:ln w="6350" cap="flat" cmpd="sng" algn="ctr">
            <a:solidFill>
              <a:srgbClr val="9999A9"/>
            </a:solidFill>
            <a:prstDash val="solid"/>
            <a:round/>
          </a:ln>
          <a:effectLst/>
        </c:spPr>
        <c:txPr>
          <a:bodyPr rot="-60000000" spcFirstLastPara="1" vertOverflow="ellipsis" vert="horz" wrap="square" anchor="ctr" anchorCtr="1"/>
          <a:lstStyle/>
          <a:p>
            <a:pPr>
              <a:defRPr sz="1000" b="1" i="0" u="none" strike="noStrike" kern="1200" baseline="0">
                <a:solidFill>
                  <a:srgbClr val="9999A9"/>
                </a:solidFill>
                <a:latin typeface="+mn-lt"/>
                <a:ea typeface="+mn-ea"/>
                <a:cs typeface="+mn-cs"/>
              </a:defRPr>
            </a:pPr>
            <a:endParaRPr lang="de-DE"/>
          </a:p>
        </c:txPr>
        <c:crossAx val="117580928"/>
        <c:crosses val="autoZero"/>
        <c:crossBetween val="midCat"/>
      </c:valAx>
      <c:spPr>
        <a:noFill/>
        <a:ln>
          <a:noFill/>
        </a:ln>
        <a:effectLst/>
      </c:spPr>
    </c:plotArea>
    <c:legend>
      <c:legendPos val="r"/>
      <c:layout>
        <c:manualLayout>
          <c:xMode val="edge"/>
          <c:yMode val="edge"/>
          <c:x val="0.86549660360275227"/>
          <c:y val="0.76501201878823266"/>
          <c:w val="0.12006293938348413"/>
          <c:h val="0.15729874447056844"/>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9999A9"/>
              </a:solidFill>
              <a:latin typeface="+mn-lt"/>
              <a:ea typeface="+mn-ea"/>
              <a:cs typeface="+mn-cs"/>
            </a:defRPr>
          </a:pPr>
          <a:endParaRPr lang="de-DE"/>
        </a:p>
      </c:txPr>
    </c:legend>
    <c:plotVisOnly val="1"/>
    <c:dispBlanksAs val="gap"/>
    <c:showDLblsOverMax val="0"/>
  </c:chart>
  <c:spPr>
    <a:noFill/>
    <a:ln w="6350" cap="flat" cmpd="sng" algn="ctr">
      <a:noFill/>
      <a:prstDash val="solid"/>
      <a:miter lim="800000"/>
    </a:ln>
    <a:effectLst/>
  </c:spPr>
  <c:txPr>
    <a:bodyPr/>
    <a:lstStyle/>
    <a:p>
      <a:pPr>
        <a:defRPr sz="1800"/>
      </a:pPr>
      <a:endParaRPr lang="de-DE"/>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029761503774075E-2"/>
          <c:y val="6.0114526411657543E-2"/>
          <c:w val="0.82480520393811529"/>
          <c:h val="0.85686202185792326"/>
        </c:manualLayout>
      </c:layout>
      <c:barChart>
        <c:barDir val="col"/>
        <c:grouping val="stacked"/>
        <c:varyColors val="0"/>
        <c:ser>
          <c:idx val="0"/>
          <c:order val="0"/>
          <c:tx>
            <c:strRef>
              <c:f>Tabelle1!$B$1</c:f>
              <c:strCache>
                <c:ptCount val="1"/>
                <c:pt idx="0">
                  <c:v>Data series 1</c:v>
                </c:pt>
              </c:strCache>
            </c:strRef>
          </c:tx>
          <c:spPr>
            <a:solidFill>
              <a:srgbClr val="00646E"/>
            </a:solidFill>
            <a:ln w="19050">
              <a:solidFill>
                <a:schemeClr val="bg1"/>
              </a:solidFill>
            </a:ln>
            <a:effectLst/>
          </c:spPr>
          <c:invertIfNegative val="0"/>
          <c:cat>
            <c:strRef>
              <c:f>Tabelle1!$A$2:$A$4</c:f>
              <c:strCache>
                <c:ptCount val="3"/>
                <c:pt idx="0">
                  <c:v>Category 1</c:v>
                </c:pt>
                <c:pt idx="1">
                  <c:v>Category 2</c:v>
                </c:pt>
                <c:pt idx="2">
                  <c:v>Category 3</c:v>
                </c:pt>
              </c:strCache>
            </c:strRef>
          </c:cat>
          <c:val>
            <c:numRef>
              <c:f>Tabelle1!$B$2:$B$4</c:f>
              <c:numCache>
                <c:formatCode>General</c:formatCode>
                <c:ptCount val="3"/>
                <c:pt idx="0">
                  <c:v>4.3</c:v>
                </c:pt>
                <c:pt idx="1">
                  <c:v>2.5</c:v>
                </c:pt>
                <c:pt idx="2">
                  <c:v>3.5</c:v>
                </c:pt>
              </c:numCache>
            </c:numRef>
          </c:val>
          <c:extLst>
            <c:ext xmlns:c16="http://schemas.microsoft.com/office/drawing/2014/chart" uri="{C3380CC4-5D6E-409C-BE32-E72D297353CC}">
              <c16:uniqueId val="{00000000-EB7A-CE4E-A7DE-85D1D5CD076B}"/>
            </c:ext>
          </c:extLst>
        </c:ser>
        <c:ser>
          <c:idx val="1"/>
          <c:order val="1"/>
          <c:tx>
            <c:strRef>
              <c:f>Tabelle1!$C$1</c:f>
              <c:strCache>
                <c:ptCount val="1"/>
                <c:pt idx="0">
                  <c:v>Data series 2</c:v>
                </c:pt>
              </c:strCache>
            </c:strRef>
          </c:tx>
          <c:spPr>
            <a:solidFill>
              <a:srgbClr val="009999"/>
            </a:solidFill>
            <a:ln w="19050">
              <a:solidFill>
                <a:schemeClr val="bg1"/>
              </a:solidFill>
            </a:ln>
            <a:effectLst/>
          </c:spPr>
          <c:invertIfNegative val="0"/>
          <c:cat>
            <c:strRef>
              <c:f>Tabelle1!$A$2:$A$4</c:f>
              <c:strCache>
                <c:ptCount val="3"/>
                <c:pt idx="0">
                  <c:v>Category 1</c:v>
                </c:pt>
                <c:pt idx="1">
                  <c:v>Category 2</c:v>
                </c:pt>
                <c:pt idx="2">
                  <c:v>Category 3</c:v>
                </c:pt>
              </c:strCache>
            </c:strRef>
          </c:cat>
          <c:val>
            <c:numRef>
              <c:f>Tabelle1!$C$2:$C$4</c:f>
              <c:numCache>
                <c:formatCode>General</c:formatCode>
                <c:ptCount val="3"/>
                <c:pt idx="0">
                  <c:v>2.4</c:v>
                </c:pt>
                <c:pt idx="1">
                  <c:v>4.4000000000000004</c:v>
                </c:pt>
                <c:pt idx="2">
                  <c:v>1.8</c:v>
                </c:pt>
              </c:numCache>
            </c:numRef>
          </c:val>
          <c:extLst>
            <c:ext xmlns:c16="http://schemas.microsoft.com/office/drawing/2014/chart" uri="{C3380CC4-5D6E-409C-BE32-E72D297353CC}">
              <c16:uniqueId val="{00000001-EB7A-CE4E-A7DE-85D1D5CD076B}"/>
            </c:ext>
          </c:extLst>
        </c:ser>
        <c:ser>
          <c:idx val="2"/>
          <c:order val="2"/>
          <c:tx>
            <c:strRef>
              <c:f>Tabelle1!$D$1</c:f>
              <c:strCache>
                <c:ptCount val="1"/>
                <c:pt idx="0">
                  <c:v>Data series 3</c:v>
                </c:pt>
              </c:strCache>
            </c:strRef>
          </c:tx>
          <c:spPr>
            <a:solidFill>
              <a:srgbClr val="00E6DC"/>
            </a:solidFill>
            <a:ln w="19050">
              <a:solidFill>
                <a:schemeClr val="bg1"/>
              </a:solidFill>
            </a:ln>
            <a:effectLst/>
          </c:spPr>
          <c:invertIfNegative val="0"/>
          <c:cat>
            <c:strRef>
              <c:f>Tabelle1!$A$2:$A$4</c:f>
              <c:strCache>
                <c:ptCount val="3"/>
                <c:pt idx="0">
                  <c:v>Category 1</c:v>
                </c:pt>
                <c:pt idx="1">
                  <c:v>Category 2</c:v>
                </c:pt>
                <c:pt idx="2">
                  <c:v>Category 3</c:v>
                </c:pt>
              </c:strCache>
            </c:strRef>
          </c:cat>
          <c:val>
            <c:numRef>
              <c:f>Tabelle1!$D$2:$D$4</c:f>
              <c:numCache>
                <c:formatCode>General</c:formatCode>
                <c:ptCount val="3"/>
                <c:pt idx="0">
                  <c:v>2</c:v>
                </c:pt>
                <c:pt idx="1">
                  <c:v>2</c:v>
                </c:pt>
                <c:pt idx="2">
                  <c:v>3</c:v>
                </c:pt>
              </c:numCache>
            </c:numRef>
          </c:val>
          <c:extLst>
            <c:ext xmlns:c16="http://schemas.microsoft.com/office/drawing/2014/chart" uri="{C3380CC4-5D6E-409C-BE32-E72D297353CC}">
              <c16:uniqueId val="{00000002-EB7A-CE4E-A7DE-85D1D5CD076B}"/>
            </c:ext>
          </c:extLst>
        </c:ser>
        <c:dLbls>
          <c:showLegendKey val="0"/>
          <c:showVal val="0"/>
          <c:showCatName val="0"/>
          <c:showSerName val="0"/>
          <c:showPercent val="0"/>
          <c:showBubbleSize val="0"/>
        </c:dLbls>
        <c:gapWidth val="172"/>
        <c:overlap val="100"/>
        <c:axId val="117478528"/>
        <c:axId val="117480064"/>
      </c:barChart>
      <c:catAx>
        <c:axId val="117478528"/>
        <c:scaling>
          <c:orientation val="minMax"/>
        </c:scaling>
        <c:delete val="0"/>
        <c:axPos val="b"/>
        <c:numFmt formatCode="General" sourceLinked="0"/>
        <c:majorTickMark val="none"/>
        <c:minorTickMark val="none"/>
        <c:tickLblPos val="nextTo"/>
        <c:spPr>
          <a:noFill/>
          <a:ln w="6350" cap="flat" cmpd="sng" algn="ctr">
            <a:solidFill>
              <a:srgbClr val="66667E"/>
            </a:solidFill>
            <a:prstDash val="solid"/>
            <a:round/>
          </a:ln>
          <a:effectLst/>
        </c:spPr>
        <c:txPr>
          <a:bodyPr rot="-60000000" spcFirstLastPara="1" vertOverflow="ellipsis" vert="horz" wrap="square" anchor="ctr" anchorCtr="1"/>
          <a:lstStyle/>
          <a:p>
            <a:pPr>
              <a:defRPr sz="1000" b="1" i="0" u="none" strike="noStrike" kern="1200" baseline="0">
                <a:solidFill>
                  <a:srgbClr val="66667E"/>
                </a:solidFill>
                <a:latin typeface="+mn-lt"/>
                <a:ea typeface="+mn-ea"/>
                <a:cs typeface="+mn-cs"/>
              </a:defRPr>
            </a:pPr>
            <a:endParaRPr lang="de-DE"/>
          </a:p>
        </c:txPr>
        <c:crossAx val="117480064"/>
        <c:crosses val="autoZero"/>
        <c:auto val="1"/>
        <c:lblAlgn val="ctr"/>
        <c:lblOffset val="100"/>
        <c:noMultiLvlLbl val="0"/>
      </c:catAx>
      <c:valAx>
        <c:axId val="117480064"/>
        <c:scaling>
          <c:orientation val="minMax"/>
        </c:scaling>
        <c:delete val="0"/>
        <c:axPos val="l"/>
        <c:majorGridlines>
          <c:spPr>
            <a:ln w="6350" cap="flat" cmpd="sng" algn="ctr">
              <a:solidFill>
                <a:srgbClr val="66667E"/>
              </a:solidFill>
              <a:prstDash val="solid"/>
              <a:round/>
            </a:ln>
            <a:effectLst/>
          </c:spPr>
        </c:majorGridlines>
        <c:numFmt formatCode="General" sourceLinked="1"/>
        <c:majorTickMark val="out"/>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sz="1200" b="1" i="0" u="none" strike="noStrike" kern="1200" baseline="0">
                <a:solidFill>
                  <a:srgbClr val="66667E"/>
                </a:solidFill>
                <a:latin typeface="+mn-lt"/>
                <a:ea typeface="+mn-ea"/>
                <a:cs typeface="+mn-cs"/>
              </a:defRPr>
            </a:pPr>
            <a:endParaRPr lang="de-DE"/>
          </a:p>
        </c:txPr>
        <c:crossAx val="117478528"/>
        <c:crosses val="autoZero"/>
        <c:crossBetween val="between"/>
      </c:val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800"/>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radarChart>
        <c:radarStyle val="filled"/>
        <c:varyColors val="0"/>
        <c:ser>
          <c:idx val="0"/>
          <c:order val="0"/>
          <c:tx>
            <c:strRef>
              <c:f>Tabelle1!$B$1</c:f>
              <c:strCache>
                <c:ptCount val="1"/>
                <c:pt idx="0">
                  <c:v>Data series 1</c:v>
                </c:pt>
              </c:strCache>
            </c:strRef>
          </c:tx>
          <c:spPr>
            <a:solidFill>
              <a:srgbClr val="CCCCD4"/>
            </a:solidFill>
            <a:ln w="12700">
              <a:noFill/>
            </a:ln>
          </c:spPr>
          <c:cat>
            <c:strRef>
              <c:f>Tabelle1!$A$2:$A$6</c:f>
              <c:strCache>
                <c:ptCount val="5"/>
                <c:pt idx="0">
                  <c:v>Lorem</c:v>
                </c:pt>
                <c:pt idx="1">
                  <c:v>Ipsum</c:v>
                </c:pt>
                <c:pt idx="2">
                  <c:v>Dolore</c:v>
                </c:pt>
                <c:pt idx="3">
                  <c:v>Esta</c:v>
                </c:pt>
                <c:pt idx="4">
                  <c:v>Conses</c:v>
                </c:pt>
              </c:strCache>
            </c:strRef>
          </c:cat>
          <c:val>
            <c:numRef>
              <c:f>Tabelle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894A-4298-A87B-70947069997B}"/>
            </c:ext>
          </c:extLst>
        </c:ser>
        <c:ser>
          <c:idx val="1"/>
          <c:order val="1"/>
          <c:tx>
            <c:strRef>
              <c:f>Tabelle1!$C$1</c:f>
              <c:strCache>
                <c:ptCount val="1"/>
                <c:pt idx="0">
                  <c:v>Data series 2</c:v>
                </c:pt>
              </c:strCache>
            </c:strRef>
          </c:tx>
          <c:spPr>
            <a:solidFill>
              <a:srgbClr val="41AAAA"/>
            </a:solidFill>
            <a:ln w="19050">
              <a:noFill/>
            </a:ln>
          </c:spPr>
          <c:cat>
            <c:strRef>
              <c:f>Tabelle1!$A$2:$A$6</c:f>
              <c:strCache>
                <c:ptCount val="5"/>
                <c:pt idx="0">
                  <c:v>Lorem</c:v>
                </c:pt>
                <c:pt idx="1">
                  <c:v>Ipsum</c:v>
                </c:pt>
                <c:pt idx="2">
                  <c:v>Dolore</c:v>
                </c:pt>
                <c:pt idx="3">
                  <c:v>Esta</c:v>
                </c:pt>
                <c:pt idx="4">
                  <c:v>Conses</c:v>
                </c:pt>
              </c:strCache>
            </c:strRef>
          </c:cat>
          <c:val>
            <c:numRef>
              <c:f>Tabelle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894A-4298-A87B-70947069997B}"/>
            </c:ext>
          </c:extLst>
        </c:ser>
        <c:dLbls>
          <c:showLegendKey val="0"/>
          <c:showVal val="0"/>
          <c:showCatName val="0"/>
          <c:showSerName val="0"/>
          <c:showPercent val="0"/>
          <c:showBubbleSize val="0"/>
        </c:dLbls>
        <c:axId val="117580928"/>
        <c:axId val="117582464"/>
      </c:radarChart>
      <c:catAx>
        <c:axId val="117580928"/>
        <c:scaling>
          <c:orientation val="minMax"/>
        </c:scaling>
        <c:delete val="0"/>
        <c:axPos val="b"/>
        <c:majorGridlines/>
        <c:numFmt formatCode="General" sourceLinked="1"/>
        <c:majorTickMark val="none"/>
        <c:minorTickMark val="none"/>
        <c:tickLblPos val="nextTo"/>
        <c:txPr>
          <a:bodyPr/>
          <a:lstStyle/>
          <a:p>
            <a:pPr>
              <a:defRPr sz="1600" b="1">
                <a:solidFill>
                  <a:schemeClr val="accent1"/>
                </a:solidFill>
              </a:defRPr>
            </a:pPr>
            <a:endParaRPr lang="de-DE"/>
          </a:p>
        </c:txPr>
        <c:crossAx val="117582464"/>
        <c:crosses val="autoZero"/>
        <c:auto val="1"/>
        <c:lblAlgn val="ctr"/>
        <c:lblOffset val="100"/>
        <c:noMultiLvlLbl val="0"/>
      </c:catAx>
      <c:valAx>
        <c:axId val="117582464"/>
        <c:scaling>
          <c:orientation val="minMax"/>
          <c:max val="40"/>
        </c:scaling>
        <c:delete val="1"/>
        <c:axPos val="l"/>
        <c:majorGridlines>
          <c:spPr>
            <a:ln w="6350">
              <a:solidFill>
                <a:srgbClr val="66667E"/>
              </a:solidFill>
            </a:ln>
          </c:spPr>
        </c:majorGridlines>
        <c:numFmt formatCode="General" sourceLinked="1"/>
        <c:majorTickMark val="none"/>
        <c:minorTickMark val="none"/>
        <c:tickLblPos val="nextTo"/>
        <c:crossAx val="117580928"/>
        <c:crosses val="autoZero"/>
        <c:crossBetween val="between"/>
        <c:majorUnit val="10"/>
      </c:valAx>
    </c:plotArea>
    <c:legend>
      <c:legendPos val="r"/>
      <c:legendEntry>
        <c:idx val="0"/>
        <c:txPr>
          <a:bodyPr/>
          <a:lstStyle/>
          <a:p>
            <a:pPr>
              <a:defRPr sz="1400">
                <a:solidFill>
                  <a:srgbClr val="66667E"/>
                </a:solidFill>
              </a:defRPr>
            </a:pPr>
            <a:endParaRPr lang="de-DE"/>
          </a:p>
        </c:txPr>
      </c:legendEntry>
      <c:legendEntry>
        <c:idx val="1"/>
        <c:txPr>
          <a:bodyPr/>
          <a:lstStyle/>
          <a:p>
            <a:pPr>
              <a:defRPr sz="1400">
                <a:solidFill>
                  <a:srgbClr val="66667E"/>
                </a:solidFill>
              </a:defRPr>
            </a:pPr>
            <a:endParaRPr lang="de-DE"/>
          </a:p>
        </c:txPr>
      </c:legendEntry>
      <c:layout>
        <c:manualLayout>
          <c:xMode val="edge"/>
          <c:yMode val="edge"/>
          <c:x val="0.7790278663298843"/>
          <c:y val="0.84910198717511953"/>
          <c:w val="0.18315343288833383"/>
          <c:h val="0.13010002522445713"/>
        </c:manualLayout>
      </c:layout>
      <c:overlay val="0"/>
      <c:txPr>
        <a:bodyPr/>
        <a:lstStyle/>
        <a:p>
          <a:pPr>
            <a:defRPr sz="1400">
              <a:solidFill>
                <a:srgbClr val="66667E"/>
              </a:solidFill>
            </a:defRPr>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029761503774075E-2"/>
          <c:y val="6.0114526411657543E-2"/>
          <c:w val="0.82480520393811529"/>
          <c:h val="0.85686202185792326"/>
        </c:manualLayout>
      </c:layout>
      <c:barChart>
        <c:barDir val="col"/>
        <c:grouping val="stacked"/>
        <c:varyColors val="0"/>
        <c:ser>
          <c:idx val="0"/>
          <c:order val="0"/>
          <c:tx>
            <c:strRef>
              <c:f>Tabelle1!$B$1</c:f>
              <c:strCache>
                <c:ptCount val="1"/>
                <c:pt idx="0">
                  <c:v>Data series 1</c:v>
                </c:pt>
              </c:strCache>
            </c:strRef>
          </c:tx>
          <c:spPr>
            <a:solidFill>
              <a:srgbClr val="00557C"/>
            </a:solidFill>
            <a:ln w="19050">
              <a:solidFill>
                <a:schemeClr val="bg1"/>
              </a:solidFill>
            </a:ln>
            <a:effectLst/>
          </c:spPr>
          <c:invertIfNegative val="0"/>
          <c:cat>
            <c:strRef>
              <c:f>Tabelle1!$A$2:$A$4</c:f>
              <c:strCache>
                <c:ptCount val="3"/>
                <c:pt idx="0">
                  <c:v>Category 1</c:v>
                </c:pt>
                <c:pt idx="1">
                  <c:v>Category 2</c:v>
                </c:pt>
                <c:pt idx="2">
                  <c:v>Category 3</c:v>
                </c:pt>
              </c:strCache>
            </c:strRef>
          </c:cat>
          <c:val>
            <c:numRef>
              <c:f>Tabelle1!$B$2:$B$4</c:f>
              <c:numCache>
                <c:formatCode>General</c:formatCode>
                <c:ptCount val="3"/>
                <c:pt idx="0">
                  <c:v>4.3</c:v>
                </c:pt>
                <c:pt idx="1">
                  <c:v>2.5</c:v>
                </c:pt>
                <c:pt idx="2">
                  <c:v>3.5</c:v>
                </c:pt>
              </c:numCache>
            </c:numRef>
          </c:val>
          <c:extLst>
            <c:ext xmlns:c16="http://schemas.microsoft.com/office/drawing/2014/chart" uri="{C3380CC4-5D6E-409C-BE32-E72D297353CC}">
              <c16:uniqueId val="{00000000-EB7A-CE4E-A7DE-85D1D5CD076B}"/>
            </c:ext>
          </c:extLst>
        </c:ser>
        <c:ser>
          <c:idx val="1"/>
          <c:order val="1"/>
          <c:tx>
            <c:strRef>
              <c:f>Tabelle1!$C$1</c:f>
              <c:strCache>
                <c:ptCount val="1"/>
                <c:pt idx="0">
                  <c:v>Data series 2</c:v>
                </c:pt>
              </c:strCache>
            </c:strRef>
          </c:tx>
          <c:spPr>
            <a:solidFill>
              <a:srgbClr val="0087BE"/>
            </a:solidFill>
            <a:ln w="19050">
              <a:solidFill>
                <a:schemeClr val="bg1"/>
              </a:solidFill>
            </a:ln>
            <a:effectLst/>
          </c:spPr>
          <c:invertIfNegative val="0"/>
          <c:cat>
            <c:strRef>
              <c:f>Tabelle1!$A$2:$A$4</c:f>
              <c:strCache>
                <c:ptCount val="3"/>
                <c:pt idx="0">
                  <c:v>Category 1</c:v>
                </c:pt>
                <c:pt idx="1">
                  <c:v>Category 2</c:v>
                </c:pt>
                <c:pt idx="2">
                  <c:v>Category 3</c:v>
                </c:pt>
              </c:strCache>
            </c:strRef>
          </c:cat>
          <c:val>
            <c:numRef>
              <c:f>Tabelle1!$C$2:$C$4</c:f>
              <c:numCache>
                <c:formatCode>General</c:formatCode>
                <c:ptCount val="3"/>
                <c:pt idx="0">
                  <c:v>2.4</c:v>
                </c:pt>
                <c:pt idx="1">
                  <c:v>4.4000000000000004</c:v>
                </c:pt>
                <c:pt idx="2">
                  <c:v>1.8</c:v>
                </c:pt>
              </c:numCache>
            </c:numRef>
          </c:val>
          <c:extLst>
            <c:ext xmlns:c16="http://schemas.microsoft.com/office/drawing/2014/chart" uri="{C3380CC4-5D6E-409C-BE32-E72D297353CC}">
              <c16:uniqueId val="{00000001-EB7A-CE4E-A7DE-85D1D5CD076B}"/>
            </c:ext>
          </c:extLst>
        </c:ser>
        <c:ser>
          <c:idx val="2"/>
          <c:order val="2"/>
          <c:tx>
            <c:strRef>
              <c:f>Tabelle1!$D$1</c:f>
              <c:strCache>
                <c:ptCount val="1"/>
                <c:pt idx="0">
                  <c:v>Data series 3</c:v>
                </c:pt>
              </c:strCache>
            </c:strRef>
          </c:tx>
          <c:spPr>
            <a:solidFill>
              <a:srgbClr val="00BEDC"/>
            </a:solidFill>
            <a:ln w="19050">
              <a:solidFill>
                <a:schemeClr val="bg1"/>
              </a:solidFill>
            </a:ln>
            <a:effectLst/>
          </c:spPr>
          <c:invertIfNegative val="0"/>
          <c:cat>
            <c:strRef>
              <c:f>Tabelle1!$A$2:$A$4</c:f>
              <c:strCache>
                <c:ptCount val="3"/>
                <c:pt idx="0">
                  <c:v>Category 1</c:v>
                </c:pt>
                <c:pt idx="1">
                  <c:v>Category 2</c:v>
                </c:pt>
                <c:pt idx="2">
                  <c:v>Category 3</c:v>
                </c:pt>
              </c:strCache>
            </c:strRef>
          </c:cat>
          <c:val>
            <c:numRef>
              <c:f>Tabelle1!$D$2:$D$4</c:f>
              <c:numCache>
                <c:formatCode>General</c:formatCode>
                <c:ptCount val="3"/>
                <c:pt idx="0">
                  <c:v>2</c:v>
                </c:pt>
                <c:pt idx="1">
                  <c:v>2</c:v>
                </c:pt>
                <c:pt idx="2">
                  <c:v>3</c:v>
                </c:pt>
              </c:numCache>
            </c:numRef>
          </c:val>
          <c:extLst>
            <c:ext xmlns:c16="http://schemas.microsoft.com/office/drawing/2014/chart" uri="{C3380CC4-5D6E-409C-BE32-E72D297353CC}">
              <c16:uniqueId val="{00000002-EB7A-CE4E-A7DE-85D1D5CD076B}"/>
            </c:ext>
          </c:extLst>
        </c:ser>
        <c:dLbls>
          <c:showLegendKey val="0"/>
          <c:showVal val="0"/>
          <c:showCatName val="0"/>
          <c:showSerName val="0"/>
          <c:showPercent val="0"/>
          <c:showBubbleSize val="0"/>
        </c:dLbls>
        <c:gapWidth val="172"/>
        <c:overlap val="100"/>
        <c:axId val="117478528"/>
        <c:axId val="117480064"/>
      </c:barChart>
      <c:catAx>
        <c:axId val="117478528"/>
        <c:scaling>
          <c:orientation val="minMax"/>
        </c:scaling>
        <c:delete val="0"/>
        <c:axPos val="b"/>
        <c:numFmt formatCode="General" sourceLinked="0"/>
        <c:majorTickMark val="none"/>
        <c:minorTickMark val="none"/>
        <c:tickLblPos val="nextTo"/>
        <c:spPr>
          <a:noFill/>
          <a:ln w="6350" cap="flat" cmpd="sng" algn="ctr">
            <a:solidFill>
              <a:srgbClr val="66667E"/>
            </a:solidFill>
            <a:prstDash val="solid"/>
            <a:round/>
          </a:ln>
          <a:effectLst/>
        </c:spPr>
        <c:txPr>
          <a:bodyPr rot="-60000000" spcFirstLastPara="1" vertOverflow="ellipsis" vert="horz" wrap="square" anchor="ctr" anchorCtr="1"/>
          <a:lstStyle/>
          <a:p>
            <a:pPr>
              <a:defRPr sz="1000" b="1" i="0" u="none" strike="noStrike" kern="1200" baseline="0">
                <a:solidFill>
                  <a:srgbClr val="66667E"/>
                </a:solidFill>
                <a:latin typeface="+mn-lt"/>
                <a:ea typeface="+mn-ea"/>
                <a:cs typeface="+mn-cs"/>
              </a:defRPr>
            </a:pPr>
            <a:endParaRPr lang="de-DE"/>
          </a:p>
        </c:txPr>
        <c:crossAx val="117480064"/>
        <c:crosses val="autoZero"/>
        <c:auto val="1"/>
        <c:lblAlgn val="ctr"/>
        <c:lblOffset val="100"/>
        <c:noMultiLvlLbl val="0"/>
      </c:catAx>
      <c:valAx>
        <c:axId val="117480064"/>
        <c:scaling>
          <c:orientation val="minMax"/>
        </c:scaling>
        <c:delete val="0"/>
        <c:axPos val="l"/>
        <c:majorGridlines>
          <c:spPr>
            <a:ln w="6350" cap="flat" cmpd="sng" algn="ctr">
              <a:solidFill>
                <a:srgbClr val="66667E"/>
              </a:solidFill>
              <a:prstDash val="solid"/>
              <a:round/>
            </a:ln>
            <a:effectLst/>
          </c:spPr>
        </c:majorGridlines>
        <c:numFmt formatCode="General" sourceLinked="1"/>
        <c:majorTickMark val="out"/>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sz="1200" b="1" i="0" u="none" strike="noStrike" kern="1200" baseline="0">
                <a:solidFill>
                  <a:srgbClr val="66667E"/>
                </a:solidFill>
                <a:latin typeface="+mn-lt"/>
                <a:ea typeface="+mn-ea"/>
                <a:cs typeface="+mn-cs"/>
              </a:defRPr>
            </a:pPr>
            <a:endParaRPr lang="de-DE"/>
          </a:p>
        </c:txPr>
        <c:crossAx val="117478528"/>
        <c:crosses val="autoZero"/>
        <c:crossBetween val="between"/>
      </c:val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800"/>
      </a:pPr>
      <a:endParaRPr lang="de-DE"/>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029761503774075E-2"/>
          <c:y val="6.0114526411657543E-2"/>
          <c:w val="0.82480520393811529"/>
          <c:h val="0.85686202185792326"/>
        </c:manualLayout>
      </c:layout>
      <c:barChart>
        <c:barDir val="col"/>
        <c:grouping val="stacked"/>
        <c:varyColors val="0"/>
        <c:ser>
          <c:idx val="0"/>
          <c:order val="0"/>
          <c:tx>
            <c:strRef>
              <c:f>Tabelle1!$B$1</c:f>
              <c:strCache>
                <c:ptCount val="1"/>
                <c:pt idx="0">
                  <c:v>Data series 1</c:v>
                </c:pt>
              </c:strCache>
            </c:strRef>
          </c:tx>
          <c:spPr>
            <a:solidFill>
              <a:srgbClr val="333353"/>
            </a:solidFill>
            <a:ln w="19050">
              <a:solidFill>
                <a:schemeClr val="bg1"/>
              </a:solidFill>
            </a:ln>
            <a:effectLst/>
          </c:spPr>
          <c:invertIfNegative val="0"/>
          <c:cat>
            <c:strRef>
              <c:f>Tabelle1!$A$2:$A$4</c:f>
              <c:strCache>
                <c:ptCount val="3"/>
                <c:pt idx="0">
                  <c:v>Category 1</c:v>
                </c:pt>
                <c:pt idx="1">
                  <c:v>Category 2</c:v>
                </c:pt>
                <c:pt idx="2">
                  <c:v>Category 3</c:v>
                </c:pt>
              </c:strCache>
            </c:strRef>
          </c:cat>
          <c:val>
            <c:numRef>
              <c:f>Tabelle1!$B$2:$B$4</c:f>
              <c:numCache>
                <c:formatCode>General</c:formatCode>
                <c:ptCount val="3"/>
                <c:pt idx="0">
                  <c:v>4.3</c:v>
                </c:pt>
                <c:pt idx="1">
                  <c:v>2.5</c:v>
                </c:pt>
                <c:pt idx="2">
                  <c:v>3.5</c:v>
                </c:pt>
              </c:numCache>
            </c:numRef>
          </c:val>
          <c:extLst>
            <c:ext xmlns:c16="http://schemas.microsoft.com/office/drawing/2014/chart" uri="{C3380CC4-5D6E-409C-BE32-E72D297353CC}">
              <c16:uniqueId val="{00000000-EB7A-CE4E-A7DE-85D1D5CD076B}"/>
            </c:ext>
          </c:extLst>
        </c:ser>
        <c:ser>
          <c:idx val="1"/>
          <c:order val="1"/>
          <c:tx>
            <c:strRef>
              <c:f>Tabelle1!$C$1</c:f>
              <c:strCache>
                <c:ptCount val="1"/>
                <c:pt idx="0">
                  <c:v>Data series 2</c:v>
                </c:pt>
              </c:strCache>
            </c:strRef>
          </c:tx>
          <c:spPr>
            <a:solidFill>
              <a:srgbClr val="66667E"/>
            </a:solidFill>
            <a:ln w="19050">
              <a:solidFill>
                <a:schemeClr val="bg1"/>
              </a:solidFill>
            </a:ln>
            <a:effectLst/>
          </c:spPr>
          <c:invertIfNegative val="0"/>
          <c:cat>
            <c:strRef>
              <c:f>Tabelle1!$A$2:$A$4</c:f>
              <c:strCache>
                <c:ptCount val="3"/>
                <c:pt idx="0">
                  <c:v>Category 1</c:v>
                </c:pt>
                <c:pt idx="1">
                  <c:v>Category 2</c:v>
                </c:pt>
                <c:pt idx="2">
                  <c:v>Category 3</c:v>
                </c:pt>
              </c:strCache>
            </c:strRef>
          </c:cat>
          <c:val>
            <c:numRef>
              <c:f>Tabelle1!$C$2:$C$4</c:f>
              <c:numCache>
                <c:formatCode>General</c:formatCode>
                <c:ptCount val="3"/>
                <c:pt idx="0">
                  <c:v>2.4</c:v>
                </c:pt>
                <c:pt idx="1">
                  <c:v>4.4000000000000004</c:v>
                </c:pt>
                <c:pt idx="2">
                  <c:v>1.8</c:v>
                </c:pt>
              </c:numCache>
            </c:numRef>
          </c:val>
          <c:extLst>
            <c:ext xmlns:c16="http://schemas.microsoft.com/office/drawing/2014/chart" uri="{C3380CC4-5D6E-409C-BE32-E72D297353CC}">
              <c16:uniqueId val="{00000001-EB7A-CE4E-A7DE-85D1D5CD076B}"/>
            </c:ext>
          </c:extLst>
        </c:ser>
        <c:ser>
          <c:idx val="2"/>
          <c:order val="2"/>
          <c:tx>
            <c:strRef>
              <c:f>Tabelle1!$D$1</c:f>
              <c:strCache>
                <c:ptCount val="1"/>
                <c:pt idx="0">
                  <c:v>Data series 3</c:v>
                </c:pt>
              </c:strCache>
            </c:strRef>
          </c:tx>
          <c:spPr>
            <a:solidFill>
              <a:srgbClr val="CCCCD4"/>
            </a:solidFill>
            <a:ln w="19050">
              <a:solidFill>
                <a:schemeClr val="bg1"/>
              </a:solidFill>
            </a:ln>
            <a:effectLst/>
          </c:spPr>
          <c:invertIfNegative val="0"/>
          <c:cat>
            <c:strRef>
              <c:f>Tabelle1!$A$2:$A$4</c:f>
              <c:strCache>
                <c:ptCount val="3"/>
                <c:pt idx="0">
                  <c:v>Category 1</c:v>
                </c:pt>
                <c:pt idx="1">
                  <c:v>Category 2</c:v>
                </c:pt>
                <c:pt idx="2">
                  <c:v>Category 3</c:v>
                </c:pt>
              </c:strCache>
            </c:strRef>
          </c:cat>
          <c:val>
            <c:numRef>
              <c:f>Tabelle1!$D$2:$D$4</c:f>
              <c:numCache>
                <c:formatCode>General</c:formatCode>
                <c:ptCount val="3"/>
                <c:pt idx="0">
                  <c:v>2</c:v>
                </c:pt>
                <c:pt idx="1">
                  <c:v>2</c:v>
                </c:pt>
                <c:pt idx="2">
                  <c:v>3</c:v>
                </c:pt>
              </c:numCache>
            </c:numRef>
          </c:val>
          <c:extLst>
            <c:ext xmlns:c16="http://schemas.microsoft.com/office/drawing/2014/chart" uri="{C3380CC4-5D6E-409C-BE32-E72D297353CC}">
              <c16:uniqueId val="{00000002-EB7A-CE4E-A7DE-85D1D5CD076B}"/>
            </c:ext>
          </c:extLst>
        </c:ser>
        <c:dLbls>
          <c:showLegendKey val="0"/>
          <c:showVal val="0"/>
          <c:showCatName val="0"/>
          <c:showSerName val="0"/>
          <c:showPercent val="0"/>
          <c:showBubbleSize val="0"/>
        </c:dLbls>
        <c:gapWidth val="172"/>
        <c:overlap val="100"/>
        <c:axId val="117478528"/>
        <c:axId val="117480064"/>
      </c:barChart>
      <c:catAx>
        <c:axId val="117478528"/>
        <c:scaling>
          <c:orientation val="minMax"/>
        </c:scaling>
        <c:delete val="0"/>
        <c:axPos val="b"/>
        <c:numFmt formatCode="General" sourceLinked="0"/>
        <c:majorTickMark val="none"/>
        <c:minorTickMark val="none"/>
        <c:tickLblPos val="nextTo"/>
        <c:spPr>
          <a:noFill/>
          <a:ln w="6350" cap="flat" cmpd="sng" algn="ctr">
            <a:solidFill>
              <a:srgbClr val="66667E"/>
            </a:solidFill>
            <a:prstDash val="solid"/>
            <a:round/>
          </a:ln>
          <a:effectLst/>
        </c:spPr>
        <c:txPr>
          <a:bodyPr rot="-60000000" spcFirstLastPara="1" vertOverflow="ellipsis" vert="horz" wrap="square" anchor="ctr" anchorCtr="1"/>
          <a:lstStyle/>
          <a:p>
            <a:pPr>
              <a:defRPr sz="1000" b="1" i="0" u="none" strike="noStrike" kern="1200" baseline="0">
                <a:solidFill>
                  <a:srgbClr val="66667E"/>
                </a:solidFill>
                <a:latin typeface="+mn-lt"/>
                <a:ea typeface="+mn-ea"/>
                <a:cs typeface="+mn-cs"/>
              </a:defRPr>
            </a:pPr>
            <a:endParaRPr lang="de-DE"/>
          </a:p>
        </c:txPr>
        <c:crossAx val="117480064"/>
        <c:crosses val="autoZero"/>
        <c:auto val="1"/>
        <c:lblAlgn val="ctr"/>
        <c:lblOffset val="100"/>
        <c:noMultiLvlLbl val="0"/>
      </c:catAx>
      <c:valAx>
        <c:axId val="117480064"/>
        <c:scaling>
          <c:orientation val="minMax"/>
        </c:scaling>
        <c:delete val="0"/>
        <c:axPos val="l"/>
        <c:majorGridlines>
          <c:spPr>
            <a:ln w="6350" cap="flat" cmpd="sng" algn="ctr">
              <a:solidFill>
                <a:srgbClr val="66667E"/>
              </a:solidFill>
              <a:prstDash val="solid"/>
              <a:round/>
            </a:ln>
            <a:effectLst/>
          </c:spPr>
        </c:majorGridlines>
        <c:numFmt formatCode="General" sourceLinked="1"/>
        <c:majorTickMark val="out"/>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sz="1200" b="1" i="0" u="none" strike="noStrike" kern="1200" baseline="0">
                <a:solidFill>
                  <a:srgbClr val="66667E"/>
                </a:solidFill>
                <a:latin typeface="+mn-lt"/>
                <a:ea typeface="+mn-ea"/>
                <a:cs typeface="+mn-cs"/>
              </a:defRPr>
            </a:pPr>
            <a:endParaRPr lang="de-DE"/>
          </a:p>
        </c:txPr>
        <c:crossAx val="117478528"/>
        <c:crosses val="autoZero"/>
        <c:crossBetween val="between"/>
      </c:val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800"/>
      </a:pPr>
      <a:endParaRPr lang="de-DE"/>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029761503774075E-2"/>
          <c:y val="6.0114526411657543E-2"/>
          <c:w val="0.82480520393811529"/>
          <c:h val="0.85686202185792326"/>
        </c:manualLayout>
      </c:layout>
      <c:barChart>
        <c:barDir val="col"/>
        <c:grouping val="stacked"/>
        <c:varyColors val="0"/>
        <c:ser>
          <c:idx val="0"/>
          <c:order val="0"/>
          <c:tx>
            <c:strRef>
              <c:f>Tabelle1!$B$1</c:f>
              <c:strCache>
                <c:ptCount val="1"/>
                <c:pt idx="0">
                  <c:v>Data series 1</c:v>
                </c:pt>
              </c:strCache>
            </c:strRef>
          </c:tx>
          <c:spPr>
            <a:solidFill>
              <a:srgbClr val="00646E"/>
            </a:solidFill>
            <a:ln w="19050">
              <a:solidFill>
                <a:schemeClr val="bg1"/>
              </a:solidFill>
            </a:ln>
            <a:effectLst/>
          </c:spPr>
          <c:invertIfNegative val="0"/>
          <c:cat>
            <c:strRef>
              <c:f>Tabelle1!$A$2:$A$4</c:f>
              <c:strCache>
                <c:ptCount val="3"/>
                <c:pt idx="0">
                  <c:v>Category 1</c:v>
                </c:pt>
                <c:pt idx="1">
                  <c:v>Category 2</c:v>
                </c:pt>
                <c:pt idx="2">
                  <c:v>Category 3</c:v>
                </c:pt>
              </c:strCache>
            </c:strRef>
          </c:cat>
          <c:val>
            <c:numRef>
              <c:f>Tabelle1!$B$2:$B$4</c:f>
              <c:numCache>
                <c:formatCode>General</c:formatCode>
                <c:ptCount val="3"/>
                <c:pt idx="0">
                  <c:v>4.3</c:v>
                </c:pt>
                <c:pt idx="1">
                  <c:v>2.5</c:v>
                </c:pt>
                <c:pt idx="2">
                  <c:v>3.5</c:v>
                </c:pt>
              </c:numCache>
            </c:numRef>
          </c:val>
          <c:extLst>
            <c:ext xmlns:c16="http://schemas.microsoft.com/office/drawing/2014/chart" uri="{C3380CC4-5D6E-409C-BE32-E72D297353CC}">
              <c16:uniqueId val="{00000000-EB7A-CE4E-A7DE-85D1D5CD076B}"/>
            </c:ext>
          </c:extLst>
        </c:ser>
        <c:ser>
          <c:idx val="1"/>
          <c:order val="1"/>
          <c:tx>
            <c:strRef>
              <c:f>Tabelle1!$C$1</c:f>
              <c:strCache>
                <c:ptCount val="1"/>
                <c:pt idx="0">
                  <c:v>Data series 2</c:v>
                </c:pt>
              </c:strCache>
            </c:strRef>
          </c:tx>
          <c:spPr>
            <a:solidFill>
              <a:srgbClr val="00AF8E"/>
            </a:solidFill>
            <a:ln w="19050">
              <a:solidFill>
                <a:schemeClr val="bg1"/>
              </a:solidFill>
            </a:ln>
            <a:effectLst/>
          </c:spPr>
          <c:invertIfNegative val="0"/>
          <c:cat>
            <c:strRef>
              <c:f>Tabelle1!$A$2:$A$4</c:f>
              <c:strCache>
                <c:ptCount val="3"/>
                <c:pt idx="0">
                  <c:v>Category 1</c:v>
                </c:pt>
                <c:pt idx="1">
                  <c:v>Category 2</c:v>
                </c:pt>
                <c:pt idx="2">
                  <c:v>Category 3</c:v>
                </c:pt>
              </c:strCache>
            </c:strRef>
          </c:cat>
          <c:val>
            <c:numRef>
              <c:f>Tabelle1!$C$2:$C$4</c:f>
              <c:numCache>
                <c:formatCode>General</c:formatCode>
                <c:ptCount val="3"/>
                <c:pt idx="0">
                  <c:v>2.4</c:v>
                </c:pt>
                <c:pt idx="1">
                  <c:v>4.4000000000000004</c:v>
                </c:pt>
                <c:pt idx="2">
                  <c:v>1.8</c:v>
                </c:pt>
              </c:numCache>
            </c:numRef>
          </c:val>
          <c:extLst>
            <c:ext xmlns:c16="http://schemas.microsoft.com/office/drawing/2014/chart" uri="{C3380CC4-5D6E-409C-BE32-E72D297353CC}">
              <c16:uniqueId val="{00000001-EB7A-CE4E-A7DE-85D1D5CD076B}"/>
            </c:ext>
          </c:extLst>
        </c:ser>
        <c:ser>
          <c:idx val="2"/>
          <c:order val="2"/>
          <c:tx>
            <c:strRef>
              <c:f>Tabelle1!$D$1</c:f>
              <c:strCache>
                <c:ptCount val="1"/>
                <c:pt idx="0">
                  <c:v>Data series 3</c:v>
                </c:pt>
              </c:strCache>
            </c:strRef>
          </c:tx>
          <c:spPr>
            <a:solidFill>
              <a:srgbClr val="00FFB9"/>
            </a:solidFill>
            <a:ln w="19050">
              <a:solidFill>
                <a:schemeClr val="bg1"/>
              </a:solidFill>
            </a:ln>
            <a:effectLst/>
          </c:spPr>
          <c:invertIfNegative val="0"/>
          <c:cat>
            <c:strRef>
              <c:f>Tabelle1!$A$2:$A$4</c:f>
              <c:strCache>
                <c:ptCount val="3"/>
                <c:pt idx="0">
                  <c:v>Category 1</c:v>
                </c:pt>
                <c:pt idx="1">
                  <c:v>Category 2</c:v>
                </c:pt>
                <c:pt idx="2">
                  <c:v>Category 3</c:v>
                </c:pt>
              </c:strCache>
            </c:strRef>
          </c:cat>
          <c:val>
            <c:numRef>
              <c:f>Tabelle1!$D$2:$D$4</c:f>
              <c:numCache>
                <c:formatCode>General</c:formatCode>
                <c:ptCount val="3"/>
                <c:pt idx="0">
                  <c:v>2</c:v>
                </c:pt>
                <c:pt idx="1">
                  <c:v>2</c:v>
                </c:pt>
                <c:pt idx="2">
                  <c:v>3</c:v>
                </c:pt>
              </c:numCache>
            </c:numRef>
          </c:val>
          <c:extLst>
            <c:ext xmlns:c16="http://schemas.microsoft.com/office/drawing/2014/chart" uri="{C3380CC4-5D6E-409C-BE32-E72D297353CC}">
              <c16:uniqueId val="{00000002-EB7A-CE4E-A7DE-85D1D5CD076B}"/>
            </c:ext>
          </c:extLst>
        </c:ser>
        <c:dLbls>
          <c:showLegendKey val="0"/>
          <c:showVal val="0"/>
          <c:showCatName val="0"/>
          <c:showSerName val="0"/>
          <c:showPercent val="0"/>
          <c:showBubbleSize val="0"/>
        </c:dLbls>
        <c:gapWidth val="172"/>
        <c:overlap val="100"/>
        <c:axId val="117478528"/>
        <c:axId val="117480064"/>
      </c:barChart>
      <c:catAx>
        <c:axId val="117478528"/>
        <c:scaling>
          <c:orientation val="minMax"/>
        </c:scaling>
        <c:delete val="0"/>
        <c:axPos val="b"/>
        <c:numFmt formatCode="General" sourceLinked="0"/>
        <c:majorTickMark val="none"/>
        <c:minorTickMark val="none"/>
        <c:tickLblPos val="nextTo"/>
        <c:spPr>
          <a:noFill/>
          <a:ln w="6350" cap="flat" cmpd="sng" algn="ctr">
            <a:solidFill>
              <a:srgbClr val="66667E"/>
            </a:solidFill>
            <a:prstDash val="solid"/>
            <a:round/>
          </a:ln>
          <a:effectLst/>
        </c:spPr>
        <c:txPr>
          <a:bodyPr rot="-60000000" spcFirstLastPara="1" vertOverflow="ellipsis" vert="horz" wrap="square" anchor="ctr" anchorCtr="1"/>
          <a:lstStyle/>
          <a:p>
            <a:pPr>
              <a:defRPr sz="1000" b="1" i="0" u="none" strike="noStrike" kern="1200" baseline="0">
                <a:solidFill>
                  <a:srgbClr val="66667E"/>
                </a:solidFill>
                <a:latin typeface="+mn-lt"/>
                <a:ea typeface="+mn-ea"/>
                <a:cs typeface="+mn-cs"/>
              </a:defRPr>
            </a:pPr>
            <a:endParaRPr lang="de-DE"/>
          </a:p>
        </c:txPr>
        <c:crossAx val="117480064"/>
        <c:crosses val="autoZero"/>
        <c:auto val="1"/>
        <c:lblAlgn val="ctr"/>
        <c:lblOffset val="100"/>
        <c:noMultiLvlLbl val="0"/>
      </c:catAx>
      <c:valAx>
        <c:axId val="117480064"/>
        <c:scaling>
          <c:orientation val="minMax"/>
        </c:scaling>
        <c:delete val="0"/>
        <c:axPos val="l"/>
        <c:majorGridlines>
          <c:spPr>
            <a:ln w="6350" cap="flat" cmpd="sng" algn="ctr">
              <a:solidFill>
                <a:srgbClr val="66667E"/>
              </a:solidFill>
              <a:prstDash val="solid"/>
              <a:round/>
            </a:ln>
            <a:effectLst/>
          </c:spPr>
        </c:majorGridlines>
        <c:numFmt formatCode="General" sourceLinked="1"/>
        <c:majorTickMark val="out"/>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sz="1200" b="1" i="0" u="none" strike="noStrike" kern="1200" baseline="0">
                <a:solidFill>
                  <a:srgbClr val="66667E"/>
                </a:solidFill>
                <a:latin typeface="+mn-lt"/>
                <a:ea typeface="+mn-ea"/>
                <a:cs typeface="+mn-cs"/>
              </a:defRPr>
            </a:pPr>
            <a:endParaRPr lang="de-DE"/>
          </a:p>
        </c:txPr>
        <c:crossAx val="117478528"/>
        <c:crosses val="autoZero"/>
        <c:crossBetween val="between"/>
      </c:val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800"/>
      </a:pPr>
      <a:endParaRPr lang="de-DE"/>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029761503774075E-2"/>
          <c:y val="6.0114526411657543E-2"/>
          <c:w val="0.82480520393811529"/>
          <c:h val="0.85686202185792326"/>
        </c:manualLayout>
      </c:layout>
      <c:barChart>
        <c:barDir val="col"/>
        <c:grouping val="stacked"/>
        <c:varyColors val="0"/>
        <c:ser>
          <c:idx val="0"/>
          <c:order val="0"/>
          <c:tx>
            <c:strRef>
              <c:f>Tabelle1!$B$1</c:f>
              <c:strCache>
                <c:ptCount val="1"/>
                <c:pt idx="0">
                  <c:v>Data series 1</c:v>
                </c:pt>
              </c:strCache>
            </c:strRef>
          </c:tx>
          <c:spPr>
            <a:solidFill>
              <a:srgbClr val="00646E"/>
            </a:solidFill>
            <a:ln w="19050">
              <a:solidFill>
                <a:schemeClr val="bg2"/>
              </a:solidFill>
            </a:ln>
            <a:effectLst/>
          </c:spPr>
          <c:invertIfNegative val="0"/>
          <c:cat>
            <c:strRef>
              <c:f>Tabelle1!$A$2:$A$4</c:f>
              <c:strCache>
                <c:ptCount val="3"/>
                <c:pt idx="0">
                  <c:v>Category 1</c:v>
                </c:pt>
                <c:pt idx="1">
                  <c:v>Category 2</c:v>
                </c:pt>
                <c:pt idx="2">
                  <c:v>Category 3</c:v>
                </c:pt>
              </c:strCache>
            </c:strRef>
          </c:cat>
          <c:val>
            <c:numRef>
              <c:f>Tabelle1!$B$2:$B$4</c:f>
              <c:numCache>
                <c:formatCode>General</c:formatCode>
                <c:ptCount val="3"/>
                <c:pt idx="0">
                  <c:v>4.3</c:v>
                </c:pt>
                <c:pt idx="1">
                  <c:v>2.5</c:v>
                </c:pt>
                <c:pt idx="2">
                  <c:v>3.5</c:v>
                </c:pt>
              </c:numCache>
            </c:numRef>
          </c:val>
          <c:extLst>
            <c:ext xmlns:c16="http://schemas.microsoft.com/office/drawing/2014/chart" uri="{C3380CC4-5D6E-409C-BE32-E72D297353CC}">
              <c16:uniqueId val="{00000000-EB7A-CE4E-A7DE-85D1D5CD076B}"/>
            </c:ext>
          </c:extLst>
        </c:ser>
        <c:ser>
          <c:idx val="1"/>
          <c:order val="1"/>
          <c:tx>
            <c:strRef>
              <c:f>Tabelle1!$C$1</c:f>
              <c:strCache>
                <c:ptCount val="1"/>
                <c:pt idx="0">
                  <c:v>Data series 2</c:v>
                </c:pt>
              </c:strCache>
            </c:strRef>
          </c:tx>
          <c:spPr>
            <a:solidFill>
              <a:srgbClr val="009999"/>
            </a:solidFill>
            <a:ln w="19050">
              <a:solidFill>
                <a:schemeClr val="bg2"/>
              </a:solidFill>
            </a:ln>
            <a:effectLst/>
          </c:spPr>
          <c:invertIfNegative val="0"/>
          <c:cat>
            <c:strRef>
              <c:f>Tabelle1!$A$2:$A$4</c:f>
              <c:strCache>
                <c:ptCount val="3"/>
                <c:pt idx="0">
                  <c:v>Category 1</c:v>
                </c:pt>
                <c:pt idx="1">
                  <c:v>Category 2</c:v>
                </c:pt>
                <c:pt idx="2">
                  <c:v>Category 3</c:v>
                </c:pt>
              </c:strCache>
            </c:strRef>
          </c:cat>
          <c:val>
            <c:numRef>
              <c:f>Tabelle1!$C$2:$C$4</c:f>
              <c:numCache>
                <c:formatCode>General</c:formatCode>
                <c:ptCount val="3"/>
                <c:pt idx="0">
                  <c:v>2.4</c:v>
                </c:pt>
                <c:pt idx="1">
                  <c:v>4.4000000000000004</c:v>
                </c:pt>
                <c:pt idx="2">
                  <c:v>1.8</c:v>
                </c:pt>
              </c:numCache>
            </c:numRef>
          </c:val>
          <c:extLst>
            <c:ext xmlns:c16="http://schemas.microsoft.com/office/drawing/2014/chart" uri="{C3380CC4-5D6E-409C-BE32-E72D297353CC}">
              <c16:uniqueId val="{00000001-EB7A-CE4E-A7DE-85D1D5CD076B}"/>
            </c:ext>
          </c:extLst>
        </c:ser>
        <c:ser>
          <c:idx val="2"/>
          <c:order val="2"/>
          <c:tx>
            <c:strRef>
              <c:f>Tabelle1!$D$1</c:f>
              <c:strCache>
                <c:ptCount val="1"/>
                <c:pt idx="0">
                  <c:v>Data series 3</c:v>
                </c:pt>
              </c:strCache>
            </c:strRef>
          </c:tx>
          <c:spPr>
            <a:solidFill>
              <a:srgbClr val="00E6DC"/>
            </a:solidFill>
            <a:ln w="19050">
              <a:solidFill>
                <a:schemeClr val="bg2"/>
              </a:solidFill>
            </a:ln>
            <a:effectLst/>
          </c:spPr>
          <c:invertIfNegative val="0"/>
          <c:cat>
            <c:strRef>
              <c:f>Tabelle1!$A$2:$A$4</c:f>
              <c:strCache>
                <c:ptCount val="3"/>
                <c:pt idx="0">
                  <c:v>Category 1</c:v>
                </c:pt>
                <c:pt idx="1">
                  <c:v>Category 2</c:v>
                </c:pt>
                <c:pt idx="2">
                  <c:v>Category 3</c:v>
                </c:pt>
              </c:strCache>
            </c:strRef>
          </c:cat>
          <c:val>
            <c:numRef>
              <c:f>Tabelle1!$D$2:$D$4</c:f>
              <c:numCache>
                <c:formatCode>General</c:formatCode>
                <c:ptCount val="3"/>
                <c:pt idx="0">
                  <c:v>2</c:v>
                </c:pt>
                <c:pt idx="1">
                  <c:v>2</c:v>
                </c:pt>
                <c:pt idx="2">
                  <c:v>3</c:v>
                </c:pt>
              </c:numCache>
            </c:numRef>
          </c:val>
          <c:extLst>
            <c:ext xmlns:c16="http://schemas.microsoft.com/office/drawing/2014/chart" uri="{C3380CC4-5D6E-409C-BE32-E72D297353CC}">
              <c16:uniqueId val="{00000002-EB7A-CE4E-A7DE-85D1D5CD076B}"/>
            </c:ext>
          </c:extLst>
        </c:ser>
        <c:dLbls>
          <c:showLegendKey val="0"/>
          <c:showVal val="0"/>
          <c:showCatName val="0"/>
          <c:showSerName val="0"/>
          <c:showPercent val="0"/>
          <c:showBubbleSize val="0"/>
        </c:dLbls>
        <c:gapWidth val="172"/>
        <c:overlap val="100"/>
        <c:axId val="117478528"/>
        <c:axId val="117480064"/>
      </c:barChart>
      <c:catAx>
        <c:axId val="117478528"/>
        <c:scaling>
          <c:orientation val="minMax"/>
        </c:scaling>
        <c:delete val="0"/>
        <c:axPos val="b"/>
        <c:numFmt formatCode="General" sourceLinked="0"/>
        <c:majorTickMark val="none"/>
        <c:minorTickMark val="none"/>
        <c:tickLblPos val="nextTo"/>
        <c:spPr>
          <a:noFill/>
          <a:ln w="6350" cap="flat" cmpd="sng" algn="ctr">
            <a:solidFill>
              <a:srgbClr val="9999A9"/>
            </a:solidFill>
            <a:prstDash val="solid"/>
            <a:round/>
          </a:ln>
          <a:effectLst/>
        </c:spPr>
        <c:txPr>
          <a:bodyPr rot="-60000000" spcFirstLastPara="1" vertOverflow="ellipsis" vert="horz" wrap="square" anchor="ctr" anchorCtr="1"/>
          <a:lstStyle/>
          <a:p>
            <a:pPr>
              <a:defRPr sz="1000" b="1" i="0" u="none" strike="noStrike" kern="1200" baseline="0">
                <a:solidFill>
                  <a:srgbClr val="9999A9"/>
                </a:solidFill>
                <a:latin typeface="+mn-lt"/>
                <a:ea typeface="+mn-ea"/>
                <a:cs typeface="+mn-cs"/>
              </a:defRPr>
            </a:pPr>
            <a:endParaRPr lang="de-DE"/>
          </a:p>
        </c:txPr>
        <c:crossAx val="117480064"/>
        <c:crosses val="autoZero"/>
        <c:auto val="1"/>
        <c:lblAlgn val="ctr"/>
        <c:lblOffset val="100"/>
        <c:noMultiLvlLbl val="0"/>
      </c:catAx>
      <c:valAx>
        <c:axId val="117480064"/>
        <c:scaling>
          <c:orientation val="minMax"/>
        </c:scaling>
        <c:delete val="0"/>
        <c:axPos val="l"/>
        <c:majorGridlines>
          <c:spPr>
            <a:ln w="6350" cap="flat" cmpd="sng" algn="ctr">
              <a:solidFill>
                <a:srgbClr val="9999A9"/>
              </a:solidFill>
              <a:prstDash val="solid"/>
              <a:round/>
            </a:ln>
            <a:effectLst/>
          </c:spPr>
        </c:majorGridlines>
        <c:numFmt formatCode="General" sourceLinked="1"/>
        <c:majorTickMark val="out"/>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sz="1200" b="1" i="0" u="none" strike="noStrike" kern="1200" baseline="0">
                <a:solidFill>
                  <a:srgbClr val="9999A9"/>
                </a:solidFill>
                <a:latin typeface="+mn-lt"/>
                <a:ea typeface="+mn-ea"/>
                <a:cs typeface="+mn-cs"/>
              </a:defRPr>
            </a:pPr>
            <a:endParaRPr lang="de-DE"/>
          </a:p>
        </c:txPr>
        <c:crossAx val="117478528"/>
        <c:crosses val="autoZero"/>
        <c:crossBetween val="between"/>
      </c:val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800"/>
      </a:pPr>
      <a:endParaRPr lang="de-DE"/>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029761503774075E-2"/>
          <c:y val="6.0114526411657543E-2"/>
          <c:w val="0.82480520393811529"/>
          <c:h val="0.85686202185792326"/>
        </c:manualLayout>
      </c:layout>
      <c:barChart>
        <c:barDir val="col"/>
        <c:grouping val="stacked"/>
        <c:varyColors val="0"/>
        <c:ser>
          <c:idx val="0"/>
          <c:order val="0"/>
          <c:tx>
            <c:strRef>
              <c:f>Tabelle1!$B$1</c:f>
              <c:strCache>
                <c:ptCount val="1"/>
                <c:pt idx="0">
                  <c:v>Data series 1</c:v>
                </c:pt>
              </c:strCache>
            </c:strRef>
          </c:tx>
          <c:spPr>
            <a:solidFill>
              <a:srgbClr val="00557C"/>
            </a:solidFill>
            <a:ln w="19050">
              <a:solidFill>
                <a:schemeClr val="bg2"/>
              </a:solidFill>
            </a:ln>
            <a:effectLst/>
          </c:spPr>
          <c:invertIfNegative val="0"/>
          <c:cat>
            <c:strRef>
              <c:f>Tabelle1!$A$2:$A$4</c:f>
              <c:strCache>
                <c:ptCount val="3"/>
                <c:pt idx="0">
                  <c:v>Category 1</c:v>
                </c:pt>
                <c:pt idx="1">
                  <c:v>Category 2</c:v>
                </c:pt>
                <c:pt idx="2">
                  <c:v>Category 3</c:v>
                </c:pt>
              </c:strCache>
            </c:strRef>
          </c:cat>
          <c:val>
            <c:numRef>
              <c:f>Tabelle1!$B$2:$B$4</c:f>
              <c:numCache>
                <c:formatCode>General</c:formatCode>
                <c:ptCount val="3"/>
                <c:pt idx="0">
                  <c:v>4.3</c:v>
                </c:pt>
                <c:pt idx="1">
                  <c:v>2.5</c:v>
                </c:pt>
                <c:pt idx="2">
                  <c:v>3.5</c:v>
                </c:pt>
              </c:numCache>
            </c:numRef>
          </c:val>
          <c:extLst>
            <c:ext xmlns:c16="http://schemas.microsoft.com/office/drawing/2014/chart" uri="{C3380CC4-5D6E-409C-BE32-E72D297353CC}">
              <c16:uniqueId val="{00000000-EB7A-CE4E-A7DE-85D1D5CD076B}"/>
            </c:ext>
          </c:extLst>
        </c:ser>
        <c:ser>
          <c:idx val="1"/>
          <c:order val="1"/>
          <c:tx>
            <c:strRef>
              <c:f>Tabelle1!$C$1</c:f>
              <c:strCache>
                <c:ptCount val="1"/>
                <c:pt idx="0">
                  <c:v>Data series 2</c:v>
                </c:pt>
              </c:strCache>
            </c:strRef>
          </c:tx>
          <c:spPr>
            <a:solidFill>
              <a:srgbClr val="0087BE"/>
            </a:solidFill>
            <a:ln w="19050">
              <a:solidFill>
                <a:schemeClr val="bg2"/>
              </a:solidFill>
            </a:ln>
            <a:effectLst/>
          </c:spPr>
          <c:invertIfNegative val="0"/>
          <c:cat>
            <c:strRef>
              <c:f>Tabelle1!$A$2:$A$4</c:f>
              <c:strCache>
                <c:ptCount val="3"/>
                <c:pt idx="0">
                  <c:v>Category 1</c:v>
                </c:pt>
                <c:pt idx="1">
                  <c:v>Category 2</c:v>
                </c:pt>
                <c:pt idx="2">
                  <c:v>Category 3</c:v>
                </c:pt>
              </c:strCache>
            </c:strRef>
          </c:cat>
          <c:val>
            <c:numRef>
              <c:f>Tabelle1!$C$2:$C$4</c:f>
              <c:numCache>
                <c:formatCode>General</c:formatCode>
                <c:ptCount val="3"/>
                <c:pt idx="0">
                  <c:v>2.4</c:v>
                </c:pt>
                <c:pt idx="1">
                  <c:v>4.4000000000000004</c:v>
                </c:pt>
                <c:pt idx="2">
                  <c:v>1.8</c:v>
                </c:pt>
              </c:numCache>
            </c:numRef>
          </c:val>
          <c:extLst>
            <c:ext xmlns:c16="http://schemas.microsoft.com/office/drawing/2014/chart" uri="{C3380CC4-5D6E-409C-BE32-E72D297353CC}">
              <c16:uniqueId val="{00000001-EB7A-CE4E-A7DE-85D1D5CD076B}"/>
            </c:ext>
          </c:extLst>
        </c:ser>
        <c:ser>
          <c:idx val="2"/>
          <c:order val="2"/>
          <c:tx>
            <c:strRef>
              <c:f>Tabelle1!$D$1</c:f>
              <c:strCache>
                <c:ptCount val="1"/>
                <c:pt idx="0">
                  <c:v>Data series 3</c:v>
                </c:pt>
              </c:strCache>
            </c:strRef>
          </c:tx>
          <c:spPr>
            <a:solidFill>
              <a:srgbClr val="00BEDC"/>
            </a:solidFill>
            <a:ln w="19050">
              <a:solidFill>
                <a:schemeClr val="bg2"/>
              </a:solidFill>
            </a:ln>
            <a:effectLst/>
          </c:spPr>
          <c:invertIfNegative val="0"/>
          <c:cat>
            <c:strRef>
              <c:f>Tabelle1!$A$2:$A$4</c:f>
              <c:strCache>
                <c:ptCount val="3"/>
                <c:pt idx="0">
                  <c:v>Category 1</c:v>
                </c:pt>
                <c:pt idx="1">
                  <c:v>Category 2</c:v>
                </c:pt>
                <c:pt idx="2">
                  <c:v>Category 3</c:v>
                </c:pt>
              </c:strCache>
            </c:strRef>
          </c:cat>
          <c:val>
            <c:numRef>
              <c:f>Tabelle1!$D$2:$D$4</c:f>
              <c:numCache>
                <c:formatCode>General</c:formatCode>
                <c:ptCount val="3"/>
                <c:pt idx="0">
                  <c:v>2</c:v>
                </c:pt>
                <c:pt idx="1">
                  <c:v>2</c:v>
                </c:pt>
                <c:pt idx="2">
                  <c:v>3</c:v>
                </c:pt>
              </c:numCache>
            </c:numRef>
          </c:val>
          <c:extLst>
            <c:ext xmlns:c16="http://schemas.microsoft.com/office/drawing/2014/chart" uri="{C3380CC4-5D6E-409C-BE32-E72D297353CC}">
              <c16:uniqueId val="{00000002-EB7A-CE4E-A7DE-85D1D5CD076B}"/>
            </c:ext>
          </c:extLst>
        </c:ser>
        <c:dLbls>
          <c:showLegendKey val="0"/>
          <c:showVal val="0"/>
          <c:showCatName val="0"/>
          <c:showSerName val="0"/>
          <c:showPercent val="0"/>
          <c:showBubbleSize val="0"/>
        </c:dLbls>
        <c:gapWidth val="172"/>
        <c:overlap val="100"/>
        <c:axId val="117478528"/>
        <c:axId val="117480064"/>
      </c:barChart>
      <c:catAx>
        <c:axId val="117478528"/>
        <c:scaling>
          <c:orientation val="minMax"/>
        </c:scaling>
        <c:delete val="0"/>
        <c:axPos val="b"/>
        <c:numFmt formatCode="General" sourceLinked="0"/>
        <c:majorTickMark val="none"/>
        <c:minorTickMark val="none"/>
        <c:tickLblPos val="nextTo"/>
        <c:spPr>
          <a:noFill/>
          <a:ln w="6350" cap="flat" cmpd="sng" algn="ctr">
            <a:solidFill>
              <a:srgbClr val="9999A9"/>
            </a:solidFill>
            <a:prstDash val="solid"/>
            <a:round/>
          </a:ln>
          <a:effectLst/>
        </c:spPr>
        <c:txPr>
          <a:bodyPr rot="-60000000" spcFirstLastPara="1" vertOverflow="ellipsis" vert="horz" wrap="square" anchor="ctr" anchorCtr="1"/>
          <a:lstStyle/>
          <a:p>
            <a:pPr>
              <a:defRPr sz="1000" b="1" i="0" u="none" strike="noStrike" kern="1200" baseline="0">
                <a:solidFill>
                  <a:srgbClr val="9999A9"/>
                </a:solidFill>
                <a:latin typeface="+mn-lt"/>
                <a:ea typeface="+mn-ea"/>
                <a:cs typeface="+mn-cs"/>
              </a:defRPr>
            </a:pPr>
            <a:endParaRPr lang="de-DE"/>
          </a:p>
        </c:txPr>
        <c:crossAx val="117480064"/>
        <c:crosses val="autoZero"/>
        <c:auto val="1"/>
        <c:lblAlgn val="ctr"/>
        <c:lblOffset val="100"/>
        <c:noMultiLvlLbl val="0"/>
      </c:catAx>
      <c:valAx>
        <c:axId val="117480064"/>
        <c:scaling>
          <c:orientation val="minMax"/>
        </c:scaling>
        <c:delete val="0"/>
        <c:axPos val="l"/>
        <c:majorGridlines>
          <c:spPr>
            <a:ln w="6350" cap="flat" cmpd="sng" algn="ctr">
              <a:solidFill>
                <a:srgbClr val="9999A9"/>
              </a:solidFill>
              <a:prstDash val="solid"/>
              <a:round/>
            </a:ln>
            <a:effectLst/>
          </c:spPr>
        </c:majorGridlines>
        <c:numFmt formatCode="General" sourceLinked="1"/>
        <c:majorTickMark val="out"/>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sz="1200" b="1" i="0" u="none" strike="noStrike" kern="1200" baseline="0">
                <a:solidFill>
                  <a:srgbClr val="9999A9"/>
                </a:solidFill>
                <a:latin typeface="+mn-lt"/>
                <a:ea typeface="+mn-ea"/>
                <a:cs typeface="+mn-cs"/>
              </a:defRPr>
            </a:pPr>
            <a:endParaRPr lang="de-DE"/>
          </a:p>
        </c:txPr>
        <c:crossAx val="117478528"/>
        <c:crosses val="autoZero"/>
        <c:crossBetween val="between"/>
      </c:val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800"/>
      </a:pPr>
      <a:endParaRPr lang="de-DE"/>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029761503774075E-2"/>
          <c:y val="6.0114526411657543E-2"/>
          <c:w val="0.82480520393811529"/>
          <c:h val="0.85686202185792326"/>
        </c:manualLayout>
      </c:layout>
      <c:barChart>
        <c:barDir val="col"/>
        <c:grouping val="stacked"/>
        <c:varyColors val="0"/>
        <c:ser>
          <c:idx val="0"/>
          <c:order val="0"/>
          <c:tx>
            <c:strRef>
              <c:f>Tabelle1!$B$1</c:f>
              <c:strCache>
                <c:ptCount val="1"/>
                <c:pt idx="0">
                  <c:v>Data series 1</c:v>
                </c:pt>
              </c:strCache>
            </c:strRef>
          </c:tx>
          <c:spPr>
            <a:solidFill>
              <a:srgbClr val="333353"/>
            </a:solidFill>
            <a:ln w="19050">
              <a:solidFill>
                <a:schemeClr val="bg2"/>
              </a:solidFill>
            </a:ln>
            <a:effectLst/>
          </c:spPr>
          <c:invertIfNegative val="0"/>
          <c:cat>
            <c:strRef>
              <c:f>Tabelle1!$A$2:$A$4</c:f>
              <c:strCache>
                <c:ptCount val="3"/>
                <c:pt idx="0">
                  <c:v>Category 1</c:v>
                </c:pt>
                <c:pt idx="1">
                  <c:v>Category 2</c:v>
                </c:pt>
                <c:pt idx="2">
                  <c:v>Category 3</c:v>
                </c:pt>
              </c:strCache>
            </c:strRef>
          </c:cat>
          <c:val>
            <c:numRef>
              <c:f>Tabelle1!$B$2:$B$4</c:f>
              <c:numCache>
                <c:formatCode>General</c:formatCode>
                <c:ptCount val="3"/>
                <c:pt idx="0">
                  <c:v>4.3</c:v>
                </c:pt>
                <c:pt idx="1">
                  <c:v>2.5</c:v>
                </c:pt>
                <c:pt idx="2">
                  <c:v>3.5</c:v>
                </c:pt>
              </c:numCache>
            </c:numRef>
          </c:val>
          <c:extLst>
            <c:ext xmlns:c16="http://schemas.microsoft.com/office/drawing/2014/chart" uri="{C3380CC4-5D6E-409C-BE32-E72D297353CC}">
              <c16:uniqueId val="{00000000-EB7A-CE4E-A7DE-85D1D5CD076B}"/>
            </c:ext>
          </c:extLst>
        </c:ser>
        <c:ser>
          <c:idx val="1"/>
          <c:order val="1"/>
          <c:tx>
            <c:strRef>
              <c:f>Tabelle1!$C$1</c:f>
              <c:strCache>
                <c:ptCount val="1"/>
                <c:pt idx="0">
                  <c:v>Data series 2</c:v>
                </c:pt>
              </c:strCache>
            </c:strRef>
          </c:tx>
          <c:spPr>
            <a:solidFill>
              <a:srgbClr val="66667E"/>
            </a:solidFill>
            <a:ln w="19050">
              <a:solidFill>
                <a:schemeClr val="bg2"/>
              </a:solidFill>
            </a:ln>
            <a:effectLst/>
          </c:spPr>
          <c:invertIfNegative val="0"/>
          <c:cat>
            <c:strRef>
              <c:f>Tabelle1!$A$2:$A$4</c:f>
              <c:strCache>
                <c:ptCount val="3"/>
                <c:pt idx="0">
                  <c:v>Category 1</c:v>
                </c:pt>
                <c:pt idx="1">
                  <c:v>Category 2</c:v>
                </c:pt>
                <c:pt idx="2">
                  <c:v>Category 3</c:v>
                </c:pt>
              </c:strCache>
            </c:strRef>
          </c:cat>
          <c:val>
            <c:numRef>
              <c:f>Tabelle1!$C$2:$C$4</c:f>
              <c:numCache>
                <c:formatCode>General</c:formatCode>
                <c:ptCount val="3"/>
                <c:pt idx="0">
                  <c:v>2.4</c:v>
                </c:pt>
                <c:pt idx="1">
                  <c:v>4.4000000000000004</c:v>
                </c:pt>
                <c:pt idx="2">
                  <c:v>1.8</c:v>
                </c:pt>
              </c:numCache>
            </c:numRef>
          </c:val>
          <c:extLst>
            <c:ext xmlns:c16="http://schemas.microsoft.com/office/drawing/2014/chart" uri="{C3380CC4-5D6E-409C-BE32-E72D297353CC}">
              <c16:uniqueId val="{00000001-EB7A-CE4E-A7DE-85D1D5CD076B}"/>
            </c:ext>
          </c:extLst>
        </c:ser>
        <c:ser>
          <c:idx val="2"/>
          <c:order val="2"/>
          <c:tx>
            <c:strRef>
              <c:f>Tabelle1!$D$1</c:f>
              <c:strCache>
                <c:ptCount val="1"/>
                <c:pt idx="0">
                  <c:v>Data series 3</c:v>
                </c:pt>
              </c:strCache>
            </c:strRef>
          </c:tx>
          <c:spPr>
            <a:solidFill>
              <a:srgbClr val="CCCCD4"/>
            </a:solidFill>
            <a:ln w="19050">
              <a:solidFill>
                <a:schemeClr val="bg2"/>
              </a:solidFill>
            </a:ln>
            <a:effectLst/>
          </c:spPr>
          <c:invertIfNegative val="0"/>
          <c:cat>
            <c:strRef>
              <c:f>Tabelle1!$A$2:$A$4</c:f>
              <c:strCache>
                <c:ptCount val="3"/>
                <c:pt idx="0">
                  <c:v>Category 1</c:v>
                </c:pt>
                <c:pt idx="1">
                  <c:v>Category 2</c:v>
                </c:pt>
                <c:pt idx="2">
                  <c:v>Category 3</c:v>
                </c:pt>
              </c:strCache>
            </c:strRef>
          </c:cat>
          <c:val>
            <c:numRef>
              <c:f>Tabelle1!$D$2:$D$4</c:f>
              <c:numCache>
                <c:formatCode>General</c:formatCode>
                <c:ptCount val="3"/>
                <c:pt idx="0">
                  <c:v>2</c:v>
                </c:pt>
                <c:pt idx="1">
                  <c:v>2</c:v>
                </c:pt>
                <c:pt idx="2">
                  <c:v>3</c:v>
                </c:pt>
              </c:numCache>
            </c:numRef>
          </c:val>
          <c:extLst>
            <c:ext xmlns:c16="http://schemas.microsoft.com/office/drawing/2014/chart" uri="{C3380CC4-5D6E-409C-BE32-E72D297353CC}">
              <c16:uniqueId val="{00000002-EB7A-CE4E-A7DE-85D1D5CD076B}"/>
            </c:ext>
          </c:extLst>
        </c:ser>
        <c:dLbls>
          <c:showLegendKey val="0"/>
          <c:showVal val="0"/>
          <c:showCatName val="0"/>
          <c:showSerName val="0"/>
          <c:showPercent val="0"/>
          <c:showBubbleSize val="0"/>
        </c:dLbls>
        <c:gapWidth val="172"/>
        <c:overlap val="100"/>
        <c:axId val="117478528"/>
        <c:axId val="117480064"/>
      </c:barChart>
      <c:catAx>
        <c:axId val="117478528"/>
        <c:scaling>
          <c:orientation val="minMax"/>
        </c:scaling>
        <c:delete val="0"/>
        <c:axPos val="b"/>
        <c:numFmt formatCode="General" sourceLinked="0"/>
        <c:majorTickMark val="none"/>
        <c:minorTickMark val="none"/>
        <c:tickLblPos val="nextTo"/>
        <c:spPr>
          <a:noFill/>
          <a:ln w="6350" cap="flat" cmpd="sng" algn="ctr">
            <a:solidFill>
              <a:srgbClr val="9999A9"/>
            </a:solidFill>
            <a:prstDash val="solid"/>
            <a:round/>
          </a:ln>
          <a:effectLst/>
        </c:spPr>
        <c:txPr>
          <a:bodyPr rot="-60000000" spcFirstLastPara="1" vertOverflow="ellipsis" vert="horz" wrap="square" anchor="ctr" anchorCtr="1"/>
          <a:lstStyle/>
          <a:p>
            <a:pPr>
              <a:defRPr sz="1000" b="1" i="0" u="none" strike="noStrike" kern="1200" baseline="0">
                <a:solidFill>
                  <a:srgbClr val="9999A9"/>
                </a:solidFill>
                <a:latin typeface="+mn-lt"/>
                <a:ea typeface="+mn-ea"/>
                <a:cs typeface="+mn-cs"/>
              </a:defRPr>
            </a:pPr>
            <a:endParaRPr lang="de-DE"/>
          </a:p>
        </c:txPr>
        <c:crossAx val="117480064"/>
        <c:crosses val="autoZero"/>
        <c:auto val="1"/>
        <c:lblAlgn val="ctr"/>
        <c:lblOffset val="100"/>
        <c:noMultiLvlLbl val="0"/>
      </c:catAx>
      <c:valAx>
        <c:axId val="117480064"/>
        <c:scaling>
          <c:orientation val="minMax"/>
        </c:scaling>
        <c:delete val="0"/>
        <c:axPos val="l"/>
        <c:majorGridlines>
          <c:spPr>
            <a:ln w="6350" cap="flat" cmpd="sng" algn="ctr">
              <a:solidFill>
                <a:srgbClr val="9999A9"/>
              </a:solidFill>
              <a:prstDash val="solid"/>
              <a:round/>
            </a:ln>
            <a:effectLst/>
          </c:spPr>
        </c:majorGridlines>
        <c:numFmt formatCode="General" sourceLinked="1"/>
        <c:majorTickMark val="out"/>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sz="1200" b="1" i="0" u="none" strike="noStrike" kern="1200" baseline="0">
                <a:solidFill>
                  <a:srgbClr val="9999A9"/>
                </a:solidFill>
                <a:latin typeface="+mn-lt"/>
                <a:ea typeface="+mn-ea"/>
                <a:cs typeface="+mn-cs"/>
              </a:defRPr>
            </a:pPr>
            <a:endParaRPr lang="de-DE"/>
          </a:p>
        </c:txPr>
        <c:crossAx val="117478528"/>
        <c:crosses val="autoZero"/>
        <c:crossBetween val="between"/>
      </c:val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800"/>
      </a:pPr>
      <a:endParaRPr lang="de-DE"/>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029761503774075E-2"/>
          <c:y val="6.0114526411657543E-2"/>
          <c:w val="0.82480520393811529"/>
          <c:h val="0.85686202185792326"/>
        </c:manualLayout>
      </c:layout>
      <c:barChart>
        <c:barDir val="col"/>
        <c:grouping val="stacked"/>
        <c:varyColors val="0"/>
        <c:ser>
          <c:idx val="0"/>
          <c:order val="0"/>
          <c:tx>
            <c:strRef>
              <c:f>Tabelle1!$B$1</c:f>
              <c:strCache>
                <c:ptCount val="1"/>
                <c:pt idx="0">
                  <c:v>Data series 1</c:v>
                </c:pt>
              </c:strCache>
            </c:strRef>
          </c:tx>
          <c:spPr>
            <a:solidFill>
              <a:srgbClr val="00646E"/>
            </a:solidFill>
            <a:ln w="19050">
              <a:solidFill>
                <a:schemeClr val="bg2"/>
              </a:solidFill>
            </a:ln>
            <a:effectLst/>
          </c:spPr>
          <c:invertIfNegative val="0"/>
          <c:cat>
            <c:strRef>
              <c:f>Tabelle1!$A$2:$A$4</c:f>
              <c:strCache>
                <c:ptCount val="3"/>
                <c:pt idx="0">
                  <c:v>Category 1</c:v>
                </c:pt>
                <c:pt idx="1">
                  <c:v>Category 2</c:v>
                </c:pt>
                <c:pt idx="2">
                  <c:v>Category 3</c:v>
                </c:pt>
              </c:strCache>
            </c:strRef>
          </c:cat>
          <c:val>
            <c:numRef>
              <c:f>Tabelle1!$B$2:$B$4</c:f>
              <c:numCache>
                <c:formatCode>General</c:formatCode>
                <c:ptCount val="3"/>
                <c:pt idx="0">
                  <c:v>4.3</c:v>
                </c:pt>
                <c:pt idx="1">
                  <c:v>2.5</c:v>
                </c:pt>
                <c:pt idx="2">
                  <c:v>3.5</c:v>
                </c:pt>
              </c:numCache>
            </c:numRef>
          </c:val>
          <c:extLst>
            <c:ext xmlns:c16="http://schemas.microsoft.com/office/drawing/2014/chart" uri="{C3380CC4-5D6E-409C-BE32-E72D297353CC}">
              <c16:uniqueId val="{00000000-EB7A-CE4E-A7DE-85D1D5CD076B}"/>
            </c:ext>
          </c:extLst>
        </c:ser>
        <c:ser>
          <c:idx val="1"/>
          <c:order val="1"/>
          <c:tx>
            <c:strRef>
              <c:f>Tabelle1!$C$1</c:f>
              <c:strCache>
                <c:ptCount val="1"/>
                <c:pt idx="0">
                  <c:v>Data series 2</c:v>
                </c:pt>
              </c:strCache>
            </c:strRef>
          </c:tx>
          <c:spPr>
            <a:solidFill>
              <a:srgbClr val="00AF8E"/>
            </a:solidFill>
            <a:ln w="19050">
              <a:solidFill>
                <a:schemeClr val="bg2"/>
              </a:solidFill>
            </a:ln>
            <a:effectLst/>
          </c:spPr>
          <c:invertIfNegative val="0"/>
          <c:cat>
            <c:strRef>
              <c:f>Tabelle1!$A$2:$A$4</c:f>
              <c:strCache>
                <c:ptCount val="3"/>
                <c:pt idx="0">
                  <c:v>Category 1</c:v>
                </c:pt>
                <c:pt idx="1">
                  <c:v>Category 2</c:v>
                </c:pt>
                <c:pt idx="2">
                  <c:v>Category 3</c:v>
                </c:pt>
              </c:strCache>
            </c:strRef>
          </c:cat>
          <c:val>
            <c:numRef>
              <c:f>Tabelle1!$C$2:$C$4</c:f>
              <c:numCache>
                <c:formatCode>General</c:formatCode>
                <c:ptCount val="3"/>
                <c:pt idx="0">
                  <c:v>2.4</c:v>
                </c:pt>
                <c:pt idx="1">
                  <c:v>4.4000000000000004</c:v>
                </c:pt>
                <c:pt idx="2">
                  <c:v>1.8</c:v>
                </c:pt>
              </c:numCache>
            </c:numRef>
          </c:val>
          <c:extLst>
            <c:ext xmlns:c16="http://schemas.microsoft.com/office/drawing/2014/chart" uri="{C3380CC4-5D6E-409C-BE32-E72D297353CC}">
              <c16:uniqueId val="{00000001-EB7A-CE4E-A7DE-85D1D5CD076B}"/>
            </c:ext>
          </c:extLst>
        </c:ser>
        <c:ser>
          <c:idx val="2"/>
          <c:order val="2"/>
          <c:tx>
            <c:strRef>
              <c:f>Tabelle1!$D$1</c:f>
              <c:strCache>
                <c:ptCount val="1"/>
                <c:pt idx="0">
                  <c:v>Data series 3</c:v>
                </c:pt>
              </c:strCache>
            </c:strRef>
          </c:tx>
          <c:spPr>
            <a:solidFill>
              <a:srgbClr val="00FFB9"/>
            </a:solidFill>
            <a:ln w="19050">
              <a:solidFill>
                <a:schemeClr val="bg2"/>
              </a:solidFill>
            </a:ln>
            <a:effectLst/>
          </c:spPr>
          <c:invertIfNegative val="0"/>
          <c:cat>
            <c:strRef>
              <c:f>Tabelle1!$A$2:$A$4</c:f>
              <c:strCache>
                <c:ptCount val="3"/>
                <c:pt idx="0">
                  <c:v>Category 1</c:v>
                </c:pt>
                <c:pt idx="1">
                  <c:v>Category 2</c:v>
                </c:pt>
                <c:pt idx="2">
                  <c:v>Category 3</c:v>
                </c:pt>
              </c:strCache>
            </c:strRef>
          </c:cat>
          <c:val>
            <c:numRef>
              <c:f>Tabelle1!$D$2:$D$4</c:f>
              <c:numCache>
                <c:formatCode>General</c:formatCode>
                <c:ptCount val="3"/>
                <c:pt idx="0">
                  <c:v>2</c:v>
                </c:pt>
                <c:pt idx="1">
                  <c:v>2</c:v>
                </c:pt>
                <c:pt idx="2">
                  <c:v>3</c:v>
                </c:pt>
              </c:numCache>
            </c:numRef>
          </c:val>
          <c:extLst>
            <c:ext xmlns:c16="http://schemas.microsoft.com/office/drawing/2014/chart" uri="{C3380CC4-5D6E-409C-BE32-E72D297353CC}">
              <c16:uniqueId val="{00000002-EB7A-CE4E-A7DE-85D1D5CD076B}"/>
            </c:ext>
          </c:extLst>
        </c:ser>
        <c:dLbls>
          <c:showLegendKey val="0"/>
          <c:showVal val="0"/>
          <c:showCatName val="0"/>
          <c:showSerName val="0"/>
          <c:showPercent val="0"/>
          <c:showBubbleSize val="0"/>
        </c:dLbls>
        <c:gapWidth val="172"/>
        <c:overlap val="100"/>
        <c:axId val="117478528"/>
        <c:axId val="117480064"/>
      </c:barChart>
      <c:catAx>
        <c:axId val="117478528"/>
        <c:scaling>
          <c:orientation val="minMax"/>
        </c:scaling>
        <c:delete val="0"/>
        <c:axPos val="b"/>
        <c:numFmt formatCode="General" sourceLinked="0"/>
        <c:majorTickMark val="none"/>
        <c:minorTickMark val="none"/>
        <c:tickLblPos val="nextTo"/>
        <c:spPr>
          <a:noFill/>
          <a:ln w="6350" cap="flat" cmpd="sng" algn="ctr">
            <a:solidFill>
              <a:srgbClr val="9999A9"/>
            </a:solidFill>
            <a:prstDash val="solid"/>
            <a:round/>
          </a:ln>
          <a:effectLst/>
        </c:spPr>
        <c:txPr>
          <a:bodyPr rot="-60000000" spcFirstLastPara="1" vertOverflow="ellipsis" vert="horz" wrap="square" anchor="ctr" anchorCtr="1"/>
          <a:lstStyle/>
          <a:p>
            <a:pPr>
              <a:defRPr sz="1000" b="1" i="0" u="none" strike="noStrike" kern="1200" baseline="0">
                <a:solidFill>
                  <a:srgbClr val="9999A9"/>
                </a:solidFill>
                <a:latin typeface="+mn-lt"/>
                <a:ea typeface="+mn-ea"/>
                <a:cs typeface="+mn-cs"/>
              </a:defRPr>
            </a:pPr>
            <a:endParaRPr lang="de-DE"/>
          </a:p>
        </c:txPr>
        <c:crossAx val="117480064"/>
        <c:crosses val="autoZero"/>
        <c:auto val="1"/>
        <c:lblAlgn val="ctr"/>
        <c:lblOffset val="100"/>
        <c:noMultiLvlLbl val="0"/>
      </c:catAx>
      <c:valAx>
        <c:axId val="117480064"/>
        <c:scaling>
          <c:orientation val="minMax"/>
        </c:scaling>
        <c:delete val="0"/>
        <c:axPos val="l"/>
        <c:majorGridlines>
          <c:spPr>
            <a:ln w="6350" cap="flat" cmpd="sng" algn="ctr">
              <a:solidFill>
                <a:srgbClr val="9999A9"/>
              </a:solidFill>
              <a:prstDash val="solid"/>
              <a:round/>
            </a:ln>
            <a:effectLst/>
          </c:spPr>
        </c:majorGridlines>
        <c:numFmt formatCode="General" sourceLinked="1"/>
        <c:majorTickMark val="out"/>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sz="1200" b="1" i="0" u="none" strike="noStrike" kern="1200" baseline="0">
                <a:solidFill>
                  <a:srgbClr val="9999A9"/>
                </a:solidFill>
                <a:latin typeface="+mn-lt"/>
                <a:ea typeface="+mn-ea"/>
                <a:cs typeface="+mn-cs"/>
              </a:defRPr>
            </a:pPr>
            <a:endParaRPr lang="de-DE"/>
          </a:p>
        </c:txPr>
        <c:crossAx val="117478528"/>
        <c:crosses val="autoZero"/>
        <c:crossBetween val="between"/>
      </c:val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800"/>
      </a:pPr>
      <a:endParaRPr lang="de-DE"/>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029761503774075E-2"/>
          <c:y val="6.0114526411657543E-2"/>
          <c:w val="0.82480520393811529"/>
          <c:h val="0.85686202185792326"/>
        </c:manualLayout>
      </c:layout>
      <c:barChart>
        <c:barDir val="col"/>
        <c:grouping val="stacked"/>
        <c:varyColors val="0"/>
        <c:ser>
          <c:idx val="0"/>
          <c:order val="0"/>
          <c:tx>
            <c:strRef>
              <c:f>Tabelle1!$B$1</c:f>
              <c:strCache>
                <c:ptCount val="1"/>
                <c:pt idx="0">
                  <c:v>Data series 1</c:v>
                </c:pt>
              </c:strCache>
            </c:strRef>
          </c:tx>
          <c:spPr>
            <a:solidFill>
              <a:srgbClr val="00646E"/>
            </a:solidFill>
            <a:ln w="19050">
              <a:solidFill>
                <a:schemeClr val="bg1"/>
              </a:solidFill>
            </a:ln>
            <a:effectLst/>
          </c:spPr>
          <c:invertIfNegative val="0"/>
          <c:cat>
            <c:strRef>
              <c:f>Tabelle1!$A$2:$A$4</c:f>
              <c:strCache>
                <c:ptCount val="3"/>
                <c:pt idx="0">
                  <c:v>Category 1</c:v>
                </c:pt>
                <c:pt idx="1">
                  <c:v>Category 2</c:v>
                </c:pt>
                <c:pt idx="2">
                  <c:v>Category 3</c:v>
                </c:pt>
              </c:strCache>
            </c:strRef>
          </c:cat>
          <c:val>
            <c:numRef>
              <c:f>Tabelle1!$B$2:$B$4</c:f>
              <c:numCache>
                <c:formatCode>General</c:formatCode>
                <c:ptCount val="3"/>
                <c:pt idx="0">
                  <c:v>4.3</c:v>
                </c:pt>
                <c:pt idx="1">
                  <c:v>2.5</c:v>
                </c:pt>
                <c:pt idx="2">
                  <c:v>3.5</c:v>
                </c:pt>
              </c:numCache>
            </c:numRef>
          </c:val>
          <c:extLst>
            <c:ext xmlns:c16="http://schemas.microsoft.com/office/drawing/2014/chart" uri="{C3380CC4-5D6E-409C-BE32-E72D297353CC}">
              <c16:uniqueId val="{00000000-EB7A-CE4E-A7DE-85D1D5CD076B}"/>
            </c:ext>
          </c:extLst>
        </c:ser>
        <c:ser>
          <c:idx val="1"/>
          <c:order val="1"/>
          <c:tx>
            <c:strRef>
              <c:f>Tabelle1!$C$1</c:f>
              <c:strCache>
                <c:ptCount val="1"/>
                <c:pt idx="0">
                  <c:v>Data series 2</c:v>
                </c:pt>
              </c:strCache>
            </c:strRef>
          </c:tx>
          <c:spPr>
            <a:solidFill>
              <a:srgbClr val="009999"/>
            </a:solidFill>
            <a:ln w="19050">
              <a:solidFill>
                <a:schemeClr val="bg1"/>
              </a:solidFill>
            </a:ln>
            <a:effectLst/>
          </c:spPr>
          <c:invertIfNegative val="0"/>
          <c:cat>
            <c:strRef>
              <c:f>Tabelle1!$A$2:$A$4</c:f>
              <c:strCache>
                <c:ptCount val="3"/>
                <c:pt idx="0">
                  <c:v>Category 1</c:v>
                </c:pt>
                <c:pt idx="1">
                  <c:v>Category 2</c:v>
                </c:pt>
                <c:pt idx="2">
                  <c:v>Category 3</c:v>
                </c:pt>
              </c:strCache>
            </c:strRef>
          </c:cat>
          <c:val>
            <c:numRef>
              <c:f>Tabelle1!$C$2:$C$4</c:f>
              <c:numCache>
                <c:formatCode>General</c:formatCode>
                <c:ptCount val="3"/>
                <c:pt idx="0">
                  <c:v>2.4</c:v>
                </c:pt>
                <c:pt idx="1">
                  <c:v>4.4000000000000004</c:v>
                </c:pt>
                <c:pt idx="2">
                  <c:v>1.8</c:v>
                </c:pt>
              </c:numCache>
            </c:numRef>
          </c:val>
          <c:extLst>
            <c:ext xmlns:c16="http://schemas.microsoft.com/office/drawing/2014/chart" uri="{C3380CC4-5D6E-409C-BE32-E72D297353CC}">
              <c16:uniqueId val="{00000001-EB7A-CE4E-A7DE-85D1D5CD076B}"/>
            </c:ext>
          </c:extLst>
        </c:ser>
        <c:ser>
          <c:idx val="2"/>
          <c:order val="2"/>
          <c:tx>
            <c:strRef>
              <c:f>Tabelle1!$D$1</c:f>
              <c:strCache>
                <c:ptCount val="1"/>
                <c:pt idx="0">
                  <c:v>Data series 3</c:v>
                </c:pt>
              </c:strCache>
            </c:strRef>
          </c:tx>
          <c:spPr>
            <a:solidFill>
              <a:srgbClr val="00E6DC"/>
            </a:solidFill>
            <a:ln w="19050">
              <a:solidFill>
                <a:schemeClr val="bg1"/>
              </a:solidFill>
            </a:ln>
            <a:effectLst/>
          </c:spPr>
          <c:invertIfNegative val="0"/>
          <c:cat>
            <c:strRef>
              <c:f>Tabelle1!$A$2:$A$4</c:f>
              <c:strCache>
                <c:ptCount val="3"/>
                <c:pt idx="0">
                  <c:v>Category 1</c:v>
                </c:pt>
                <c:pt idx="1">
                  <c:v>Category 2</c:v>
                </c:pt>
                <c:pt idx="2">
                  <c:v>Category 3</c:v>
                </c:pt>
              </c:strCache>
            </c:strRef>
          </c:cat>
          <c:val>
            <c:numRef>
              <c:f>Tabelle1!$D$2:$D$4</c:f>
              <c:numCache>
                <c:formatCode>General</c:formatCode>
                <c:ptCount val="3"/>
                <c:pt idx="0">
                  <c:v>2</c:v>
                </c:pt>
                <c:pt idx="1">
                  <c:v>2</c:v>
                </c:pt>
                <c:pt idx="2">
                  <c:v>3</c:v>
                </c:pt>
              </c:numCache>
            </c:numRef>
          </c:val>
          <c:extLst>
            <c:ext xmlns:c16="http://schemas.microsoft.com/office/drawing/2014/chart" uri="{C3380CC4-5D6E-409C-BE32-E72D297353CC}">
              <c16:uniqueId val="{00000002-EB7A-CE4E-A7DE-85D1D5CD076B}"/>
            </c:ext>
          </c:extLst>
        </c:ser>
        <c:ser>
          <c:idx val="3"/>
          <c:order val="3"/>
          <c:tx>
            <c:strRef>
              <c:f>Tabelle1!$E$1</c:f>
              <c:strCache>
                <c:ptCount val="1"/>
                <c:pt idx="0">
                  <c:v>Data series 4</c:v>
                </c:pt>
              </c:strCache>
            </c:strRef>
          </c:tx>
          <c:spPr>
            <a:solidFill>
              <a:srgbClr val="CCCCD4"/>
            </a:solidFill>
            <a:ln w="19050">
              <a:solidFill>
                <a:schemeClr val="bg1"/>
              </a:solidFill>
            </a:ln>
            <a:effectLst/>
          </c:spPr>
          <c:invertIfNegative val="0"/>
          <c:cat>
            <c:strRef>
              <c:f>Tabelle1!$A$2:$A$4</c:f>
              <c:strCache>
                <c:ptCount val="3"/>
                <c:pt idx="0">
                  <c:v>Category 1</c:v>
                </c:pt>
                <c:pt idx="1">
                  <c:v>Category 2</c:v>
                </c:pt>
                <c:pt idx="2">
                  <c:v>Category 3</c:v>
                </c:pt>
              </c:strCache>
            </c:strRef>
          </c:cat>
          <c:val>
            <c:numRef>
              <c:f>Tabelle1!$E$2:$E$4</c:f>
              <c:numCache>
                <c:formatCode>General</c:formatCode>
                <c:ptCount val="3"/>
                <c:pt idx="0">
                  <c:v>2</c:v>
                </c:pt>
                <c:pt idx="1">
                  <c:v>2</c:v>
                </c:pt>
                <c:pt idx="2">
                  <c:v>2</c:v>
                </c:pt>
              </c:numCache>
            </c:numRef>
          </c:val>
          <c:extLst>
            <c:ext xmlns:c16="http://schemas.microsoft.com/office/drawing/2014/chart" uri="{C3380CC4-5D6E-409C-BE32-E72D297353CC}">
              <c16:uniqueId val="{00000000-B07E-46CB-8B90-275169EA20A0}"/>
            </c:ext>
          </c:extLst>
        </c:ser>
        <c:ser>
          <c:idx val="4"/>
          <c:order val="4"/>
          <c:tx>
            <c:strRef>
              <c:f>Tabelle1!$F$1</c:f>
              <c:strCache>
                <c:ptCount val="1"/>
                <c:pt idx="0">
                  <c:v>Data series 5</c:v>
                </c:pt>
              </c:strCache>
            </c:strRef>
          </c:tx>
          <c:spPr>
            <a:solidFill>
              <a:srgbClr val="9999A9"/>
            </a:solidFill>
            <a:ln w="19050">
              <a:solidFill>
                <a:schemeClr val="bg1"/>
              </a:solidFill>
            </a:ln>
            <a:effectLst/>
          </c:spPr>
          <c:invertIfNegative val="0"/>
          <c:cat>
            <c:strRef>
              <c:f>Tabelle1!$A$2:$A$4</c:f>
              <c:strCache>
                <c:ptCount val="3"/>
                <c:pt idx="0">
                  <c:v>Category 1</c:v>
                </c:pt>
                <c:pt idx="1">
                  <c:v>Category 2</c:v>
                </c:pt>
                <c:pt idx="2">
                  <c:v>Category 3</c:v>
                </c:pt>
              </c:strCache>
            </c:strRef>
          </c:cat>
          <c:val>
            <c:numRef>
              <c:f>Tabelle1!$F$2:$F$4</c:f>
              <c:numCache>
                <c:formatCode>General</c:formatCode>
                <c:ptCount val="3"/>
                <c:pt idx="0">
                  <c:v>3</c:v>
                </c:pt>
                <c:pt idx="1">
                  <c:v>2</c:v>
                </c:pt>
                <c:pt idx="2">
                  <c:v>3</c:v>
                </c:pt>
              </c:numCache>
            </c:numRef>
          </c:val>
          <c:extLst>
            <c:ext xmlns:c16="http://schemas.microsoft.com/office/drawing/2014/chart" uri="{C3380CC4-5D6E-409C-BE32-E72D297353CC}">
              <c16:uniqueId val="{00000001-B07E-46CB-8B90-275169EA20A0}"/>
            </c:ext>
          </c:extLst>
        </c:ser>
        <c:ser>
          <c:idx val="5"/>
          <c:order val="5"/>
          <c:tx>
            <c:strRef>
              <c:f>Tabelle1!$G$1</c:f>
              <c:strCache>
                <c:ptCount val="1"/>
                <c:pt idx="0">
                  <c:v>Data series 6</c:v>
                </c:pt>
              </c:strCache>
            </c:strRef>
          </c:tx>
          <c:spPr>
            <a:solidFill>
              <a:srgbClr val="66667E"/>
            </a:solidFill>
            <a:ln w="19050">
              <a:solidFill>
                <a:schemeClr val="bg1"/>
              </a:solidFill>
            </a:ln>
            <a:effectLst/>
          </c:spPr>
          <c:invertIfNegative val="0"/>
          <c:cat>
            <c:strRef>
              <c:f>Tabelle1!$A$2:$A$4</c:f>
              <c:strCache>
                <c:ptCount val="3"/>
                <c:pt idx="0">
                  <c:v>Category 1</c:v>
                </c:pt>
                <c:pt idx="1">
                  <c:v>Category 2</c:v>
                </c:pt>
                <c:pt idx="2">
                  <c:v>Category 3</c:v>
                </c:pt>
              </c:strCache>
            </c:strRef>
          </c:cat>
          <c:val>
            <c:numRef>
              <c:f>Tabelle1!$G$2:$G$4</c:f>
              <c:numCache>
                <c:formatCode>General</c:formatCode>
                <c:ptCount val="3"/>
                <c:pt idx="0">
                  <c:v>2</c:v>
                </c:pt>
                <c:pt idx="1">
                  <c:v>3</c:v>
                </c:pt>
                <c:pt idx="2">
                  <c:v>2</c:v>
                </c:pt>
              </c:numCache>
            </c:numRef>
          </c:val>
          <c:extLst>
            <c:ext xmlns:c16="http://schemas.microsoft.com/office/drawing/2014/chart" uri="{C3380CC4-5D6E-409C-BE32-E72D297353CC}">
              <c16:uniqueId val="{00000002-B07E-46CB-8B90-275169EA20A0}"/>
            </c:ext>
          </c:extLst>
        </c:ser>
        <c:dLbls>
          <c:showLegendKey val="0"/>
          <c:showVal val="0"/>
          <c:showCatName val="0"/>
          <c:showSerName val="0"/>
          <c:showPercent val="0"/>
          <c:showBubbleSize val="0"/>
        </c:dLbls>
        <c:gapWidth val="172"/>
        <c:overlap val="100"/>
        <c:axId val="117478528"/>
        <c:axId val="117480064"/>
      </c:barChart>
      <c:catAx>
        <c:axId val="117478528"/>
        <c:scaling>
          <c:orientation val="minMax"/>
        </c:scaling>
        <c:delete val="0"/>
        <c:axPos val="b"/>
        <c:numFmt formatCode="General" sourceLinked="0"/>
        <c:majorTickMark val="none"/>
        <c:minorTickMark val="none"/>
        <c:tickLblPos val="nextTo"/>
        <c:spPr>
          <a:noFill/>
          <a:ln w="6350" cap="flat" cmpd="sng" algn="ctr">
            <a:solidFill>
              <a:srgbClr val="66667E"/>
            </a:solidFill>
            <a:prstDash val="solid"/>
            <a:round/>
          </a:ln>
          <a:effectLst/>
        </c:spPr>
        <c:txPr>
          <a:bodyPr rot="-60000000" spcFirstLastPara="1" vertOverflow="ellipsis" vert="horz" wrap="square" anchor="ctr" anchorCtr="1"/>
          <a:lstStyle/>
          <a:p>
            <a:pPr>
              <a:defRPr sz="1000" b="1" i="0" u="none" strike="noStrike" kern="1200" baseline="0">
                <a:solidFill>
                  <a:srgbClr val="66667E"/>
                </a:solidFill>
                <a:latin typeface="+mn-lt"/>
                <a:ea typeface="+mn-ea"/>
                <a:cs typeface="+mn-cs"/>
              </a:defRPr>
            </a:pPr>
            <a:endParaRPr lang="de-DE"/>
          </a:p>
        </c:txPr>
        <c:crossAx val="117480064"/>
        <c:crosses val="autoZero"/>
        <c:auto val="1"/>
        <c:lblAlgn val="ctr"/>
        <c:lblOffset val="100"/>
        <c:noMultiLvlLbl val="0"/>
      </c:catAx>
      <c:valAx>
        <c:axId val="117480064"/>
        <c:scaling>
          <c:orientation val="minMax"/>
        </c:scaling>
        <c:delete val="0"/>
        <c:axPos val="l"/>
        <c:majorGridlines>
          <c:spPr>
            <a:ln w="6350" cap="flat" cmpd="sng" algn="ctr">
              <a:solidFill>
                <a:srgbClr val="66667E"/>
              </a:solidFill>
              <a:prstDash val="solid"/>
              <a:round/>
            </a:ln>
            <a:effectLst/>
          </c:spPr>
        </c:majorGridlines>
        <c:numFmt formatCode="General" sourceLinked="1"/>
        <c:majorTickMark val="out"/>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sz="1200" b="1" i="0" u="none" strike="noStrike" kern="1200" baseline="0">
                <a:solidFill>
                  <a:srgbClr val="66667E"/>
                </a:solidFill>
                <a:latin typeface="+mn-lt"/>
                <a:ea typeface="+mn-ea"/>
                <a:cs typeface="+mn-cs"/>
              </a:defRPr>
            </a:pPr>
            <a:endParaRPr lang="de-DE"/>
          </a:p>
        </c:txPr>
        <c:crossAx val="117478528"/>
        <c:crosses val="autoZero"/>
        <c:crossBetween val="between"/>
      </c:val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800"/>
      </a:pPr>
      <a:endParaRPr lang="de-DE"/>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029761503774075E-2"/>
          <c:y val="6.0114526411657543E-2"/>
          <c:w val="0.82480520393811529"/>
          <c:h val="0.85686202185792326"/>
        </c:manualLayout>
      </c:layout>
      <c:barChart>
        <c:barDir val="col"/>
        <c:grouping val="stacked"/>
        <c:varyColors val="0"/>
        <c:ser>
          <c:idx val="0"/>
          <c:order val="0"/>
          <c:tx>
            <c:strRef>
              <c:f>Tabelle1!$B$1</c:f>
              <c:strCache>
                <c:ptCount val="1"/>
                <c:pt idx="0">
                  <c:v>Data series 1</c:v>
                </c:pt>
              </c:strCache>
            </c:strRef>
          </c:tx>
          <c:spPr>
            <a:solidFill>
              <a:srgbClr val="00557C"/>
            </a:solidFill>
            <a:ln w="19050">
              <a:solidFill>
                <a:schemeClr val="bg1"/>
              </a:solidFill>
            </a:ln>
            <a:effectLst/>
          </c:spPr>
          <c:invertIfNegative val="0"/>
          <c:cat>
            <c:strRef>
              <c:f>Tabelle1!$A$2:$A$4</c:f>
              <c:strCache>
                <c:ptCount val="3"/>
                <c:pt idx="0">
                  <c:v>Category 1</c:v>
                </c:pt>
                <c:pt idx="1">
                  <c:v>Category 2</c:v>
                </c:pt>
                <c:pt idx="2">
                  <c:v>Category 3</c:v>
                </c:pt>
              </c:strCache>
            </c:strRef>
          </c:cat>
          <c:val>
            <c:numRef>
              <c:f>Tabelle1!$B$2:$B$4</c:f>
              <c:numCache>
                <c:formatCode>General</c:formatCode>
                <c:ptCount val="3"/>
                <c:pt idx="0">
                  <c:v>4.3</c:v>
                </c:pt>
                <c:pt idx="1">
                  <c:v>2.5</c:v>
                </c:pt>
                <c:pt idx="2">
                  <c:v>3.5</c:v>
                </c:pt>
              </c:numCache>
            </c:numRef>
          </c:val>
          <c:extLst>
            <c:ext xmlns:c16="http://schemas.microsoft.com/office/drawing/2014/chart" uri="{C3380CC4-5D6E-409C-BE32-E72D297353CC}">
              <c16:uniqueId val="{00000000-EB7A-CE4E-A7DE-85D1D5CD076B}"/>
            </c:ext>
          </c:extLst>
        </c:ser>
        <c:ser>
          <c:idx val="1"/>
          <c:order val="1"/>
          <c:tx>
            <c:strRef>
              <c:f>Tabelle1!$C$1</c:f>
              <c:strCache>
                <c:ptCount val="1"/>
                <c:pt idx="0">
                  <c:v>Data series 2</c:v>
                </c:pt>
              </c:strCache>
            </c:strRef>
          </c:tx>
          <c:spPr>
            <a:solidFill>
              <a:srgbClr val="0087BE"/>
            </a:solidFill>
            <a:ln w="19050">
              <a:solidFill>
                <a:schemeClr val="bg1"/>
              </a:solidFill>
            </a:ln>
            <a:effectLst/>
          </c:spPr>
          <c:invertIfNegative val="0"/>
          <c:cat>
            <c:strRef>
              <c:f>Tabelle1!$A$2:$A$4</c:f>
              <c:strCache>
                <c:ptCount val="3"/>
                <c:pt idx="0">
                  <c:v>Category 1</c:v>
                </c:pt>
                <c:pt idx="1">
                  <c:v>Category 2</c:v>
                </c:pt>
                <c:pt idx="2">
                  <c:v>Category 3</c:v>
                </c:pt>
              </c:strCache>
            </c:strRef>
          </c:cat>
          <c:val>
            <c:numRef>
              <c:f>Tabelle1!$C$2:$C$4</c:f>
              <c:numCache>
                <c:formatCode>General</c:formatCode>
                <c:ptCount val="3"/>
                <c:pt idx="0">
                  <c:v>2.4</c:v>
                </c:pt>
                <c:pt idx="1">
                  <c:v>4.4000000000000004</c:v>
                </c:pt>
                <c:pt idx="2">
                  <c:v>1.8</c:v>
                </c:pt>
              </c:numCache>
            </c:numRef>
          </c:val>
          <c:extLst>
            <c:ext xmlns:c16="http://schemas.microsoft.com/office/drawing/2014/chart" uri="{C3380CC4-5D6E-409C-BE32-E72D297353CC}">
              <c16:uniqueId val="{00000001-EB7A-CE4E-A7DE-85D1D5CD076B}"/>
            </c:ext>
          </c:extLst>
        </c:ser>
        <c:ser>
          <c:idx val="2"/>
          <c:order val="2"/>
          <c:tx>
            <c:strRef>
              <c:f>Tabelle1!$D$1</c:f>
              <c:strCache>
                <c:ptCount val="1"/>
                <c:pt idx="0">
                  <c:v>Data series 3</c:v>
                </c:pt>
              </c:strCache>
            </c:strRef>
          </c:tx>
          <c:spPr>
            <a:solidFill>
              <a:srgbClr val="00BEDC"/>
            </a:solidFill>
            <a:ln w="19050">
              <a:solidFill>
                <a:schemeClr val="bg1"/>
              </a:solidFill>
            </a:ln>
            <a:effectLst/>
          </c:spPr>
          <c:invertIfNegative val="0"/>
          <c:cat>
            <c:strRef>
              <c:f>Tabelle1!$A$2:$A$4</c:f>
              <c:strCache>
                <c:ptCount val="3"/>
                <c:pt idx="0">
                  <c:v>Category 1</c:v>
                </c:pt>
                <c:pt idx="1">
                  <c:v>Category 2</c:v>
                </c:pt>
                <c:pt idx="2">
                  <c:v>Category 3</c:v>
                </c:pt>
              </c:strCache>
            </c:strRef>
          </c:cat>
          <c:val>
            <c:numRef>
              <c:f>Tabelle1!$D$2:$D$4</c:f>
              <c:numCache>
                <c:formatCode>General</c:formatCode>
                <c:ptCount val="3"/>
                <c:pt idx="0">
                  <c:v>2</c:v>
                </c:pt>
                <c:pt idx="1">
                  <c:v>2</c:v>
                </c:pt>
                <c:pt idx="2">
                  <c:v>3</c:v>
                </c:pt>
              </c:numCache>
            </c:numRef>
          </c:val>
          <c:extLst>
            <c:ext xmlns:c16="http://schemas.microsoft.com/office/drawing/2014/chart" uri="{C3380CC4-5D6E-409C-BE32-E72D297353CC}">
              <c16:uniqueId val="{00000002-EB7A-CE4E-A7DE-85D1D5CD076B}"/>
            </c:ext>
          </c:extLst>
        </c:ser>
        <c:ser>
          <c:idx val="3"/>
          <c:order val="3"/>
          <c:tx>
            <c:strRef>
              <c:f>Tabelle1!$E$1</c:f>
              <c:strCache>
                <c:ptCount val="1"/>
                <c:pt idx="0">
                  <c:v>Data series 4</c:v>
                </c:pt>
              </c:strCache>
            </c:strRef>
          </c:tx>
          <c:spPr>
            <a:solidFill>
              <a:srgbClr val="CCCCD4"/>
            </a:solidFill>
            <a:ln w="19050">
              <a:solidFill>
                <a:schemeClr val="bg1"/>
              </a:solidFill>
            </a:ln>
            <a:effectLst/>
          </c:spPr>
          <c:invertIfNegative val="0"/>
          <c:cat>
            <c:strRef>
              <c:f>Tabelle1!$A$2:$A$4</c:f>
              <c:strCache>
                <c:ptCount val="3"/>
                <c:pt idx="0">
                  <c:v>Category 1</c:v>
                </c:pt>
                <c:pt idx="1">
                  <c:v>Category 2</c:v>
                </c:pt>
                <c:pt idx="2">
                  <c:v>Category 3</c:v>
                </c:pt>
              </c:strCache>
            </c:strRef>
          </c:cat>
          <c:val>
            <c:numRef>
              <c:f>Tabelle1!$E$2:$E$4</c:f>
              <c:numCache>
                <c:formatCode>General</c:formatCode>
                <c:ptCount val="3"/>
                <c:pt idx="0">
                  <c:v>2</c:v>
                </c:pt>
                <c:pt idx="1">
                  <c:v>2</c:v>
                </c:pt>
                <c:pt idx="2">
                  <c:v>2</c:v>
                </c:pt>
              </c:numCache>
            </c:numRef>
          </c:val>
          <c:extLst>
            <c:ext xmlns:c16="http://schemas.microsoft.com/office/drawing/2014/chart" uri="{C3380CC4-5D6E-409C-BE32-E72D297353CC}">
              <c16:uniqueId val="{00000000-60AA-4436-9956-94C51B743EB9}"/>
            </c:ext>
          </c:extLst>
        </c:ser>
        <c:ser>
          <c:idx val="4"/>
          <c:order val="4"/>
          <c:tx>
            <c:strRef>
              <c:f>Tabelle1!$F$1</c:f>
              <c:strCache>
                <c:ptCount val="1"/>
                <c:pt idx="0">
                  <c:v>Data series 5</c:v>
                </c:pt>
              </c:strCache>
            </c:strRef>
          </c:tx>
          <c:spPr>
            <a:solidFill>
              <a:srgbClr val="9999A9"/>
            </a:solidFill>
            <a:ln w="19050">
              <a:solidFill>
                <a:schemeClr val="bg1"/>
              </a:solidFill>
            </a:ln>
            <a:effectLst/>
          </c:spPr>
          <c:invertIfNegative val="0"/>
          <c:cat>
            <c:strRef>
              <c:f>Tabelle1!$A$2:$A$4</c:f>
              <c:strCache>
                <c:ptCount val="3"/>
                <c:pt idx="0">
                  <c:v>Category 1</c:v>
                </c:pt>
                <c:pt idx="1">
                  <c:v>Category 2</c:v>
                </c:pt>
                <c:pt idx="2">
                  <c:v>Category 3</c:v>
                </c:pt>
              </c:strCache>
            </c:strRef>
          </c:cat>
          <c:val>
            <c:numRef>
              <c:f>Tabelle1!$F$2:$F$4</c:f>
              <c:numCache>
                <c:formatCode>General</c:formatCode>
                <c:ptCount val="3"/>
                <c:pt idx="0">
                  <c:v>3</c:v>
                </c:pt>
                <c:pt idx="1">
                  <c:v>2</c:v>
                </c:pt>
                <c:pt idx="2">
                  <c:v>3</c:v>
                </c:pt>
              </c:numCache>
            </c:numRef>
          </c:val>
          <c:extLst>
            <c:ext xmlns:c16="http://schemas.microsoft.com/office/drawing/2014/chart" uri="{C3380CC4-5D6E-409C-BE32-E72D297353CC}">
              <c16:uniqueId val="{00000001-60AA-4436-9956-94C51B743EB9}"/>
            </c:ext>
          </c:extLst>
        </c:ser>
        <c:ser>
          <c:idx val="5"/>
          <c:order val="5"/>
          <c:tx>
            <c:strRef>
              <c:f>Tabelle1!$G$1</c:f>
              <c:strCache>
                <c:ptCount val="1"/>
                <c:pt idx="0">
                  <c:v>Data series 6</c:v>
                </c:pt>
              </c:strCache>
            </c:strRef>
          </c:tx>
          <c:spPr>
            <a:solidFill>
              <a:srgbClr val="66667E"/>
            </a:solidFill>
            <a:ln w="19050">
              <a:solidFill>
                <a:schemeClr val="bg1"/>
              </a:solidFill>
            </a:ln>
            <a:effectLst/>
          </c:spPr>
          <c:invertIfNegative val="0"/>
          <c:cat>
            <c:strRef>
              <c:f>Tabelle1!$A$2:$A$4</c:f>
              <c:strCache>
                <c:ptCount val="3"/>
                <c:pt idx="0">
                  <c:v>Category 1</c:v>
                </c:pt>
                <c:pt idx="1">
                  <c:v>Category 2</c:v>
                </c:pt>
                <c:pt idx="2">
                  <c:v>Category 3</c:v>
                </c:pt>
              </c:strCache>
            </c:strRef>
          </c:cat>
          <c:val>
            <c:numRef>
              <c:f>Tabelle1!$G$2:$G$4</c:f>
              <c:numCache>
                <c:formatCode>General</c:formatCode>
                <c:ptCount val="3"/>
                <c:pt idx="0">
                  <c:v>2</c:v>
                </c:pt>
                <c:pt idx="1">
                  <c:v>3</c:v>
                </c:pt>
                <c:pt idx="2">
                  <c:v>2</c:v>
                </c:pt>
              </c:numCache>
            </c:numRef>
          </c:val>
          <c:extLst>
            <c:ext xmlns:c16="http://schemas.microsoft.com/office/drawing/2014/chart" uri="{C3380CC4-5D6E-409C-BE32-E72D297353CC}">
              <c16:uniqueId val="{00000002-60AA-4436-9956-94C51B743EB9}"/>
            </c:ext>
          </c:extLst>
        </c:ser>
        <c:dLbls>
          <c:showLegendKey val="0"/>
          <c:showVal val="0"/>
          <c:showCatName val="0"/>
          <c:showSerName val="0"/>
          <c:showPercent val="0"/>
          <c:showBubbleSize val="0"/>
        </c:dLbls>
        <c:gapWidth val="172"/>
        <c:overlap val="100"/>
        <c:axId val="117478528"/>
        <c:axId val="117480064"/>
      </c:barChart>
      <c:catAx>
        <c:axId val="117478528"/>
        <c:scaling>
          <c:orientation val="minMax"/>
        </c:scaling>
        <c:delete val="0"/>
        <c:axPos val="b"/>
        <c:numFmt formatCode="General" sourceLinked="0"/>
        <c:majorTickMark val="none"/>
        <c:minorTickMark val="none"/>
        <c:tickLblPos val="nextTo"/>
        <c:spPr>
          <a:noFill/>
          <a:ln w="6350" cap="flat" cmpd="sng" algn="ctr">
            <a:solidFill>
              <a:srgbClr val="66667E"/>
            </a:solidFill>
            <a:prstDash val="solid"/>
            <a:round/>
          </a:ln>
          <a:effectLst/>
        </c:spPr>
        <c:txPr>
          <a:bodyPr rot="-60000000" spcFirstLastPara="1" vertOverflow="ellipsis" vert="horz" wrap="square" anchor="ctr" anchorCtr="1"/>
          <a:lstStyle/>
          <a:p>
            <a:pPr>
              <a:defRPr sz="1000" b="1" i="0" u="none" strike="noStrike" kern="1200" baseline="0">
                <a:solidFill>
                  <a:srgbClr val="66667E"/>
                </a:solidFill>
                <a:latin typeface="+mn-lt"/>
                <a:ea typeface="+mn-ea"/>
                <a:cs typeface="+mn-cs"/>
              </a:defRPr>
            </a:pPr>
            <a:endParaRPr lang="de-DE"/>
          </a:p>
        </c:txPr>
        <c:crossAx val="117480064"/>
        <c:crosses val="autoZero"/>
        <c:auto val="1"/>
        <c:lblAlgn val="ctr"/>
        <c:lblOffset val="100"/>
        <c:noMultiLvlLbl val="0"/>
      </c:catAx>
      <c:valAx>
        <c:axId val="117480064"/>
        <c:scaling>
          <c:orientation val="minMax"/>
        </c:scaling>
        <c:delete val="0"/>
        <c:axPos val="l"/>
        <c:majorGridlines>
          <c:spPr>
            <a:ln w="6350" cap="flat" cmpd="sng" algn="ctr">
              <a:solidFill>
                <a:srgbClr val="66667E"/>
              </a:solidFill>
              <a:prstDash val="solid"/>
              <a:round/>
            </a:ln>
            <a:effectLst/>
          </c:spPr>
        </c:majorGridlines>
        <c:numFmt formatCode="General" sourceLinked="1"/>
        <c:majorTickMark val="out"/>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sz="1200" b="1" i="0" u="none" strike="noStrike" kern="1200" baseline="0">
                <a:solidFill>
                  <a:srgbClr val="66667E"/>
                </a:solidFill>
                <a:latin typeface="+mn-lt"/>
                <a:ea typeface="+mn-ea"/>
                <a:cs typeface="+mn-cs"/>
              </a:defRPr>
            </a:pPr>
            <a:endParaRPr lang="de-DE"/>
          </a:p>
        </c:txPr>
        <c:crossAx val="117478528"/>
        <c:crosses val="autoZero"/>
        <c:crossBetween val="between"/>
      </c:val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800"/>
      </a:pPr>
      <a:endParaRPr lang="de-DE"/>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029761503774075E-2"/>
          <c:y val="6.0114526411657543E-2"/>
          <c:w val="0.82480520393811529"/>
          <c:h val="0.85686202185792326"/>
        </c:manualLayout>
      </c:layout>
      <c:barChart>
        <c:barDir val="col"/>
        <c:grouping val="stacked"/>
        <c:varyColors val="0"/>
        <c:ser>
          <c:idx val="0"/>
          <c:order val="0"/>
          <c:tx>
            <c:strRef>
              <c:f>Tabelle1!$B$1</c:f>
              <c:strCache>
                <c:ptCount val="1"/>
                <c:pt idx="0">
                  <c:v>Data series 1</c:v>
                </c:pt>
              </c:strCache>
            </c:strRef>
          </c:tx>
          <c:spPr>
            <a:solidFill>
              <a:srgbClr val="00646E"/>
            </a:solidFill>
            <a:ln w="19050">
              <a:solidFill>
                <a:schemeClr val="bg1"/>
              </a:solidFill>
            </a:ln>
            <a:effectLst/>
          </c:spPr>
          <c:invertIfNegative val="0"/>
          <c:cat>
            <c:strRef>
              <c:f>Tabelle1!$A$2:$A$4</c:f>
              <c:strCache>
                <c:ptCount val="3"/>
                <c:pt idx="0">
                  <c:v>Category 1</c:v>
                </c:pt>
                <c:pt idx="1">
                  <c:v>Category 2</c:v>
                </c:pt>
                <c:pt idx="2">
                  <c:v>Category 3</c:v>
                </c:pt>
              </c:strCache>
            </c:strRef>
          </c:cat>
          <c:val>
            <c:numRef>
              <c:f>Tabelle1!$B$2:$B$4</c:f>
              <c:numCache>
                <c:formatCode>General</c:formatCode>
                <c:ptCount val="3"/>
                <c:pt idx="0">
                  <c:v>4.3</c:v>
                </c:pt>
                <c:pt idx="1">
                  <c:v>2.5</c:v>
                </c:pt>
                <c:pt idx="2">
                  <c:v>3.5</c:v>
                </c:pt>
              </c:numCache>
            </c:numRef>
          </c:val>
          <c:extLst>
            <c:ext xmlns:c16="http://schemas.microsoft.com/office/drawing/2014/chart" uri="{C3380CC4-5D6E-409C-BE32-E72D297353CC}">
              <c16:uniqueId val="{00000000-EB7A-CE4E-A7DE-85D1D5CD076B}"/>
            </c:ext>
          </c:extLst>
        </c:ser>
        <c:ser>
          <c:idx val="1"/>
          <c:order val="1"/>
          <c:tx>
            <c:strRef>
              <c:f>Tabelle1!$C$1</c:f>
              <c:strCache>
                <c:ptCount val="1"/>
                <c:pt idx="0">
                  <c:v>Data series 2</c:v>
                </c:pt>
              </c:strCache>
            </c:strRef>
          </c:tx>
          <c:spPr>
            <a:solidFill>
              <a:srgbClr val="00AF8E"/>
            </a:solidFill>
            <a:ln w="19050">
              <a:solidFill>
                <a:schemeClr val="bg1"/>
              </a:solidFill>
            </a:ln>
            <a:effectLst/>
          </c:spPr>
          <c:invertIfNegative val="0"/>
          <c:cat>
            <c:strRef>
              <c:f>Tabelle1!$A$2:$A$4</c:f>
              <c:strCache>
                <c:ptCount val="3"/>
                <c:pt idx="0">
                  <c:v>Category 1</c:v>
                </c:pt>
                <c:pt idx="1">
                  <c:v>Category 2</c:v>
                </c:pt>
                <c:pt idx="2">
                  <c:v>Category 3</c:v>
                </c:pt>
              </c:strCache>
            </c:strRef>
          </c:cat>
          <c:val>
            <c:numRef>
              <c:f>Tabelle1!$C$2:$C$4</c:f>
              <c:numCache>
                <c:formatCode>General</c:formatCode>
                <c:ptCount val="3"/>
                <c:pt idx="0">
                  <c:v>2.4</c:v>
                </c:pt>
                <c:pt idx="1">
                  <c:v>4.4000000000000004</c:v>
                </c:pt>
                <c:pt idx="2">
                  <c:v>1.8</c:v>
                </c:pt>
              </c:numCache>
            </c:numRef>
          </c:val>
          <c:extLst>
            <c:ext xmlns:c16="http://schemas.microsoft.com/office/drawing/2014/chart" uri="{C3380CC4-5D6E-409C-BE32-E72D297353CC}">
              <c16:uniqueId val="{00000001-EB7A-CE4E-A7DE-85D1D5CD076B}"/>
            </c:ext>
          </c:extLst>
        </c:ser>
        <c:ser>
          <c:idx val="2"/>
          <c:order val="2"/>
          <c:tx>
            <c:strRef>
              <c:f>Tabelle1!$D$1</c:f>
              <c:strCache>
                <c:ptCount val="1"/>
                <c:pt idx="0">
                  <c:v>Data series 3</c:v>
                </c:pt>
              </c:strCache>
            </c:strRef>
          </c:tx>
          <c:spPr>
            <a:solidFill>
              <a:srgbClr val="00D7A0"/>
            </a:solidFill>
            <a:ln w="19050">
              <a:solidFill>
                <a:schemeClr val="bg1"/>
              </a:solidFill>
            </a:ln>
            <a:effectLst/>
          </c:spPr>
          <c:invertIfNegative val="0"/>
          <c:cat>
            <c:strRef>
              <c:f>Tabelle1!$A$2:$A$4</c:f>
              <c:strCache>
                <c:ptCount val="3"/>
                <c:pt idx="0">
                  <c:v>Category 1</c:v>
                </c:pt>
                <c:pt idx="1">
                  <c:v>Category 2</c:v>
                </c:pt>
                <c:pt idx="2">
                  <c:v>Category 3</c:v>
                </c:pt>
              </c:strCache>
            </c:strRef>
          </c:cat>
          <c:val>
            <c:numRef>
              <c:f>Tabelle1!$D$2:$D$4</c:f>
              <c:numCache>
                <c:formatCode>General</c:formatCode>
                <c:ptCount val="3"/>
                <c:pt idx="0">
                  <c:v>2</c:v>
                </c:pt>
                <c:pt idx="1">
                  <c:v>2</c:v>
                </c:pt>
                <c:pt idx="2">
                  <c:v>3</c:v>
                </c:pt>
              </c:numCache>
            </c:numRef>
          </c:val>
          <c:extLst>
            <c:ext xmlns:c16="http://schemas.microsoft.com/office/drawing/2014/chart" uri="{C3380CC4-5D6E-409C-BE32-E72D297353CC}">
              <c16:uniqueId val="{00000002-EB7A-CE4E-A7DE-85D1D5CD076B}"/>
            </c:ext>
          </c:extLst>
        </c:ser>
        <c:ser>
          <c:idx val="3"/>
          <c:order val="3"/>
          <c:tx>
            <c:strRef>
              <c:f>Tabelle1!$E$1</c:f>
              <c:strCache>
                <c:ptCount val="1"/>
                <c:pt idx="0">
                  <c:v>Data series 4</c:v>
                </c:pt>
              </c:strCache>
            </c:strRef>
          </c:tx>
          <c:spPr>
            <a:solidFill>
              <a:srgbClr val="CCCCD4"/>
            </a:solidFill>
            <a:ln w="19050">
              <a:solidFill>
                <a:schemeClr val="bg1"/>
              </a:solidFill>
            </a:ln>
            <a:effectLst/>
          </c:spPr>
          <c:invertIfNegative val="0"/>
          <c:cat>
            <c:strRef>
              <c:f>Tabelle1!$A$2:$A$4</c:f>
              <c:strCache>
                <c:ptCount val="3"/>
                <c:pt idx="0">
                  <c:v>Category 1</c:v>
                </c:pt>
                <c:pt idx="1">
                  <c:v>Category 2</c:v>
                </c:pt>
                <c:pt idx="2">
                  <c:v>Category 3</c:v>
                </c:pt>
              </c:strCache>
            </c:strRef>
          </c:cat>
          <c:val>
            <c:numRef>
              <c:f>Tabelle1!$E$2:$E$4</c:f>
              <c:numCache>
                <c:formatCode>General</c:formatCode>
                <c:ptCount val="3"/>
                <c:pt idx="0">
                  <c:v>2</c:v>
                </c:pt>
                <c:pt idx="1">
                  <c:v>2</c:v>
                </c:pt>
                <c:pt idx="2">
                  <c:v>2</c:v>
                </c:pt>
              </c:numCache>
            </c:numRef>
          </c:val>
          <c:extLst>
            <c:ext xmlns:c16="http://schemas.microsoft.com/office/drawing/2014/chart" uri="{C3380CC4-5D6E-409C-BE32-E72D297353CC}">
              <c16:uniqueId val="{00000000-60AA-4436-9956-94C51B743EB9}"/>
            </c:ext>
          </c:extLst>
        </c:ser>
        <c:ser>
          <c:idx val="4"/>
          <c:order val="4"/>
          <c:tx>
            <c:strRef>
              <c:f>Tabelle1!$F$1</c:f>
              <c:strCache>
                <c:ptCount val="1"/>
                <c:pt idx="0">
                  <c:v>Data series 5</c:v>
                </c:pt>
              </c:strCache>
            </c:strRef>
          </c:tx>
          <c:spPr>
            <a:solidFill>
              <a:srgbClr val="9999A9"/>
            </a:solidFill>
            <a:ln w="19050">
              <a:solidFill>
                <a:schemeClr val="bg1"/>
              </a:solidFill>
            </a:ln>
            <a:effectLst/>
          </c:spPr>
          <c:invertIfNegative val="0"/>
          <c:cat>
            <c:strRef>
              <c:f>Tabelle1!$A$2:$A$4</c:f>
              <c:strCache>
                <c:ptCount val="3"/>
                <c:pt idx="0">
                  <c:v>Category 1</c:v>
                </c:pt>
                <c:pt idx="1">
                  <c:v>Category 2</c:v>
                </c:pt>
                <c:pt idx="2">
                  <c:v>Category 3</c:v>
                </c:pt>
              </c:strCache>
            </c:strRef>
          </c:cat>
          <c:val>
            <c:numRef>
              <c:f>Tabelle1!$F$2:$F$4</c:f>
              <c:numCache>
                <c:formatCode>General</c:formatCode>
                <c:ptCount val="3"/>
                <c:pt idx="0">
                  <c:v>3</c:v>
                </c:pt>
                <c:pt idx="1">
                  <c:v>2</c:v>
                </c:pt>
                <c:pt idx="2">
                  <c:v>3</c:v>
                </c:pt>
              </c:numCache>
            </c:numRef>
          </c:val>
          <c:extLst>
            <c:ext xmlns:c16="http://schemas.microsoft.com/office/drawing/2014/chart" uri="{C3380CC4-5D6E-409C-BE32-E72D297353CC}">
              <c16:uniqueId val="{00000001-60AA-4436-9956-94C51B743EB9}"/>
            </c:ext>
          </c:extLst>
        </c:ser>
        <c:ser>
          <c:idx val="5"/>
          <c:order val="5"/>
          <c:tx>
            <c:strRef>
              <c:f>Tabelle1!$G$1</c:f>
              <c:strCache>
                <c:ptCount val="1"/>
                <c:pt idx="0">
                  <c:v>Data series 6</c:v>
                </c:pt>
              </c:strCache>
            </c:strRef>
          </c:tx>
          <c:spPr>
            <a:solidFill>
              <a:srgbClr val="66667E"/>
            </a:solidFill>
            <a:ln w="19050">
              <a:solidFill>
                <a:schemeClr val="bg1"/>
              </a:solidFill>
            </a:ln>
            <a:effectLst/>
          </c:spPr>
          <c:invertIfNegative val="0"/>
          <c:cat>
            <c:strRef>
              <c:f>Tabelle1!$A$2:$A$4</c:f>
              <c:strCache>
                <c:ptCount val="3"/>
                <c:pt idx="0">
                  <c:v>Category 1</c:v>
                </c:pt>
                <c:pt idx="1">
                  <c:v>Category 2</c:v>
                </c:pt>
                <c:pt idx="2">
                  <c:v>Category 3</c:v>
                </c:pt>
              </c:strCache>
            </c:strRef>
          </c:cat>
          <c:val>
            <c:numRef>
              <c:f>Tabelle1!$G$2:$G$4</c:f>
              <c:numCache>
                <c:formatCode>General</c:formatCode>
                <c:ptCount val="3"/>
                <c:pt idx="0">
                  <c:v>2</c:v>
                </c:pt>
                <c:pt idx="1">
                  <c:v>3</c:v>
                </c:pt>
                <c:pt idx="2">
                  <c:v>2</c:v>
                </c:pt>
              </c:numCache>
            </c:numRef>
          </c:val>
          <c:extLst>
            <c:ext xmlns:c16="http://schemas.microsoft.com/office/drawing/2014/chart" uri="{C3380CC4-5D6E-409C-BE32-E72D297353CC}">
              <c16:uniqueId val="{00000002-60AA-4436-9956-94C51B743EB9}"/>
            </c:ext>
          </c:extLst>
        </c:ser>
        <c:dLbls>
          <c:showLegendKey val="0"/>
          <c:showVal val="0"/>
          <c:showCatName val="0"/>
          <c:showSerName val="0"/>
          <c:showPercent val="0"/>
          <c:showBubbleSize val="0"/>
        </c:dLbls>
        <c:gapWidth val="172"/>
        <c:overlap val="100"/>
        <c:axId val="117478528"/>
        <c:axId val="117480064"/>
      </c:barChart>
      <c:catAx>
        <c:axId val="117478528"/>
        <c:scaling>
          <c:orientation val="minMax"/>
        </c:scaling>
        <c:delete val="0"/>
        <c:axPos val="b"/>
        <c:numFmt formatCode="General" sourceLinked="0"/>
        <c:majorTickMark val="none"/>
        <c:minorTickMark val="none"/>
        <c:tickLblPos val="nextTo"/>
        <c:spPr>
          <a:noFill/>
          <a:ln w="6350" cap="flat" cmpd="sng" algn="ctr">
            <a:solidFill>
              <a:srgbClr val="66667E"/>
            </a:solidFill>
            <a:prstDash val="solid"/>
            <a:round/>
          </a:ln>
          <a:effectLst/>
        </c:spPr>
        <c:txPr>
          <a:bodyPr rot="-60000000" spcFirstLastPara="1" vertOverflow="ellipsis" vert="horz" wrap="square" anchor="ctr" anchorCtr="1"/>
          <a:lstStyle/>
          <a:p>
            <a:pPr>
              <a:defRPr sz="1000" b="1" i="0" u="none" strike="noStrike" kern="1200" baseline="0">
                <a:solidFill>
                  <a:srgbClr val="66667E"/>
                </a:solidFill>
                <a:latin typeface="+mn-lt"/>
                <a:ea typeface="+mn-ea"/>
                <a:cs typeface="+mn-cs"/>
              </a:defRPr>
            </a:pPr>
            <a:endParaRPr lang="de-DE"/>
          </a:p>
        </c:txPr>
        <c:crossAx val="117480064"/>
        <c:crosses val="autoZero"/>
        <c:auto val="1"/>
        <c:lblAlgn val="ctr"/>
        <c:lblOffset val="100"/>
        <c:noMultiLvlLbl val="0"/>
      </c:catAx>
      <c:valAx>
        <c:axId val="117480064"/>
        <c:scaling>
          <c:orientation val="minMax"/>
        </c:scaling>
        <c:delete val="0"/>
        <c:axPos val="l"/>
        <c:majorGridlines>
          <c:spPr>
            <a:ln w="6350" cap="flat" cmpd="sng" algn="ctr">
              <a:solidFill>
                <a:srgbClr val="66667E"/>
              </a:solidFill>
              <a:prstDash val="solid"/>
              <a:round/>
            </a:ln>
            <a:effectLst/>
          </c:spPr>
        </c:majorGridlines>
        <c:numFmt formatCode="General" sourceLinked="1"/>
        <c:majorTickMark val="out"/>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sz="1200" b="1" i="0" u="none" strike="noStrike" kern="1200" baseline="0">
                <a:solidFill>
                  <a:srgbClr val="66667E"/>
                </a:solidFill>
                <a:latin typeface="+mn-lt"/>
                <a:ea typeface="+mn-ea"/>
                <a:cs typeface="+mn-cs"/>
              </a:defRPr>
            </a:pPr>
            <a:endParaRPr lang="de-DE"/>
          </a:p>
        </c:txPr>
        <c:crossAx val="117478528"/>
        <c:crosses val="autoZero"/>
        <c:crossBetween val="between"/>
      </c:val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800"/>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radarChart>
        <c:radarStyle val="filled"/>
        <c:varyColors val="0"/>
        <c:ser>
          <c:idx val="0"/>
          <c:order val="0"/>
          <c:tx>
            <c:strRef>
              <c:f>Tabelle1!$B$1</c:f>
              <c:strCache>
                <c:ptCount val="1"/>
                <c:pt idx="0">
                  <c:v>Data series 1</c:v>
                </c:pt>
              </c:strCache>
            </c:strRef>
          </c:tx>
          <c:spPr>
            <a:solidFill>
              <a:srgbClr val="66667E"/>
            </a:solidFill>
            <a:ln w="12700">
              <a:noFill/>
            </a:ln>
          </c:spPr>
          <c:cat>
            <c:strRef>
              <c:f>Tabelle1!$A$2:$A$6</c:f>
              <c:strCache>
                <c:ptCount val="5"/>
                <c:pt idx="0">
                  <c:v>Lorem</c:v>
                </c:pt>
                <c:pt idx="1">
                  <c:v>Ipsum</c:v>
                </c:pt>
                <c:pt idx="2">
                  <c:v>Dolore</c:v>
                </c:pt>
                <c:pt idx="3">
                  <c:v>Esta</c:v>
                </c:pt>
                <c:pt idx="4">
                  <c:v>Conses</c:v>
                </c:pt>
              </c:strCache>
            </c:strRef>
          </c:cat>
          <c:val>
            <c:numRef>
              <c:f>Tabelle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894A-4298-A87B-70947069997B}"/>
            </c:ext>
          </c:extLst>
        </c:ser>
        <c:ser>
          <c:idx val="1"/>
          <c:order val="1"/>
          <c:tx>
            <c:strRef>
              <c:f>Tabelle1!$C$1</c:f>
              <c:strCache>
                <c:ptCount val="1"/>
                <c:pt idx="0">
                  <c:v>Data series 2</c:v>
                </c:pt>
              </c:strCache>
            </c:strRef>
          </c:tx>
          <c:spPr>
            <a:solidFill>
              <a:schemeClr val="accent2"/>
            </a:solidFill>
            <a:ln w="19050">
              <a:noFill/>
            </a:ln>
          </c:spPr>
          <c:cat>
            <c:strRef>
              <c:f>Tabelle1!$A$2:$A$6</c:f>
              <c:strCache>
                <c:ptCount val="5"/>
                <c:pt idx="0">
                  <c:v>Lorem</c:v>
                </c:pt>
                <c:pt idx="1">
                  <c:v>Ipsum</c:v>
                </c:pt>
                <c:pt idx="2">
                  <c:v>Dolore</c:v>
                </c:pt>
                <c:pt idx="3">
                  <c:v>Esta</c:v>
                </c:pt>
                <c:pt idx="4">
                  <c:v>Conses</c:v>
                </c:pt>
              </c:strCache>
            </c:strRef>
          </c:cat>
          <c:val>
            <c:numRef>
              <c:f>Tabelle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894A-4298-A87B-70947069997B}"/>
            </c:ext>
          </c:extLst>
        </c:ser>
        <c:dLbls>
          <c:showLegendKey val="0"/>
          <c:showVal val="0"/>
          <c:showCatName val="0"/>
          <c:showSerName val="0"/>
          <c:showPercent val="0"/>
          <c:showBubbleSize val="0"/>
        </c:dLbls>
        <c:axId val="117580928"/>
        <c:axId val="117582464"/>
      </c:radarChart>
      <c:catAx>
        <c:axId val="117580928"/>
        <c:scaling>
          <c:orientation val="minMax"/>
        </c:scaling>
        <c:delete val="0"/>
        <c:axPos val="b"/>
        <c:majorGridlines/>
        <c:numFmt formatCode="General" sourceLinked="1"/>
        <c:majorTickMark val="none"/>
        <c:minorTickMark val="none"/>
        <c:tickLblPos val="nextTo"/>
        <c:txPr>
          <a:bodyPr/>
          <a:lstStyle/>
          <a:p>
            <a:pPr>
              <a:defRPr sz="1600" b="1">
                <a:solidFill>
                  <a:schemeClr val="accent2"/>
                </a:solidFill>
              </a:defRPr>
            </a:pPr>
            <a:endParaRPr lang="de-DE"/>
          </a:p>
        </c:txPr>
        <c:crossAx val="117582464"/>
        <c:crosses val="autoZero"/>
        <c:auto val="1"/>
        <c:lblAlgn val="ctr"/>
        <c:lblOffset val="100"/>
        <c:noMultiLvlLbl val="0"/>
      </c:catAx>
      <c:valAx>
        <c:axId val="117582464"/>
        <c:scaling>
          <c:orientation val="minMax"/>
          <c:max val="40"/>
        </c:scaling>
        <c:delete val="1"/>
        <c:axPos val="l"/>
        <c:majorGridlines>
          <c:spPr>
            <a:ln w="6350">
              <a:solidFill>
                <a:srgbClr val="66667E"/>
              </a:solidFill>
            </a:ln>
          </c:spPr>
        </c:majorGridlines>
        <c:numFmt formatCode="General" sourceLinked="1"/>
        <c:majorTickMark val="none"/>
        <c:minorTickMark val="none"/>
        <c:tickLblPos val="nextTo"/>
        <c:crossAx val="117580928"/>
        <c:crosses val="autoZero"/>
        <c:crossBetween val="between"/>
        <c:majorUnit val="10"/>
      </c:valAx>
    </c:plotArea>
    <c:legend>
      <c:legendPos val="r"/>
      <c:legendEntry>
        <c:idx val="0"/>
        <c:txPr>
          <a:bodyPr/>
          <a:lstStyle/>
          <a:p>
            <a:pPr>
              <a:defRPr sz="1400">
                <a:solidFill>
                  <a:srgbClr val="9999A9"/>
                </a:solidFill>
              </a:defRPr>
            </a:pPr>
            <a:endParaRPr lang="de-DE"/>
          </a:p>
        </c:txPr>
      </c:legendEntry>
      <c:legendEntry>
        <c:idx val="1"/>
        <c:txPr>
          <a:bodyPr/>
          <a:lstStyle/>
          <a:p>
            <a:pPr>
              <a:defRPr sz="1400">
                <a:solidFill>
                  <a:srgbClr val="9999A9"/>
                </a:solidFill>
              </a:defRPr>
            </a:pPr>
            <a:endParaRPr lang="de-DE"/>
          </a:p>
        </c:txPr>
      </c:legendEntry>
      <c:layout>
        <c:manualLayout>
          <c:xMode val="edge"/>
          <c:yMode val="edge"/>
          <c:x val="0.7790278663298843"/>
          <c:y val="0.84910198717511953"/>
          <c:w val="0.18315343288833383"/>
          <c:h val="0.13010002522445713"/>
        </c:manualLayout>
      </c:layout>
      <c:overlay val="0"/>
      <c:txPr>
        <a:bodyPr/>
        <a:lstStyle/>
        <a:p>
          <a:pPr>
            <a:defRPr sz="1400">
              <a:solidFill>
                <a:srgbClr val="9999A9"/>
              </a:solidFill>
            </a:defRPr>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029761503774075E-2"/>
          <c:y val="6.0114526411657543E-2"/>
          <c:w val="0.82480520393811529"/>
          <c:h val="0.85686202185792326"/>
        </c:manualLayout>
      </c:layout>
      <c:barChart>
        <c:barDir val="col"/>
        <c:grouping val="stacked"/>
        <c:varyColors val="0"/>
        <c:ser>
          <c:idx val="0"/>
          <c:order val="0"/>
          <c:tx>
            <c:strRef>
              <c:f>Tabelle1!$B$1</c:f>
              <c:strCache>
                <c:ptCount val="1"/>
                <c:pt idx="0">
                  <c:v>Data series 1</c:v>
                </c:pt>
              </c:strCache>
            </c:strRef>
          </c:tx>
          <c:spPr>
            <a:solidFill>
              <a:srgbClr val="00646E"/>
            </a:solidFill>
            <a:ln w="19050">
              <a:solidFill>
                <a:schemeClr val="bg2"/>
              </a:solidFill>
            </a:ln>
            <a:effectLst/>
          </c:spPr>
          <c:invertIfNegative val="0"/>
          <c:cat>
            <c:strRef>
              <c:f>Tabelle1!$A$2:$A$4</c:f>
              <c:strCache>
                <c:ptCount val="3"/>
                <c:pt idx="0">
                  <c:v>Category 1</c:v>
                </c:pt>
                <c:pt idx="1">
                  <c:v>Category 2</c:v>
                </c:pt>
                <c:pt idx="2">
                  <c:v>Category 3</c:v>
                </c:pt>
              </c:strCache>
            </c:strRef>
          </c:cat>
          <c:val>
            <c:numRef>
              <c:f>Tabelle1!$B$2:$B$4</c:f>
              <c:numCache>
                <c:formatCode>General</c:formatCode>
                <c:ptCount val="3"/>
                <c:pt idx="0">
                  <c:v>4.3</c:v>
                </c:pt>
                <c:pt idx="1">
                  <c:v>2.5</c:v>
                </c:pt>
                <c:pt idx="2">
                  <c:v>3.5</c:v>
                </c:pt>
              </c:numCache>
            </c:numRef>
          </c:val>
          <c:extLst>
            <c:ext xmlns:c16="http://schemas.microsoft.com/office/drawing/2014/chart" uri="{C3380CC4-5D6E-409C-BE32-E72D297353CC}">
              <c16:uniqueId val="{00000000-EB7A-CE4E-A7DE-85D1D5CD076B}"/>
            </c:ext>
          </c:extLst>
        </c:ser>
        <c:ser>
          <c:idx val="1"/>
          <c:order val="1"/>
          <c:tx>
            <c:strRef>
              <c:f>Tabelle1!$C$1</c:f>
              <c:strCache>
                <c:ptCount val="1"/>
                <c:pt idx="0">
                  <c:v>Data series 2</c:v>
                </c:pt>
              </c:strCache>
            </c:strRef>
          </c:tx>
          <c:spPr>
            <a:solidFill>
              <a:srgbClr val="009999"/>
            </a:solidFill>
            <a:ln w="19050">
              <a:solidFill>
                <a:schemeClr val="bg2"/>
              </a:solidFill>
            </a:ln>
            <a:effectLst/>
          </c:spPr>
          <c:invertIfNegative val="0"/>
          <c:cat>
            <c:strRef>
              <c:f>Tabelle1!$A$2:$A$4</c:f>
              <c:strCache>
                <c:ptCount val="3"/>
                <c:pt idx="0">
                  <c:v>Category 1</c:v>
                </c:pt>
                <c:pt idx="1">
                  <c:v>Category 2</c:v>
                </c:pt>
                <c:pt idx="2">
                  <c:v>Category 3</c:v>
                </c:pt>
              </c:strCache>
            </c:strRef>
          </c:cat>
          <c:val>
            <c:numRef>
              <c:f>Tabelle1!$C$2:$C$4</c:f>
              <c:numCache>
                <c:formatCode>General</c:formatCode>
                <c:ptCount val="3"/>
                <c:pt idx="0">
                  <c:v>2.4</c:v>
                </c:pt>
                <c:pt idx="1">
                  <c:v>4.4000000000000004</c:v>
                </c:pt>
                <c:pt idx="2">
                  <c:v>1.8</c:v>
                </c:pt>
              </c:numCache>
            </c:numRef>
          </c:val>
          <c:extLst>
            <c:ext xmlns:c16="http://schemas.microsoft.com/office/drawing/2014/chart" uri="{C3380CC4-5D6E-409C-BE32-E72D297353CC}">
              <c16:uniqueId val="{00000001-EB7A-CE4E-A7DE-85D1D5CD076B}"/>
            </c:ext>
          </c:extLst>
        </c:ser>
        <c:ser>
          <c:idx val="2"/>
          <c:order val="2"/>
          <c:tx>
            <c:strRef>
              <c:f>Tabelle1!$D$1</c:f>
              <c:strCache>
                <c:ptCount val="1"/>
                <c:pt idx="0">
                  <c:v>Data series 3</c:v>
                </c:pt>
              </c:strCache>
            </c:strRef>
          </c:tx>
          <c:spPr>
            <a:solidFill>
              <a:srgbClr val="00E6DC"/>
            </a:solidFill>
            <a:ln w="19050">
              <a:solidFill>
                <a:schemeClr val="bg2"/>
              </a:solidFill>
            </a:ln>
            <a:effectLst/>
          </c:spPr>
          <c:invertIfNegative val="0"/>
          <c:cat>
            <c:strRef>
              <c:f>Tabelle1!$A$2:$A$4</c:f>
              <c:strCache>
                <c:ptCount val="3"/>
                <c:pt idx="0">
                  <c:v>Category 1</c:v>
                </c:pt>
                <c:pt idx="1">
                  <c:v>Category 2</c:v>
                </c:pt>
                <c:pt idx="2">
                  <c:v>Category 3</c:v>
                </c:pt>
              </c:strCache>
            </c:strRef>
          </c:cat>
          <c:val>
            <c:numRef>
              <c:f>Tabelle1!$D$2:$D$4</c:f>
              <c:numCache>
                <c:formatCode>General</c:formatCode>
                <c:ptCount val="3"/>
                <c:pt idx="0">
                  <c:v>2</c:v>
                </c:pt>
                <c:pt idx="1">
                  <c:v>2</c:v>
                </c:pt>
                <c:pt idx="2">
                  <c:v>3</c:v>
                </c:pt>
              </c:numCache>
            </c:numRef>
          </c:val>
          <c:extLst>
            <c:ext xmlns:c16="http://schemas.microsoft.com/office/drawing/2014/chart" uri="{C3380CC4-5D6E-409C-BE32-E72D297353CC}">
              <c16:uniqueId val="{00000002-EB7A-CE4E-A7DE-85D1D5CD076B}"/>
            </c:ext>
          </c:extLst>
        </c:ser>
        <c:ser>
          <c:idx val="3"/>
          <c:order val="3"/>
          <c:tx>
            <c:strRef>
              <c:f>Tabelle1!$E$1</c:f>
              <c:strCache>
                <c:ptCount val="1"/>
                <c:pt idx="0">
                  <c:v>Data series 4</c:v>
                </c:pt>
              </c:strCache>
            </c:strRef>
          </c:tx>
          <c:spPr>
            <a:solidFill>
              <a:srgbClr val="CCCCD4"/>
            </a:solidFill>
            <a:ln w="19050">
              <a:solidFill>
                <a:schemeClr val="bg2"/>
              </a:solidFill>
            </a:ln>
            <a:effectLst/>
          </c:spPr>
          <c:invertIfNegative val="0"/>
          <c:cat>
            <c:strRef>
              <c:f>Tabelle1!$A$2:$A$4</c:f>
              <c:strCache>
                <c:ptCount val="3"/>
                <c:pt idx="0">
                  <c:v>Category 1</c:v>
                </c:pt>
                <c:pt idx="1">
                  <c:v>Category 2</c:v>
                </c:pt>
                <c:pt idx="2">
                  <c:v>Category 3</c:v>
                </c:pt>
              </c:strCache>
            </c:strRef>
          </c:cat>
          <c:val>
            <c:numRef>
              <c:f>Tabelle1!$E$2:$E$4</c:f>
              <c:numCache>
                <c:formatCode>General</c:formatCode>
                <c:ptCount val="3"/>
                <c:pt idx="0">
                  <c:v>2</c:v>
                </c:pt>
                <c:pt idx="1">
                  <c:v>2</c:v>
                </c:pt>
                <c:pt idx="2">
                  <c:v>2</c:v>
                </c:pt>
              </c:numCache>
            </c:numRef>
          </c:val>
          <c:extLst>
            <c:ext xmlns:c16="http://schemas.microsoft.com/office/drawing/2014/chart" uri="{C3380CC4-5D6E-409C-BE32-E72D297353CC}">
              <c16:uniqueId val="{00000000-B07E-46CB-8B90-275169EA20A0}"/>
            </c:ext>
          </c:extLst>
        </c:ser>
        <c:ser>
          <c:idx val="4"/>
          <c:order val="4"/>
          <c:tx>
            <c:strRef>
              <c:f>Tabelle1!$F$1</c:f>
              <c:strCache>
                <c:ptCount val="1"/>
                <c:pt idx="0">
                  <c:v>Data series 5</c:v>
                </c:pt>
              </c:strCache>
            </c:strRef>
          </c:tx>
          <c:spPr>
            <a:solidFill>
              <a:srgbClr val="9999A9"/>
            </a:solidFill>
            <a:ln w="19050">
              <a:solidFill>
                <a:schemeClr val="bg2"/>
              </a:solidFill>
            </a:ln>
            <a:effectLst/>
          </c:spPr>
          <c:invertIfNegative val="0"/>
          <c:cat>
            <c:strRef>
              <c:f>Tabelle1!$A$2:$A$4</c:f>
              <c:strCache>
                <c:ptCount val="3"/>
                <c:pt idx="0">
                  <c:v>Category 1</c:v>
                </c:pt>
                <c:pt idx="1">
                  <c:v>Category 2</c:v>
                </c:pt>
                <c:pt idx="2">
                  <c:v>Category 3</c:v>
                </c:pt>
              </c:strCache>
            </c:strRef>
          </c:cat>
          <c:val>
            <c:numRef>
              <c:f>Tabelle1!$F$2:$F$4</c:f>
              <c:numCache>
                <c:formatCode>General</c:formatCode>
                <c:ptCount val="3"/>
                <c:pt idx="0">
                  <c:v>3</c:v>
                </c:pt>
                <c:pt idx="1">
                  <c:v>2</c:v>
                </c:pt>
                <c:pt idx="2">
                  <c:v>3</c:v>
                </c:pt>
              </c:numCache>
            </c:numRef>
          </c:val>
          <c:extLst>
            <c:ext xmlns:c16="http://schemas.microsoft.com/office/drawing/2014/chart" uri="{C3380CC4-5D6E-409C-BE32-E72D297353CC}">
              <c16:uniqueId val="{00000001-B07E-46CB-8B90-275169EA20A0}"/>
            </c:ext>
          </c:extLst>
        </c:ser>
        <c:ser>
          <c:idx val="5"/>
          <c:order val="5"/>
          <c:tx>
            <c:strRef>
              <c:f>Tabelle1!$G$1</c:f>
              <c:strCache>
                <c:ptCount val="1"/>
                <c:pt idx="0">
                  <c:v>Data series 6</c:v>
                </c:pt>
              </c:strCache>
            </c:strRef>
          </c:tx>
          <c:spPr>
            <a:solidFill>
              <a:srgbClr val="66667E"/>
            </a:solidFill>
            <a:ln w="19050">
              <a:solidFill>
                <a:schemeClr val="bg2"/>
              </a:solidFill>
            </a:ln>
            <a:effectLst/>
          </c:spPr>
          <c:invertIfNegative val="0"/>
          <c:cat>
            <c:strRef>
              <c:f>Tabelle1!$A$2:$A$4</c:f>
              <c:strCache>
                <c:ptCount val="3"/>
                <c:pt idx="0">
                  <c:v>Category 1</c:v>
                </c:pt>
                <c:pt idx="1">
                  <c:v>Category 2</c:v>
                </c:pt>
                <c:pt idx="2">
                  <c:v>Category 3</c:v>
                </c:pt>
              </c:strCache>
            </c:strRef>
          </c:cat>
          <c:val>
            <c:numRef>
              <c:f>Tabelle1!$G$2:$G$4</c:f>
              <c:numCache>
                <c:formatCode>General</c:formatCode>
                <c:ptCount val="3"/>
                <c:pt idx="0">
                  <c:v>2</c:v>
                </c:pt>
                <c:pt idx="1">
                  <c:v>3</c:v>
                </c:pt>
                <c:pt idx="2">
                  <c:v>2</c:v>
                </c:pt>
              </c:numCache>
            </c:numRef>
          </c:val>
          <c:extLst>
            <c:ext xmlns:c16="http://schemas.microsoft.com/office/drawing/2014/chart" uri="{C3380CC4-5D6E-409C-BE32-E72D297353CC}">
              <c16:uniqueId val="{00000002-B07E-46CB-8B90-275169EA20A0}"/>
            </c:ext>
          </c:extLst>
        </c:ser>
        <c:dLbls>
          <c:showLegendKey val="0"/>
          <c:showVal val="0"/>
          <c:showCatName val="0"/>
          <c:showSerName val="0"/>
          <c:showPercent val="0"/>
          <c:showBubbleSize val="0"/>
        </c:dLbls>
        <c:gapWidth val="172"/>
        <c:overlap val="100"/>
        <c:axId val="117478528"/>
        <c:axId val="117480064"/>
      </c:barChart>
      <c:catAx>
        <c:axId val="117478528"/>
        <c:scaling>
          <c:orientation val="minMax"/>
        </c:scaling>
        <c:delete val="0"/>
        <c:axPos val="b"/>
        <c:numFmt formatCode="General" sourceLinked="0"/>
        <c:majorTickMark val="none"/>
        <c:minorTickMark val="none"/>
        <c:tickLblPos val="nextTo"/>
        <c:spPr>
          <a:noFill/>
          <a:ln w="6350" cap="flat" cmpd="sng" algn="ctr">
            <a:solidFill>
              <a:srgbClr val="9999A9"/>
            </a:solidFill>
            <a:prstDash val="solid"/>
            <a:round/>
          </a:ln>
          <a:effectLst/>
        </c:spPr>
        <c:txPr>
          <a:bodyPr rot="-60000000" spcFirstLastPara="1" vertOverflow="ellipsis" vert="horz" wrap="square" anchor="ctr" anchorCtr="1"/>
          <a:lstStyle/>
          <a:p>
            <a:pPr>
              <a:defRPr sz="1000" b="1" i="0" u="none" strike="noStrike" kern="1200" baseline="0">
                <a:solidFill>
                  <a:srgbClr val="9999A9"/>
                </a:solidFill>
                <a:latin typeface="+mn-lt"/>
                <a:ea typeface="+mn-ea"/>
                <a:cs typeface="+mn-cs"/>
              </a:defRPr>
            </a:pPr>
            <a:endParaRPr lang="de-DE"/>
          </a:p>
        </c:txPr>
        <c:crossAx val="117480064"/>
        <c:crosses val="autoZero"/>
        <c:auto val="1"/>
        <c:lblAlgn val="ctr"/>
        <c:lblOffset val="100"/>
        <c:noMultiLvlLbl val="0"/>
      </c:catAx>
      <c:valAx>
        <c:axId val="117480064"/>
        <c:scaling>
          <c:orientation val="minMax"/>
        </c:scaling>
        <c:delete val="0"/>
        <c:axPos val="l"/>
        <c:majorGridlines>
          <c:spPr>
            <a:ln w="6350" cap="flat" cmpd="sng" algn="ctr">
              <a:solidFill>
                <a:srgbClr val="9999A9"/>
              </a:solidFill>
              <a:prstDash val="solid"/>
              <a:round/>
            </a:ln>
            <a:effectLst/>
          </c:spPr>
        </c:majorGridlines>
        <c:numFmt formatCode="General" sourceLinked="1"/>
        <c:majorTickMark val="out"/>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sz="1200" b="1" i="0" u="none" strike="noStrike" kern="1200" baseline="0">
                <a:solidFill>
                  <a:srgbClr val="9999A9"/>
                </a:solidFill>
                <a:latin typeface="+mn-lt"/>
                <a:ea typeface="+mn-ea"/>
                <a:cs typeface="+mn-cs"/>
              </a:defRPr>
            </a:pPr>
            <a:endParaRPr lang="de-DE"/>
          </a:p>
        </c:txPr>
        <c:crossAx val="117478528"/>
        <c:crosses val="autoZero"/>
        <c:crossBetween val="between"/>
      </c:val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800"/>
      </a:pPr>
      <a:endParaRPr lang="de-DE"/>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029761503774075E-2"/>
          <c:y val="6.0114526411657543E-2"/>
          <c:w val="0.82480520393811529"/>
          <c:h val="0.85686202185792326"/>
        </c:manualLayout>
      </c:layout>
      <c:barChart>
        <c:barDir val="col"/>
        <c:grouping val="stacked"/>
        <c:varyColors val="0"/>
        <c:ser>
          <c:idx val="0"/>
          <c:order val="0"/>
          <c:tx>
            <c:strRef>
              <c:f>Tabelle1!$B$1</c:f>
              <c:strCache>
                <c:ptCount val="1"/>
                <c:pt idx="0">
                  <c:v>Data series 1</c:v>
                </c:pt>
              </c:strCache>
            </c:strRef>
          </c:tx>
          <c:spPr>
            <a:solidFill>
              <a:srgbClr val="00557C"/>
            </a:solidFill>
            <a:ln w="19050">
              <a:solidFill>
                <a:schemeClr val="bg2"/>
              </a:solidFill>
            </a:ln>
            <a:effectLst/>
          </c:spPr>
          <c:invertIfNegative val="0"/>
          <c:cat>
            <c:strRef>
              <c:f>Tabelle1!$A$2:$A$4</c:f>
              <c:strCache>
                <c:ptCount val="3"/>
                <c:pt idx="0">
                  <c:v>Category 1</c:v>
                </c:pt>
                <c:pt idx="1">
                  <c:v>Category 2</c:v>
                </c:pt>
                <c:pt idx="2">
                  <c:v>Category 3</c:v>
                </c:pt>
              </c:strCache>
            </c:strRef>
          </c:cat>
          <c:val>
            <c:numRef>
              <c:f>Tabelle1!$B$2:$B$4</c:f>
              <c:numCache>
                <c:formatCode>General</c:formatCode>
                <c:ptCount val="3"/>
                <c:pt idx="0">
                  <c:v>4.3</c:v>
                </c:pt>
                <c:pt idx="1">
                  <c:v>2.5</c:v>
                </c:pt>
                <c:pt idx="2">
                  <c:v>3.5</c:v>
                </c:pt>
              </c:numCache>
            </c:numRef>
          </c:val>
          <c:extLst>
            <c:ext xmlns:c16="http://schemas.microsoft.com/office/drawing/2014/chart" uri="{C3380CC4-5D6E-409C-BE32-E72D297353CC}">
              <c16:uniqueId val="{00000000-EB7A-CE4E-A7DE-85D1D5CD076B}"/>
            </c:ext>
          </c:extLst>
        </c:ser>
        <c:ser>
          <c:idx val="1"/>
          <c:order val="1"/>
          <c:tx>
            <c:strRef>
              <c:f>Tabelle1!$C$1</c:f>
              <c:strCache>
                <c:ptCount val="1"/>
                <c:pt idx="0">
                  <c:v>Data series 2</c:v>
                </c:pt>
              </c:strCache>
            </c:strRef>
          </c:tx>
          <c:spPr>
            <a:solidFill>
              <a:srgbClr val="0087BE"/>
            </a:solidFill>
            <a:ln w="19050">
              <a:solidFill>
                <a:schemeClr val="bg2"/>
              </a:solidFill>
            </a:ln>
            <a:effectLst/>
          </c:spPr>
          <c:invertIfNegative val="0"/>
          <c:cat>
            <c:strRef>
              <c:f>Tabelle1!$A$2:$A$4</c:f>
              <c:strCache>
                <c:ptCount val="3"/>
                <c:pt idx="0">
                  <c:v>Category 1</c:v>
                </c:pt>
                <c:pt idx="1">
                  <c:v>Category 2</c:v>
                </c:pt>
                <c:pt idx="2">
                  <c:v>Category 3</c:v>
                </c:pt>
              </c:strCache>
            </c:strRef>
          </c:cat>
          <c:val>
            <c:numRef>
              <c:f>Tabelle1!$C$2:$C$4</c:f>
              <c:numCache>
                <c:formatCode>General</c:formatCode>
                <c:ptCount val="3"/>
                <c:pt idx="0">
                  <c:v>2.4</c:v>
                </c:pt>
                <c:pt idx="1">
                  <c:v>4.4000000000000004</c:v>
                </c:pt>
                <c:pt idx="2">
                  <c:v>1.8</c:v>
                </c:pt>
              </c:numCache>
            </c:numRef>
          </c:val>
          <c:extLst>
            <c:ext xmlns:c16="http://schemas.microsoft.com/office/drawing/2014/chart" uri="{C3380CC4-5D6E-409C-BE32-E72D297353CC}">
              <c16:uniqueId val="{00000001-EB7A-CE4E-A7DE-85D1D5CD076B}"/>
            </c:ext>
          </c:extLst>
        </c:ser>
        <c:ser>
          <c:idx val="2"/>
          <c:order val="2"/>
          <c:tx>
            <c:strRef>
              <c:f>Tabelle1!$D$1</c:f>
              <c:strCache>
                <c:ptCount val="1"/>
                <c:pt idx="0">
                  <c:v>Data series 3</c:v>
                </c:pt>
              </c:strCache>
            </c:strRef>
          </c:tx>
          <c:spPr>
            <a:solidFill>
              <a:srgbClr val="00BEDC"/>
            </a:solidFill>
            <a:ln w="19050">
              <a:solidFill>
                <a:schemeClr val="bg2"/>
              </a:solidFill>
            </a:ln>
            <a:effectLst/>
          </c:spPr>
          <c:invertIfNegative val="0"/>
          <c:cat>
            <c:strRef>
              <c:f>Tabelle1!$A$2:$A$4</c:f>
              <c:strCache>
                <c:ptCount val="3"/>
                <c:pt idx="0">
                  <c:v>Category 1</c:v>
                </c:pt>
                <c:pt idx="1">
                  <c:v>Category 2</c:v>
                </c:pt>
                <c:pt idx="2">
                  <c:v>Category 3</c:v>
                </c:pt>
              </c:strCache>
            </c:strRef>
          </c:cat>
          <c:val>
            <c:numRef>
              <c:f>Tabelle1!$D$2:$D$4</c:f>
              <c:numCache>
                <c:formatCode>General</c:formatCode>
                <c:ptCount val="3"/>
                <c:pt idx="0">
                  <c:v>2</c:v>
                </c:pt>
                <c:pt idx="1">
                  <c:v>2</c:v>
                </c:pt>
                <c:pt idx="2">
                  <c:v>3</c:v>
                </c:pt>
              </c:numCache>
            </c:numRef>
          </c:val>
          <c:extLst>
            <c:ext xmlns:c16="http://schemas.microsoft.com/office/drawing/2014/chart" uri="{C3380CC4-5D6E-409C-BE32-E72D297353CC}">
              <c16:uniqueId val="{00000002-EB7A-CE4E-A7DE-85D1D5CD076B}"/>
            </c:ext>
          </c:extLst>
        </c:ser>
        <c:ser>
          <c:idx val="3"/>
          <c:order val="3"/>
          <c:tx>
            <c:strRef>
              <c:f>Tabelle1!$E$1</c:f>
              <c:strCache>
                <c:ptCount val="1"/>
                <c:pt idx="0">
                  <c:v>Data series 4</c:v>
                </c:pt>
              </c:strCache>
            </c:strRef>
          </c:tx>
          <c:spPr>
            <a:solidFill>
              <a:srgbClr val="CCCCD4"/>
            </a:solidFill>
            <a:ln w="19050">
              <a:solidFill>
                <a:schemeClr val="bg2"/>
              </a:solidFill>
            </a:ln>
            <a:effectLst/>
          </c:spPr>
          <c:invertIfNegative val="0"/>
          <c:cat>
            <c:strRef>
              <c:f>Tabelle1!$A$2:$A$4</c:f>
              <c:strCache>
                <c:ptCount val="3"/>
                <c:pt idx="0">
                  <c:v>Category 1</c:v>
                </c:pt>
                <c:pt idx="1">
                  <c:v>Category 2</c:v>
                </c:pt>
                <c:pt idx="2">
                  <c:v>Category 3</c:v>
                </c:pt>
              </c:strCache>
            </c:strRef>
          </c:cat>
          <c:val>
            <c:numRef>
              <c:f>Tabelle1!$E$2:$E$4</c:f>
              <c:numCache>
                <c:formatCode>General</c:formatCode>
                <c:ptCount val="3"/>
                <c:pt idx="0">
                  <c:v>2</c:v>
                </c:pt>
                <c:pt idx="1">
                  <c:v>2</c:v>
                </c:pt>
                <c:pt idx="2">
                  <c:v>2</c:v>
                </c:pt>
              </c:numCache>
            </c:numRef>
          </c:val>
          <c:extLst>
            <c:ext xmlns:c16="http://schemas.microsoft.com/office/drawing/2014/chart" uri="{C3380CC4-5D6E-409C-BE32-E72D297353CC}">
              <c16:uniqueId val="{00000000-60AA-4436-9956-94C51B743EB9}"/>
            </c:ext>
          </c:extLst>
        </c:ser>
        <c:ser>
          <c:idx val="4"/>
          <c:order val="4"/>
          <c:tx>
            <c:strRef>
              <c:f>Tabelle1!$F$1</c:f>
              <c:strCache>
                <c:ptCount val="1"/>
                <c:pt idx="0">
                  <c:v>Data series 5</c:v>
                </c:pt>
              </c:strCache>
            </c:strRef>
          </c:tx>
          <c:spPr>
            <a:solidFill>
              <a:srgbClr val="9999A9"/>
            </a:solidFill>
            <a:ln w="19050">
              <a:solidFill>
                <a:schemeClr val="bg2"/>
              </a:solidFill>
            </a:ln>
            <a:effectLst/>
          </c:spPr>
          <c:invertIfNegative val="0"/>
          <c:cat>
            <c:strRef>
              <c:f>Tabelle1!$A$2:$A$4</c:f>
              <c:strCache>
                <c:ptCount val="3"/>
                <c:pt idx="0">
                  <c:v>Category 1</c:v>
                </c:pt>
                <c:pt idx="1">
                  <c:v>Category 2</c:v>
                </c:pt>
                <c:pt idx="2">
                  <c:v>Category 3</c:v>
                </c:pt>
              </c:strCache>
            </c:strRef>
          </c:cat>
          <c:val>
            <c:numRef>
              <c:f>Tabelle1!$F$2:$F$4</c:f>
              <c:numCache>
                <c:formatCode>General</c:formatCode>
                <c:ptCount val="3"/>
                <c:pt idx="0">
                  <c:v>3</c:v>
                </c:pt>
                <c:pt idx="1">
                  <c:v>2</c:v>
                </c:pt>
                <c:pt idx="2">
                  <c:v>3</c:v>
                </c:pt>
              </c:numCache>
            </c:numRef>
          </c:val>
          <c:extLst>
            <c:ext xmlns:c16="http://schemas.microsoft.com/office/drawing/2014/chart" uri="{C3380CC4-5D6E-409C-BE32-E72D297353CC}">
              <c16:uniqueId val="{00000001-60AA-4436-9956-94C51B743EB9}"/>
            </c:ext>
          </c:extLst>
        </c:ser>
        <c:ser>
          <c:idx val="5"/>
          <c:order val="5"/>
          <c:tx>
            <c:strRef>
              <c:f>Tabelle1!$G$1</c:f>
              <c:strCache>
                <c:ptCount val="1"/>
                <c:pt idx="0">
                  <c:v>Data series 6</c:v>
                </c:pt>
              </c:strCache>
            </c:strRef>
          </c:tx>
          <c:spPr>
            <a:solidFill>
              <a:srgbClr val="66667E"/>
            </a:solidFill>
            <a:ln w="19050">
              <a:solidFill>
                <a:schemeClr val="bg2"/>
              </a:solidFill>
            </a:ln>
            <a:effectLst/>
          </c:spPr>
          <c:invertIfNegative val="0"/>
          <c:cat>
            <c:strRef>
              <c:f>Tabelle1!$A$2:$A$4</c:f>
              <c:strCache>
                <c:ptCount val="3"/>
                <c:pt idx="0">
                  <c:v>Category 1</c:v>
                </c:pt>
                <c:pt idx="1">
                  <c:v>Category 2</c:v>
                </c:pt>
                <c:pt idx="2">
                  <c:v>Category 3</c:v>
                </c:pt>
              </c:strCache>
            </c:strRef>
          </c:cat>
          <c:val>
            <c:numRef>
              <c:f>Tabelle1!$G$2:$G$4</c:f>
              <c:numCache>
                <c:formatCode>General</c:formatCode>
                <c:ptCount val="3"/>
                <c:pt idx="0">
                  <c:v>2</c:v>
                </c:pt>
                <c:pt idx="1">
                  <c:v>3</c:v>
                </c:pt>
                <c:pt idx="2">
                  <c:v>2</c:v>
                </c:pt>
              </c:numCache>
            </c:numRef>
          </c:val>
          <c:extLst>
            <c:ext xmlns:c16="http://schemas.microsoft.com/office/drawing/2014/chart" uri="{C3380CC4-5D6E-409C-BE32-E72D297353CC}">
              <c16:uniqueId val="{00000002-60AA-4436-9956-94C51B743EB9}"/>
            </c:ext>
          </c:extLst>
        </c:ser>
        <c:dLbls>
          <c:showLegendKey val="0"/>
          <c:showVal val="0"/>
          <c:showCatName val="0"/>
          <c:showSerName val="0"/>
          <c:showPercent val="0"/>
          <c:showBubbleSize val="0"/>
        </c:dLbls>
        <c:gapWidth val="172"/>
        <c:overlap val="100"/>
        <c:axId val="117478528"/>
        <c:axId val="117480064"/>
      </c:barChart>
      <c:catAx>
        <c:axId val="117478528"/>
        <c:scaling>
          <c:orientation val="minMax"/>
        </c:scaling>
        <c:delete val="0"/>
        <c:axPos val="b"/>
        <c:numFmt formatCode="General" sourceLinked="0"/>
        <c:majorTickMark val="none"/>
        <c:minorTickMark val="none"/>
        <c:tickLblPos val="nextTo"/>
        <c:spPr>
          <a:noFill/>
          <a:ln w="6350" cap="flat" cmpd="sng" algn="ctr">
            <a:solidFill>
              <a:srgbClr val="9999A9"/>
            </a:solidFill>
            <a:prstDash val="solid"/>
            <a:round/>
          </a:ln>
          <a:effectLst/>
        </c:spPr>
        <c:txPr>
          <a:bodyPr rot="-60000000" spcFirstLastPara="1" vertOverflow="ellipsis" vert="horz" wrap="square" anchor="ctr" anchorCtr="1"/>
          <a:lstStyle/>
          <a:p>
            <a:pPr>
              <a:defRPr sz="1000" b="1" i="0" u="none" strike="noStrike" kern="1200" baseline="0">
                <a:solidFill>
                  <a:srgbClr val="9999A9"/>
                </a:solidFill>
                <a:latin typeface="+mn-lt"/>
                <a:ea typeface="+mn-ea"/>
                <a:cs typeface="+mn-cs"/>
              </a:defRPr>
            </a:pPr>
            <a:endParaRPr lang="de-DE"/>
          </a:p>
        </c:txPr>
        <c:crossAx val="117480064"/>
        <c:crosses val="autoZero"/>
        <c:auto val="1"/>
        <c:lblAlgn val="ctr"/>
        <c:lblOffset val="100"/>
        <c:noMultiLvlLbl val="0"/>
      </c:catAx>
      <c:valAx>
        <c:axId val="117480064"/>
        <c:scaling>
          <c:orientation val="minMax"/>
        </c:scaling>
        <c:delete val="0"/>
        <c:axPos val="l"/>
        <c:majorGridlines>
          <c:spPr>
            <a:ln w="6350" cap="flat" cmpd="sng" algn="ctr">
              <a:solidFill>
                <a:srgbClr val="9999A9"/>
              </a:solidFill>
              <a:prstDash val="solid"/>
              <a:round/>
            </a:ln>
            <a:effectLst/>
          </c:spPr>
        </c:majorGridlines>
        <c:numFmt formatCode="General" sourceLinked="1"/>
        <c:majorTickMark val="out"/>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sz="1200" b="1" i="0" u="none" strike="noStrike" kern="1200" baseline="0">
                <a:solidFill>
                  <a:srgbClr val="9999A9"/>
                </a:solidFill>
                <a:latin typeface="+mn-lt"/>
                <a:ea typeface="+mn-ea"/>
                <a:cs typeface="+mn-cs"/>
              </a:defRPr>
            </a:pPr>
            <a:endParaRPr lang="de-DE"/>
          </a:p>
        </c:txPr>
        <c:crossAx val="117478528"/>
        <c:crosses val="autoZero"/>
        <c:crossBetween val="between"/>
      </c:val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800"/>
      </a:pPr>
      <a:endParaRPr lang="de-DE"/>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029761503774075E-2"/>
          <c:y val="6.0114526411657543E-2"/>
          <c:w val="0.82480520393811529"/>
          <c:h val="0.85686202185792326"/>
        </c:manualLayout>
      </c:layout>
      <c:barChart>
        <c:barDir val="col"/>
        <c:grouping val="stacked"/>
        <c:varyColors val="0"/>
        <c:ser>
          <c:idx val="0"/>
          <c:order val="0"/>
          <c:tx>
            <c:strRef>
              <c:f>Tabelle1!$B$1</c:f>
              <c:strCache>
                <c:ptCount val="1"/>
                <c:pt idx="0">
                  <c:v>Data series 1</c:v>
                </c:pt>
              </c:strCache>
            </c:strRef>
          </c:tx>
          <c:spPr>
            <a:solidFill>
              <a:srgbClr val="00646E"/>
            </a:solidFill>
            <a:ln w="19050">
              <a:solidFill>
                <a:schemeClr val="bg2"/>
              </a:solidFill>
            </a:ln>
            <a:effectLst/>
          </c:spPr>
          <c:invertIfNegative val="0"/>
          <c:cat>
            <c:strRef>
              <c:f>Tabelle1!$A$2:$A$4</c:f>
              <c:strCache>
                <c:ptCount val="3"/>
                <c:pt idx="0">
                  <c:v>Category 1</c:v>
                </c:pt>
                <c:pt idx="1">
                  <c:v>Category 2</c:v>
                </c:pt>
                <c:pt idx="2">
                  <c:v>Category 3</c:v>
                </c:pt>
              </c:strCache>
            </c:strRef>
          </c:cat>
          <c:val>
            <c:numRef>
              <c:f>Tabelle1!$B$2:$B$4</c:f>
              <c:numCache>
                <c:formatCode>General</c:formatCode>
                <c:ptCount val="3"/>
                <c:pt idx="0">
                  <c:v>4.3</c:v>
                </c:pt>
                <c:pt idx="1">
                  <c:v>2.5</c:v>
                </c:pt>
                <c:pt idx="2">
                  <c:v>3.5</c:v>
                </c:pt>
              </c:numCache>
            </c:numRef>
          </c:val>
          <c:extLst>
            <c:ext xmlns:c16="http://schemas.microsoft.com/office/drawing/2014/chart" uri="{C3380CC4-5D6E-409C-BE32-E72D297353CC}">
              <c16:uniqueId val="{00000000-EB7A-CE4E-A7DE-85D1D5CD076B}"/>
            </c:ext>
          </c:extLst>
        </c:ser>
        <c:ser>
          <c:idx val="1"/>
          <c:order val="1"/>
          <c:tx>
            <c:strRef>
              <c:f>Tabelle1!$C$1</c:f>
              <c:strCache>
                <c:ptCount val="1"/>
                <c:pt idx="0">
                  <c:v>Data series 2</c:v>
                </c:pt>
              </c:strCache>
            </c:strRef>
          </c:tx>
          <c:spPr>
            <a:solidFill>
              <a:srgbClr val="00AF8E"/>
            </a:solidFill>
            <a:ln w="19050">
              <a:solidFill>
                <a:schemeClr val="bg2"/>
              </a:solidFill>
            </a:ln>
            <a:effectLst/>
          </c:spPr>
          <c:invertIfNegative val="0"/>
          <c:cat>
            <c:strRef>
              <c:f>Tabelle1!$A$2:$A$4</c:f>
              <c:strCache>
                <c:ptCount val="3"/>
                <c:pt idx="0">
                  <c:v>Category 1</c:v>
                </c:pt>
                <c:pt idx="1">
                  <c:v>Category 2</c:v>
                </c:pt>
                <c:pt idx="2">
                  <c:v>Category 3</c:v>
                </c:pt>
              </c:strCache>
            </c:strRef>
          </c:cat>
          <c:val>
            <c:numRef>
              <c:f>Tabelle1!$C$2:$C$4</c:f>
              <c:numCache>
                <c:formatCode>General</c:formatCode>
                <c:ptCount val="3"/>
                <c:pt idx="0">
                  <c:v>2.4</c:v>
                </c:pt>
                <c:pt idx="1">
                  <c:v>4.4000000000000004</c:v>
                </c:pt>
                <c:pt idx="2">
                  <c:v>1.8</c:v>
                </c:pt>
              </c:numCache>
            </c:numRef>
          </c:val>
          <c:extLst>
            <c:ext xmlns:c16="http://schemas.microsoft.com/office/drawing/2014/chart" uri="{C3380CC4-5D6E-409C-BE32-E72D297353CC}">
              <c16:uniqueId val="{00000001-EB7A-CE4E-A7DE-85D1D5CD076B}"/>
            </c:ext>
          </c:extLst>
        </c:ser>
        <c:ser>
          <c:idx val="2"/>
          <c:order val="2"/>
          <c:tx>
            <c:strRef>
              <c:f>Tabelle1!$D$1</c:f>
              <c:strCache>
                <c:ptCount val="1"/>
                <c:pt idx="0">
                  <c:v>Data series 3</c:v>
                </c:pt>
              </c:strCache>
            </c:strRef>
          </c:tx>
          <c:spPr>
            <a:solidFill>
              <a:srgbClr val="00D7A0"/>
            </a:solidFill>
            <a:ln w="19050">
              <a:solidFill>
                <a:schemeClr val="bg2"/>
              </a:solidFill>
            </a:ln>
            <a:effectLst/>
          </c:spPr>
          <c:invertIfNegative val="0"/>
          <c:cat>
            <c:strRef>
              <c:f>Tabelle1!$A$2:$A$4</c:f>
              <c:strCache>
                <c:ptCount val="3"/>
                <c:pt idx="0">
                  <c:v>Category 1</c:v>
                </c:pt>
                <c:pt idx="1">
                  <c:v>Category 2</c:v>
                </c:pt>
                <c:pt idx="2">
                  <c:v>Category 3</c:v>
                </c:pt>
              </c:strCache>
            </c:strRef>
          </c:cat>
          <c:val>
            <c:numRef>
              <c:f>Tabelle1!$D$2:$D$4</c:f>
              <c:numCache>
                <c:formatCode>General</c:formatCode>
                <c:ptCount val="3"/>
                <c:pt idx="0">
                  <c:v>2</c:v>
                </c:pt>
                <c:pt idx="1">
                  <c:v>2</c:v>
                </c:pt>
                <c:pt idx="2">
                  <c:v>3</c:v>
                </c:pt>
              </c:numCache>
            </c:numRef>
          </c:val>
          <c:extLst>
            <c:ext xmlns:c16="http://schemas.microsoft.com/office/drawing/2014/chart" uri="{C3380CC4-5D6E-409C-BE32-E72D297353CC}">
              <c16:uniqueId val="{00000002-EB7A-CE4E-A7DE-85D1D5CD076B}"/>
            </c:ext>
          </c:extLst>
        </c:ser>
        <c:ser>
          <c:idx val="3"/>
          <c:order val="3"/>
          <c:tx>
            <c:strRef>
              <c:f>Tabelle1!$E$1</c:f>
              <c:strCache>
                <c:ptCount val="1"/>
                <c:pt idx="0">
                  <c:v>Data series 4</c:v>
                </c:pt>
              </c:strCache>
            </c:strRef>
          </c:tx>
          <c:spPr>
            <a:solidFill>
              <a:srgbClr val="CCCCD4"/>
            </a:solidFill>
            <a:ln w="19050">
              <a:solidFill>
                <a:schemeClr val="bg2"/>
              </a:solidFill>
            </a:ln>
            <a:effectLst/>
          </c:spPr>
          <c:invertIfNegative val="0"/>
          <c:cat>
            <c:strRef>
              <c:f>Tabelle1!$A$2:$A$4</c:f>
              <c:strCache>
                <c:ptCount val="3"/>
                <c:pt idx="0">
                  <c:v>Category 1</c:v>
                </c:pt>
                <c:pt idx="1">
                  <c:v>Category 2</c:v>
                </c:pt>
                <c:pt idx="2">
                  <c:v>Category 3</c:v>
                </c:pt>
              </c:strCache>
            </c:strRef>
          </c:cat>
          <c:val>
            <c:numRef>
              <c:f>Tabelle1!$E$2:$E$4</c:f>
              <c:numCache>
                <c:formatCode>General</c:formatCode>
                <c:ptCount val="3"/>
                <c:pt idx="0">
                  <c:v>2</c:v>
                </c:pt>
                <c:pt idx="1">
                  <c:v>2</c:v>
                </c:pt>
                <c:pt idx="2">
                  <c:v>2</c:v>
                </c:pt>
              </c:numCache>
            </c:numRef>
          </c:val>
          <c:extLst>
            <c:ext xmlns:c16="http://schemas.microsoft.com/office/drawing/2014/chart" uri="{C3380CC4-5D6E-409C-BE32-E72D297353CC}">
              <c16:uniqueId val="{00000000-60AA-4436-9956-94C51B743EB9}"/>
            </c:ext>
          </c:extLst>
        </c:ser>
        <c:ser>
          <c:idx val="4"/>
          <c:order val="4"/>
          <c:tx>
            <c:strRef>
              <c:f>Tabelle1!$F$1</c:f>
              <c:strCache>
                <c:ptCount val="1"/>
                <c:pt idx="0">
                  <c:v>Data series 5</c:v>
                </c:pt>
              </c:strCache>
            </c:strRef>
          </c:tx>
          <c:spPr>
            <a:solidFill>
              <a:srgbClr val="9999A9"/>
            </a:solidFill>
            <a:ln w="19050">
              <a:solidFill>
                <a:schemeClr val="bg2"/>
              </a:solidFill>
            </a:ln>
            <a:effectLst/>
          </c:spPr>
          <c:invertIfNegative val="0"/>
          <c:cat>
            <c:strRef>
              <c:f>Tabelle1!$A$2:$A$4</c:f>
              <c:strCache>
                <c:ptCount val="3"/>
                <c:pt idx="0">
                  <c:v>Category 1</c:v>
                </c:pt>
                <c:pt idx="1">
                  <c:v>Category 2</c:v>
                </c:pt>
                <c:pt idx="2">
                  <c:v>Category 3</c:v>
                </c:pt>
              </c:strCache>
            </c:strRef>
          </c:cat>
          <c:val>
            <c:numRef>
              <c:f>Tabelle1!$F$2:$F$4</c:f>
              <c:numCache>
                <c:formatCode>General</c:formatCode>
                <c:ptCount val="3"/>
                <c:pt idx="0">
                  <c:v>3</c:v>
                </c:pt>
                <c:pt idx="1">
                  <c:v>2</c:v>
                </c:pt>
                <c:pt idx="2">
                  <c:v>3</c:v>
                </c:pt>
              </c:numCache>
            </c:numRef>
          </c:val>
          <c:extLst>
            <c:ext xmlns:c16="http://schemas.microsoft.com/office/drawing/2014/chart" uri="{C3380CC4-5D6E-409C-BE32-E72D297353CC}">
              <c16:uniqueId val="{00000001-60AA-4436-9956-94C51B743EB9}"/>
            </c:ext>
          </c:extLst>
        </c:ser>
        <c:ser>
          <c:idx val="5"/>
          <c:order val="5"/>
          <c:tx>
            <c:strRef>
              <c:f>Tabelle1!$G$1</c:f>
              <c:strCache>
                <c:ptCount val="1"/>
                <c:pt idx="0">
                  <c:v>Data series 6</c:v>
                </c:pt>
              </c:strCache>
            </c:strRef>
          </c:tx>
          <c:spPr>
            <a:solidFill>
              <a:srgbClr val="66667E"/>
            </a:solidFill>
            <a:ln w="19050">
              <a:solidFill>
                <a:schemeClr val="bg2"/>
              </a:solidFill>
            </a:ln>
            <a:effectLst/>
          </c:spPr>
          <c:invertIfNegative val="0"/>
          <c:cat>
            <c:strRef>
              <c:f>Tabelle1!$A$2:$A$4</c:f>
              <c:strCache>
                <c:ptCount val="3"/>
                <c:pt idx="0">
                  <c:v>Category 1</c:v>
                </c:pt>
                <c:pt idx="1">
                  <c:v>Category 2</c:v>
                </c:pt>
                <c:pt idx="2">
                  <c:v>Category 3</c:v>
                </c:pt>
              </c:strCache>
            </c:strRef>
          </c:cat>
          <c:val>
            <c:numRef>
              <c:f>Tabelle1!$G$2:$G$4</c:f>
              <c:numCache>
                <c:formatCode>General</c:formatCode>
                <c:ptCount val="3"/>
                <c:pt idx="0">
                  <c:v>2</c:v>
                </c:pt>
                <c:pt idx="1">
                  <c:v>3</c:v>
                </c:pt>
                <c:pt idx="2">
                  <c:v>2</c:v>
                </c:pt>
              </c:numCache>
            </c:numRef>
          </c:val>
          <c:extLst>
            <c:ext xmlns:c16="http://schemas.microsoft.com/office/drawing/2014/chart" uri="{C3380CC4-5D6E-409C-BE32-E72D297353CC}">
              <c16:uniqueId val="{00000002-60AA-4436-9956-94C51B743EB9}"/>
            </c:ext>
          </c:extLst>
        </c:ser>
        <c:dLbls>
          <c:showLegendKey val="0"/>
          <c:showVal val="0"/>
          <c:showCatName val="0"/>
          <c:showSerName val="0"/>
          <c:showPercent val="0"/>
          <c:showBubbleSize val="0"/>
        </c:dLbls>
        <c:gapWidth val="172"/>
        <c:overlap val="100"/>
        <c:axId val="117478528"/>
        <c:axId val="117480064"/>
      </c:barChart>
      <c:catAx>
        <c:axId val="117478528"/>
        <c:scaling>
          <c:orientation val="minMax"/>
        </c:scaling>
        <c:delete val="0"/>
        <c:axPos val="b"/>
        <c:numFmt formatCode="General" sourceLinked="0"/>
        <c:majorTickMark val="none"/>
        <c:minorTickMark val="none"/>
        <c:tickLblPos val="nextTo"/>
        <c:spPr>
          <a:noFill/>
          <a:ln w="6350" cap="flat" cmpd="sng" algn="ctr">
            <a:solidFill>
              <a:srgbClr val="9999A9"/>
            </a:solidFill>
            <a:prstDash val="solid"/>
            <a:round/>
          </a:ln>
          <a:effectLst/>
        </c:spPr>
        <c:txPr>
          <a:bodyPr rot="-60000000" spcFirstLastPara="1" vertOverflow="ellipsis" vert="horz" wrap="square" anchor="ctr" anchorCtr="1"/>
          <a:lstStyle/>
          <a:p>
            <a:pPr>
              <a:defRPr sz="1000" b="1" i="0" u="none" strike="noStrike" kern="1200" baseline="0">
                <a:solidFill>
                  <a:srgbClr val="9999A9"/>
                </a:solidFill>
                <a:latin typeface="+mn-lt"/>
                <a:ea typeface="+mn-ea"/>
                <a:cs typeface="+mn-cs"/>
              </a:defRPr>
            </a:pPr>
            <a:endParaRPr lang="de-DE"/>
          </a:p>
        </c:txPr>
        <c:crossAx val="117480064"/>
        <c:crosses val="autoZero"/>
        <c:auto val="1"/>
        <c:lblAlgn val="ctr"/>
        <c:lblOffset val="100"/>
        <c:noMultiLvlLbl val="0"/>
      </c:catAx>
      <c:valAx>
        <c:axId val="117480064"/>
        <c:scaling>
          <c:orientation val="minMax"/>
        </c:scaling>
        <c:delete val="0"/>
        <c:axPos val="l"/>
        <c:majorGridlines>
          <c:spPr>
            <a:ln w="6350" cap="flat" cmpd="sng" algn="ctr">
              <a:solidFill>
                <a:srgbClr val="9999A9"/>
              </a:solidFill>
              <a:prstDash val="solid"/>
              <a:round/>
            </a:ln>
            <a:effectLst/>
          </c:spPr>
        </c:majorGridlines>
        <c:numFmt formatCode="General" sourceLinked="1"/>
        <c:majorTickMark val="out"/>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sz="1200" b="1" i="0" u="none" strike="noStrike" kern="1200" baseline="0">
                <a:solidFill>
                  <a:srgbClr val="9999A9"/>
                </a:solidFill>
                <a:latin typeface="+mn-lt"/>
                <a:ea typeface="+mn-ea"/>
                <a:cs typeface="+mn-cs"/>
              </a:defRPr>
            </a:pPr>
            <a:endParaRPr lang="de-DE"/>
          </a:p>
        </c:txPr>
        <c:crossAx val="117478528"/>
        <c:crosses val="autoZero"/>
        <c:crossBetween val="between"/>
      </c:val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800"/>
      </a:pPr>
      <a:endParaRPr lang="de-DE"/>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680580431213892E-2"/>
          <c:y val="3.6981589612791986E-2"/>
          <c:w val="0.71298102808318375"/>
          <c:h val="0.88622841439232014"/>
        </c:manualLayout>
      </c:layout>
      <c:barChart>
        <c:barDir val="col"/>
        <c:grouping val="stacked"/>
        <c:varyColors val="0"/>
        <c:ser>
          <c:idx val="0"/>
          <c:order val="0"/>
          <c:tx>
            <c:strRef>
              <c:f>Tabelle1!$B$1</c:f>
              <c:strCache>
                <c:ptCount val="1"/>
                <c:pt idx="0">
                  <c:v>Data series 1</c:v>
                </c:pt>
              </c:strCache>
            </c:strRef>
          </c:tx>
          <c:spPr>
            <a:solidFill>
              <a:srgbClr val="00646E"/>
            </a:solidFill>
            <a:ln w="19050">
              <a:solidFill>
                <a:schemeClr val="bg1"/>
              </a:solidFill>
            </a:ln>
            <a:effectLst/>
          </c:spPr>
          <c:invertIfNegative val="0"/>
          <c:cat>
            <c:strRef>
              <c:f>Tabelle1!$A$2:$A$7</c:f>
              <c:strCache>
                <c:ptCount val="6"/>
                <c:pt idx="0">
                  <c:v>Category 1</c:v>
                </c:pt>
                <c:pt idx="1">
                  <c:v>Category 2</c:v>
                </c:pt>
                <c:pt idx="2">
                  <c:v>Category 3</c:v>
                </c:pt>
                <c:pt idx="3">
                  <c:v>Category 4</c:v>
                </c:pt>
                <c:pt idx="4">
                  <c:v>Category 5</c:v>
                </c:pt>
                <c:pt idx="5">
                  <c:v>Category 6</c:v>
                </c:pt>
              </c:strCache>
            </c:strRef>
          </c:cat>
          <c:val>
            <c:numRef>
              <c:f>Tabelle1!$B$2:$B$7</c:f>
              <c:numCache>
                <c:formatCode>General</c:formatCode>
                <c:ptCount val="6"/>
                <c:pt idx="0">
                  <c:v>4.3</c:v>
                </c:pt>
                <c:pt idx="1">
                  <c:v>2.5</c:v>
                </c:pt>
                <c:pt idx="2">
                  <c:v>3.5</c:v>
                </c:pt>
                <c:pt idx="3">
                  <c:v>3</c:v>
                </c:pt>
                <c:pt idx="4">
                  <c:v>1.5</c:v>
                </c:pt>
                <c:pt idx="5">
                  <c:v>4</c:v>
                </c:pt>
              </c:numCache>
            </c:numRef>
          </c:val>
          <c:extLst>
            <c:ext xmlns:c16="http://schemas.microsoft.com/office/drawing/2014/chart" uri="{C3380CC4-5D6E-409C-BE32-E72D297353CC}">
              <c16:uniqueId val="{00000000-56D1-47F0-8E36-1F5295638CE4}"/>
            </c:ext>
          </c:extLst>
        </c:ser>
        <c:ser>
          <c:idx val="1"/>
          <c:order val="1"/>
          <c:tx>
            <c:strRef>
              <c:f>Tabelle1!$C$1</c:f>
              <c:strCache>
                <c:ptCount val="1"/>
                <c:pt idx="0">
                  <c:v>Data series 2</c:v>
                </c:pt>
              </c:strCache>
            </c:strRef>
          </c:tx>
          <c:spPr>
            <a:solidFill>
              <a:srgbClr val="009999"/>
            </a:solidFill>
            <a:ln w="19050">
              <a:solidFill>
                <a:schemeClr val="bg1"/>
              </a:solidFill>
            </a:ln>
            <a:effectLst/>
          </c:spPr>
          <c:invertIfNegative val="0"/>
          <c:cat>
            <c:strRef>
              <c:f>Tabelle1!$A$2:$A$7</c:f>
              <c:strCache>
                <c:ptCount val="6"/>
                <c:pt idx="0">
                  <c:v>Category 1</c:v>
                </c:pt>
                <c:pt idx="1">
                  <c:v>Category 2</c:v>
                </c:pt>
                <c:pt idx="2">
                  <c:v>Category 3</c:v>
                </c:pt>
                <c:pt idx="3">
                  <c:v>Category 4</c:v>
                </c:pt>
                <c:pt idx="4">
                  <c:v>Category 5</c:v>
                </c:pt>
                <c:pt idx="5">
                  <c:v>Category 6</c:v>
                </c:pt>
              </c:strCache>
            </c:strRef>
          </c:cat>
          <c:val>
            <c:numRef>
              <c:f>Tabelle1!$C$2:$C$7</c:f>
              <c:numCache>
                <c:formatCode>General</c:formatCode>
                <c:ptCount val="6"/>
                <c:pt idx="0">
                  <c:v>2.4</c:v>
                </c:pt>
                <c:pt idx="1">
                  <c:v>4.4000000000000004</c:v>
                </c:pt>
                <c:pt idx="2">
                  <c:v>1.8</c:v>
                </c:pt>
                <c:pt idx="3">
                  <c:v>2</c:v>
                </c:pt>
                <c:pt idx="4">
                  <c:v>2</c:v>
                </c:pt>
                <c:pt idx="5">
                  <c:v>3</c:v>
                </c:pt>
              </c:numCache>
            </c:numRef>
          </c:val>
          <c:extLst>
            <c:ext xmlns:c16="http://schemas.microsoft.com/office/drawing/2014/chart" uri="{C3380CC4-5D6E-409C-BE32-E72D297353CC}">
              <c16:uniqueId val="{00000001-56D1-47F0-8E36-1F5295638CE4}"/>
            </c:ext>
          </c:extLst>
        </c:ser>
        <c:ser>
          <c:idx val="2"/>
          <c:order val="2"/>
          <c:tx>
            <c:strRef>
              <c:f>Tabelle1!$D$1</c:f>
              <c:strCache>
                <c:ptCount val="1"/>
                <c:pt idx="0">
                  <c:v>Data series 3</c:v>
                </c:pt>
              </c:strCache>
            </c:strRef>
          </c:tx>
          <c:spPr>
            <a:solidFill>
              <a:srgbClr val="00E6DC"/>
            </a:solidFill>
            <a:ln w="19050">
              <a:solidFill>
                <a:schemeClr val="bg1"/>
              </a:solidFill>
            </a:ln>
            <a:effectLst/>
          </c:spPr>
          <c:invertIfNegative val="0"/>
          <c:cat>
            <c:strRef>
              <c:f>Tabelle1!$A$2:$A$7</c:f>
              <c:strCache>
                <c:ptCount val="6"/>
                <c:pt idx="0">
                  <c:v>Category 1</c:v>
                </c:pt>
                <c:pt idx="1">
                  <c:v>Category 2</c:v>
                </c:pt>
                <c:pt idx="2">
                  <c:v>Category 3</c:v>
                </c:pt>
                <c:pt idx="3">
                  <c:v>Category 4</c:v>
                </c:pt>
                <c:pt idx="4">
                  <c:v>Category 5</c:v>
                </c:pt>
                <c:pt idx="5">
                  <c:v>Category 6</c:v>
                </c:pt>
              </c:strCache>
            </c:strRef>
          </c:cat>
          <c:val>
            <c:numRef>
              <c:f>Tabelle1!$D$2:$D$7</c:f>
              <c:numCache>
                <c:formatCode>General</c:formatCode>
                <c:ptCount val="6"/>
                <c:pt idx="0">
                  <c:v>2</c:v>
                </c:pt>
                <c:pt idx="1">
                  <c:v>2</c:v>
                </c:pt>
                <c:pt idx="2">
                  <c:v>3</c:v>
                </c:pt>
                <c:pt idx="3">
                  <c:v>4.3</c:v>
                </c:pt>
                <c:pt idx="4">
                  <c:v>2.5</c:v>
                </c:pt>
                <c:pt idx="5">
                  <c:v>3.5</c:v>
                </c:pt>
              </c:numCache>
            </c:numRef>
          </c:val>
          <c:extLst>
            <c:ext xmlns:c16="http://schemas.microsoft.com/office/drawing/2014/chart" uri="{C3380CC4-5D6E-409C-BE32-E72D297353CC}">
              <c16:uniqueId val="{00000002-56D1-47F0-8E36-1F5295638CE4}"/>
            </c:ext>
          </c:extLst>
        </c:ser>
        <c:dLbls>
          <c:showLegendKey val="0"/>
          <c:showVal val="0"/>
          <c:showCatName val="0"/>
          <c:showSerName val="0"/>
          <c:showPercent val="0"/>
          <c:showBubbleSize val="0"/>
        </c:dLbls>
        <c:gapWidth val="255"/>
        <c:overlap val="100"/>
        <c:axId val="117478528"/>
        <c:axId val="117480064"/>
      </c:barChart>
      <c:catAx>
        <c:axId val="117478528"/>
        <c:scaling>
          <c:orientation val="minMax"/>
        </c:scaling>
        <c:delete val="0"/>
        <c:axPos val="b"/>
        <c:numFmt formatCode="General" sourceLinked="0"/>
        <c:majorTickMark val="none"/>
        <c:minorTickMark val="none"/>
        <c:tickLblPos val="nextTo"/>
        <c:spPr>
          <a:noFill/>
          <a:ln w="6350" cap="flat" cmpd="sng" algn="ctr">
            <a:solidFill>
              <a:srgbClr val="66667E"/>
            </a:solidFill>
            <a:prstDash val="solid"/>
            <a:round/>
          </a:ln>
          <a:effectLst/>
        </c:spPr>
        <c:txPr>
          <a:bodyPr rot="-60000000" spcFirstLastPara="1" vertOverflow="ellipsis" vert="horz" wrap="square" anchor="ctr" anchorCtr="1"/>
          <a:lstStyle/>
          <a:p>
            <a:pPr>
              <a:defRPr sz="1200" b="1" i="0" u="none" strike="noStrike" kern="1200" baseline="0">
                <a:solidFill>
                  <a:srgbClr val="66667E"/>
                </a:solidFill>
                <a:latin typeface="+mn-lt"/>
                <a:ea typeface="+mn-ea"/>
                <a:cs typeface="+mn-cs"/>
              </a:defRPr>
            </a:pPr>
            <a:endParaRPr lang="de-DE"/>
          </a:p>
        </c:txPr>
        <c:crossAx val="117480064"/>
        <c:crosses val="autoZero"/>
        <c:auto val="1"/>
        <c:lblAlgn val="ctr"/>
        <c:lblOffset val="100"/>
        <c:noMultiLvlLbl val="0"/>
      </c:catAx>
      <c:valAx>
        <c:axId val="117480064"/>
        <c:scaling>
          <c:orientation val="minMax"/>
        </c:scaling>
        <c:delete val="0"/>
        <c:axPos val="l"/>
        <c:majorGridlines>
          <c:spPr>
            <a:ln w="6350" cap="flat" cmpd="sng" algn="ctr">
              <a:solidFill>
                <a:srgbClr val="66667E"/>
              </a:solidFill>
              <a:prstDash val="solid"/>
              <a:round/>
            </a:ln>
            <a:effectLst/>
          </c:spPr>
        </c:majorGridlines>
        <c:numFmt formatCode="General" sourceLinked="1"/>
        <c:majorTickMark val="out"/>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sz="1200" b="1" i="0" u="none" strike="noStrike" kern="1200" baseline="0">
                <a:solidFill>
                  <a:srgbClr val="66667E"/>
                </a:solidFill>
                <a:latin typeface="+mn-lt"/>
                <a:ea typeface="+mn-ea"/>
                <a:cs typeface="+mn-cs"/>
              </a:defRPr>
            </a:pPr>
            <a:endParaRPr lang="de-DE"/>
          </a:p>
        </c:txPr>
        <c:crossAx val="117478528"/>
        <c:crosses val="autoZero"/>
        <c:crossBetween val="between"/>
      </c:valAx>
      <c:spPr>
        <a:noFill/>
        <a:ln>
          <a:noFill/>
        </a:ln>
        <a:effectLst/>
      </c:spPr>
    </c:plotArea>
    <c:legend>
      <c:legendPos val="r"/>
      <c:legendEntry>
        <c:idx val="0"/>
        <c:txPr>
          <a:bodyPr rot="0" spcFirstLastPara="1" vertOverflow="ellipsis" vert="horz" wrap="square" anchor="ctr" anchorCtr="1"/>
          <a:lstStyle/>
          <a:p>
            <a:pPr>
              <a:defRPr sz="1200" b="0" i="0" u="none" strike="noStrike" kern="1200" baseline="0">
                <a:solidFill>
                  <a:srgbClr val="66667E"/>
                </a:solidFill>
                <a:latin typeface="+mn-lt"/>
                <a:ea typeface="+mn-ea"/>
                <a:cs typeface="+mn-cs"/>
              </a:defRPr>
            </a:pPr>
            <a:endParaRPr lang="de-DE"/>
          </a:p>
        </c:txPr>
      </c:legendEntry>
      <c:legendEntry>
        <c:idx val="1"/>
        <c:txPr>
          <a:bodyPr rot="0" spcFirstLastPara="1" vertOverflow="ellipsis" vert="horz" wrap="square" anchor="ctr" anchorCtr="1"/>
          <a:lstStyle/>
          <a:p>
            <a:pPr>
              <a:defRPr sz="1200" b="0" i="0" u="none" strike="noStrike" kern="1200" baseline="0">
                <a:solidFill>
                  <a:srgbClr val="66667E"/>
                </a:solidFill>
                <a:latin typeface="+mn-lt"/>
                <a:ea typeface="+mn-ea"/>
                <a:cs typeface="+mn-cs"/>
              </a:defRPr>
            </a:pPr>
            <a:endParaRPr lang="de-DE"/>
          </a:p>
        </c:txPr>
      </c:legendEntry>
      <c:legendEntry>
        <c:idx val="2"/>
        <c:txPr>
          <a:bodyPr rot="0" spcFirstLastPara="1" vertOverflow="ellipsis" vert="horz" wrap="square" anchor="ctr" anchorCtr="1"/>
          <a:lstStyle/>
          <a:p>
            <a:pPr>
              <a:defRPr sz="1200" b="0" i="0" u="none" strike="noStrike" kern="1200" baseline="0">
                <a:solidFill>
                  <a:srgbClr val="66667E"/>
                </a:solidFill>
                <a:latin typeface="+mn-lt"/>
                <a:ea typeface="+mn-ea"/>
                <a:cs typeface="+mn-cs"/>
              </a:defRPr>
            </a:pPr>
            <a:endParaRPr lang="de-DE"/>
          </a:p>
        </c:txPr>
      </c:legendEntry>
      <c:layout>
        <c:manualLayout>
          <c:xMode val="edge"/>
          <c:yMode val="edge"/>
          <c:x val="0.86609073609549347"/>
          <c:y val="0.73560375517340137"/>
          <c:w val="0.11694006233805601"/>
          <c:h val="0.18592008438709307"/>
        </c:manualLayout>
      </c:layout>
      <c:overlay val="0"/>
      <c:spPr>
        <a:noFill/>
        <a:ln>
          <a:noFill/>
        </a:ln>
        <a:effectLst/>
      </c:spPr>
      <c:txPr>
        <a:bodyPr rot="0" spcFirstLastPara="1" vertOverflow="ellipsis" vert="horz" wrap="square" anchor="ctr" anchorCtr="1"/>
        <a:lstStyle/>
        <a:p>
          <a:pPr>
            <a:defRPr sz="1400" b="0" i="0" u="none" strike="noStrike" kern="1200" baseline="0">
              <a:solidFill>
                <a:srgbClr val="66667E"/>
              </a:solidFill>
              <a:latin typeface="+mn-lt"/>
              <a:ea typeface="+mn-ea"/>
              <a:cs typeface="+mn-cs"/>
            </a:defRPr>
          </a:pPr>
          <a:endParaRPr lang="de-DE"/>
        </a:p>
      </c:txPr>
    </c:legend>
    <c:plotVisOnly val="1"/>
    <c:dispBlanksAs val="gap"/>
    <c:showDLblsOverMax val="0"/>
  </c:chart>
  <c:spPr>
    <a:noFill/>
    <a:ln w="6350" cap="flat" cmpd="sng" algn="ctr">
      <a:noFill/>
      <a:prstDash val="solid"/>
      <a:miter lim="800000"/>
    </a:ln>
    <a:effectLst/>
  </c:spPr>
  <c:txPr>
    <a:bodyPr/>
    <a:lstStyle/>
    <a:p>
      <a:pPr>
        <a:defRPr sz="1800"/>
      </a:pPr>
      <a:endParaRPr lang="de-DE"/>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680580431213892E-2"/>
          <c:y val="3.6981589612791986E-2"/>
          <c:w val="0.71298102808318375"/>
          <c:h val="0.88622841439232014"/>
        </c:manualLayout>
      </c:layout>
      <c:barChart>
        <c:barDir val="col"/>
        <c:grouping val="stacked"/>
        <c:varyColors val="0"/>
        <c:ser>
          <c:idx val="0"/>
          <c:order val="0"/>
          <c:tx>
            <c:strRef>
              <c:f>Tabelle1!$B$1</c:f>
              <c:strCache>
                <c:ptCount val="1"/>
                <c:pt idx="0">
                  <c:v>Data series 1</c:v>
                </c:pt>
              </c:strCache>
            </c:strRef>
          </c:tx>
          <c:spPr>
            <a:solidFill>
              <a:srgbClr val="00646E"/>
            </a:solidFill>
            <a:ln w="19050">
              <a:solidFill>
                <a:schemeClr val="bg1"/>
              </a:solidFill>
            </a:ln>
            <a:effectLst/>
          </c:spPr>
          <c:invertIfNegative val="0"/>
          <c:cat>
            <c:strRef>
              <c:f>Tabelle1!$A$2:$A$7</c:f>
              <c:strCache>
                <c:ptCount val="6"/>
                <c:pt idx="0">
                  <c:v>Category 1</c:v>
                </c:pt>
                <c:pt idx="1">
                  <c:v>Category 2</c:v>
                </c:pt>
                <c:pt idx="2">
                  <c:v>Category 3</c:v>
                </c:pt>
                <c:pt idx="3">
                  <c:v>Category 4</c:v>
                </c:pt>
                <c:pt idx="4">
                  <c:v>Category 5</c:v>
                </c:pt>
                <c:pt idx="5">
                  <c:v>Category 6</c:v>
                </c:pt>
              </c:strCache>
            </c:strRef>
          </c:cat>
          <c:val>
            <c:numRef>
              <c:f>Tabelle1!$B$2:$B$7</c:f>
              <c:numCache>
                <c:formatCode>General</c:formatCode>
                <c:ptCount val="6"/>
                <c:pt idx="0">
                  <c:v>4.3</c:v>
                </c:pt>
                <c:pt idx="1">
                  <c:v>2.5</c:v>
                </c:pt>
                <c:pt idx="2">
                  <c:v>3.5</c:v>
                </c:pt>
                <c:pt idx="3">
                  <c:v>3</c:v>
                </c:pt>
                <c:pt idx="4">
                  <c:v>1.5</c:v>
                </c:pt>
                <c:pt idx="5">
                  <c:v>4</c:v>
                </c:pt>
              </c:numCache>
            </c:numRef>
          </c:val>
          <c:extLst>
            <c:ext xmlns:c16="http://schemas.microsoft.com/office/drawing/2014/chart" uri="{C3380CC4-5D6E-409C-BE32-E72D297353CC}">
              <c16:uniqueId val="{00000000-56D1-47F0-8E36-1F5295638CE4}"/>
            </c:ext>
          </c:extLst>
        </c:ser>
        <c:ser>
          <c:idx val="1"/>
          <c:order val="1"/>
          <c:tx>
            <c:strRef>
              <c:f>Tabelle1!$C$1</c:f>
              <c:strCache>
                <c:ptCount val="1"/>
                <c:pt idx="0">
                  <c:v>Data series 2</c:v>
                </c:pt>
              </c:strCache>
            </c:strRef>
          </c:tx>
          <c:spPr>
            <a:solidFill>
              <a:srgbClr val="009999"/>
            </a:solidFill>
            <a:ln w="19050">
              <a:solidFill>
                <a:schemeClr val="bg1"/>
              </a:solidFill>
            </a:ln>
            <a:effectLst/>
          </c:spPr>
          <c:invertIfNegative val="0"/>
          <c:cat>
            <c:strRef>
              <c:f>Tabelle1!$A$2:$A$7</c:f>
              <c:strCache>
                <c:ptCount val="6"/>
                <c:pt idx="0">
                  <c:v>Category 1</c:v>
                </c:pt>
                <c:pt idx="1">
                  <c:v>Category 2</c:v>
                </c:pt>
                <c:pt idx="2">
                  <c:v>Category 3</c:v>
                </c:pt>
                <c:pt idx="3">
                  <c:v>Category 4</c:v>
                </c:pt>
                <c:pt idx="4">
                  <c:v>Category 5</c:v>
                </c:pt>
                <c:pt idx="5">
                  <c:v>Category 6</c:v>
                </c:pt>
              </c:strCache>
            </c:strRef>
          </c:cat>
          <c:val>
            <c:numRef>
              <c:f>Tabelle1!$C$2:$C$7</c:f>
              <c:numCache>
                <c:formatCode>General</c:formatCode>
                <c:ptCount val="6"/>
                <c:pt idx="0">
                  <c:v>2.4</c:v>
                </c:pt>
                <c:pt idx="1">
                  <c:v>4.4000000000000004</c:v>
                </c:pt>
                <c:pt idx="2">
                  <c:v>1.8</c:v>
                </c:pt>
                <c:pt idx="3">
                  <c:v>2</c:v>
                </c:pt>
                <c:pt idx="4">
                  <c:v>2</c:v>
                </c:pt>
                <c:pt idx="5">
                  <c:v>3</c:v>
                </c:pt>
              </c:numCache>
            </c:numRef>
          </c:val>
          <c:extLst>
            <c:ext xmlns:c16="http://schemas.microsoft.com/office/drawing/2014/chart" uri="{C3380CC4-5D6E-409C-BE32-E72D297353CC}">
              <c16:uniqueId val="{00000001-56D1-47F0-8E36-1F5295638CE4}"/>
            </c:ext>
          </c:extLst>
        </c:ser>
        <c:ser>
          <c:idx val="2"/>
          <c:order val="2"/>
          <c:tx>
            <c:strRef>
              <c:f>Tabelle1!$D$1</c:f>
              <c:strCache>
                <c:ptCount val="1"/>
                <c:pt idx="0">
                  <c:v>Data series 3</c:v>
                </c:pt>
              </c:strCache>
            </c:strRef>
          </c:tx>
          <c:spPr>
            <a:solidFill>
              <a:srgbClr val="00E6DC"/>
            </a:solidFill>
            <a:ln w="19050">
              <a:solidFill>
                <a:schemeClr val="bg1"/>
              </a:solidFill>
            </a:ln>
            <a:effectLst/>
          </c:spPr>
          <c:invertIfNegative val="0"/>
          <c:cat>
            <c:strRef>
              <c:f>Tabelle1!$A$2:$A$7</c:f>
              <c:strCache>
                <c:ptCount val="6"/>
                <c:pt idx="0">
                  <c:v>Category 1</c:v>
                </c:pt>
                <c:pt idx="1">
                  <c:v>Category 2</c:v>
                </c:pt>
                <c:pt idx="2">
                  <c:v>Category 3</c:v>
                </c:pt>
                <c:pt idx="3">
                  <c:v>Category 4</c:v>
                </c:pt>
                <c:pt idx="4">
                  <c:v>Category 5</c:v>
                </c:pt>
                <c:pt idx="5">
                  <c:v>Category 6</c:v>
                </c:pt>
              </c:strCache>
            </c:strRef>
          </c:cat>
          <c:val>
            <c:numRef>
              <c:f>Tabelle1!$D$2:$D$7</c:f>
              <c:numCache>
                <c:formatCode>General</c:formatCode>
                <c:ptCount val="6"/>
                <c:pt idx="0">
                  <c:v>2</c:v>
                </c:pt>
                <c:pt idx="1">
                  <c:v>2</c:v>
                </c:pt>
                <c:pt idx="2">
                  <c:v>3</c:v>
                </c:pt>
                <c:pt idx="3">
                  <c:v>4.3</c:v>
                </c:pt>
                <c:pt idx="4">
                  <c:v>2.5</c:v>
                </c:pt>
                <c:pt idx="5">
                  <c:v>3.5</c:v>
                </c:pt>
              </c:numCache>
            </c:numRef>
          </c:val>
          <c:extLst>
            <c:ext xmlns:c16="http://schemas.microsoft.com/office/drawing/2014/chart" uri="{C3380CC4-5D6E-409C-BE32-E72D297353CC}">
              <c16:uniqueId val="{00000002-56D1-47F0-8E36-1F5295638CE4}"/>
            </c:ext>
          </c:extLst>
        </c:ser>
        <c:dLbls>
          <c:showLegendKey val="0"/>
          <c:showVal val="0"/>
          <c:showCatName val="0"/>
          <c:showSerName val="0"/>
          <c:showPercent val="0"/>
          <c:showBubbleSize val="0"/>
        </c:dLbls>
        <c:gapWidth val="255"/>
        <c:overlap val="100"/>
        <c:axId val="117478528"/>
        <c:axId val="117480064"/>
      </c:barChart>
      <c:catAx>
        <c:axId val="117478528"/>
        <c:scaling>
          <c:orientation val="minMax"/>
        </c:scaling>
        <c:delete val="0"/>
        <c:axPos val="b"/>
        <c:numFmt formatCode="General" sourceLinked="0"/>
        <c:majorTickMark val="none"/>
        <c:minorTickMark val="none"/>
        <c:tickLblPos val="nextTo"/>
        <c:spPr>
          <a:noFill/>
          <a:ln w="6350" cap="flat" cmpd="sng" algn="ctr">
            <a:solidFill>
              <a:srgbClr val="66667E"/>
            </a:solidFill>
            <a:prstDash val="solid"/>
            <a:round/>
          </a:ln>
          <a:effectLst/>
        </c:spPr>
        <c:txPr>
          <a:bodyPr rot="-60000000" spcFirstLastPara="1" vertOverflow="ellipsis" vert="horz" wrap="square" anchor="ctr" anchorCtr="1"/>
          <a:lstStyle/>
          <a:p>
            <a:pPr>
              <a:defRPr sz="1200" b="1" i="0" u="none" strike="noStrike" kern="1200" baseline="0">
                <a:solidFill>
                  <a:srgbClr val="9999A9"/>
                </a:solidFill>
                <a:latin typeface="+mn-lt"/>
                <a:ea typeface="+mn-ea"/>
                <a:cs typeface="+mn-cs"/>
              </a:defRPr>
            </a:pPr>
            <a:endParaRPr lang="de-DE"/>
          </a:p>
        </c:txPr>
        <c:crossAx val="117480064"/>
        <c:crosses val="autoZero"/>
        <c:auto val="1"/>
        <c:lblAlgn val="ctr"/>
        <c:lblOffset val="100"/>
        <c:noMultiLvlLbl val="0"/>
      </c:catAx>
      <c:valAx>
        <c:axId val="117480064"/>
        <c:scaling>
          <c:orientation val="minMax"/>
        </c:scaling>
        <c:delete val="0"/>
        <c:axPos val="l"/>
        <c:majorGridlines>
          <c:spPr>
            <a:ln w="6350" cap="flat" cmpd="sng" algn="ctr">
              <a:solidFill>
                <a:srgbClr val="9999A9"/>
              </a:solidFill>
              <a:prstDash val="solid"/>
              <a:round/>
            </a:ln>
            <a:effectLst/>
          </c:spPr>
        </c:majorGridlines>
        <c:numFmt formatCode="General" sourceLinked="1"/>
        <c:majorTickMark val="out"/>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sz="1200" b="1" i="0" u="none" strike="noStrike" kern="1200" baseline="0">
                <a:solidFill>
                  <a:srgbClr val="9999A9"/>
                </a:solidFill>
                <a:latin typeface="+mn-lt"/>
                <a:ea typeface="+mn-ea"/>
                <a:cs typeface="+mn-cs"/>
              </a:defRPr>
            </a:pPr>
            <a:endParaRPr lang="de-DE"/>
          </a:p>
        </c:txPr>
        <c:crossAx val="117478528"/>
        <c:crosses val="autoZero"/>
        <c:crossBetween val="between"/>
      </c:valAx>
      <c:spPr>
        <a:noFill/>
        <a:ln>
          <a:noFill/>
        </a:ln>
        <a:effectLst/>
      </c:spPr>
    </c:plotArea>
    <c:legend>
      <c:legendPos val="r"/>
      <c:legendEntry>
        <c:idx val="0"/>
        <c:txPr>
          <a:bodyPr rot="0" spcFirstLastPara="1" vertOverflow="ellipsis" vert="horz" wrap="square" anchor="ctr" anchorCtr="1"/>
          <a:lstStyle/>
          <a:p>
            <a:pPr>
              <a:defRPr sz="1200" b="0" i="0" u="none" strike="noStrike" kern="1200" baseline="0">
                <a:solidFill>
                  <a:srgbClr val="9999A9"/>
                </a:solidFill>
                <a:latin typeface="+mn-lt"/>
                <a:ea typeface="+mn-ea"/>
                <a:cs typeface="+mn-cs"/>
              </a:defRPr>
            </a:pPr>
            <a:endParaRPr lang="de-DE"/>
          </a:p>
        </c:txPr>
      </c:legendEntry>
      <c:legendEntry>
        <c:idx val="1"/>
        <c:txPr>
          <a:bodyPr rot="0" spcFirstLastPara="1" vertOverflow="ellipsis" vert="horz" wrap="square" anchor="ctr" anchorCtr="1"/>
          <a:lstStyle/>
          <a:p>
            <a:pPr>
              <a:defRPr sz="1200" b="0" i="0" u="none" strike="noStrike" kern="1200" baseline="0">
                <a:solidFill>
                  <a:srgbClr val="9999A9"/>
                </a:solidFill>
                <a:latin typeface="+mn-lt"/>
                <a:ea typeface="+mn-ea"/>
                <a:cs typeface="+mn-cs"/>
              </a:defRPr>
            </a:pPr>
            <a:endParaRPr lang="de-DE"/>
          </a:p>
        </c:txPr>
      </c:legendEntry>
      <c:legendEntry>
        <c:idx val="2"/>
        <c:txPr>
          <a:bodyPr rot="0" spcFirstLastPara="1" vertOverflow="ellipsis" vert="horz" wrap="square" anchor="ctr" anchorCtr="1"/>
          <a:lstStyle/>
          <a:p>
            <a:pPr>
              <a:defRPr sz="1200" b="0" i="0" u="none" strike="noStrike" kern="1200" baseline="0">
                <a:solidFill>
                  <a:srgbClr val="9999A9"/>
                </a:solidFill>
                <a:latin typeface="+mn-lt"/>
                <a:ea typeface="+mn-ea"/>
                <a:cs typeface="+mn-cs"/>
              </a:defRPr>
            </a:pPr>
            <a:endParaRPr lang="de-DE"/>
          </a:p>
        </c:txPr>
      </c:legendEntry>
      <c:layout>
        <c:manualLayout>
          <c:xMode val="edge"/>
          <c:yMode val="edge"/>
          <c:x val="0.86609073609549347"/>
          <c:y val="0.73560375517340137"/>
          <c:w val="0.11694006233805601"/>
          <c:h val="0.18592008438709307"/>
        </c:manualLayout>
      </c:layout>
      <c:overlay val="0"/>
      <c:spPr>
        <a:noFill/>
        <a:ln>
          <a:noFill/>
        </a:ln>
        <a:effectLst/>
      </c:spPr>
      <c:txPr>
        <a:bodyPr rot="0" spcFirstLastPara="1" vertOverflow="ellipsis" vert="horz" wrap="square" anchor="ctr" anchorCtr="1"/>
        <a:lstStyle/>
        <a:p>
          <a:pPr>
            <a:defRPr sz="1400" b="0" i="0" u="none" strike="noStrike" kern="1200" baseline="0">
              <a:solidFill>
                <a:srgbClr val="9999A9"/>
              </a:solidFill>
              <a:latin typeface="+mn-lt"/>
              <a:ea typeface="+mn-ea"/>
              <a:cs typeface="+mn-cs"/>
            </a:defRPr>
          </a:pPr>
          <a:endParaRPr lang="de-DE"/>
        </a:p>
      </c:txPr>
    </c:legend>
    <c:plotVisOnly val="1"/>
    <c:dispBlanksAs val="gap"/>
    <c:showDLblsOverMax val="0"/>
  </c:chart>
  <c:spPr>
    <a:noFill/>
    <a:ln w="6350" cap="flat" cmpd="sng" algn="ctr">
      <a:noFill/>
      <a:prstDash val="solid"/>
      <a:miter lim="800000"/>
    </a:ln>
    <a:effectLst/>
  </c:spPr>
  <c:txPr>
    <a:bodyPr/>
    <a:lstStyle/>
    <a:p>
      <a:pPr>
        <a:defRPr sz="1800"/>
      </a:pPr>
      <a:endParaRPr lang="de-DE"/>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680580431213892E-2"/>
          <c:y val="3.6981589612791986E-2"/>
          <c:w val="0.71298102808318375"/>
          <c:h val="0.88622841439232014"/>
        </c:manualLayout>
      </c:layout>
      <c:barChart>
        <c:barDir val="col"/>
        <c:grouping val="stacked"/>
        <c:varyColors val="0"/>
        <c:ser>
          <c:idx val="0"/>
          <c:order val="0"/>
          <c:tx>
            <c:strRef>
              <c:f>Tabelle1!$B$1</c:f>
              <c:strCache>
                <c:ptCount val="1"/>
                <c:pt idx="0">
                  <c:v>Data series 1</c:v>
                </c:pt>
              </c:strCache>
            </c:strRef>
          </c:tx>
          <c:spPr>
            <a:solidFill>
              <a:srgbClr val="00646E"/>
            </a:solidFill>
            <a:ln w="19050">
              <a:solidFill>
                <a:schemeClr val="bg1"/>
              </a:solidFill>
            </a:ln>
            <a:effectLst/>
          </c:spPr>
          <c:invertIfNegative val="0"/>
          <c:cat>
            <c:strRef>
              <c:f>Tabelle1!$A$2:$A$7</c:f>
              <c:strCache>
                <c:ptCount val="6"/>
                <c:pt idx="0">
                  <c:v>Category 1</c:v>
                </c:pt>
                <c:pt idx="1">
                  <c:v>Category 2</c:v>
                </c:pt>
                <c:pt idx="2">
                  <c:v>Category 3</c:v>
                </c:pt>
                <c:pt idx="3">
                  <c:v>Category 4</c:v>
                </c:pt>
                <c:pt idx="4">
                  <c:v>Category 5</c:v>
                </c:pt>
                <c:pt idx="5">
                  <c:v>Category 6</c:v>
                </c:pt>
              </c:strCache>
            </c:strRef>
          </c:cat>
          <c:val>
            <c:numRef>
              <c:f>Tabelle1!$B$2:$B$7</c:f>
              <c:numCache>
                <c:formatCode>General</c:formatCode>
                <c:ptCount val="6"/>
                <c:pt idx="0">
                  <c:v>4.3</c:v>
                </c:pt>
                <c:pt idx="1">
                  <c:v>2.5</c:v>
                </c:pt>
                <c:pt idx="2">
                  <c:v>3.5</c:v>
                </c:pt>
                <c:pt idx="3">
                  <c:v>3</c:v>
                </c:pt>
                <c:pt idx="4">
                  <c:v>1.5</c:v>
                </c:pt>
                <c:pt idx="5">
                  <c:v>4</c:v>
                </c:pt>
              </c:numCache>
            </c:numRef>
          </c:val>
          <c:extLst>
            <c:ext xmlns:c16="http://schemas.microsoft.com/office/drawing/2014/chart" uri="{C3380CC4-5D6E-409C-BE32-E72D297353CC}">
              <c16:uniqueId val="{00000000-56D1-47F0-8E36-1F5295638CE4}"/>
            </c:ext>
          </c:extLst>
        </c:ser>
        <c:ser>
          <c:idx val="1"/>
          <c:order val="1"/>
          <c:tx>
            <c:strRef>
              <c:f>Tabelle1!$C$1</c:f>
              <c:strCache>
                <c:ptCount val="1"/>
                <c:pt idx="0">
                  <c:v>Data series 2</c:v>
                </c:pt>
              </c:strCache>
            </c:strRef>
          </c:tx>
          <c:spPr>
            <a:solidFill>
              <a:srgbClr val="00AF8E"/>
            </a:solidFill>
            <a:ln w="19050">
              <a:solidFill>
                <a:schemeClr val="bg1"/>
              </a:solidFill>
            </a:ln>
            <a:effectLst/>
          </c:spPr>
          <c:invertIfNegative val="0"/>
          <c:cat>
            <c:strRef>
              <c:f>Tabelle1!$A$2:$A$7</c:f>
              <c:strCache>
                <c:ptCount val="6"/>
                <c:pt idx="0">
                  <c:v>Category 1</c:v>
                </c:pt>
                <c:pt idx="1">
                  <c:v>Category 2</c:v>
                </c:pt>
                <c:pt idx="2">
                  <c:v>Category 3</c:v>
                </c:pt>
                <c:pt idx="3">
                  <c:v>Category 4</c:v>
                </c:pt>
                <c:pt idx="4">
                  <c:v>Category 5</c:v>
                </c:pt>
                <c:pt idx="5">
                  <c:v>Category 6</c:v>
                </c:pt>
              </c:strCache>
            </c:strRef>
          </c:cat>
          <c:val>
            <c:numRef>
              <c:f>Tabelle1!$C$2:$C$7</c:f>
              <c:numCache>
                <c:formatCode>General</c:formatCode>
                <c:ptCount val="6"/>
                <c:pt idx="0">
                  <c:v>2.4</c:v>
                </c:pt>
                <c:pt idx="1">
                  <c:v>4.4000000000000004</c:v>
                </c:pt>
                <c:pt idx="2">
                  <c:v>1.8</c:v>
                </c:pt>
                <c:pt idx="3">
                  <c:v>2</c:v>
                </c:pt>
                <c:pt idx="4">
                  <c:v>2</c:v>
                </c:pt>
                <c:pt idx="5">
                  <c:v>3</c:v>
                </c:pt>
              </c:numCache>
            </c:numRef>
          </c:val>
          <c:extLst>
            <c:ext xmlns:c16="http://schemas.microsoft.com/office/drawing/2014/chart" uri="{C3380CC4-5D6E-409C-BE32-E72D297353CC}">
              <c16:uniqueId val="{00000001-56D1-47F0-8E36-1F5295638CE4}"/>
            </c:ext>
          </c:extLst>
        </c:ser>
        <c:ser>
          <c:idx val="2"/>
          <c:order val="2"/>
          <c:tx>
            <c:strRef>
              <c:f>Tabelle1!$D$1</c:f>
              <c:strCache>
                <c:ptCount val="1"/>
                <c:pt idx="0">
                  <c:v>Data series 3</c:v>
                </c:pt>
              </c:strCache>
            </c:strRef>
          </c:tx>
          <c:spPr>
            <a:solidFill>
              <a:srgbClr val="00FFB9"/>
            </a:solidFill>
            <a:ln w="19050">
              <a:solidFill>
                <a:schemeClr val="bg1"/>
              </a:solidFill>
            </a:ln>
            <a:effectLst/>
          </c:spPr>
          <c:invertIfNegative val="0"/>
          <c:cat>
            <c:strRef>
              <c:f>Tabelle1!$A$2:$A$7</c:f>
              <c:strCache>
                <c:ptCount val="6"/>
                <c:pt idx="0">
                  <c:v>Category 1</c:v>
                </c:pt>
                <c:pt idx="1">
                  <c:v>Category 2</c:v>
                </c:pt>
                <c:pt idx="2">
                  <c:v>Category 3</c:v>
                </c:pt>
                <c:pt idx="3">
                  <c:v>Category 4</c:v>
                </c:pt>
                <c:pt idx="4">
                  <c:v>Category 5</c:v>
                </c:pt>
                <c:pt idx="5">
                  <c:v>Category 6</c:v>
                </c:pt>
              </c:strCache>
            </c:strRef>
          </c:cat>
          <c:val>
            <c:numRef>
              <c:f>Tabelle1!$D$2:$D$7</c:f>
              <c:numCache>
                <c:formatCode>General</c:formatCode>
                <c:ptCount val="6"/>
                <c:pt idx="0">
                  <c:v>2</c:v>
                </c:pt>
                <c:pt idx="1">
                  <c:v>2</c:v>
                </c:pt>
                <c:pt idx="2">
                  <c:v>3</c:v>
                </c:pt>
                <c:pt idx="3">
                  <c:v>4.3</c:v>
                </c:pt>
                <c:pt idx="4">
                  <c:v>2.5</c:v>
                </c:pt>
                <c:pt idx="5">
                  <c:v>3.5</c:v>
                </c:pt>
              </c:numCache>
            </c:numRef>
          </c:val>
          <c:extLst>
            <c:ext xmlns:c16="http://schemas.microsoft.com/office/drawing/2014/chart" uri="{C3380CC4-5D6E-409C-BE32-E72D297353CC}">
              <c16:uniqueId val="{00000002-56D1-47F0-8E36-1F5295638CE4}"/>
            </c:ext>
          </c:extLst>
        </c:ser>
        <c:dLbls>
          <c:showLegendKey val="0"/>
          <c:showVal val="0"/>
          <c:showCatName val="0"/>
          <c:showSerName val="0"/>
          <c:showPercent val="0"/>
          <c:showBubbleSize val="0"/>
        </c:dLbls>
        <c:gapWidth val="255"/>
        <c:overlap val="100"/>
        <c:axId val="117478528"/>
        <c:axId val="117480064"/>
      </c:barChart>
      <c:catAx>
        <c:axId val="117478528"/>
        <c:scaling>
          <c:orientation val="minMax"/>
        </c:scaling>
        <c:delete val="0"/>
        <c:axPos val="b"/>
        <c:numFmt formatCode="General" sourceLinked="0"/>
        <c:majorTickMark val="none"/>
        <c:minorTickMark val="none"/>
        <c:tickLblPos val="nextTo"/>
        <c:spPr>
          <a:noFill/>
          <a:ln w="6350" cap="flat" cmpd="sng" algn="ctr">
            <a:solidFill>
              <a:srgbClr val="66667E"/>
            </a:solidFill>
            <a:prstDash val="solid"/>
            <a:round/>
          </a:ln>
          <a:effectLst/>
        </c:spPr>
        <c:txPr>
          <a:bodyPr rot="-60000000" spcFirstLastPara="1" vertOverflow="ellipsis" vert="horz" wrap="square" anchor="ctr" anchorCtr="1"/>
          <a:lstStyle/>
          <a:p>
            <a:pPr>
              <a:defRPr sz="1200" b="1" i="0" u="none" strike="noStrike" kern="1200" baseline="0">
                <a:solidFill>
                  <a:srgbClr val="66667E"/>
                </a:solidFill>
                <a:latin typeface="+mn-lt"/>
                <a:ea typeface="+mn-ea"/>
                <a:cs typeface="+mn-cs"/>
              </a:defRPr>
            </a:pPr>
            <a:endParaRPr lang="de-DE"/>
          </a:p>
        </c:txPr>
        <c:crossAx val="117480064"/>
        <c:crosses val="autoZero"/>
        <c:auto val="1"/>
        <c:lblAlgn val="ctr"/>
        <c:lblOffset val="100"/>
        <c:noMultiLvlLbl val="0"/>
      </c:catAx>
      <c:valAx>
        <c:axId val="117480064"/>
        <c:scaling>
          <c:orientation val="minMax"/>
        </c:scaling>
        <c:delete val="0"/>
        <c:axPos val="l"/>
        <c:majorGridlines>
          <c:spPr>
            <a:ln w="6350" cap="flat" cmpd="sng" algn="ctr">
              <a:solidFill>
                <a:srgbClr val="66667E"/>
              </a:solidFill>
              <a:prstDash val="solid"/>
              <a:round/>
            </a:ln>
            <a:effectLst/>
          </c:spPr>
        </c:majorGridlines>
        <c:numFmt formatCode="General" sourceLinked="1"/>
        <c:majorTickMark val="out"/>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sz="1200" b="1" i="0" u="none" strike="noStrike" kern="1200" baseline="0">
                <a:solidFill>
                  <a:srgbClr val="66667E"/>
                </a:solidFill>
                <a:latin typeface="+mn-lt"/>
                <a:ea typeface="+mn-ea"/>
                <a:cs typeface="+mn-cs"/>
              </a:defRPr>
            </a:pPr>
            <a:endParaRPr lang="de-DE"/>
          </a:p>
        </c:txPr>
        <c:crossAx val="117478528"/>
        <c:crosses val="autoZero"/>
        <c:crossBetween val="between"/>
      </c:valAx>
      <c:spPr>
        <a:noFill/>
        <a:ln>
          <a:noFill/>
        </a:ln>
        <a:effectLst/>
      </c:spPr>
    </c:plotArea>
    <c:legend>
      <c:legendPos val="r"/>
      <c:legendEntry>
        <c:idx val="0"/>
        <c:txPr>
          <a:bodyPr rot="0" spcFirstLastPara="1" vertOverflow="ellipsis" vert="horz" wrap="square" anchor="ctr" anchorCtr="1"/>
          <a:lstStyle/>
          <a:p>
            <a:pPr>
              <a:defRPr sz="1200" b="0" i="0" u="none" strike="noStrike" kern="1200" baseline="0">
                <a:solidFill>
                  <a:srgbClr val="66667E"/>
                </a:solidFill>
                <a:latin typeface="+mn-lt"/>
                <a:ea typeface="+mn-ea"/>
                <a:cs typeface="+mn-cs"/>
              </a:defRPr>
            </a:pPr>
            <a:endParaRPr lang="de-DE"/>
          </a:p>
        </c:txPr>
      </c:legendEntry>
      <c:legendEntry>
        <c:idx val="1"/>
        <c:txPr>
          <a:bodyPr rot="0" spcFirstLastPara="1" vertOverflow="ellipsis" vert="horz" wrap="square" anchor="ctr" anchorCtr="1"/>
          <a:lstStyle/>
          <a:p>
            <a:pPr>
              <a:defRPr sz="1200" b="0" i="0" u="none" strike="noStrike" kern="1200" baseline="0">
                <a:solidFill>
                  <a:srgbClr val="66667E"/>
                </a:solidFill>
                <a:latin typeface="+mn-lt"/>
                <a:ea typeface="+mn-ea"/>
                <a:cs typeface="+mn-cs"/>
              </a:defRPr>
            </a:pPr>
            <a:endParaRPr lang="de-DE"/>
          </a:p>
        </c:txPr>
      </c:legendEntry>
      <c:legendEntry>
        <c:idx val="2"/>
        <c:txPr>
          <a:bodyPr rot="0" spcFirstLastPara="1" vertOverflow="ellipsis" vert="horz" wrap="square" anchor="ctr" anchorCtr="1"/>
          <a:lstStyle/>
          <a:p>
            <a:pPr>
              <a:defRPr sz="1200" b="0" i="0" u="none" strike="noStrike" kern="1200" baseline="0">
                <a:solidFill>
                  <a:srgbClr val="66667E"/>
                </a:solidFill>
                <a:latin typeface="+mn-lt"/>
                <a:ea typeface="+mn-ea"/>
                <a:cs typeface="+mn-cs"/>
              </a:defRPr>
            </a:pPr>
            <a:endParaRPr lang="de-DE"/>
          </a:p>
        </c:txPr>
      </c:legendEntry>
      <c:layout>
        <c:manualLayout>
          <c:xMode val="edge"/>
          <c:yMode val="edge"/>
          <c:x val="0.86609073609549347"/>
          <c:y val="0.73560375517340137"/>
          <c:w val="0.11694006233805601"/>
          <c:h val="0.18592008438709307"/>
        </c:manualLayout>
      </c:layout>
      <c:overlay val="0"/>
      <c:spPr>
        <a:noFill/>
        <a:ln>
          <a:noFill/>
        </a:ln>
        <a:effectLst/>
      </c:spPr>
      <c:txPr>
        <a:bodyPr rot="0" spcFirstLastPara="1" vertOverflow="ellipsis" vert="horz" wrap="square" anchor="ctr" anchorCtr="1"/>
        <a:lstStyle/>
        <a:p>
          <a:pPr>
            <a:defRPr sz="1400" b="0" i="0" u="none" strike="noStrike" kern="1200" baseline="0">
              <a:solidFill>
                <a:srgbClr val="66667E"/>
              </a:solidFill>
              <a:latin typeface="+mn-lt"/>
              <a:ea typeface="+mn-ea"/>
              <a:cs typeface="+mn-cs"/>
            </a:defRPr>
          </a:pPr>
          <a:endParaRPr lang="de-DE"/>
        </a:p>
      </c:txPr>
    </c:legend>
    <c:plotVisOnly val="1"/>
    <c:dispBlanksAs val="gap"/>
    <c:showDLblsOverMax val="0"/>
  </c:chart>
  <c:spPr>
    <a:noFill/>
    <a:ln w="6350" cap="flat" cmpd="sng" algn="ctr">
      <a:noFill/>
      <a:prstDash val="solid"/>
      <a:miter lim="800000"/>
    </a:ln>
    <a:effectLst/>
  </c:spPr>
  <c:txPr>
    <a:bodyPr/>
    <a:lstStyle/>
    <a:p>
      <a:pPr>
        <a:defRPr sz="1800"/>
      </a:pPr>
      <a:endParaRPr lang="de-DE"/>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680580431213892E-2"/>
          <c:y val="3.6981589612791986E-2"/>
          <c:w val="0.71298102808318375"/>
          <c:h val="0.88622841439232014"/>
        </c:manualLayout>
      </c:layout>
      <c:barChart>
        <c:barDir val="col"/>
        <c:grouping val="stacked"/>
        <c:varyColors val="0"/>
        <c:ser>
          <c:idx val="0"/>
          <c:order val="0"/>
          <c:tx>
            <c:strRef>
              <c:f>Tabelle1!$B$1</c:f>
              <c:strCache>
                <c:ptCount val="1"/>
                <c:pt idx="0">
                  <c:v>Data series 1</c:v>
                </c:pt>
              </c:strCache>
            </c:strRef>
          </c:tx>
          <c:spPr>
            <a:solidFill>
              <a:srgbClr val="00646E"/>
            </a:solidFill>
            <a:ln w="19050">
              <a:solidFill>
                <a:schemeClr val="bg1"/>
              </a:solidFill>
            </a:ln>
            <a:effectLst/>
          </c:spPr>
          <c:invertIfNegative val="0"/>
          <c:cat>
            <c:strRef>
              <c:f>Tabelle1!$A$2:$A$7</c:f>
              <c:strCache>
                <c:ptCount val="6"/>
                <c:pt idx="0">
                  <c:v>Category 1</c:v>
                </c:pt>
                <c:pt idx="1">
                  <c:v>Category 2</c:v>
                </c:pt>
                <c:pt idx="2">
                  <c:v>Category 3</c:v>
                </c:pt>
                <c:pt idx="3">
                  <c:v>Category 4</c:v>
                </c:pt>
                <c:pt idx="4">
                  <c:v>Category 5</c:v>
                </c:pt>
                <c:pt idx="5">
                  <c:v>Category 6</c:v>
                </c:pt>
              </c:strCache>
            </c:strRef>
          </c:cat>
          <c:val>
            <c:numRef>
              <c:f>Tabelle1!$B$2:$B$7</c:f>
              <c:numCache>
                <c:formatCode>General</c:formatCode>
                <c:ptCount val="6"/>
                <c:pt idx="0">
                  <c:v>4.3</c:v>
                </c:pt>
                <c:pt idx="1">
                  <c:v>2.5</c:v>
                </c:pt>
                <c:pt idx="2">
                  <c:v>3.5</c:v>
                </c:pt>
                <c:pt idx="3">
                  <c:v>3</c:v>
                </c:pt>
                <c:pt idx="4">
                  <c:v>1.5</c:v>
                </c:pt>
                <c:pt idx="5">
                  <c:v>4</c:v>
                </c:pt>
              </c:numCache>
            </c:numRef>
          </c:val>
          <c:extLst>
            <c:ext xmlns:c16="http://schemas.microsoft.com/office/drawing/2014/chart" uri="{C3380CC4-5D6E-409C-BE32-E72D297353CC}">
              <c16:uniqueId val="{00000000-56D1-47F0-8E36-1F5295638CE4}"/>
            </c:ext>
          </c:extLst>
        </c:ser>
        <c:ser>
          <c:idx val="1"/>
          <c:order val="1"/>
          <c:tx>
            <c:strRef>
              <c:f>Tabelle1!$C$1</c:f>
              <c:strCache>
                <c:ptCount val="1"/>
                <c:pt idx="0">
                  <c:v>Data series 2</c:v>
                </c:pt>
              </c:strCache>
            </c:strRef>
          </c:tx>
          <c:spPr>
            <a:solidFill>
              <a:srgbClr val="00AF8E"/>
            </a:solidFill>
            <a:ln w="19050">
              <a:solidFill>
                <a:schemeClr val="bg1"/>
              </a:solidFill>
            </a:ln>
            <a:effectLst/>
          </c:spPr>
          <c:invertIfNegative val="0"/>
          <c:cat>
            <c:strRef>
              <c:f>Tabelle1!$A$2:$A$7</c:f>
              <c:strCache>
                <c:ptCount val="6"/>
                <c:pt idx="0">
                  <c:v>Category 1</c:v>
                </c:pt>
                <c:pt idx="1">
                  <c:v>Category 2</c:v>
                </c:pt>
                <c:pt idx="2">
                  <c:v>Category 3</c:v>
                </c:pt>
                <c:pt idx="3">
                  <c:v>Category 4</c:v>
                </c:pt>
                <c:pt idx="4">
                  <c:v>Category 5</c:v>
                </c:pt>
                <c:pt idx="5">
                  <c:v>Category 6</c:v>
                </c:pt>
              </c:strCache>
            </c:strRef>
          </c:cat>
          <c:val>
            <c:numRef>
              <c:f>Tabelle1!$C$2:$C$7</c:f>
              <c:numCache>
                <c:formatCode>General</c:formatCode>
                <c:ptCount val="6"/>
                <c:pt idx="0">
                  <c:v>2.4</c:v>
                </c:pt>
                <c:pt idx="1">
                  <c:v>4.4000000000000004</c:v>
                </c:pt>
                <c:pt idx="2">
                  <c:v>1.8</c:v>
                </c:pt>
                <c:pt idx="3">
                  <c:v>2</c:v>
                </c:pt>
                <c:pt idx="4">
                  <c:v>2</c:v>
                </c:pt>
                <c:pt idx="5">
                  <c:v>3</c:v>
                </c:pt>
              </c:numCache>
            </c:numRef>
          </c:val>
          <c:extLst>
            <c:ext xmlns:c16="http://schemas.microsoft.com/office/drawing/2014/chart" uri="{C3380CC4-5D6E-409C-BE32-E72D297353CC}">
              <c16:uniqueId val="{00000001-56D1-47F0-8E36-1F5295638CE4}"/>
            </c:ext>
          </c:extLst>
        </c:ser>
        <c:ser>
          <c:idx val="2"/>
          <c:order val="2"/>
          <c:tx>
            <c:strRef>
              <c:f>Tabelle1!$D$1</c:f>
              <c:strCache>
                <c:ptCount val="1"/>
                <c:pt idx="0">
                  <c:v>Data series 3</c:v>
                </c:pt>
              </c:strCache>
            </c:strRef>
          </c:tx>
          <c:spPr>
            <a:solidFill>
              <a:srgbClr val="00FFB9"/>
            </a:solidFill>
            <a:ln w="19050">
              <a:solidFill>
                <a:schemeClr val="bg1"/>
              </a:solidFill>
            </a:ln>
            <a:effectLst/>
          </c:spPr>
          <c:invertIfNegative val="0"/>
          <c:cat>
            <c:strRef>
              <c:f>Tabelle1!$A$2:$A$7</c:f>
              <c:strCache>
                <c:ptCount val="6"/>
                <c:pt idx="0">
                  <c:v>Category 1</c:v>
                </c:pt>
                <c:pt idx="1">
                  <c:v>Category 2</c:v>
                </c:pt>
                <c:pt idx="2">
                  <c:v>Category 3</c:v>
                </c:pt>
                <c:pt idx="3">
                  <c:v>Category 4</c:v>
                </c:pt>
                <c:pt idx="4">
                  <c:v>Category 5</c:v>
                </c:pt>
                <c:pt idx="5">
                  <c:v>Category 6</c:v>
                </c:pt>
              </c:strCache>
            </c:strRef>
          </c:cat>
          <c:val>
            <c:numRef>
              <c:f>Tabelle1!$D$2:$D$7</c:f>
              <c:numCache>
                <c:formatCode>General</c:formatCode>
                <c:ptCount val="6"/>
                <c:pt idx="0">
                  <c:v>2</c:v>
                </c:pt>
                <c:pt idx="1">
                  <c:v>2</c:v>
                </c:pt>
                <c:pt idx="2">
                  <c:v>3</c:v>
                </c:pt>
                <c:pt idx="3">
                  <c:v>4.3</c:v>
                </c:pt>
                <c:pt idx="4">
                  <c:v>2.5</c:v>
                </c:pt>
                <c:pt idx="5">
                  <c:v>3.5</c:v>
                </c:pt>
              </c:numCache>
            </c:numRef>
          </c:val>
          <c:extLst>
            <c:ext xmlns:c16="http://schemas.microsoft.com/office/drawing/2014/chart" uri="{C3380CC4-5D6E-409C-BE32-E72D297353CC}">
              <c16:uniqueId val="{00000002-56D1-47F0-8E36-1F5295638CE4}"/>
            </c:ext>
          </c:extLst>
        </c:ser>
        <c:dLbls>
          <c:showLegendKey val="0"/>
          <c:showVal val="0"/>
          <c:showCatName val="0"/>
          <c:showSerName val="0"/>
          <c:showPercent val="0"/>
          <c:showBubbleSize val="0"/>
        </c:dLbls>
        <c:gapWidth val="255"/>
        <c:overlap val="100"/>
        <c:axId val="117478528"/>
        <c:axId val="117480064"/>
      </c:barChart>
      <c:catAx>
        <c:axId val="117478528"/>
        <c:scaling>
          <c:orientation val="minMax"/>
        </c:scaling>
        <c:delete val="0"/>
        <c:axPos val="b"/>
        <c:numFmt formatCode="General" sourceLinked="0"/>
        <c:majorTickMark val="none"/>
        <c:minorTickMark val="none"/>
        <c:tickLblPos val="nextTo"/>
        <c:spPr>
          <a:noFill/>
          <a:ln w="6350" cap="flat" cmpd="sng" algn="ctr">
            <a:solidFill>
              <a:srgbClr val="66667E"/>
            </a:solidFill>
            <a:prstDash val="solid"/>
            <a:round/>
          </a:ln>
          <a:effectLst/>
        </c:spPr>
        <c:txPr>
          <a:bodyPr rot="-60000000" spcFirstLastPara="1" vertOverflow="ellipsis" vert="horz" wrap="square" anchor="ctr" anchorCtr="1"/>
          <a:lstStyle/>
          <a:p>
            <a:pPr>
              <a:defRPr sz="1200" b="1" i="0" u="none" strike="noStrike" kern="1200" baseline="0">
                <a:solidFill>
                  <a:srgbClr val="9999A9"/>
                </a:solidFill>
                <a:latin typeface="+mn-lt"/>
                <a:ea typeface="+mn-ea"/>
                <a:cs typeface="+mn-cs"/>
              </a:defRPr>
            </a:pPr>
            <a:endParaRPr lang="de-DE"/>
          </a:p>
        </c:txPr>
        <c:crossAx val="117480064"/>
        <c:crosses val="autoZero"/>
        <c:auto val="1"/>
        <c:lblAlgn val="ctr"/>
        <c:lblOffset val="100"/>
        <c:noMultiLvlLbl val="0"/>
      </c:catAx>
      <c:valAx>
        <c:axId val="117480064"/>
        <c:scaling>
          <c:orientation val="minMax"/>
        </c:scaling>
        <c:delete val="0"/>
        <c:axPos val="l"/>
        <c:majorGridlines>
          <c:spPr>
            <a:ln w="6350" cap="flat" cmpd="sng" algn="ctr">
              <a:solidFill>
                <a:srgbClr val="9999A9"/>
              </a:solidFill>
              <a:prstDash val="solid"/>
              <a:round/>
            </a:ln>
            <a:effectLst/>
          </c:spPr>
        </c:majorGridlines>
        <c:numFmt formatCode="General" sourceLinked="1"/>
        <c:majorTickMark val="out"/>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sz="1200" b="1" i="0" u="none" strike="noStrike" kern="1200" baseline="0">
                <a:solidFill>
                  <a:srgbClr val="9999A9"/>
                </a:solidFill>
                <a:latin typeface="+mn-lt"/>
                <a:ea typeface="+mn-ea"/>
                <a:cs typeface="+mn-cs"/>
              </a:defRPr>
            </a:pPr>
            <a:endParaRPr lang="de-DE"/>
          </a:p>
        </c:txPr>
        <c:crossAx val="117478528"/>
        <c:crosses val="autoZero"/>
        <c:crossBetween val="between"/>
      </c:valAx>
      <c:spPr>
        <a:noFill/>
        <a:ln>
          <a:noFill/>
        </a:ln>
        <a:effectLst/>
      </c:spPr>
    </c:plotArea>
    <c:legend>
      <c:legendPos val="r"/>
      <c:legendEntry>
        <c:idx val="0"/>
        <c:txPr>
          <a:bodyPr rot="0" spcFirstLastPara="1" vertOverflow="ellipsis" vert="horz" wrap="square" anchor="ctr" anchorCtr="1"/>
          <a:lstStyle/>
          <a:p>
            <a:pPr>
              <a:defRPr sz="1200" b="0" i="0" u="none" strike="noStrike" kern="1200" baseline="0">
                <a:solidFill>
                  <a:srgbClr val="9999A9"/>
                </a:solidFill>
                <a:latin typeface="+mn-lt"/>
                <a:ea typeface="+mn-ea"/>
                <a:cs typeface="+mn-cs"/>
              </a:defRPr>
            </a:pPr>
            <a:endParaRPr lang="de-DE"/>
          </a:p>
        </c:txPr>
      </c:legendEntry>
      <c:legendEntry>
        <c:idx val="1"/>
        <c:txPr>
          <a:bodyPr rot="0" spcFirstLastPara="1" vertOverflow="ellipsis" vert="horz" wrap="square" anchor="ctr" anchorCtr="1"/>
          <a:lstStyle/>
          <a:p>
            <a:pPr>
              <a:defRPr sz="1200" b="0" i="0" u="none" strike="noStrike" kern="1200" baseline="0">
                <a:solidFill>
                  <a:srgbClr val="9999A9"/>
                </a:solidFill>
                <a:latin typeface="+mn-lt"/>
                <a:ea typeface="+mn-ea"/>
                <a:cs typeface="+mn-cs"/>
              </a:defRPr>
            </a:pPr>
            <a:endParaRPr lang="de-DE"/>
          </a:p>
        </c:txPr>
      </c:legendEntry>
      <c:legendEntry>
        <c:idx val="2"/>
        <c:txPr>
          <a:bodyPr rot="0" spcFirstLastPara="1" vertOverflow="ellipsis" vert="horz" wrap="square" anchor="ctr" anchorCtr="1"/>
          <a:lstStyle/>
          <a:p>
            <a:pPr>
              <a:defRPr sz="1200" b="0" i="0" u="none" strike="noStrike" kern="1200" baseline="0">
                <a:solidFill>
                  <a:srgbClr val="9999A9"/>
                </a:solidFill>
                <a:latin typeface="+mn-lt"/>
                <a:ea typeface="+mn-ea"/>
                <a:cs typeface="+mn-cs"/>
              </a:defRPr>
            </a:pPr>
            <a:endParaRPr lang="de-DE"/>
          </a:p>
        </c:txPr>
      </c:legendEntry>
      <c:layout>
        <c:manualLayout>
          <c:xMode val="edge"/>
          <c:yMode val="edge"/>
          <c:x val="0.86609073609549347"/>
          <c:y val="0.73560375517340137"/>
          <c:w val="0.11694006233805601"/>
          <c:h val="0.18592008438709307"/>
        </c:manualLayout>
      </c:layout>
      <c:overlay val="0"/>
      <c:spPr>
        <a:noFill/>
        <a:ln>
          <a:noFill/>
        </a:ln>
        <a:effectLst/>
      </c:spPr>
      <c:txPr>
        <a:bodyPr rot="0" spcFirstLastPara="1" vertOverflow="ellipsis" vert="horz" wrap="square" anchor="ctr" anchorCtr="1"/>
        <a:lstStyle/>
        <a:p>
          <a:pPr>
            <a:defRPr sz="1400" b="0" i="0" u="none" strike="noStrike" kern="1200" baseline="0">
              <a:solidFill>
                <a:srgbClr val="9999A9"/>
              </a:solidFill>
              <a:latin typeface="+mn-lt"/>
              <a:ea typeface="+mn-ea"/>
              <a:cs typeface="+mn-cs"/>
            </a:defRPr>
          </a:pPr>
          <a:endParaRPr lang="de-DE"/>
        </a:p>
      </c:txPr>
    </c:legend>
    <c:plotVisOnly val="1"/>
    <c:dispBlanksAs val="gap"/>
    <c:showDLblsOverMax val="0"/>
  </c:chart>
  <c:spPr>
    <a:noFill/>
    <a:ln w="6350" cap="flat" cmpd="sng" algn="ctr">
      <a:noFill/>
      <a:prstDash val="solid"/>
      <a:miter lim="800000"/>
    </a:ln>
    <a:effectLst/>
  </c:spPr>
  <c:txPr>
    <a:bodyPr/>
    <a:lstStyle/>
    <a:p>
      <a:pPr>
        <a:defRPr sz="1800"/>
      </a:pPr>
      <a:endParaRPr lang="de-DE"/>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680580431213892E-2"/>
          <c:y val="3.6981589612791986E-2"/>
          <c:w val="0.71298102808318375"/>
          <c:h val="0.88622841439232014"/>
        </c:manualLayout>
      </c:layout>
      <c:barChart>
        <c:barDir val="col"/>
        <c:grouping val="stacked"/>
        <c:varyColors val="0"/>
        <c:ser>
          <c:idx val="0"/>
          <c:order val="0"/>
          <c:tx>
            <c:strRef>
              <c:f>Tabelle1!$B$1</c:f>
              <c:strCache>
                <c:ptCount val="1"/>
                <c:pt idx="0">
                  <c:v>Data series 1</c:v>
                </c:pt>
              </c:strCache>
            </c:strRef>
          </c:tx>
          <c:spPr>
            <a:solidFill>
              <a:srgbClr val="00557C"/>
            </a:solidFill>
            <a:ln w="19050">
              <a:solidFill>
                <a:schemeClr val="bg1"/>
              </a:solidFill>
            </a:ln>
            <a:effectLst/>
          </c:spPr>
          <c:invertIfNegative val="0"/>
          <c:cat>
            <c:strRef>
              <c:f>Tabelle1!$A$2:$A$7</c:f>
              <c:strCache>
                <c:ptCount val="6"/>
                <c:pt idx="0">
                  <c:v>Category 1</c:v>
                </c:pt>
                <c:pt idx="1">
                  <c:v>Category 2</c:v>
                </c:pt>
                <c:pt idx="2">
                  <c:v>Category 3</c:v>
                </c:pt>
                <c:pt idx="3">
                  <c:v>Category 4</c:v>
                </c:pt>
                <c:pt idx="4">
                  <c:v>Category 5</c:v>
                </c:pt>
                <c:pt idx="5">
                  <c:v>Category 6</c:v>
                </c:pt>
              </c:strCache>
            </c:strRef>
          </c:cat>
          <c:val>
            <c:numRef>
              <c:f>Tabelle1!$B$2:$B$7</c:f>
              <c:numCache>
                <c:formatCode>General</c:formatCode>
                <c:ptCount val="6"/>
                <c:pt idx="0">
                  <c:v>4.3</c:v>
                </c:pt>
                <c:pt idx="1">
                  <c:v>2.5</c:v>
                </c:pt>
                <c:pt idx="2">
                  <c:v>3.5</c:v>
                </c:pt>
                <c:pt idx="3">
                  <c:v>3</c:v>
                </c:pt>
                <c:pt idx="4">
                  <c:v>1.5</c:v>
                </c:pt>
                <c:pt idx="5">
                  <c:v>4</c:v>
                </c:pt>
              </c:numCache>
            </c:numRef>
          </c:val>
          <c:extLst>
            <c:ext xmlns:c16="http://schemas.microsoft.com/office/drawing/2014/chart" uri="{C3380CC4-5D6E-409C-BE32-E72D297353CC}">
              <c16:uniqueId val="{00000000-56D1-47F0-8E36-1F5295638CE4}"/>
            </c:ext>
          </c:extLst>
        </c:ser>
        <c:ser>
          <c:idx val="1"/>
          <c:order val="1"/>
          <c:tx>
            <c:strRef>
              <c:f>Tabelle1!$C$1</c:f>
              <c:strCache>
                <c:ptCount val="1"/>
                <c:pt idx="0">
                  <c:v>Data series 2</c:v>
                </c:pt>
              </c:strCache>
            </c:strRef>
          </c:tx>
          <c:spPr>
            <a:solidFill>
              <a:srgbClr val="0087BE"/>
            </a:solidFill>
            <a:ln w="19050">
              <a:solidFill>
                <a:schemeClr val="bg1"/>
              </a:solidFill>
            </a:ln>
            <a:effectLst/>
          </c:spPr>
          <c:invertIfNegative val="0"/>
          <c:cat>
            <c:strRef>
              <c:f>Tabelle1!$A$2:$A$7</c:f>
              <c:strCache>
                <c:ptCount val="6"/>
                <c:pt idx="0">
                  <c:v>Category 1</c:v>
                </c:pt>
                <c:pt idx="1">
                  <c:v>Category 2</c:v>
                </c:pt>
                <c:pt idx="2">
                  <c:v>Category 3</c:v>
                </c:pt>
                <c:pt idx="3">
                  <c:v>Category 4</c:v>
                </c:pt>
                <c:pt idx="4">
                  <c:v>Category 5</c:v>
                </c:pt>
                <c:pt idx="5">
                  <c:v>Category 6</c:v>
                </c:pt>
              </c:strCache>
            </c:strRef>
          </c:cat>
          <c:val>
            <c:numRef>
              <c:f>Tabelle1!$C$2:$C$7</c:f>
              <c:numCache>
                <c:formatCode>General</c:formatCode>
                <c:ptCount val="6"/>
                <c:pt idx="0">
                  <c:v>2.4</c:v>
                </c:pt>
                <c:pt idx="1">
                  <c:v>4.4000000000000004</c:v>
                </c:pt>
                <c:pt idx="2">
                  <c:v>1.8</c:v>
                </c:pt>
                <c:pt idx="3">
                  <c:v>2</c:v>
                </c:pt>
                <c:pt idx="4">
                  <c:v>2</c:v>
                </c:pt>
                <c:pt idx="5">
                  <c:v>3</c:v>
                </c:pt>
              </c:numCache>
            </c:numRef>
          </c:val>
          <c:extLst>
            <c:ext xmlns:c16="http://schemas.microsoft.com/office/drawing/2014/chart" uri="{C3380CC4-5D6E-409C-BE32-E72D297353CC}">
              <c16:uniqueId val="{00000001-56D1-47F0-8E36-1F5295638CE4}"/>
            </c:ext>
          </c:extLst>
        </c:ser>
        <c:ser>
          <c:idx val="2"/>
          <c:order val="2"/>
          <c:tx>
            <c:strRef>
              <c:f>Tabelle1!$D$1</c:f>
              <c:strCache>
                <c:ptCount val="1"/>
                <c:pt idx="0">
                  <c:v>Data series 3</c:v>
                </c:pt>
              </c:strCache>
            </c:strRef>
          </c:tx>
          <c:spPr>
            <a:solidFill>
              <a:srgbClr val="00BEDC"/>
            </a:solidFill>
            <a:ln w="19050">
              <a:solidFill>
                <a:schemeClr val="bg1"/>
              </a:solidFill>
            </a:ln>
            <a:effectLst/>
          </c:spPr>
          <c:invertIfNegative val="0"/>
          <c:cat>
            <c:strRef>
              <c:f>Tabelle1!$A$2:$A$7</c:f>
              <c:strCache>
                <c:ptCount val="6"/>
                <c:pt idx="0">
                  <c:v>Category 1</c:v>
                </c:pt>
                <c:pt idx="1">
                  <c:v>Category 2</c:v>
                </c:pt>
                <c:pt idx="2">
                  <c:v>Category 3</c:v>
                </c:pt>
                <c:pt idx="3">
                  <c:v>Category 4</c:v>
                </c:pt>
                <c:pt idx="4">
                  <c:v>Category 5</c:v>
                </c:pt>
                <c:pt idx="5">
                  <c:v>Category 6</c:v>
                </c:pt>
              </c:strCache>
            </c:strRef>
          </c:cat>
          <c:val>
            <c:numRef>
              <c:f>Tabelle1!$D$2:$D$7</c:f>
              <c:numCache>
                <c:formatCode>General</c:formatCode>
                <c:ptCount val="6"/>
                <c:pt idx="0">
                  <c:v>2</c:v>
                </c:pt>
                <c:pt idx="1">
                  <c:v>2</c:v>
                </c:pt>
                <c:pt idx="2">
                  <c:v>3</c:v>
                </c:pt>
                <c:pt idx="3">
                  <c:v>4.3</c:v>
                </c:pt>
                <c:pt idx="4">
                  <c:v>2.5</c:v>
                </c:pt>
                <c:pt idx="5">
                  <c:v>3.5</c:v>
                </c:pt>
              </c:numCache>
            </c:numRef>
          </c:val>
          <c:extLst>
            <c:ext xmlns:c16="http://schemas.microsoft.com/office/drawing/2014/chart" uri="{C3380CC4-5D6E-409C-BE32-E72D297353CC}">
              <c16:uniqueId val="{00000002-56D1-47F0-8E36-1F5295638CE4}"/>
            </c:ext>
          </c:extLst>
        </c:ser>
        <c:dLbls>
          <c:showLegendKey val="0"/>
          <c:showVal val="0"/>
          <c:showCatName val="0"/>
          <c:showSerName val="0"/>
          <c:showPercent val="0"/>
          <c:showBubbleSize val="0"/>
        </c:dLbls>
        <c:gapWidth val="255"/>
        <c:overlap val="100"/>
        <c:axId val="117478528"/>
        <c:axId val="117480064"/>
      </c:barChart>
      <c:catAx>
        <c:axId val="117478528"/>
        <c:scaling>
          <c:orientation val="minMax"/>
        </c:scaling>
        <c:delete val="0"/>
        <c:axPos val="b"/>
        <c:numFmt formatCode="General" sourceLinked="0"/>
        <c:majorTickMark val="none"/>
        <c:minorTickMark val="none"/>
        <c:tickLblPos val="nextTo"/>
        <c:spPr>
          <a:noFill/>
          <a:ln w="6350" cap="flat" cmpd="sng" algn="ctr">
            <a:solidFill>
              <a:srgbClr val="66667E"/>
            </a:solidFill>
            <a:prstDash val="solid"/>
            <a:round/>
          </a:ln>
          <a:effectLst/>
        </c:spPr>
        <c:txPr>
          <a:bodyPr rot="-60000000" spcFirstLastPara="1" vertOverflow="ellipsis" vert="horz" wrap="square" anchor="ctr" anchorCtr="1"/>
          <a:lstStyle/>
          <a:p>
            <a:pPr>
              <a:defRPr sz="1200" b="1" i="0" u="none" strike="noStrike" kern="1200" baseline="0">
                <a:solidFill>
                  <a:srgbClr val="66667E"/>
                </a:solidFill>
                <a:latin typeface="+mn-lt"/>
                <a:ea typeface="+mn-ea"/>
                <a:cs typeface="+mn-cs"/>
              </a:defRPr>
            </a:pPr>
            <a:endParaRPr lang="de-DE"/>
          </a:p>
        </c:txPr>
        <c:crossAx val="117480064"/>
        <c:crosses val="autoZero"/>
        <c:auto val="1"/>
        <c:lblAlgn val="ctr"/>
        <c:lblOffset val="100"/>
        <c:noMultiLvlLbl val="0"/>
      </c:catAx>
      <c:valAx>
        <c:axId val="117480064"/>
        <c:scaling>
          <c:orientation val="minMax"/>
        </c:scaling>
        <c:delete val="0"/>
        <c:axPos val="l"/>
        <c:majorGridlines>
          <c:spPr>
            <a:ln w="6350" cap="flat" cmpd="sng" algn="ctr">
              <a:solidFill>
                <a:srgbClr val="66667E"/>
              </a:solidFill>
              <a:prstDash val="solid"/>
              <a:round/>
            </a:ln>
            <a:effectLst/>
          </c:spPr>
        </c:majorGridlines>
        <c:numFmt formatCode="General" sourceLinked="1"/>
        <c:majorTickMark val="out"/>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sz="1200" b="1" i="0" u="none" strike="noStrike" kern="1200" baseline="0">
                <a:solidFill>
                  <a:srgbClr val="66667E"/>
                </a:solidFill>
                <a:latin typeface="+mn-lt"/>
                <a:ea typeface="+mn-ea"/>
                <a:cs typeface="+mn-cs"/>
              </a:defRPr>
            </a:pPr>
            <a:endParaRPr lang="de-DE"/>
          </a:p>
        </c:txPr>
        <c:crossAx val="117478528"/>
        <c:crosses val="autoZero"/>
        <c:crossBetween val="between"/>
      </c:valAx>
      <c:spPr>
        <a:noFill/>
        <a:ln>
          <a:noFill/>
        </a:ln>
        <a:effectLst/>
      </c:spPr>
    </c:plotArea>
    <c:legend>
      <c:legendPos val="r"/>
      <c:legendEntry>
        <c:idx val="0"/>
        <c:txPr>
          <a:bodyPr rot="0" spcFirstLastPara="1" vertOverflow="ellipsis" vert="horz" wrap="square" anchor="ctr" anchorCtr="1"/>
          <a:lstStyle/>
          <a:p>
            <a:pPr>
              <a:defRPr sz="1200" b="0" i="0" u="none" strike="noStrike" kern="1200" baseline="0">
                <a:solidFill>
                  <a:srgbClr val="66667E"/>
                </a:solidFill>
                <a:latin typeface="+mn-lt"/>
                <a:ea typeface="+mn-ea"/>
                <a:cs typeface="+mn-cs"/>
              </a:defRPr>
            </a:pPr>
            <a:endParaRPr lang="de-DE"/>
          </a:p>
        </c:txPr>
      </c:legendEntry>
      <c:legendEntry>
        <c:idx val="1"/>
        <c:txPr>
          <a:bodyPr rot="0" spcFirstLastPara="1" vertOverflow="ellipsis" vert="horz" wrap="square" anchor="ctr" anchorCtr="1"/>
          <a:lstStyle/>
          <a:p>
            <a:pPr>
              <a:defRPr sz="1200" b="0" i="0" u="none" strike="noStrike" kern="1200" baseline="0">
                <a:solidFill>
                  <a:srgbClr val="66667E"/>
                </a:solidFill>
                <a:latin typeface="+mn-lt"/>
                <a:ea typeface="+mn-ea"/>
                <a:cs typeface="+mn-cs"/>
              </a:defRPr>
            </a:pPr>
            <a:endParaRPr lang="de-DE"/>
          </a:p>
        </c:txPr>
      </c:legendEntry>
      <c:legendEntry>
        <c:idx val="2"/>
        <c:txPr>
          <a:bodyPr rot="0" spcFirstLastPara="1" vertOverflow="ellipsis" vert="horz" wrap="square" anchor="ctr" anchorCtr="1"/>
          <a:lstStyle/>
          <a:p>
            <a:pPr>
              <a:defRPr sz="1200" b="0" i="0" u="none" strike="noStrike" kern="1200" baseline="0">
                <a:solidFill>
                  <a:srgbClr val="66667E"/>
                </a:solidFill>
                <a:latin typeface="+mn-lt"/>
                <a:ea typeface="+mn-ea"/>
                <a:cs typeface="+mn-cs"/>
              </a:defRPr>
            </a:pPr>
            <a:endParaRPr lang="de-DE"/>
          </a:p>
        </c:txPr>
      </c:legendEntry>
      <c:layout>
        <c:manualLayout>
          <c:xMode val="edge"/>
          <c:yMode val="edge"/>
          <c:x val="0.86609073609549347"/>
          <c:y val="0.73560375517340137"/>
          <c:w val="0.11694006233805601"/>
          <c:h val="0.18592008438709307"/>
        </c:manualLayout>
      </c:layout>
      <c:overlay val="0"/>
      <c:spPr>
        <a:noFill/>
        <a:ln>
          <a:noFill/>
        </a:ln>
        <a:effectLst/>
      </c:spPr>
      <c:txPr>
        <a:bodyPr rot="0" spcFirstLastPara="1" vertOverflow="ellipsis" vert="horz" wrap="square" anchor="ctr" anchorCtr="1"/>
        <a:lstStyle/>
        <a:p>
          <a:pPr>
            <a:defRPr sz="1400" b="0" i="0" u="none" strike="noStrike" kern="1200" baseline="0">
              <a:solidFill>
                <a:srgbClr val="66667E"/>
              </a:solidFill>
              <a:latin typeface="+mn-lt"/>
              <a:ea typeface="+mn-ea"/>
              <a:cs typeface="+mn-cs"/>
            </a:defRPr>
          </a:pPr>
          <a:endParaRPr lang="de-DE"/>
        </a:p>
      </c:txPr>
    </c:legend>
    <c:plotVisOnly val="1"/>
    <c:dispBlanksAs val="gap"/>
    <c:showDLblsOverMax val="0"/>
  </c:chart>
  <c:spPr>
    <a:noFill/>
    <a:ln w="6350" cap="flat" cmpd="sng" algn="ctr">
      <a:noFill/>
      <a:prstDash val="solid"/>
      <a:miter lim="800000"/>
    </a:ln>
    <a:effectLst/>
  </c:spPr>
  <c:txPr>
    <a:bodyPr/>
    <a:lstStyle/>
    <a:p>
      <a:pPr>
        <a:defRPr sz="1800"/>
      </a:pPr>
      <a:endParaRPr lang="de-DE"/>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680580431213892E-2"/>
          <c:y val="3.6981589612791986E-2"/>
          <c:w val="0.71298102808318375"/>
          <c:h val="0.88622841439232014"/>
        </c:manualLayout>
      </c:layout>
      <c:barChart>
        <c:barDir val="col"/>
        <c:grouping val="stacked"/>
        <c:varyColors val="0"/>
        <c:ser>
          <c:idx val="0"/>
          <c:order val="0"/>
          <c:tx>
            <c:strRef>
              <c:f>Tabelle1!$B$1</c:f>
              <c:strCache>
                <c:ptCount val="1"/>
                <c:pt idx="0">
                  <c:v>Data series 1</c:v>
                </c:pt>
              </c:strCache>
            </c:strRef>
          </c:tx>
          <c:spPr>
            <a:solidFill>
              <a:srgbClr val="00557C"/>
            </a:solidFill>
            <a:ln w="19050">
              <a:solidFill>
                <a:schemeClr val="bg1"/>
              </a:solidFill>
            </a:ln>
            <a:effectLst/>
          </c:spPr>
          <c:invertIfNegative val="0"/>
          <c:cat>
            <c:strRef>
              <c:f>Tabelle1!$A$2:$A$7</c:f>
              <c:strCache>
                <c:ptCount val="6"/>
                <c:pt idx="0">
                  <c:v>Category 1</c:v>
                </c:pt>
                <c:pt idx="1">
                  <c:v>Category 2</c:v>
                </c:pt>
                <c:pt idx="2">
                  <c:v>Category 3</c:v>
                </c:pt>
                <c:pt idx="3">
                  <c:v>Category 4</c:v>
                </c:pt>
                <c:pt idx="4">
                  <c:v>Category 5</c:v>
                </c:pt>
                <c:pt idx="5">
                  <c:v>Category 6</c:v>
                </c:pt>
              </c:strCache>
            </c:strRef>
          </c:cat>
          <c:val>
            <c:numRef>
              <c:f>Tabelle1!$B$2:$B$7</c:f>
              <c:numCache>
                <c:formatCode>General</c:formatCode>
                <c:ptCount val="6"/>
                <c:pt idx="0">
                  <c:v>4.3</c:v>
                </c:pt>
                <c:pt idx="1">
                  <c:v>2.5</c:v>
                </c:pt>
                <c:pt idx="2">
                  <c:v>3.5</c:v>
                </c:pt>
                <c:pt idx="3">
                  <c:v>3</c:v>
                </c:pt>
                <c:pt idx="4">
                  <c:v>1.5</c:v>
                </c:pt>
                <c:pt idx="5">
                  <c:v>4</c:v>
                </c:pt>
              </c:numCache>
            </c:numRef>
          </c:val>
          <c:extLst>
            <c:ext xmlns:c16="http://schemas.microsoft.com/office/drawing/2014/chart" uri="{C3380CC4-5D6E-409C-BE32-E72D297353CC}">
              <c16:uniqueId val="{00000000-56D1-47F0-8E36-1F5295638CE4}"/>
            </c:ext>
          </c:extLst>
        </c:ser>
        <c:ser>
          <c:idx val="1"/>
          <c:order val="1"/>
          <c:tx>
            <c:strRef>
              <c:f>Tabelle1!$C$1</c:f>
              <c:strCache>
                <c:ptCount val="1"/>
                <c:pt idx="0">
                  <c:v>Data series 2</c:v>
                </c:pt>
              </c:strCache>
            </c:strRef>
          </c:tx>
          <c:spPr>
            <a:solidFill>
              <a:srgbClr val="0087BE"/>
            </a:solidFill>
            <a:ln w="19050">
              <a:solidFill>
                <a:schemeClr val="bg1"/>
              </a:solidFill>
            </a:ln>
            <a:effectLst/>
          </c:spPr>
          <c:invertIfNegative val="0"/>
          <c:cat>
            <c:strRef>
              <c:f>Tabelle1!$A$2:$A$7</c:f>
              <c:strCache>
                <c:ptCount val="6"/>
                <c:pt idx="0">
                  <c:v>Category 1</c:v>
                </c:pt>
                <c:pt idx="1">
                  <c:v>Category 2</c:v>
                </c:pt>
                <c:pt idx="2">
                  <c:v>Category 3</c:v>
                </c:pt>
                <c:pt idx="3">
                  <c:v>Category 4</c:v>
                </c:pt>
                <c:pt idx="4">
                  <c:v>Category 5</c:v>
                </c:pt>
                <c:pt idx="5">
                  <c:v>Category 6</c:v>
                </c:pt>
              </c:strCache>
            </c:strRef>
          </c:cat>
          <c:val>
            <c:numRef>
              <c:f>Tabelle1!$C$2:$C$7</c:f>
              <c:numCache>
                <c:formatCode>General</c:formatCode>
                <c:ptCount val="6"/>
                <c:pt idx="0">
                  <c:v>2.4</c:v>
                </c:pt>
                <c:pt idx="1">
                  <c:v>4.4000000000000004</c:v>
                </c:pt>
                <c:pt idx="2">
                  <c:v>1.8</c:v>
                </c:pt>
                <c:pt idx="3">
                  <c:v>2</c:v>
                </c:pt>
                <c:pt idx="4">
                  <c:v>2</c:v>
                </c:pt>
                <c:pt idx="5">
                  <c:v>3</c:v>
                </c:pt>
              </c:numCache>
            </c:numRef>
          </c:val>
          <c:extLst>
            <c:ext xmlns:c16="http://schemas.microsoft.com/office/drawing/2014/chart" uri="{C3380CC4-5D6E-409C-BE32-E72D297353CC}">
              <c16:uniqueId val="{00000001-56D1-47F0-8E36-1F5295638CE4}"/>
            </c:ext>
          </c:extLst>
        </c:ser>
        <c:ser>
          <c:idx val="2"/>
          <c:order val="2"/>
          <c:tx>
            <c:strRef>
              <c:f>Tabelle1!$D$1</c:f>
              <c:strCache>
                <c:ptCount val="1"/>
                <c:pt idx="0">
                  <c:v>Data series 3</c:v>
                </c:pt>
              </c:strCache>
            </c:strRef>
          </c:tx>
          <c:spPr>
            <a:solidFill>
              <a:srgbClr val="00BEDC"/>
            </a:solidFill>
            <a:ln w="19050">
              <a:solidFill>
                <a:schemeClr val="bg1"/>
              </a:solidFill>
            </a:ln>
            <a:effectLst/>
          </c:spPr>
          <c:invertIfNegative val="0"/>
          <c:cat>
            <c:strRef>
              <c:f>Tabelle1!$A$2:$A$7</c:f>
              <c:strCache>
                <c:ptCount val="6"/>
                <c:pt idx="0">
                  <c:v>Category 1</c:v>
                </c:pt>
                <c:pt idx="1">
                  <c:v>Category 2</c:v>
                </c:pt>
                <c:pt idx="2">
                  <c:v>Category 3</c:v>
                </c:pt>
                <c:pt idx="3">
                  <c:v>Category 4</c:v>
                </c:pt>
                <c:pt idx="4">
                  <c:v>Category 5</c:v>
                </c:pt>
                <c:pt idx="5">
                  <c:v>Category 6</c:v>
                </c:pt>
              </c:strCache>
            </c:strRef>
          </c:cat>
          <c:val>
            <c:numRef>
              <c:f>Tabelle1!$D$2:$D$7</c:f>
              <c:numCache>
                <c:formatCode>General</c:formatCode>
                <c:ptCount val="6"/>
                <c:pt idx="0">
                  <c:v>2</c:v>
                </c:pt>
                <c:pt idx="1">
                  <c:v>2</c:v>
                </c:pt>
                <c:pt idx="2">
                  <c:v>3</c:v>
                </c:pt>
                <c:pt idx="3">
                  <c:v>4.3</c:v>
                </c:pt>
                <c:pt idx="4">
                  <c:v>2.5</c:v>
                </c:pt>
                <c:pt idx="5">
                  <c:v>3.5</c:v>
                </c:pt>
              </c:numCache>
            </c:numRef>
          </c:val>
          <c:extLst>
            <c:ext xmlns:c16="http://schemas.microsoft.com/office/drawing/2014/chart" uri="{C3380CC4-5D6E-409C-BE32-E72D297353CC}">
              <c16:uniqueId val="{00000002-56D1-47F0-8E36-1F5295638CE4}"/>
            </c:ext>
          </c:extLst>
        </c:ser>
        <c:dLbls>
          <c:showLegendKey val="0"/>
          <c:showVal val="0"/>
          <c:showCatName val="0"/>
          <c:showSerName val="0"/>
          <c:showPercent val="0"/>
          <c:showBubbleSize val="0"/>
        </c:dLbls>
        <c:gapWidth val="255"/>
        <c:overlap val="100"/>
        <c:axId val="117478528"/>
        <c:axId val="117480064"/>
      </c:barChart>
      <c:catAx>
        <c:axId val="117478528"/>
        <c:scaling>
          <c:orientation val="minMax"/>
        </c:scaling>
        <c:delete val="0"/>
        <c:axPos val="b"/>
        <c:numFmt formatCode="General" sourceLinked="0"/>
        <c:majorTickMark val="none"/>
        <c:minorTickMark val="none"/>
        <c:tickLblPos val="nextTo"/>
        <c:spPr>
          <a:noFill/>
          <a:ln w="6350" cap="flat" cmpd="sng" algn="ctr">
            <a:solidFill>
              <a:srgbClr val="66667E"/>
            </a:solidFill>
            <a:prstDash val="solid"/>
            <a:round/>
          </a:ln>
          <a:effectLst/>
        </c:spPr>
        <c:txPr>
          <a:bodyPr rot="-60000000" spcFirstLastPara="1" vertOverflow="ellipsis" vert="horz" wrap="square" anchor="ctr" anchorCtr="1"/>
          <a:lstStyle/>
          <a:p>
            <a:pPr>
              <a:defRPr sz="1200" b="1" i="0" u="none" strike="noStrike" kern="1200" baseline="0">
                <a:solidFill>
                  <a:srgbClr val="9999A9"/>
                </a:solidFill>
                <a:latin typeface="+mn-lt"/>
                <a:ea typeface="+mn-ea"/>
                <a:cs typeface="+mn-cs"/>
              </a:defRPr>
            </a:pPr>
            <a:endParaRPr lang="de-DE"/>
          </a:p>
        </c:txPr>
        <c:crossAx val="117480064"/>
        <c:crosses val="autoZero"/>
        <c:auto val="1"/>
        <c:lblAlgn val="ctr"/>
        <c:lblOffset val="100"/>
        <c:noMultiLvlLbl val="0"/>
      </c:catAx>
      <c:valAx>
        <c:axId val="117480064"/>
        <c:scaling>
          <c:orientation val="minMax"/>
        </c:scaling>
        <c:delete val="0"/>
        <c:axPos val="l"/>
        <c:majorGridlines>
          <c:spPr>
            <a:ln w="6350" cap="flat" cmpd="sng" algn="ctr">
              <a:solidFill>
                <a:srgbClr val="9999A9"/>
              </a:solidFill>
              <a:prstDash val="solid"/>
              <a:round/>
            </a:ln>
            <a:effectLst/>
          </c:spPr>
        </c:majorGridlines>
        <c:numFmt formatCode="General" sourceLinked="1"/>
        <c:majorTickMark val="out"/>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sz="1200" b="1" i="0" u="none" strike="noStrike" kern="1200" baseline="0">
                <a:solidFill>
                  <a:srgbClr val="9999A9"/>
                </a:solidFill>
                <a:latin typeface="+mn-lt"/>
                <a:ea typeface="+mn-ea"/>
                <a:cs typeface="+mn-cs"/>
              </a:defRPr>
            </a:pPr>
            <a:endParaRPr lang="de-DE"/>
          </a:p>
        </c:txPr>
        <c:crossAx val="117478528"/>
        <c:crosses val="autoZero"/>
        <c:crossBetween val="between"/>
      </c:valAx>
      <c:spPr>
        <a:noFill/>
        <a:ln>
          <a:noFill/>
        </a:ln>
        <a:effectLst/>
      </c:spPr>
    </c:plotArea>
    <c:legend>
      <c:legendPos val="r"/>
      <c:legendEntry>
        <c:idx val="0"/>
        <c:txPr>
          <a:bodyPr rot="0" spcFirstLastPara="1" vertOverflow="ellipsis" vert="horz" wrap="square" anchor="ctr" anchorCtr="1"/>
          <a:lstStyle/>
          <a:p>
            <a:pPr>
              <a:defRPr sz="1200" b="0" i="0" u="none" strike="noStrike" kern="1200" baseline="0">
                <a:solidFill>
                  <a:srgbClr val="9999A9"/>
                </a:solidFill>
                <a:latin typeface="+mn-lt"/>
                <a:ea typeface="+mn-ea"/>
                <a:cs typeface="+mn-cs"/>
              </a:defRPr>
            </a:pPr>
            <a:endParaRPr lang="de-DE"/>
          </a:p>
        </c:txPr>
      </c:legendEntry>
      <c:legendEntry>
        <c:idx val="1"/>
        <c:txPr>
          <a:bodyPr rot="0" spcFirstLastPara="1" vertOverflow="ellipsis" vert="horz" wrap="square" anchor="ctr" anchorCtr="1"/>
          <a:lstStyle/>
          <a:p>
            <a:pPr>
              <a:defRPr sz="1200" b="0" i="0" u="none" strike="noStrike" kern="1200" baseline="0">
                <a:solidFill>
                  <a:srgbClr val="9999A9"/>
                </a:solidFill>
                <a:latin typeface="+mn-lt"/>
                <a:ea typeface="+mn-ea"/>
                <a:cs typeface="+mn-cs"/>
              </a:defRPr>
            </a:pPr>
            <a:endParaRPr lang="de-DE"/>
          </a:p>
        </c:txPr>
      </c:legendEntry>
      <c:legendEntry>
        <c:idx val="2"/>
        <c:txPr>
          <a:bodyPr rot="0" spcFirstLastPara="1" vertOverflow="ellipsis" vert="horz" wrap="square" anchor="ctr" anchorCtr="1"/>
          <a:lstStyle/>
          <a:p>
            <a:pPr>
              <a:defRPr sz="1200" b="0" i="0" u="none" strike="noStrike" kern="1200" baseline="0">
                <a:solidFill>
                  <a:srgbClr val="9999A9"/>
                </a:solidFill>
                <a:latin typeface="+mn-lt"/>
                <a:ea typeface="+mn-ea"/>
                <a:cs typeface="+mn-cs"/>
              </a:defRPr>
            </a:pPr>
            <a:endParaRPr lang="de-DE"/>
          </a:p>
        </c:txPr>
      </c:legendEntry>
      <c:layout>
        <c:manualLayout>
          <c:xMode val="edge"/>
          <c:yMode val="edge"/>
          <c:x val="0.86609073609549347"/>
          <c:y val="0.73560375517340137"/>
          <c:w val="0.11694006233805601"/>
          <c:h val="0.18592008438709307"/>
        </c:manualLayout>
      </c:layout>
      <c:overlay val="0"/>
      <c:spPr>
        <a:noFill/>
        <a:ln>
          <a:noFill/>
        </a:ln>
        <a:effectLst/>
      </c:spPr>
      <c:txPr>
        <a:bodyPr rot="0" spcFirstLastPara="1" vertOverflow="ellipsis" vert="horz" wrap="square" anchor="ctr" anchorCtr="1"/>
        <a:lstStyle/>
        <a:p>
          <a:pPr>
            <a:defRPr sz="1400" b="0" i="0" u="none" strike="noStrike" kern="1200" baseline="0">
              <a:solidFill>
                <a:srgbClr val="9999A9"/>
              </a:solidFill>
              <a:latin typeface="+mn-lt"/>
              <a:ea typeface="+mn-ea"/>
              <a:cs typeface="+mn-cs"/>
            </a:defRPr>
          </a:pPr>
          <a:endParaRPr lang="de-DE"/>
        </a:p>
      </c:txPr>
    </c:legend>
    <c:plotVisOnly val="1"/>
    <c:dispBlanksAs val="gap"/>
    <c:showDLblsOverMax val="0"/>
  </c:chart>
  <c:spPr>
    <a:noFill/>
    <a:ln w="6350" cap="flat" cmpd="sng" algn="ctr">
      <a:noFill/>
      <a:prstDash val="solid"/>
      <a:miter lim="800000"/>
    </a:ln>
    <a:effectLst/>
  </c:spPr>
  <c:txPr>
    <a:bodyPr/>
    <a:lstStyle/>
    <a:p>
      <a:pPr>
        <a:defRPr sz="1800"/>
      </a:pPr>
      <a:endParaRPr lang="de-DE"/>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plotArea>
      <c:layout>
        <c:manualLayout>
          <c:layoutTarget val="inner"/>
          <c:xMode val="edge"/>
          <c:yMode val="edge"/>
          <c:x val="9.6988886715702535E-2"/>
          <c:y val="0"/>
          <c:w val="0.64491806232844939"/>
          <c:h val="0.92545027061998009"/>
        </c:manualLayout>
      </c:layout>
      <c:barChart>
        <c:barDir val="bar"/>
        <c:grouping val="percentStacked"/>
        <c:varyColors val="0"/>
        <c:ser>
          <c:idx val="0"/>
          <c:order val="0"/>
          <c:tx>
            <c:strRef>
              <c:f>Tabelle1!$B$1</c:f>
              <c:strCache>
                <c:ptCount val="1"/>
                <c:pt idx="0">
                  <c:v>Data series 1</c:v>
                </c:pt>
              </c:strCache>
            </c:strRef>
          </c:tx>
          <c:spPr>
            <a:solidFill>
              <a:srgbClr val="00646E"/>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B$2:$B$5</c:f>
              <c:numCache>
                <c:formatCode>0.0</c:formatCode>
                <c:ptCount val="4"/>
                <c:pt idx="0">
                  <c:v>4.3</c:v>
                </c:pt>
                <c:pt idx="1">
                  <c:v>2.5</c:v>
                </c:pt>
                <c:pt idx="2">
                  <c:v>3.5</c:v>
                </c:pt>
                <c:pt idx="3">
                  <c:v>4.5</c:v>
                </c:pt>
              </c:numCache>
            </c:numRef>
          </c:val>
          <c:extLst>
            <c:ext xmlns:c16="http://schemas.microsoft.com/office/drawing/2014/chart" uri="{C3380CC4-5D6E-409C-BE32-E72D297353CC}">
              <c16:uniqueId val="{00000000-D451-4E92-B5B8-A1DC9BECCFA8}"/>
            </c:ext>
          </c:extLst>
        </c:ser>
        <c:ser>
          <c:idx val="1"/>
          <c:order val="1"/>
          <c:tx>
            <c:strRef>
              <c:f>Tabelle1!$C$1</c:f>
              <c:strCache>
                <c:ptCount val="1"/>
                <c:pt idx="0">
                  <c:v>Data series 2</c:v>
                </c:pt>
              </c:strCache>
            </c:strRef>
          </c:tx>
          <c:spPr>
            <a:solidFill>
              <a:srgbClr val="009999"/>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C$2:$C$5</c:f>
              <c:numCache>
                <c:formatCode>0.0</c:formatCode>
                <c:ptCount val="4"/>
                <c:pt idx="0">
                  <c:v>2.4</c:v>
                </c:pt>
                <c:pt idx="1">
                  <c:v>4.4000000000000004</c:v>
                </c:pt>
                <c:pt idx="2">
                  <c:v>1.8</c:v>
                </c:pt>
                <c:pt idx="3">
                  <c:v>2.8</c:v>
                </c:pt>
              </c:numCache>
            </c:numRef>
          </c:val>
          <c:extLst>
            <c:ext xmlns:c16="http://schemas.microsoft.com/office/drawing/2014/chart" uri="{C3380CC4-5D6E-409C-BE32-E72D297353CC}">
              <c16:uniqueId val="{00000001-D451-4E92-B5B8-A1DC9BECCFA8}"/>
            </c:ext>
          </c:extLst>
        </c:ser>
        <c:ser>
          <c:idx val="2"/>
          <c:order val="2"/>
          <c:tx>
            <c:strRef>
              <c:f>Tabelle1!$D$1</c:f>
              <c:strCache>
                <c:ptCount val="1"/>
                <c:pt idx="0">
                  <c:v>Data series 3</c:v>
                </c:pt>
              </c:strCache>
            </c:strRef>
          </c:tx>
          <c:spPr>
            <a:solidFill>
              <a:srgbClr val="00E6DC"/>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D$2:$D$5</c:f>
              <c:numCache>
                <c:formatCode>0.0</c:formatCode>
                <c:ptCount val="4"/>
                <c:pt idx="0">
                  <c:v>2</c:v>
                </c:pt>
                <c:pt idx="1">
                  <c:v>2</c:v>
                </c:pt>
                <c:pt idx="2">
                  <c:v>3</c:v>
                </c:pt>
                <c:pt idx="3">
                  <c:v>5</c:v>
                </c:pt>
              </c:numCache>
            </c:numRef>
          </c:val>
          <c:extLst>
            <c:ext xmlns:c16="http://schemas.microsoft.com/office/drawing/2014/chart" uri="{C3380CC4-5D6E-409C-BE32-E72D297353CC}">
              <c16:uniqueId val="{00000002-D451-4E92-B5B8-A1DC9BECCFA8}"/>
            </c:ext>
          </c:extLst>
        </c:ser>
        <c:ser>
          <c:idx val="3"/>
          <c:order val="3"/>
          <c:tx>
            <c:strRef>
              <c:f>Tabelle1!$E$1</c:f>
              <c:strCache>
                <c:ptCount val="1"/>
                <c:pt idx="0">
                  <c:v>Data series 4</c:v>
                </c:pt>
              </c:strCache>
            </c:strRef>
          </c:tx>
          <c:spPr>
            <a:solidFill>
              <a:srgbClr val="9999A9"/>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E$2:$E$5</c:f>
              <c:numCache>
                <c:formatCode>0.0</c:formatCode>
                <c:ptCount val="4"/>
                <c:pt idx="0">
                  <c:v>2</c:v>
                </c:pt>
                <c:pt idx="1">
                  <c:v>2</c:v>
                </c:pt>
                <c:pt idx="2">
                  <c:v>3</c:v>
                </c:pt>
                <c:pt idx="3">
                  <c:v>2</c:v>
                </c:pt>
              </c:numCache>
            </c:numRef>
          </c:val>
          <c:extLst>
            <c:ext xmlns:c16="http://schemas.microsoft.com/office/drawing/2014/chart" uri="{C3380CC4-5D6E-409C-BE32-E72D297353CC}">
              <c16:uniqueId val="{00000003-D451-4E92-B5B8-A1DC9BECCFA8}"/>
            </c:ext>
          </c:extLst>
        </c:ser>
        <c:ser>
          <c:idx val="4"/>
          <c:order val="4"/>
          <c:tx>
            <c:strRef>
              <c:f>Tabelle1!$F$1</c:f>
              <c:strCache>
                <c:ptCount val="1"/>
                <c:pt idx="0">
                  <c:v>Data series 5</c:v>
                </c:pt>
              </c:strCache>
            </c:strRef>
          </c:tx>
          <c:spPr>
            <a:solidFill>
              <a:srgbClr val="66667E"/>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F$2:$F$5</c:f>
              <c:numCache>
                <c:formatCode>0.0</c:formatCode>
                <c:ptCount val="4"/>
                <c:pt idx="0">
                  <c:v>4</c:v>
                </c:pt>
                <c:pt idx="1">
                  <c:v>2</c:v>
                </c:pt>
                <c:pt idx="2">
                  <c:v>3</c:v>
                </c:pt>
                <c:pt idx="3">
                  <c:v>1</c:v>
                </c:pt>
              </c:numCache>
            </c:numRef>
          </c:val>
          <c:extLst>
            <c:ext xmlns:c16="http://schemas.microsoft.com/office/drawing/2014/chart" uri="{C3380CC4-5D6E-409C-BE32-E72D297353CC}">
              <c16:uniqueId val="{00000004-D451-4E92-B5B8-A1DC9BECCFA8}"/>
            </c:ext>
          </c:extLst>
        </c:ser>
        <c:ser>
          <c:idx val="5"/>
          <c:order val="5"/>
          <c:tx>
            <c:strRef>
              <c:f>Tabelle1!$G$1</c:f>
              <c:strCache>
                <c:ptCount val="1"/>
                <c:pt idx="0">
                  <c:v>Data series 6</c:v>
                </c:pt>
              </c:strCache>
            </c:strRef>
          </c:tx>
          <c:spPr>
            <a:solidFill>
              <a:srgbClr val="333353"/>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G$2:$G$5</c:f>
              <c:numCache>
                <c:formatCode>0.0</c:formatCode>
                <c:ptCount val="4"/>
                <c:pt idx="0">
                  <c:v>3</c:v>
                </c:pt>
                <c:pt idx="1">
                  <c:v>2</c:v>
                </c:pt>
                <c:pt idx="2">
                  <c:v>1</c:v>
                </c:pt>
                <c:pt idx="3">
                  <c:v>2</c:v>
                </c:pt>
              </c:numCache>
            </c:numRef>
          </c:val>
          <c:extLst>
            <c:ext xmlns:c16="http://schemas.microsoft.com/office/drawing/2014/chart" uri="{C3380CC4-5D6E-409C-BE32-E72D297353CC}">
              <c16:uniqueId val="{00000005-D451-4E92-B5B8-A1DC9BECCFA8}"/>
            </c:ext>
          </c:extLst>
        </c:ser>
        <c:dLbls>
          <c:showLegendKey val="0"/>
          <c:showVal val="0"/>
          <c:showCatName val="0"/>
          <c:showSerName val="0"/>
          <c:showPercent val="0"/>
          <c:showBubbleSize val="0"/>
        </c:dLbls>
        <c:gapWidth val="150"/>
        <c:overlap val="100"/>
        <c:axId val="117478528"/>
        <c:axId val="117480064"/>
      </c:barChart>
      <c:catAx>
        <c:axId val="117478528"/>
        <c:scaling>
          <c:orientation val="maxMin"/>
        </c:scaling>
        <c:delete val="0"/>
        <c:axPos val="l"/>
        <c:numFmt formatCode="General" sourceLinked="0"/>
        <c:majorTickMark val="none"/>
        <c:minorTickMark val="none"/>
        <c:tickLblPos val="nextTo"/>
        <c:spPr>
          <a:ln>
            <a:solidFill>
              <a:srgbClr val="66667E"/>
            </a:solidFill>
          </a:ln>
        </c:spPr>
        <c:txPr>
          <a:bodyPr/>
          <a:lstStyle/>
          <a:p>
            <a:pPr>
              <a:defRPr sz="1400" b="1">
                <a:solidFill>
                  <a:srgbClr val="66667E"/>
                </a:solidFill>
              </a:defRPr>
            </a:pPr>
            <a:endParaRPr lang="de-DE"/>
          </a:p>
        </c:txPr>
        <c:crossAx val="117480064"/>
        <c:crosses val="autoZero"/>
        <c:auto val="1"/>
        <c:lblAlgn val="ctr"/>
        <c:lblOffset val="100"/>
        <c:noMultiLvlLbl val="0"/>
      </c:catAx>
      <c:valAx>
        <c:axId val="117480064"/>
        <c:scaling>
          <c:orientation val="minMax"/>
        </c:scaling>
        <c:delete val="1"/>
        <c:axPos val="t"/>
        <c:numFmt formatCode="0%" sourceLinked="1"/>
        <c:majorTickMark val="out"/>
        <c:minorTickMark val="none"/>
        <c:tickLblPos val="nextTo"/>
        <c:crossAx val="117478528"/>
        <c:crosses val="autoZero"/>
        <c:crossBetween val="between"/>
      </c:valAx>
    </c:plotArea>
    <c:legend>
      <c:legendPos val="r"/>
      <c:layout>
        <c:manualLayout>
          <c:xMode val="edge"/>
          <c:yMode val="edge"/>
          <c:x val="0.86740219013231779"/>
          <c:y val="0.55122844113423697"/>
          <c:w val="0.11473568315822091"/>
          <c:h val="0.37048879912055083"/>
        </c:manualLayout>
      </c:layout>
      <c:overlay val="0"/>
      <c:txPr>
        <a:bodyPr/>
        <a:lstStyle/>
        <a:p>
          <a:pPr>
            <a:defRPr sz="1200">
              <a:solidFill>
                <a:srgbClr val="66667E"/>
              </a:solidFill>
            </a:defRPr>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18367810144054955"/>
          <c:y val="7.6004548183103496E-2"/>
          <c:w val="0.51892703223548153"/>
          <c:h val="0.8487569267036652"/>
        </c:manualLayout>
      </c:layout>
      <c:radarChart>
        <c:radarStyle val="filled"/>
        <c:varyColors val="0"/>
        <c:ser>
          <c:idx val="0"/>
          <c:order val="0"/>
          <c:tx>
            <c:strRef>
              <c:f>Tabelle1!$A$2</c:f>
              <c:strCache>
                <c:ptCount val="1"/>
                <c:pt idx="0">
                  <c:v>Data Series 1</c:v>
                </c:pt>
              </c:strCache>
            </c:strRef>
          </c:tx>
          <c:spPr>
            <a:noFill/>
            <a:ln w="25400">
              <a:solidFill>
                <a:srgbClr val="00FFB9"/>
              </a:solidFill>
            </a:ln>
          </c:spPr>
          <c:cat>
            <c:strRef>
              <c:f>Tabelle1!$B$1:$K$1</c:f>
              <c:strCache>
                <c:ptCount val="10"/>
                <c:pt idx="0">
                  <c:v>Lorem</c:v>
                </c:pt>
                <c:pt idx="1">
                  <c:v>Ipsum</c:v>
                </c:pt>
                <c:pt idx="2">
                  <c:v>Dolore</c:v>
                </c:pt>
                <c:pt idx="3">
                  <c:v>Esta</c:v>
                </c:pt>
                <c:pt idx="4">
                  <c:v>Conses</c:v>
                </c:pt>
                <c:pt idx="5">
                  <c:v>Loreme</c:v>
                </c:pt>
                <c:pt idx="6">
                  <c:v>Ipsume</c:v>
                </c:pt>
                <c:pt idx="7">
                  <c:v>Dolorer</c:v>
                </c:pt>
                <c:pt idx="8">
                  <c:v>Estas</c:v>
                </c:pt>
                <c:pt idx="9">
                  <c:v>Consest</c:v>
                </c:pt>
              </c:strCache>
            </c:strRef>
          </c:cat>
          <c:val>
            <c:numRef>
              <c:f>Tabelle1!$B$2:$K$2</c:f>
              <c:numCache>
                <c:formatCode>General</c:formatCode>
                <c:ptCount val="10"/>
                <c:pt idx="0">
                  <c:v>2.5</c:v>
                </c:pt>
                <c:pt idx="1">
                  <c:v>3</c:v>
                </c:pt>
                <c:pt idx="2">
                  <c:v>3</c:v>
                </c:pt>
                <c:pt idx="3">
                  <c:v>2</c:v>
                </c:pt>
                <c:pt idx="4">
                  <c:v>2</c:v>
                </c:pt>
                <c:pt idx="5">
                  <c:v>2</c:v>
                </c:pt>
                <c:pt idx="6">
                  <c:v>1</c:v>
                </c:pt>
                <c:pt idx="7">
                  <c:v>2</c:v>
                </c:pt>
                <c:pt idx="8">
                  <c:v>2</c:v>
                </c:pt>
                <c:pt idx="9">
                  <c:v>2.5</c:v>
                </c:pt>
              </c:numCache>
            </c:numRef>
          </c:val>
          <c:extLst>
            <c:ext xmlns:c16="http://schemas.microsoft.com/office/drawing/2014/chart" uri="{C3380CC4-5D6E-409C-BE32-E72D297353CC}">
              <c16:uniqueId val="{00000000-5768-8644-A502-B55FF49DBEC2}"/>
            </c:ext>
          </c:extLst>
        </c:ser>
        <c:ser>
          <c:idx val="1"/>
          <c:order val="1"/>
          <c:tx>
            <c:strRef>
              <c:f>Tabelle1!$A$3</c:f>
              <c:strCache>
                <c:ptCount val="1"/>
                <c:pt idx="0">
                  <c:v>Data Series 2</c:v>
                </c:pt>
              </c:strCache>
            </c:strRef>
          </c:tx>
          <c:spPr>
            <a:noFill/>
            <a:ln w="25400">
              <a:solidFill>
                <a:srgbClr val="00AF8E"/>
              </a:solidFill>
            </a:ln>
          </c:spPr>
          <c:cat>
            <c:strRef>
              <c:f>Tabelle1!$B$1:$K$1</c:f>
              <c:strCache>
                <c:ptCount val="10"/>
                <c:pt idx="0">
                  <c:v>Lorem</c:v>
                </c:pt>
                <c:pt idx="1">
                  <c:v>Ipsum</c:v>
                </c:pt>
                <c:pt idx="2">
                  <c:v>Dolore</c:v>
                </c:pt>
                <c:pt idx="3">
                  <c:v>Esta</c:v>
                </c:pt>
                <c:pt idx="4">
                  <c:v>Conses</c:v>
                </c:pt>
                <c:pt idx="5">
                  <c:v>Loreme</c:v>
                </c:pt>
                <c:pt idx="6">
                  <c:v>Ipsume</c:v>
                </c:pt>
                <c:pt idx="7">
                  <c:v>Dolorer</c:v>
                </c:pt>
                <c:pt idx="8">
                  <c:v>Estas</c:v>
                </c:pt>
                <c:pt idx="9">
                  <c:v>Consest</c:v>
                </c:pt>
              </c:strCache>
            </c:strRef>
          </c:cat>
          <c:val>
            <c:numRef>
              <c:f>Tabelle1!$B$3:$K$3</c:f>
              <c:numCache>
                <c:formatCode>General</c:formatCode>
                <c:ptCount val="10"/>
                <c:pt idx="0">
                  <c:v>2</c:v>
                </c:pt>
                <c:pt idx="1">
                  <c:v>2.2000000000000002</c:v>
                </c:pt>
                <c:pt idx="2">
                  <c:v>2.4</c:v>
                </c:pt>
                <c:pt idx="3">
                  <c:v>1.8</c:v>
                </c:pt>
                <c:pt idx="4">
                  <c:v>2.5</c:v>
                </c:pt>
                <c:pt idx="5">
                  <c:v>3</c:v>
                </c:pt>
                <c:pt idx="6">
                  <c:v>3</c:v>
                </c:pt>
                <c:pt idx="7">
                  <c:v>2.4</c:v>
                </c:pt>
                <c:pt idx="8">
                  <c:v>2.5</c:v>
                </c:pt>
                <c:pt idx="9">
                  <c:v>2</c:v>
                </c:pt>
              </c:numCache>
            </c:numRef>
          </c:val>
          <c:extLst>
            <c:ext xmlns:c16="http://schemas.microsoft.com/office/drawing/2014/chart" uri="{C3380CC4-5D6E-409C-BE32-E72D297353CC}">
              <c16:uniqueId val="{00000001-5768-8644-A502-B55FF49DBEC2}"/>
            </c:ext>
          </c:extLst>
        </c:ser>
        <c:ser>
          <c:idx val="2"/>
          <c:order val="2"/>
          <c:tx>
            <c:strRef>
              <c:f>Tabelle1!$A$4</c:f>
              <c:strCache>
                <c:ptCount val="1"/>
                <c:pt idx="0">
                  <c:v>Data Series 3</c:v>
                </c:pt>
              </c:strCache>
            </c:strRef>
          </c:tx>
          <c:spPr>
            <a:noFill/>
            <a:ln w="25400">
              <a:solidFill>
                <a:srgbClr val="66667E"/>
              </a:solidFill>
              <a:prstDash val="solid"/>
            </a:ln>
          </c:spPr>
          <c:cat>
            <c:strRef>
              <c:f>Tabelle1!$B$1:$K$1</c:f>
              <c:strCache>
                <c:ptCount val="10"/>
                <c:pt idx="0">
                  <c:v>Lorem</c:v>
                </c:pt>
                <c:pt idx="1">
                  <c:v>Ipsum</c:v>
                </c:pt>
                <c:pt idx="2">
                  <c:v>Dolore</c:v>
                </c:pt>
                <c:pt idx="3">
                  <c:v>Esta</c:v>
                </c:pt>
                <c:pt idx="4">
                  <c:v>Conses</c:v>
                </c:pt>
                <c:pt idx="5">
                  <c:v>Loreme</c:v>
                </c:pt>
                <c:pt idx="6">
                  <c:v>Ipsume</c:v>
                </c:pt>
                <c:pt idx="7">
                  <c:v>Dolorer</c:v>
                </c:pt>
                <c:pt idx="8">
                  <c:v>Estas</c:v>
                </c:pt>
                <c:pt idx="9">
                  <c:v>Consest</c:v>
                </c:pt>
              </c:strCache>
            </c:strRef>
          </c:cat>
          <c:val>
            <c:numRef>
              <c:f>Tabelle1!$B$4:$K$4</c:f>
              <c:numCache>
                <c:formatCode>General</c:formatCode>
                <c:ptCount val="10"/>
                <c:pt idx="0">
                  <c:v>3</c:v>
                </c:pt>
                <c:pt idx="1">
                  <c:v>3.2</c:v>
                </c:pt>
                <c:pt idx="2">
                  <c:v>3.3</c:v>
                </c:pt>
                <c:pt idx="3">
                  <c:v>2.5</c:v>
                </c:pt>
                <c:pt idx="4">
                  <c:v>1.8</c:v>
                </c:pt>
                <c:pt idx="5">
                  <c:v>1.8</c:v>
                </c:pt>
                <c:pt idx="6">
                  <c:v>1.2</c:v>
                </c:pt>
                <c:pt idx="7">
                  <c:v>1.5</c:v>
                </c:pt>
                <c:pt idx="8">
                  <c:v>1.6</c:v>
                </c:pt>
                <c:pt idx="9">
                  <c:v>1.9</c:v>
                </c:pt>
              </c:numCache>
            </c:numRef>
          </c:val>
          <c:extLst>
            <c:ext xmlns:c16="http://schemas.microsoft.com/office/drawing/2014/chart" uri="{C3380CC4-5D6E-409C-BE32-E72D297353CC}">
              <c16:uniqueId val="{00000002-5768-8644-A502-B55FF49DBEC2}"/>
            </c:ext>
          </c:extLst>
        </c:ser>
        <c:dLbls>
          <c:showLegendKey val="0"/>
          <c:showVal val="0"/>
          <c:showCatName val="0"/>
          <c:showSerName val="0"/>
          <c:showPercent val="0"/>
          <c:showBubbleSize val="0"/>
        </c:dLbls>
        <c:axId val="117580928"/>
        <c:axId val="117582464"/>
      </c:radarChart>
      <c:catAx>
        <c:axId val="117580928"/>
        <c:scaling>
          <c:orientation val="minMax"/>
        </c:scaling>
        <c:delete val="0"/>
        <c:axPos val="b"/>
        <c:majorGridlines/>
        <c:numFmt formatCode="General" sourceLinked="1"/>
        <c:majorTickMark val="none"/>
        <c:minorTickMark val="none"/>
        <c:tickLblPos val="nextTo"/>
        <c:txPr>
          <a:bodyPr/>
          <a:lstStyle/>
          <a:p>
            <a:pPr>
              <a:defRPr sz="1200" b="1">
                <a:solidFill>
                  <a:srgbClr val="66667E"/>
                </a:solidFill>
              </a:defRPr>
            </a:pPr>
            <a:endParaRPr lang="de-DE"/>
          </a:p>
        </c:txPr>
        <c:crossAx val="117582464"/>
        <c:crosses val="autoZero"/>
        <c:auto val="1"/>
        <c:lblAlgn val="ctr"/>
        <c:lblOffset val="100"/>
        <c:noMultiLvlLbl val="0"/>
      </c:catAx>
      <c:valAx>
        <c:axId val="117582464"/>
        <c:scaling>
          <c:orientation val="minMax"/>
        </c:scaling>
        <c:delete val="0"/>
        <c:axPos val="l"/>
        <c:majorGridlines>
          <c:spPr>
            <a:ln w="12700">
              <a:noFill/>
            </a:ln>
          </c:spPr>
        </c:majorGridlines>
        <c:numFmt formatCode="General" sourceLinked="1"/>
        <c:majorTickMark val="none"/>
        <c:minorTickMark val="none"/>
        <c:tickLblPos val="nextTo"/>
        <c:spPr>
          <a:ln w="6350">
            <a:solidFill>
              <a:srgbClr val="66667E"/>
            </a:solidFill>
          </a:ln>
        </c:spPr>
        <c:txPr>
          <a:bodyPr/>
          <a:lstStyle/>
          <a:p>
            <a:pPr>
              <a:defRPr sz="1000">
                <a:solidFill>
                  <a:srgbClr val="66667E"/>
                </a:solidFill>
              </a:defRPr>
            </a:pPr>
            <a:endParaRPr lang="de-DE"/>
          </a:p>
        </c:txPr>
        <c:crossAx val="117580928"/>
        <c:crosses val="autoZero"/>
        <c:crossBetween val="between"/>
      </c:valAx>
    </c:plotArea>
    <c:plotVisOnly val="1"/>
    <c:dispBlanksAs val="gap"/>
    <c:showDLblsOverMax val="0"/>
  </c:chart>
  <c:txPr>
    <a:bodyPr/>
    <a:lstStyle/>
    <a:p>
      <a:pPr>
        <a:defRPr sz="1800"/>
      </a:pPr>
      <a:endParaRPr lang="de-DE"/>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plotArea>
      <c:layout>
        <c:manualLayout>
          <c:layoutTarget val="inner"/>
          <c:xMode val="edge"/>
          <c:yMode val="edge"/>
          <c:x val="9.6988886715702535E-2"/>
          <c:y val="0"/>
          <c:w val="0.64491806232844939"/>
          <c:h val="0.92545027061998009"/>
        </c:manualLayout>
      </c:layout>
      <c:barChart>
        <c:barDir val="bar"/>
        <c:grouping val="percentStacked"/>
        <c:varyColors val="0"/>
        <c:ser>
          <c:idx val="0"/>
          <c:order val="0"/>
          <c:tx>
            <c:strRef>
              <c:f>Tabelle1!$B$1</c:f>
              <c:strCache>
                <c:ptCount val="1"/>
                <c:pt idx="0">
                  <c:v>Data series 1</c:v>
                </c:pt>
              </c:strCache>
            </c:strRef>
          </c:tx>
          <c:spPr>
            <a:solidFill>
              <a:srgbClr val="00646E"/>
            </a:solidFill>
            <a:ln w="19050">
              <a:solidFill>
                <a:schemeClr val="bg2"/>
              </a:solidFill>
            </a:ln>
          </c:spPr>
          <c:invertIfNegative val="0"/>
          <c:cat>
            <c:strRef>
              <c:f>Tabelle1!$A$2:$A$5</c:f>
              <c:strCache>
                <c:ptCount val="4"/>
                <c:pt idx="0">
                  <c:v>Category 1</c:v>
                </c:pt>
                <c:pt idx="1">
                  <c:v>Category 2</c:v>
                </c:pt>
                <c:pt idx="2">
                  <c:v>Category 3</c:v>
                </c:pt>
                <c:pt idx="3">
                  <c:v>Category 4</c:v>
                </c:pt>
              </c:strCache>
            </c:strRef>
          </c:cat>
          <c:val>
            <c:numRef>
              <c:f>Tabelle1!$B$2:$B$5</c:f>
              <c:numCache>
                <c:formatCode>0.0</c:formatCode>
                <c:ptCount val="4"/>
                <c:pt idx="0">
                  <c:v>4.3</c:v>
                </c:pt>
                <c:pt idx="1">
                  <c:v>2.5</c:v>
                </c:pt>
                <c:pt idx="2">
                  <c:v>3.5</c:v>
                </c:pt>
                <c:pt idx="3">
                  <c:v>4.5</c:v>
                </c:pt>
              </c:numCache>
            </c:numRef>
          </c:val>
          <c:extLst>
            <c:ext xmlns:c16="http://schemas.microsoft.com/office/drawing/2014/chart" uri="{C3380CC4-5D6E-409C-BE32-E72D297353CC}">
              <c16:uniqueId val="{00000000-D451-4E92-B5B8-A1DC9BECCFA8}"/>
            </c:ext>
          </c:extLst>
        </c:ser>
        <c:ser>
          <c:idx val="1"/>
          <c:order val="1"/>
          <c:tx>
            <c:strRef>
              <c:f>Tabelle1!$C$1</c:f>
              <c:strCache>
                <c:ptCount val="1"/>
                <c:pt idx="0">
                  <c:v>Data series 2</c:v>
                </c:pt>
              </c:strCache>
            </c:strRef>
          </c:tx>
          <c:spPr>
            <a:solidFill>
              <a:srgbClr val="009999"/>
            </a:solidFill>
            <a:ln w="19050">
              <a:solidFill>
                <a:schemeClr val="bg2"/>
              </a:solidFill>
            </a:ln>
          </c:spPr>
          <c:invertIfNegative val="0"/>
          <c:cat>
            <c:strRef>
              <c:f>Tabelle1!$A$2:$A$5</c:f>
              <c:strCache>
                <c:ptCount val="4"/>
                <c:pt idx="0">
                  <c:v>Category 1</c:v>
                </c:pt>
                <c:pt idx="1">
                  <c:v>Category 2</c:v>
                </c:pt>
                <c:pt idx="2">
                  <c:v>Category 3</c:v>
                </c:pt>
                <c:pt idx="3">
                  <c:v>Category 4</c:v>
                </c:pt>
              </c:strCache>
            </c:strRef>
          </c:cat>
          <c:val>
            <c:numRef>
              <c:f>Tabelle1!$C$2:$C$5</c:f>
              <c:numCache>
                <c:formatCode>0.0</c:formatCode>
                <c:ptCount val="4"/>
                <c:pt idx="0">
                  <c:v>2.4</c:v>
                </c:pt>
                <c:pt idx="1">
                  <c:v>4.4000000000000004</c:v>
                </c:pt>
                <c:pt idx="2">
                  <c:v>1.8</c:v>
                </c:pt>
                <c:pt idx="3">
                  <c:v>2.8</c:v>
                </c:pt>
              </c:numCache>
            </c:numRef>
          </c:val>
          <c:extLst>
            <c:ext xmlns:c16="http://schemas.microsoft.com/office/drawing/2014/chart" uri="{C3380CC4-5D6E-409C-BE32-E72D297353CC}">
              <c16:uniqueId val="{00000001-D451-4E92-B5B8-A1DC9BECCFA8}"/>
            </c:ext>
          </c:extLst>
        </c:ser>
        <c:ser>
          <c:idx val="2"/>
          <c:order val="2"/>
          <c:tx>
            <c:strRef>
              <c:f>Tabelle1!$D$1</c:f>
              <c:strCache>
                <c:ptCount val="1"/>
                <c:pt idx="0">
                  <c:v>Data series 3</c:v>
                </c:pt>
              </c:strCache>
            </c:strRef>
          </c:tx>
          <c:spPr>
            <a:solidFill>
              <a:srgbClr val="00E6DC"/>
            </a:solidFill>
            <a:ln w="19050">
              <a:solidFill>
                <a:schemeClr val="bg2"/>
              </a:solidFill>
            </a:ln>
          </c:spPr>
          <c:invertIfNegative val="0"/>
          <c:cat>
            <c:strRef>
              <c:f>Tabelle1!$A$2:$A$5</c:f>
              <c:strCache>
                <c:ptCount val="4"/>
                <c:pt idx="0">
                  <c:v>Category 1</c:v>
                </c:pt>
                <c:pt idx="1">
                  <c:v>Category 2</c:v>
                </c:pt>
                <c:pt idx="2">
                  <c:v>Category 3</c:v>
                </c:pt>
                <c:pt idx="3">
                  <c:v>Category 4</c:v>
                </c:pt>
              </c:strCache>
            </c:strRef>
          </c:cat>
          <c:val>
            <c:numRef>
              <c:f>Tabelle1!$D$2:$D$5</c:f>
              <c:numCache>
                <c:formatCode>0.0</c:formatCode>
                <c:ptCount val="4"/>
                <c:pt idx="0">
                  <c:v>2</c:v>
                </c:pt>
                <c:pt idx="1">
                  <c:v>2</c:v>
                </c:pt>
                <c:pt idx="2">
                  <c:v>3</c:v>
                </c:pt>
                <c:pt idx="3">
                  <c:v>5</c:v>
                </c:pt>
              </c:numCache>
            </c:numRef>
          </c:val>
          <c:extLst>
            <c:ext xmlns:c16="http://schemas.microsoft.com/office/drawing/2014/chart" uri="{C3380CC4-5D6E-409C-BE32-E72D297353CC}">
              <c16:uniqueId val="{00000002-D451-4E92-B5B8-A1DC9BECCFA8}"/>
            </c:ext>
          </c:extLst>
        </c:ser>
        <c:ser>
          <c:idx val="3"/>
          <c:order val="3"/>
          <c:tx>
            <c:strRef>
              <c:f>Tabelle1!$E$1</c:f>
              <c:strCache>
                <c:ptCount val="1"/>
                <c:pt idx="0">
                  <c:v>Data series 4</c:v>
                </c:pt>
              </c:strCache>
            </c:strRef>
          </c:tx>
          <c:spPr>
            <a:solidFill>
              <a:srgbClr val="9999A9"/>
            </a:solidFill>
            <a:ln w="19050">
              <a:solidFill>
                <a:schemeClr val="bg2"/>
              </a:solidFill>
            </a:ln>
          </c:spPr>
          <c:invertIfNegative val="0"/>
          <c:cat>
            <c:strRef>
              <c:f>Tabelle1!$A$2:$A$5</c:f>
              <c:strCache>
                <c:ptCount val="4"/>
                <c:pt idx="0">
                  <c:v>Category 1</c:v>
                </c:pt>
                <c:pt idx="1">
                  <c:v>Category 2</c:v>
                </c:pt>
                <c:pt idx="2">
                  <c:v>Category 3</c:v>
                </c:pt>
                <c:pt idx="3">
                  <c:v>Category 4</c:v>
                </c:pt>
              </c:strCache>
            </c:strRef>
          </c:cat>
          <c:val>
            <c:numRef>
              <c:f>Tabelle1!$E$2:$E$5</c:f>
              <c:numCache>
                <c:formatCode>0.0</c:formatCode>
                <c:ptCount val="4"/>
                <c:pt idx="0">
                  <c:v>2</c:v>
                </c:pt>
                <c:pt idx="1">
                  <c:v>2</c:v>
                </c:pt>
                <c:pt idx="2">
                  <c:v>3</c:v>
                </c:pt>
                <c:pt idx="3">
                  <c:v>2</c:v>
                </c:pt>
              </c:numCache>
            </c:numRef>
          </c:val>
          <c:extLst>
            <c:ext xmlns:c16="http://schemas.microsoft.com/office/drawing/2014/chart" uri="{C3380CC4-5D6E-409C-BE32-E72D297353CC}">
              <c16:uniqueId val="{00000003-D451-4E92-B5B8-A1DC9BECCFA8}"/>
            </c:ext>
          </c:extLst>
        </c:ser>
        <c:ser>
          <c:idx val="4"/>
          <c:order val="4"/>
          <c:tx>
            <c:strRef>
              <c:f>Tabelle1!$F$1</c:f>
              <c:strCache>
                <c:ptCount val="1"/>
                <c:pt idx="0">
                  <c:v>Data series 5</c:v>
                </c:pt>
              </c:strCache>
            </c:strRef>
          </c:tx>
          <c:spPr>
            <a:solidFill>
              <a:srgbClr val="66667E"/>
            </a:solidFill>
            <a:ln w="19050">
              <a:solidFill>
                <a:schemeClr val="bg2"/>
              </a:solidFill>
            </a:ln>
          </c:spPr>
          <c:invertIfNegative val="0"/>
          <c:cat>
            <c:strRef>
              <c:f>Tabelle1!$A$2:$A$5</c:f>
              <c:strCache>
                <c:ptCount val="4"/>
                <c:pt idx="0">
                  <c:v>Category 1</c:v>
                </c:pt>
                <c:pt idx="1">
                  <c:v>Category 2</c:v>
                </c:pt>
                <c:pt idx="2">
                  <c:v>Category 3</c:v>
                </c:pt>
                <c:pt idx="3">
                  <c:v>Category 4</c:v>
                </c:pt>
              </c:strCache>
            </c:strRef>
          </c:cat>
          <c:val>
            <c:numRef>
              <c:f>Tabelle1!$F$2:$F$5</c:f>
              <c:numCache>
                <c:formatCode>0.0</c:formatCode>
                <c:ptCount val="4"/>
                <c:pt idx="0">
                  <c:v>4</c:v>
                </c:pt>
                <c:pt idx="1">
                  <c:v>2</c:v>
                </c:pt>
                <c:pt idx="2">
                  <c:v>3</c:v>
                </c:pt>
                <c:pt idx="3">
                  <c:v>1</c:v>
                </c:pt>
              </c:numCache>
            </c:numRef>
          </c:val>
          <c:extLst>
            <c:ext xmlns:c16="http://schemas.microsoft.com/office/drawing/2014/chart" uri="{C3380CC4-5D6E-409C-BE32-E72D297353CC}">
              <c16:uniqueId val="{00000004-D451-4E92-B5B8-A1DC9BECCFA8}"/>
            </c:ext>
          </c:extLst>
        </c:ser>
        <c:ser>
          <c:idx val="5"/>
          <c:order val="5"/>
          <c:tx>
            <c:strRef>
              <c:f>Tabelle1!$G$1</c:f>
              <c:strCache>
                <c:ptCount val="1"/>
                <c:pt idx="0">
                  <c:v>Data series 6</c:v>
                </c:pt>
              </c:strCache>
            </c:strRef>
          </c:tx>
          <c:spPr>
            <a:solidFill>
              <a:srgbClr val="333353"/>
            </a:solidFill>
            <a:ln w="19050">
              <a:solidFill>
                <a:schemeClr val="bg2"/>
              </a:solidFill>
            </a:ln>
          </c:spPr>
          <c:invertIfNegative val="0"/>
          <c:cat>
            <c:strRef>
              <c:f>Tabelle1!$A$2:$A$5</c:f>
              <c:strCache>
                <c:ptCount val="4"/>
                <c:pt idx="0">
                  <c:v>Category 1</c:v>
                </c:pt>
                <c:pt idx="1">
                  <c:v>Category 2</c:v>
                </c:pt>
                <c:pt idx="2">
                  <c:v>Category 3</c:v>
                </c:pt>
                <c:pt idx="3">
                  <c:v>Category 4</c:v>
                </c:pt>
              </c:strCache>
            </c:strRef>
          </c:cat>
          <c:val>
            <c:numRef>
              <c:f>Tabelle1!$G$2:$G$5</c:f>
              <c:numCache>
                <c:formatCode>0.0</c:formatCode>
                <c:ptCount val="4"/>
                <c:pt idx="0">
                  <c:v>3</c:v>
                </c:pt>
                <c:pt idx="1">
                  <c:v>2</c:v>
                </c:pt>
                <c:pt idx="2">
                  <c:v>1</c:v>
                </c:pt>
                <c:pt idx="3">
                  <c:v>2</c:v>
                </c:pt>
              </c:numCache>
            </c:numRef>
          </c:val>
          <c:extLst>
            <c:ext xmlns:c16="http://schemas.microsoft.com/office/drawing/2014/chart" uri="{C3380CC4-5D6E-409C-BE32-E72D297353CC}">
              <c16:uniqueId val="{00000005-D451-4E92-B5B8-A1DC9BECCFA8}"/>
            </c:ext>
          </c:extLst>
        </c:ser>
        <c:dLbls>
          <c:showLegendKey val="0"/>
          <c:showVal val="0"/>
          <c:showCatName val="0"/>
          <c:showSerName val="0"/>
          <c:showPercent val="0"/>
          <c:showBubbleSize val="0"/>
        </c:dLbls>
        <c:gapWidth val="150"/>
        <c:overlap val="100"/>
        <c:axId val="117478528"/>
        <c:axId val="117480064"/>
      </c:barChart>
      <c:catAx>
        <c:axId val="117478528"/>
        <c:scaling>
          <c:orientation val="maxMin"/>
        </c:scaling>
        <c:delete val="0"/>
        <c:axPos val="l"/>
        <c:numFmt formatCode="General" sourceLinked="0"/>
        <c:majorTickMark val="none"/>
        <c:minorTickMark val="none"/>
        <c:tickLblPos val="nextTo"/>
        <c:spPr>
          <a:ln>
            <a:solidFill>
              <a:srgbClr val="9999A9"/>
            </a:solidFill>
          </a:ln>
        </c:spPr>
        <c:txPr>
          <a:bodyPr/>
          <a:lstStyle/>
          <a:p>
            <a:pPr>
              <a:defRPr sz="1400" b="1">
                <a:solidFill>
                  <a:srgbClr val="9999A9"/>
                </a:solidFill>
              </a:defRPr>
            </a:pPr>
            <a:endParaRPr lang="de-DE"/>
          </a:p>
        </c:txPr>
        <c:crossAx val="117480064"/>
        <c:crosses val="autoZero"/>
        <c:auto val="1"/>
        <c:lblAlgn val="ctr"/>
        <c:lblOffset val="100"/>
        <c:noMultiLvlLbl val="0"/>
      </c:catAx>
      <c:valAx>
        <c:axId val="117480064"/>
        <c:scaling>
          <c:orientation val="minMax"/>
        </c:scaling>
        <c:delete val="1"/>
        <c:axPos val="t"/>
        <c:numFmt formatCode="0%" sourceLinked="1"/>
        <c:majorTickMark val="out"/>
        <c:minorTickMark val="none"/>
        <c:tickLblPos val="nextTo"/>
        <c:crossAx val="117478528"/>
        <c:crosses val="autoZero"/>
        <c:crossBetween val="between"/>
      </c:valAx>
    </c:plotArea>
    <c:legend>
      <c:legendPos val="r"/>
      <c:layout>
        <c:manualLayout>
          <c:xMode val="edge"/>
          <c:yMode val="edge"/>
          <c:x val="0.86740219013231779"/>
          <c:y val="0.55122844113423697"/>
          <c:w val="0.11473568315822091"/>
          <c:h val="0.37048879912055083"/>
        </c:manualLayout>
      </c:layout>
      <c:overlay val="0"/>
      <c:txPr>
        <a:bodyPr/>
        <a:lstStyle/>
        <a:p>
          <a:pPr>
            <a:defRPr sz="1200">
              <a:solidFill>
                <a:srgbClr val="9999A9"/>
              </a:solidFill>
            </a:defRPr>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plotArea>
      <c:layout>
        <c:manualLayout>
          <c:layoutTarget val="inner"/>
          <c:xMode val="edge"/>
          <c:yMode val="edge"/>
          <c:x val="9.6988886715702535E-2"/>
          <c:y val="0"/>
          <c:w val="0.64491806232844939"/>
          <c:h val="0.92545027061998009"/>
        </c:manualLayout>
      </c:layout>
      <c:barChart>
        <c:barDir val="bar"/>
        <c:grouping val="percentStacked"/>
        <c:varyColors val="0"/>
        <c:ser>
          <c:idx val="0"/>
          <c:order val="0"/>
          <c:tx>
            <c:strRef>
              <c:f>Tabelle1!$B$1</c:f>
              <c:strCache>
                <c:ptCount val="1"/>
                <c:pt idx="0">
                  <c:v>Data series 1</c:v>
                </c:pt>
              </c:strCache>
            </c:strRef>
          </c:tx>
          <c:spPr>
            <a:solidFill>
              <a:srgbClr val="00646E"/>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B$2:$B$5</c:f>
              <c:numCache>
                <c:formatCode>0.0</c:formatCode>
                <c:ptCount val="4"/>
                <c:pt idx="0">
                  <c:v>4.3</c:v>
                </c:pt>
                <c:pt idx="1">
                  <c:v>2.5</c:v>
                </c:pt>
                <c:pt idx="2">
                  <c:v>3.5</c:v>
                </c:pt>
                <c:pt idx="3">
                  <c:v>4.5</c:v>
                </c:pt>
              </c:numCache>
            </c:numRef>
          </c:val>
          <c:extLst>
            <c:ext xmlns:c16="http://schemas.microsoft.com/office/drawing/2014/chart" uri="{C3380CC4-5D6E-409C-BE32-E72D297353CC}">
              <c16:uniqueId val="{00000000-D451-4E92-B5B8-A1DC9BECCFA8}"/>
            </c:ext>
          </c:extLst>
        </c:ser>
        <c:ser>
          <c:idx val="1"/>
          <c:order val="1"/>
          <c:tx>
            <c:strRef>
              <c:f>Tabelle1!$C$1</c:f>
              <c:strCache>
                <c:ptCount val="1"/>
                <c:pt idx="0">
                  <c:v>Data series 2</c:v>
                </c:pt>
              </c:strCache>
            </c:strRef>
          </c:tx>
          <c:spPr>
            <a:solidFill>
              <a:srgbClr val="009999"/>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C$2:$C$5</c:f>
              <c:numCache>
                <c:formatCode>0.0</c:formatCode>
                <c:ptCount val="4"/>
                <c:pt idx="0">
                  <c:v>2.4</c:v>
                </c:pt>
                <c:pt idx="1">
                  <c:v>4.4000000000000004</c:v>
                </c:pt>
                <c:pt idx="2">
                  <c:v>1.8</c:v>
                </c:pt>
                <c:pt idx="3">
                  <c:v>2.8</c:v>
                </c:pt>
              </c:numCache>
            </c:numRef>
          </c:val>
          <c:extLst>
            <c:ext xmlns:c16="http://schemas.microsoft.com/office/drawing/2014/chart" uri="{C3380CC4-5D6E-409C-BE32-E72D297353CC}">
              <c16:uniqueId val="{00000001-D451-4E92-B5B8-A1DC9BECCFA8}"/>
            </c:ext>
          </c:extLst>
        </c:ser>
        <c:ser>
          <c:idx val="2"/>
          <c:order val="2"/>
          <c:tx>
            <c:strRef>
              <c:f>Tabelle1!$D$1</c:f>
              <c:strCache>
                <c:ptCount val="1"/>
                <c:pt idx="0">
                  <c:v>Data series 3</c:v>
                </c:pt>
              </c:strCache>
            </c:strRef>
          </c:tx>
          <c:spPr>
            <a:solidFill>
              <a:srgbClr val="00E6DC"/>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D$2:$D$5</c:f>
              <c:numCache>
                <c:formatCode>0.0</c:formatCode>
                <c:ptCount val="4"/>
                <c:pt idx="0">
                  <c:v>2</c:v>
                </c:pt>
                <c:pt idx="1">
                  <c:v>2</c:v>
                </c:pt>
                <c:pt idx="2">
                  <c:v>3</c:v>
                </c:pt>
                <c:pt idx="3">
                  <c:v>5</c:v>
                </c:pt>
              </c:numCache>
            </c:numRef>
          </c:val>
          <c:extLst>
            <c:ext xmlns:c16="http://schemas.microsoft.com/office/drawing/2014/chart" uri="{C3380CC4-5D6E-409C-BE32-E72D297353CC}">
              <c16:uniqueId val="{00000002-D451-4E92-B5B8-A1DC9BECCFA8}"/>
            </c:ext>
          </c:extLst>
        </c:ser>
        <c:ser>
          <c:idx val="3"/>
          <c:order val="3"/>
          <c:tx>
            <c:strRef>
              <c:f>Tabelle1!$E$1</c:f>
              <c:strCache>
                <c:ptCount val="1"/>
                <c:pt idx="0">
                  <c:v>Data series 4</c:v>
                </c:pt>
              </c:strCache>
            </c:strRef>
          </c:tx>
          <c:spPr>
            <a:solidFill>
              <a:srgbClr val="00BEDC"/>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E$2:$E$5</c:f>
              <c:numCache>
                <c:formatCode>0.0</c:formatCode>
                <c:ptCount val="4"/>
                <c:pt idx="0">
                  <c:v>2</c:v>
                </c:pt>
                <c:pt idx="1">
                  <c:v>2</c:v>
                </c:pt>
                <c:pt idx="2">
                  <c:v>3</c:v>
                </c:pt>
                <c:pt idx="3">
                  <c:v>2</c:v>
                </c:pt>
              </c:numCache>
            </c:numRef>
          </c:val>
          <c:extLst>
            <c:ext xmlns:c16="http://schemas.microsoft.com/office/drawing/2014/chart" uri="{C3380CC4-5D6E-409C-BE32-E72D297353CC}">
              <c16:uniqueId val="{00000003-D451-4E92-B5B8-A1DC9BECCFA8}"/>
            </c:ext>
          </c:extLst>
        </c:ser>
        <c:ser>
          <c:idx val="4"/>
          <c:order val="4"/>
          <c:tx>
            <c:strRef>
              <c:f>Tabelle1!$F$1</c:f>
              <c:strCache>
                <c:ptCount val="1"/>
                <c:pt idx="0">
                  <c:v>Data series 5</c:v>
                </c:pt>
              </c:strCache>
            </c:strRef>
          </c:tx>
          <c:spPr>
            <a:solidFill>
              <a:srgbClr val="0087BE"/>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F$2:$F$5</c:f>
              <c:numCache>
                <c:formatCode>0.0</c:formatCode>
                <c:ptCount val="4"/>
                <c:pt idx="0">
                  <c:v>4</c:v>
                </c:pt>
                <c:pt idx="1">
                  <c:v>2</c:v>
                </c:pt>
                <c:pt idx="2">
                  <c:v>3</c:v>
                </c:pt>
                <c:pt idx="3">
                  <c:v>1</c:v>
                </c:pt>
              </c:numCache>
            </c:numRef>
          </c:val>
          <c:extLst>
            <c:ext xmlns:c16="http://schemas.microsoft.com/office/drawing/2014/chart" uri="{C3380CC4-5D6E-409C-BE32-E72D297353CC}">
              <c16:uniqueId val="{00000004-D451-4E92-B5B8-A1DC9BECCFA8}"/>
            </c:ext>
          </c:extLst>
        </c:ser>
        <c:ser>
          <c:idx val="5"/>
          <c:order val="5"/>
          <c:tx>
            <c:strRef>
              <c:f>Tabelle1!$G$1</c:f>
              <c:strCache>
                <c:ptCount val="1"/>
                <c:pt idx="0">
                  <c:v>Data series 6</c:v>
                </c:pt>
              </c:strCache>
            </c:strRef>
          </c:tx>
          <c:spPr>
            <a:solidFill>
              <a:srgbClr val="00557C"/>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G$2:$G$5</c:f>
              <c:numCache>
                <c:formatCode>0.0</c:formatCode>
                <c:ptCount val="4"/>
                <c:pt idx="0">
                  <c:v>3</c:v>
                </c:pt>
                <c:pt idx="1">
                  <c:v>2</c:v>
                </c:pt>
                <c:pt idx="2">
                  <c:v>1</c:v>
                </c:pt>
                <c:pt idx="3">
                  <c:v>2</c:v>
                </c:pt>
              </c:numCache>
            </c:numRef>
          </c:val>
          <c:extLst>
            <c:ext xmlns:c16="http://schemas.microsoft.com/office/drawing/2014/chart" uri="{C3380CC4-5D6E-409C-BE32-E72D297353CC}">
              <c16:uniqueId val="{00000005-D451-4E92-B5B8-A1DC9BECCFA8}"/>
            </c:ext>
          </c:extLst>
        </c:ser>
        <c:dLbls>
          <c:showLegendKey val="0"/>
          <c:showVal val="0"/>
          <c:showCatName val="0"/>
          <c:showSerName val="0"/>
          <c:showPercent val="0"/>
          <c:showBubbleSize val="0"/>
        </c:dLbls>
        <c:gapWidth val="150"/>
        <c:overlap val="100"/>
        <c:axId val="117478528"/>
        <c:axId val="117480064"/>
      </c:barChart>
      <c:catAx>
        <c:axId val="117478528"/>
        <c:scaling>
          <c:orientation val="maxMin"/>
        </c:scaling>
        <c:delete val="0"/>
        <c:axPos val="l"/>
        <c:numFmt formatCode="General" sourceLinked="0"/>
        <c:majorTickMark val="none"/>
        <c:minorTickMark val="none"/>
        <c:tickLblPos val="nextTo"/>
        <c:spPr>
          <a:ln>
            <a:solidFill>
              <a:srgbClr val="66667E"/>
            </a:solidFill>
          </a:ln>
        </c:spPr>
        <c:txPr>
          <a:bodyPr/>
          <a:lstStyle/>
          <a:p>
            <a:pPr>
              <a:defRPr sz="1400" b="1">
                <a:solidFill>
                  <a:srgbClr val="66667E"/>
                </a:solidFill>
              </a:defRPr>
            </a:pPr>
            <a:endParaRPr lang="de-DE"/>
          </a:p>
        </c:txPr>
        <c:crossAx val="117480064"/>
        <c:crosses val="autoZero"/>
        <c:auto val="1"/>
        <c:lblAlgn val="ctr"/>
        <c:lblOffset val="100"/>
        <c:noMultiLvlLbl val="0"/>
      </c:catAx>
      <c:valAx>
        <c:axId val="117480064"/>
        <c:scaling>
          <c:orientation val="minMax"/>
        </c:scaling>
        <c:delete val="1"/>
        <c:axPos val="t"/>
        <c:numFmt formatCode="0%" sourceLinked="1"/>
        <c:majorTickMark val="out"/>
        <c:minorTickMark val="none"/>
        <c:tickLblPos val="nextTo"/>
        <c:crossAx val="117478528"/>
        <c:crosses val="autoZero"/>
        <c:crossBetween val="between"/>
      </c:valAx>
    </c:plotArea>
    <c:legend>
      <c:legendPos val="r"/>
      <c:layout>
        <c:manualLayout>
          <c:xMode val="edge"/>
          <c:yMode val="edge"/>
          <c:x val="0.86740219013231779"/>
          <c:y val="0.55122844113423697"/>
          <c:w val="0.11473568315822091"/>
          <c:h val="0.37048879912055083"/>
        </c:manualLayout>
      </c:layout>
      <c:overlay val="0"/>
      <c:txPr>
        <a:bodyPr/>
        <a:lstStyle/>
        <a:p>
          <a:pPr>
            <a:defRPr sz="1200">
              <a:solidFill>
                <a:srgbClr val="66667E"/>
              </a:solidFill>
            </a:defRPr>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plotArea>
      <c:layout>
        <c:manualLayout>
          <c:layoutTarget val="inner"/>
          <c:xMode val="edge"/>
          <c:yMode val="edge"/>
          <c:x val="9.6988886715702535E-2"/>
          <c:y val="0"/>
          <c:w val="0.64491806232844939"/>
          <c:h val="0.92545027061998009"/>
        </c:manualLayout>
      </c:layout>
      <c:barChart>
        <c:barDir val="bar"/>
        <c:grouping val="percentStacked"/>
        <c:varyColors val="0"/>
        <c:ser>
          <c:idx val="0"/>
          <c:order val="0"/>
          <c:tx>
            <c:strRef>
              <c:f>Tabelle1!$B$1</c:f>
              <c:strCache>
                <c:ptCount val="1"/>
                <c:pt idx="0">
                  <c:v>Data series 1</c:v>
                </c:pt>
              </c:strCache>
            </c:strRef>
          </c:tx>
          <c:spPr>
            <a:solidFill>
              <a:srgbClr val="00646E"/>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B$2:$B$5</c:f>
              <c:numCache>
                <c:formatCode>0.0</c:formatCode>
                <c:ptCount val="4"/>
                <c:pt idx="0">
                  <c:v>4.3</c:v>
                </c:pt>
                <c:pt idx="1">
                  <c:v>2.5</c:v>
                </c:pt>
                <c:pt idx="2">
                  <c:v>3.5</c:v>
                </c:pt>
                <c:pt idx="3">
                  <c:v>4.5</c:v>
                </c:pt>
              </c:numCache>
            </c:numRef>
          </c:val>
          <c:extLst>
            <c:ext xmlns:c16="http://schemas.microsoft.com/office/drawing/2014/chart" uri="{C3380CC4-5D6E-409C-BE32-E72D297353CC}">
              <c16:uniqueId val="{00000000-D451-4E92-B5B8-A1DC9BECCFA8}"/>
            </c:ext>
          </c:extLst>
        </c:ser>
        <c:ser>
          <c:idx val="1"/>
          <c:order val="1"/>
          <c:tx>
            <c:strRef>
              <c:f>Tabelle1!$C$1</c:f>
              <c:strCache>
                <c:ptCount val="1"/>
                <c:pt idx="0">
                  <c:v>Data series 2</c:v>
                </c:pt>
              </c:strCache>
            </c:strRef>
          </c:tx>
          <c:spPr>
            <a:solidFill>
              <a:srgbClr val="009999"/>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C$2:$C$5</c:f>
              <c:numCache>
                <c:formatCode>0.0</c:formatCode>
                <c:ptCount val="4"/>
                <c:pt idx="0">
                  <c:v>2.4</c:v>
                </c:pt>
                <c:pt idx="1">
                  <c:v>4.4000000000000004</c:v>
                </c:pt>
                <c:pt idx="2">
                  <c:v>1.8</c:v>
                </c:pt>
                <c:pt idx="3">
                  <c:v>2.8</c:v>
                </c:pt>
              </c:numCache>
            </c:numRef>
          </c:val>
          <c:extLst>
            <c:ext xmlns:c16="http://schemas.microsoft.com/office/drawing/2014/chart" uri="{C3380CC4-5D6E-409C-BE32-E72D297353CC}">
              <c16:uniqueId val="{00000001-D451-4E92-B5B8-A1DC9BECCFA8}"/>
            </c:ext>
          </c:extLst>
        </c:ser>
        <c:ser>
          <c:idx val="2"/>
          <c:order val="2"/>
          <c:tx>
            <c:strRef>
              <c:f>Tabelle1!$D$1</c:f>
              <c:strCache>
                <c:ptCount val="1"/>
                <c:pt idx="0">
                  <c:v>Data series 3</c:v>
                </c:pt>
              </c:strCache>
            </c:strRef>
          </c:tx>
          <c:spPr>
            <a:solidFill>
              <a:srgbClr val="00E6DC"/>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D$2:$D$5</c:f>
              <c:numCache>
                <c:formatCode>0.0</c:formatCode>
                <c:ptCount val="4"/>
                <c:pt idx="0">
                  <c:v>2</c:v>
                </c:pt>
                <c:pt idx="1">
                  <c:v>2</c:v>
                </c:pt>
                <c:pt idx="2">
                  <c:v>3</c:v>
                </c:pt>
                <c:pt idx="3">
                  <c:v>5</c:v>
                </c:pt>
              </c:numCache>
            </c:numRef>
          </c:val>
          <c:extLst>
            <c:ext xmlns:c16="http://schemas.microsoft.com/office/drawing/2014/chart" uri="{C3380CC4-5D6E-409C-BE32-E72D297353CC}">
              <c16:uniqueId val="{00000002-D451-4E92-B5B8-A1DC9BECCFA8}"/>
            </c:ext>
          </c:extLst>
        </c:ser>
        <c:ser>
          <c:idx val="3"/>
          <c:order val="3"/>
          <c:tx>
            <c:strRef>
              <c:f>Tabelle1!$E$1</c:f>
              <c:strCache>
                <c:ptCount val="1"/>
                <c:pt idx="0">
                  <c:v>Data series 4</c:v>
                </c:pt>
              </c:strCache>
            </c:strRef>
          </c:tx>
          <c:spPr>
            <a:solidFill>
              <a:srgbClr val="00BEDC"/>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E$2:$E$5</c:f>
              <c:numCache>
                <c:formatCode>0.0</c:formatCode>
                <c:ptCount val="4"/>
                <c:pt idx="0">
                  <c:v>2</c:v>
                </c:pt>
                <c:pt idx="1">
                  <c:v>2</c:v>
                </c:pt>
                <c:pt idx="2">
                  <c:v>3</c:v>
                </c:pt>
                <c:pt idx="3">
                  <c:v>2</c:v>
                </c:pt>
              </c:numCache>
            </c:numRef>
          </c:val>
          <c:extLst>
            <c:ext xmlns:c16="http://schemas.microsoft.com/office/drawing/2014/chart" uri="{C3380CC4-5D6E-409C-BE32-E72D297353CC}">
              <c16:uniqueId val="{00000003-D451-4E92-B5B8-A1DC9BECCFA8}"/>
            </c:ext>
          </c:extLst>
        </c:ser>
        <c:ser>
          <c:idx val="4"/>
          <c:order val="4"/>
          <c:tx>
            <c:strRef>
              <c:f>Tabelle1!$F$1</c:f>
              <c:strCache>
                <c:ptCount val="1"/>
                <c:pt idx="0">
                  <c:v>Data series 5</c:v>
                </c:pt>
              </c:strCache>
            </c:strRef>
          </c:tx>
          <c:spPr>
            <a:solidFill>
              <a:srgbClr val="0087BE"/>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F$2:$F$5</c:f>
              <c:numCache>
                <c:formatCode>0.0</c:formatCode>
                <c:ptCount val="4"/>
                <c:pt idx="0">
                  <c:v>4</c:v>
                </c:pt>
                <c:pt idx="1">
                  <c:v>2</c:v>
                </c:pt>
                <c:pt idx="2">
                  <c:v>3</c:v>
                </c:pt>
                <c:pt idx="3">
                  <c:v>1</c:v>
                </c:pt>
              </c:numCache>
            </c:numRef>
          </c:val>
          <c:extLst>
            <c:ext xmlns:c16="http://schemas.microsoft.com/office/drawing/2014/chart" uri="{C3380CC4-5D6E-409C-BE32-E72D297353CC}">
              <c16:uniqueId val="{00000004-D451-4E92-B5B8-A1DC9BECCFA8}"/>
            </c:ext>
          </c:extLst>
        </c:ser>
        <c:ser>
          <c:idx val="5"/>
          <c:order val="5"/>
          <c:tx>
            <c:strRef>
              <c:f>Tabelle1!$G$1</c:f>
              <c:strCache>
                <c:ptCount val="1"/>
                <c:pt idx="0">
                  <c:v>Data series 6</c:v>
                </c:pt>
              </c:strCache>
            </c:strRef>
          </c:tx>
          <c:spPr>
            <a:solidFill>
              <a:srgbClr val="00557C"/>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G$2:$G$5</c:f>
              <c:numCache>
                <c:formatCode>0.0</c:formatCode>
                <c:ptCount val="4"/>
                <c:pt idx="0">
                  <c:v>3</c:v>
                </c:pt>
                <c:pt idx="1">
                  <c:v>2</c:v>
                </c:pt>
                <c:pt idx="2">
                  <c:v>1</c:v>
                </c:pt>
                <c:pt idx="3">
                  <c:v>2</c:v>
                </c:pt>
              </c:numCache>
            </c:numRef>
          </c:val>
          <c:extLst>
            <c:ext xmlns:c16="http://schemas.microsoft.com/office/drawing/2014/chart" uri="{C3380CC4-5D6E-409C-BE32-E72D297353CC}">
              <c16:uniqueId val="{00000005-D451-4E92-B5B8-A1DC9BECCFA8}"/>
            </c:ext>
          </c:extLst>
        </c:ser>
        <c:dLbls>
          <c:showLegendKey val="0"/>
          <c:showVal val="0"/>
          <c:showCatName val="0"/>
          <c:showSerName val="0"/>
          <c:showPercent val="0"/>
          <c:showBubbleSize val="0"/>
        </c:dLbls>
        <c:gapWidth val="150"/>
        <c:overlap val="100"/>
        <c:axId val="117478528"/>
        <c:axId val="117480064"/>
      </c:barChart>
      <c:catAx>
        <c:axId val="117478528"/>
        <c:scaling>
          <c:orientation val="maxMin"/>
        </c:scaling>
        <c:delete val="0"/>
        <c:axPos val="l"/>
        <c:numFmt formatCode="General" sourceLinked="0"/>
        <c:majorTickMark val="none"/>
        <c:minorTickMark val="none"/>
        <c:tickLblPos val="nextTo"/>
        <c:spPr>
          <a:ln>
            <a:solidFill>
              <a:srgbClr val="9999A9"/>
            </a:solidFill>
          </a:ln>
        </c:spPr>
        <c:txPr>
          <a:bodyPr/>
          <a:lstStyle/>
          <a:p>
            <a:pPr>
              <a:defRPr sz="1400" b="1">
                <a:solidFill>
                  <a:srgbClr val="9999A9"/>
                </a:solidFill>
              </a:defRPr>
            </a:pPr>
            <a:endParaRPr lang="de-DE"/>
          </a:p>
        </c:txPr>
        <c:crossAx val="117480064"/>
        <c:crosses val="autoZero"/>
        <c:auto val="1"/>
        <c:lblAlgn val="ctr"/>
        <c:lblOffset val="100"/>
        <c:noMultiLvlLbl val="0"/>
      </c:catAx>
      <c:valAx>
        <c:axId val="117480064"/>
        <c:scaling>
          <c:orientation val="minMax"/>
        </c:scaling>
        <c:delete val="1"/>
        <c:axPos val="t"/>
        <c:numFmt formatCode="0%" sourceLinked="1"/>
        <c:majorTickMark val="out"/>
        <c:minorTickMark val="none"/>
        <c:tickLblPos val="nextTo"/>
        <c:crossAx val="117478528"/>
        <c:crosses val="autoZero"/>
        <c:crossBetween val="between"/>
      </c:valAx>
    </c:plotArea>
    <c:legend>
      <c:legendPos val="r"/>
      <c:layout>
        <c:manualLayout>
          <c:xMode val="edge"/>
          <c:yMode val="edge"/>
          <c:x val="0.86740219013231779"/>
          <c:y val="0.55122844113423697"/>
          <c:w val="0.11473568315822091"/>
          <c:h val="0.37048879912055083"/>
        </c:manualLayout>
      </c:layout>
      <c:overlay val="0"/>
      <c:txPr>
        <a:bodyPr/>
        <a:lstStyle/>
        <a:p>
          <a:pPr>
            <a:defRPr sz="1200">
              <a:solidFill>
                <a:srgbClr val="9999A9"/>
              </a:solidFill>
            </a:defRPr>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plotArea>
      <c:layout>
        <c:manualLayout>
          <c:layoutTarget val="inner"/>
          <c:xMode val="edge"/>
          <c:yMode val="edge"/>
          <c:x val="9.6988886715702535E-2"/>
          <c:y val="0"/>
          <c:w val="0.64491806232844939"/>
          <c:h val="0.92545027061998009"/>
        </c:manualLayout>
      </c:layout>
      <c:barChart>
        <c:barDir val="bar"/>
        <c:grouping val="percentStacked"/>
        <c:varyColors val="0"/>
        <c:ser>
          <c:idx val="0"/>
          <c:order val="0"/>
          <c:tx>
            <c:strRef>
              <c:f>Tabelle1!$B$1</c:f>
              <c:strCache>
                <c:ptCount val="1"/>
                <c:pt idx="0">
                  <c:v>Data series 1</c:v>
                </c:pt>
              </c:strCache>
            </c:strRef>
          </c:tx>
          <c:spPr>
            <a:solidFill>
              <a:srgbClr val="00646E"/>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B$2:$B$5</c:f>
              <c:numCache>
                <c:formatCode>0.0</c:formatCode>
                <c:ptCount val="4"/>
                <c:pt idx="0">
                  <c:v>4.3</c:v>
                </c:pt>
                <c:pt idx="1">
                  <c:v>2.5</c:v>
                </c:pt>
                <c:pt idx="2">
                  <c:v>3.5</c:v>
                </c:pt>
                <c:pt idx="3">
                  <c:v>4.5</c:v>
                </c:pt>
              </c:numCache>
            </c:numRef>
          </c:val>
          <c:extLst>
            <c:ext xmlns:c16="http://schemas.microsoft.com/office/drawing/2014/chart" uri="{C3380CC4-5D6E-409C-BE32-E72D297353CC}">
              <c16:uniqueId val="{00000000-B464-4047-8B88-7ECA8FB21565}"/>
            </c:ext>
          </c:extLst>
        </c:ser>
        <c:ser>
          <c:idx val="1"/>
          <c:order val="1"/>
          <c:tx>
            <c:strRef>
              <c:f>Tabelle1!$C$1</c:f>
              <c:strCache>
                <c:ptCount val="1"/>
                <c:pt idx="0">
                  <c:v>Data series 2</c:v>
                </c:pt>
              </c:strCache>
            </c:strRef>
          </c:tx>
          <c:spPr>
            <a:solidFill>
              <a:srgbClr val="41AAAA"/>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C$2:$C$5</c:f>
              <c:numCache>
                <c:formatCode>0.0</c:formatCode>
                <c:ptCount val="4"/>
                <c:pt idx="0">
                  <c:v>2.4</c:v>
                </c:pt>
                <c:pt idx="1">
                  <c:v>4.4000000000000004</c:v>
                </c:pt>
                <c:pt idx="2">
                  <c:v>1.8</c:v>
                </c:pt>
                <c:pt idx="3">
                  <c:v>2.8</c:v>
                </c:pt>
              </c:numCache>
            </c:numRef>
          </c:val>
          <c:extLst>
            <c:ext xmlns:c16="http://schemas.microsoft.com/office/drawing/2014/chart" uri="{C3380CC4-5D6E-409C-BE32-E72D297353CC}">
              <c16:uniqueId val="{00000001-B464-4047-8B88-7ECA8FB21565}"/>
            </c:ext>
          </c:extLst>
        </c:ser>
        <c:ser>
          <c:idx val="2"/>
          <c:order val="2"/>
          <c:tx>
            <c:strRef>
              <c:f>Tabelle1!$D$1</c:f>
              <c:strCache>
                <c:ptCount val="1"/>
                <c:pt idx="0">
                  <c:v>Data series 3</c:v>
                </c:pt>
              </c:strCache>
            </c:strRef>
          </c:tx>
          <c:spPr>
            <a:solidFill>
              <a:srgbClr val="00E6DC"/>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D$2:$D$5</c:f>
              <c:numCache>
                <c:formatCode>0.0</c:formatCode>
                <c:ptCount val="4"/>
                <c:pt idx="0">
                  <c:v>2</c:v>
                </c:pt>
                <c:pt idx="1">
                  <c:v>2</c:v>
                </c:pt>
                <c:pt idx="2">
                  <c:v>3</c:v>
                </c:pt>
                <c:pt idx="3">
                  <c:v>5</c:v>
                </c:pt>
              </c:numCache>
            </c:numRef>
          </c:val>
          <c:extLst>
            <c:ext xmlns:c16="http://schemas.microsoft.com/office/drawing/2014/chart" uri="{C3380CC4-5D6E-409C-BE32-E72D297353CC}">
              <c16:uniqueId val="{00000002-B464-4047-8B88-7ECA8FB21565}"/>
            </c:ext>
          </c:extLst>
        </c:ser>
        <c:ser>
          <c:idx val="6"/>
          <c:order val="3"/>
          <c:tx>
            <c:strRef>
              <c:f>Tabelle1!$E$1</c:f>
              <c:strCache>
                <c:ptCount val="1"/>
                <c:pt idx="0">
                  <c:v>Data series 4</c:v>
                </c:pt>
              </c:strCache>
            </c:strRef>
          </c:tx>
          <c:spPr>
            <a:solidFill>
              <a:schemeClr val="accent3"/>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E$2:$E$5</c:f>
              <c:numCache>
                <c:formatCode>0.0</c:formatCode>
                <c:ptCount val="4"/>
                <c:pt idx="0">
                  <c:v>2</c:v>
                </c:pt>
                <c:pt idx="1">
                  <c:v>3</c:v>
                </c:pt>
                <c:pt idx="2">
                  <c:v>2</c:v>
                </c:pt>
                <c:pt idx="3">
                  <c:v>2</c:v>
                </c:pt>
              </c:numCache>
            </c:numRef>
          </c:val>
          <c:extLst>
            <c:ext xmlns:c16="http://schemas.microsoft.com/office/drawing/2014/chart" uri="{C3380CC4-5D6E-409C-BE32-E72D297353CC}">
              <c16:uniqueId val="{00000003-B464-4047-8B88-7ECA8FB21565}"/>
            </c:ext>
          </c:extLst>
        </c:ser>
        <c:ser>
          <c:idx val="7"/>
          <c:order val="4"/>
          <c:tx>
            <c:strRef>
              <c:f>Tabelle1!$F$1</c:f>
              <c:strCache>
                <c:ptCount val="1"/>
                <c:pt idx="0">
                  <c:v>Data series 5</c:v>
                </c:pt>
              </c:strCache>
            </c:strRef>
          </c:tx>
          <c:spPr>
            <a:solidFill>
              <a:schemeClr val="accent4"/>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F$2:$F$5</c:f>
              <c:numCache>
                <c:formatCode>0.0</c:formatCode>
                <c:ptCount val="4"/>
                <c:pt idx="0">
                  <c:v>3</c:v>
                </c:pt>
                <c:pt idx="1">
                  <c:v>3</c:v>
                </c:pt>
                <c:pt idx="2">
                  <c:v>4</c:v>
                </c:pt>
                <c:pt idx="3">
                  <c:v>2</c:v>
                </c:pt>
              </c:numCache>
            </c:numRef>
          </c:val>
          <c:extLst>
            <c:ext xmlns:c16="http://schemas.microsoft.com/office/drawing/2014/chart" uri="{C3380CC4-5D6E-409C-BE32-E72D297353CC}">
              <c16:uniqueId val="{00000004-B464-4047-8B88-7ECA8FB21565}"/>
            </c:ext>
          </c:extLst>
        </c:ser>
        <c:ser>
          <c:idx val="8"/>
          <c:order val="5"/>
          <c:tx>
            <c:strRef>
              <c:f>Tabelle1!$G$1</c:f>
              <c:strCache>
                <c:ptCount val="1"/>
                <c:pt idx="0">
                  <c:v>Data series 6</c:v>
                </c:pt>
              </c:strCache>
            </c:strRef>
          </c:tx>
          <c:spPr>
            <a:solidFill>
              <a:schemeClr val="accent5"/>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G$2:$G$5</c:f>
              <c:numCache>
                <c:formatCode>0.0</c:formatCode>
                <c:ptCount val="4"/>
                <c:pt idx="0">
                  <c:v>2</c:v>
                </c:pt>
                <c:pt idx="1">
                  <c:v>3</c:v>
                </c:pt>
                <c:pt idx="2">
                  <c:v>2</c:v>
                </c:pt>
                <c:pt idx="3">
                  <c:v>3</c:v>
                </c:pt>
              </c:numCache>
            </c:numRef>
          </c:val>
          <c:extLst>
            <c:ext xmlns:c16="http://schemas.microsoft.com/office/drawing/2014/chart" uri="{C3380CC4-5D6E-409C-BE32-E72D297353CC}">
              <c16:uniqueId val="{00000005-B464-4047-8B88-7ECA8FB21565}"/>
            </c:ext>
          </c:extLst>
        </c:ser>
        <c:ser>
          <c:idx val="9"/>
          <c:order val="6"/>
          <c:tx>
            <c:strRef>
              <c:f>Tabelle1!$H$1</c:f>
              <c:strCache>
                <c:ptCount val="1"/>
                <c:pt idx="0">
                  <c:v>Data series 7</c:v>
                </c:pt>
              </c:strCache>
            </c:strRef>
          </c:tx>
          <c:spPr>
            <a:solidFill>
              <a:srgbClr val="500078"/>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H$2:$H$5</c:f>
              <c:numCache>
                <c:formatCode>0.0</c:formatCode>
                <c:ptCount val="4"/>
                <c:pt idx="0">
                  <c:v>4</c:v>
                </c:pt>
                <c:pt idx="1">
                  <c:v>2</c:v>
                </c:pt>
                <c:pt idx="2">
                  <c:v>3</c:v>
                </c:pt>
                <c:pt idx="3">
                  <c:v>4</c:v>
                </c:pt>
              </c:numCache>
            </c:numRef>
          </c:val>
          <c:extLst>
            <c:ext xmlns:c16="http://schemas.microsoft.com/office/drawing/2014/chart" uri="{C3380CC4-5D6E-409C-BE32-E72D297353CC}">
              <c16:uniqueId val="{00000006-B464-4047-8B88-7ECA8FB21565}"/>
            </c:ext>
          </c:extLst>
        </c:ser>
        <c:ser>
          <c:idx val="10"/>
          <c:order val="7"/>
          <c:tx>
            <c:strRef>
              <c:f>Tabelle1!$I$1</c:f>
              <c:strCache>
                <c:ptCount val="1"/>
                <c:pt idx="0">
                  <c:v>Data series 8</c:v>
                </c:pt>
              </c:strCache>
            </c:strRef>
          </c:tx>
          <c:spPr>
            <a:solidFill>
              <a:srgbClr val="AA32BE"/>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I$2:$I$5</c:f>
              <c:numCache>
                <c:formatCode>0.0</c:formatCode>
                <c:ptCount val="4"/>
                <c:pt idx="0">
                  <c:v>2</c:v>
                </c:pt>
                <c:pt idx="1">
                  <c:v>3</c:v>
                </c:pt>
                <c:pt idx="2">
                  <c:v>4</c:v>
                </c:pt>
                <c:pt idx="3">
                  <c:v>2</c:v>
                </c:pt>
              </c:numCache>
            </c:numRef>
          </c:val>
          <c:extLst>
            <c:ext xmlns:c16="http://schemas.microsoft.com/office/drawing/2014/chart" uri="{C3380CC4-5D6E-409C-BE32-E72D297353CC}">
              <c16:uniqueId val="{00000007-B464-4047-8B88-7ECA8FB21565}"/>
            </c:ext>
          </c:extLst>
        </c:ser>
        <c:dLbls>
          <c:showLegendKey val="0"/>
          <c:showVal val="0"/>
          <c:showCatName val="0"/>
          <c:showSerName val="0"/>
          <c:showPercent val="0"/>
          <c:showBubbleSize val="0"/>
        </c:dLbls>
        <c:gapWidth val="150"/>
        <c:overlap val="100"/>
        <c:axId val="117478528"/>
        <c:axId val="117480064"/>
      </c:barChart>
      <c:catAx>
        <c:axId val="117478528"/>
        <c:scaling>
          <c:orientation val="maxMin"/>
        </c:scaling>
        <c:delete val="0"/>
        <c:axPos val="l"/>
        <c:numFmt formatCode="General" sourceLinked="0"/>
        <c:majorTickMark val="none"/>
        <c:minorTickMark val="none"/>
        <c:tickLblPos val="nextTo"/>
        <c:spPr>
          <a:ln>
            <a:solidFill>
              <a:srgbClr val="66667E"/>
            </a:solidFill>
          </a:ln>
        </c:spPr>
        <c:txPr>
          <a:bodyPr/>
          <a:lstStyle/>
          <a:p>
            <a:pPr>
              <a:defRPr sz="1400" b="1">
                <a:solidFill>
                  <a:srgbClr val="66667E"/>
                </a:solidFill>
              </a:defRPr>
            </a:pPr>
            <a:endParaRPr lang="de-DE"/>
          </a:p>
        </c:txPr>
        <c:crossAx val="117480064"/>
        <c:crosses val="autoZero"/>
        <c:auto val="1"/>
        <c:lblAlgn val="ctr"/>
        <c:lblOffset val="100"/>
        <c:noMultiLvlLbl val="0"/>
      </c:catAx>
      <c:valAx>
        <c:axId val="117480064"/>
        <c:scaling>
          <c:orientation val="minMax"/>
        </c:scaling>
        <c:delete val="1"/>
        <c:axPos val="t"/>
        <c:numFmt formatCode="0%" sourceLinked="1"/>
        <c:majorTickMark val="out"/>
        <c:minorTickMark val="none"/>
        <c:tickLblPos val="nextTo"/>
        <c:crossAx val="117478528"/>
        <c:crosses val="autoZero"/>
        <c:crossBetween val="between"/>
      </c:valAx>
    </c:plotArea>
    <c:legend>
      <c:legendPos val="r"/>
      <c:layout>
        <c:manualLayout>
          <c:xMode val="edge"/>
          <c:yMode val="edge"/>
          <c:x val="0.86565861098230712"/>
          <c:y val="0.42268663310873716"/>
          <c:w val="0.1177220514195424"/>
          <c:h val="0.50021975709950084"/>
        </c:manualLayout>
      </c:layout>
      <c:overlay val="0"/>
      <c:txPr>
        <a:bodyPr/>
        <a:lstStyle/>
        <a:p>
          <a:pPr>
            <a:defRPr sz="1200">
              <a:solidFill>
                <a:srgbClr val="66667E"/>
              </a:solidFill>
            </a:defRPr>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plotArea>
      <c:layout>
        <c:manualLayout>
          <c:layoutTarget val="inner"/>
          <c:xMode val="edge"/>
          <c:yMode val="edge"/>
          <c:x val="9.6988886715702535E-2"/>
          <c:y val="0"/>
          <c:w val="0.64491806232844939"/>
          <c:h val="0.92545027061998009"/>
        </c:manualLayout>
      </c:layout>
      <c:barChart>
        <c:barDir val="bar"/>
        <c:grouping val="percentStacked"/>
        <c:varyColors val="0"/>
        <c:ser>
          <c:idx val="0"/>
          <c:order val="0"/>
          <c:tx>
            <c:strRef>
              <c:f>Tabelle1!$B$1</c:f>
              <c:strCache>
                <c:ptCount val="1"/>
                <c:pt idx="0">
                  <c:v>Data series 1</c:v>
                </c:pt>
              </c:strCache>
            </c:strRef>
          </c:tx>
          <c:spPr>
            <a:solidFill>
              <a:srgbClr val="00646E"/>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B$2:$B$5</c:f>
              <c:numCache>
                <c:formatCode>0.0</c:formatCode>
                <c:ptCount val="4"/>
                <c:pt idx="0">
                  <c:v>4.3</c:v>
                </c:pt>
                <c:pt idx="1">
                  <c:v>2.5</c:v>
                </c:pt>
                <c:pt idx="2">
                  <c:v>3.5</c:v>
                </c:pt>
                <c:pt idx="3">
                  <c:v>4.5</c:v>
                </c:pt>
              </c:numCache>
            </c:numRef>
          </c:val>
          <c:extLst>
            <c:ext xmlns:c16="http://schemas.microsoft.com/office/drawing/2014/chart" uri="{C3380CC4-5D6E-409C-BE32-E72D297353CC}">
              <c16:uniqueId val="{00000000-B464-4047-8B88-7ECA8FB21565}"/>
            </c:ext>
          </c:extLst>
        </c:ser>
        <c:ser>
          <c:idx val="1"/>
          <c:order val="1"/>
          <c:tx>
            <c:strRef>
              <c:f>Tabelle1!$C$1</c:f>
              <c:strCache>
                <c:ptCount val="1"/>
                <c:pt idx="0">
                  <c:v>Data series 2</c:v>
                </c:pt>
              </c:strCache>
            </c:strRef>
          </c:tx>
          <c:spPr>
            <a:solidFill>
              <a:srgbClr val="41AAAA"/>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C$2:$C$5</c:f>
              <c:numCache>
                <c:formatCode>0.0</c:formatCode>
                <c:ptCount val="4"/>
                <c:pt idx="0">
                  <c:v>2.4</c:v>
                </c:pt>
                <c:pt idx="1">
                  <c:v>4.4000000000000004</c:v>
                </c:pt>
                <c:pt idx="2">
                  <c:v>1.8</c:v>
                </c:pt>
                <c:pt idx="3">
                  <c:v>2.8</c:v>
                </c:pt>
              </c:numCache>
            </c:numRef>
          </c:val>
          <c:extLst>
            <c:ext xmlns:c16="http://schemas.microsoft.com/office/drawing/2014/chart" uri="{C3380CC4-5D6E-409C-BE32-E72D297353CC}">
              <c16:uniqueId val="{00000001-B464-4047-8B88-7ECA8FB21565}"/>
            </c:ext>
          </c:extLst>
        </c:ser>
        <c:ser>
          <c:idx val="2"/>
          <c:order val="2"/>
          <c:tx>
            <c:strRef>
              <c:f>Tabelle1!$D$1</c:f>
              <c:strCache>
                <c:ptCount val="1"/>
                <c:pt idx="0">
                  <c:v>Data series 3</c:v>
                </c:pt>
              </c:strCache>
            </c:strRef>
          </c:tx>
          <c:spPr>
            <a:solidFill>
              <a:srgbClr val="00E6DC"/>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D$2:$D$5</c:f>
              <c:numCache>
                <c:formatCode>0.0</c:formatCode>
                <c:ptCount val="4"/>
                <c:pt idx="0">
                  <c:v>2</c:v>
                </c:pt>
                <c:pt idx="1">
                  <c:v>2</c:v>
                </c:pt>
                <c:pt idx="2">
                  <c:v>3</c:v>
                </c:pt>
                <c:pt idx="3">
                  <c:v>5</c:v>
                </c:pt>
              </c:numCache>
            </c:numRef>
          </c:val>
          <c:extLst>
            <c:ext xmlns:c16="http://schemas.microsoft.com/office/drawing/2014/chart" uri="{C3380CC4-5D6E-409C-BE32-E72D297353CC}">
              <c16:uniqueId val="{00000002-B464-4047-8B88-7ECA8FB21565}"/>
            </c:ext>
          </c:extLst>
        </c:ser>
        <c:ser>
          <c:idx val="6"/>
          <c:order val="3"/>
          <c:tx>
            <c:strRef>
              <c:f>Tabelle1!$E$1</c:f>
              <c:strCache>
                <c:ptCount val="1"/>
                <c:pt idx="0">
                  <c:v>Data series 4</c:v>
                </c:pt>
              </c:strCache>
            </c:strRef>
          </c:tx>
          <c:spPr>
            <a:solidFill>
              <a:schemeClr val="accent3"/>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E$2:$E$5</c:f>
              <c:numCache>
                <c:formatCode>0.0</c:formatCode>
                <c:ptCount val="4"/>
                <c:pt idx="0">
                  <c:v>2</c:v>
                </c:pt>
                <c:pt idx="1">
                  <c:v>3</c:v>
                </c:pt>
                <c:pt idx="2">
                  <c:v>2</c:v>
                </c:pt>
                <c:pt idx="3">
                  <c:v>2</c:v>
                </c:pt>
              </c:numCache>
            </c:numRef>
          </c:val>
          <c:extLst>
            <c:ext xmlns:c16="http://schemas.microsoft.com/office/drawing/2014/chart" uri="{C3380CC4-5D6E-409C-BE32-E72D297353CC}">
              <c16:uniqueId val="{00000003-B464-4047-8B88-7ECA8FB21565}"/>
            </c:ext>
          </c:extLst>
        </c:ser>
        <c:ser>
          <c:idx val="7"/>
          <c:order val="4"/>
          <c:tx>
            <c:strRef>
              <c:f>Tabelle1!$F$1</c:f>
              <c:strCache>
                <c:ptCount val="1"/>
                <c:pt idx="0">
                  <c:v>Data series 5</c:v>
                </c:pt>
              </c:strCache>
            </c:strRef>
          </c:tx>
          <c:spPr>
            <a:solidFill>
              <a:schemeClr val="accent4"/>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F$2:$F$5</c:f>
              <c:numCache>
                <c:formatCode>0.0</c:formatCode>
                <c:ptCount val="4"/>
                <c:pt idx="0">
                  <c:v>3</c:v>
                </c:pt>
                <c:pt idx="1">
                  <c:v>3</c:v>
                </c:pt>
                <c:pt idx="2">
                  <c:v>4</c:v>
                </c:pt>
                <c:pt idx="3">
                  <c:v>2</c:v>
                </c:pt>
              </c:numCache>
            </c:numRef>
          </c:val>
          <c:extLst>
            <c:ext xmlns:c16="http://schemas.microsoft.com/office/drawing/2014/chart" uri="{C3380CC4-5D6E-409C-BE32-E72D297353CC}">
              <c16:uniqueId val="{00000004-B464-4047-8B88-7ECA8FB21565}"/>
            </c:ext>
          </c:extLst>
        </c:ser>
        <c:ser>
          <c:idx val="8"/>
          <c:order val="5"/>
          <c:tx>
            <c:strRef>
              <c:f>Tabelle1!$G$1</c:f>
              <c:strCache>
                <c:ptCount val="1"/>
                <c:pt idx="0">
                  <c:v>Data series 6</c:v>
                </c:pt>
              </c:strCache>
            </c:strRef>
          </c:tx>
          <c:spPr>
            <a:solidFill>
              <a:schemeClr val="accent5"/>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G$2:$G$5</c:f>
              <c:numCache>
                <c:formatCode>0.0</c:formatCode>
                <c:ptCount val="4"/>
                <c:pt idx="0">
                  <c:v>2</c:v>
                </c:pt>
                <c:pt idx="1">
                  <c:v>3</c:v>
                </c:pt>
                <c:pt idx="2">
                  <c:v>2</c:v>
                </c:pt>
                <c:pt idx="3">
                  <c:v>3</c:v>
                </c:pt>
              </c:numCache>
            </c:numRef>
          </c:val>
          <c:extLst>
            <c:ext xmlns:c16="http://schemas.microsoft.com/office/drawing/2014/chart" uri="{C3380CC4-5D6E-409C-BE32-E72D297353CC}">
              <c16:uniqueId val="{00000005-B464-4047-8B88-7ECA8FB21565}"/>
            </c:ext>
          </c:extLst>
        </c:ser>
        <c:ser>
          <c:idx val="9"/>
          <c:order val="6"/>
          <c:tx>
            <c:strRef>
              <c:f>Tabelle1!$H$1</c:f>
              <c:strCache>
                <c:ptCount val="1"/>
                <c:pt idx="0">
                  <c:v>Data series 7</c:v>
                </c:pt>
              </c:strCache>
            </c:strRef>
          </c:tx>
          <c:spPr>
            <a:solidFill>
              <a:srgbClr val="500078"/>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H$2:$H$5</c:f>
              <c:numCache>
                <c:formatCode>0.0</c:formatCode>
                <c:ptCount val="4"/>
                <c:pt idx="0">
                  <c:v>4</c:v>
                </c:pt>
                <c:pt idx="1">
                  <c:v>2</c:v>
                </c:pt>
                <c:pt idx="2">
                  <c:v>3</c:v>
                </c:pt>
                <c:pt idx="3">
                  <c:v>4</c:v>
                </c:pt>
              </c:numCache>
            </c:numRef>
          </c:val>
          <c:extLst>
            <c:ext xmlns:c16="http://schemas.microsoft.com/office/drawing/2014/chart" uri="{C3380CC4-5D6E-409C-BE32-E72D297353CC}">
              <c16:uniqueId val="{00000006-B464-4047-8B88-7ECA8FB21565}"/>
            </c:ext>
          </c:extLst>
        </c:ser>
        <c:ser>
          <c:idx val="10"/>
          <c:order val="7"/>
          <c:tx>
            <c:strRef>
              <c:f>Tabelle1!$I$1</c:f>
              <c:strCache>
                <c:ptCount val="1"/>
                <c:pt idx="0">
                  <c:v>Data series 8</c:v>
                </c:pt>
              </c:strCache>
            </c:strRef>
          </c:tx>
          <c:spPr>
            <a:solidFill>
              <a:srgbClr val="AA32BE"/>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I$2:$I$5</c:f>
              <c:numCache>
                <c:formatCode>0.0</c:formatCode>
                <c:ptCount val="4"/>
                <c:pt idx="0">
                  <c:v>2</c:v>
                </c:pt>
                <c:pt idx="1">
                  <c:v>3</c:v>
                </c:pt>
                <c:pt idx="2">
                  <c:v>4</c:v>
                </c:pt>
                <c:pt idx="3">
                  <c:v>2</c:v>
                </c:pt>
              </c:numCache>
            </c:numRef>
          </c:val>
          <c:extLst>
            <c:ext xmlns:c16="http://schemas.microsoft.com/office/drawing/2014/chart" uri="{C3380CC4-5D6E-409C-BE32-E72D297353CC}">
              <c16:uniqueId val="{00000007-B464-4047-8B88-7ECA8FB21565}"/>
            </c:ext>
          </c:extLst>
        </c:ser>
        <c:dLbls>
          <c:showLegendKey val="0"/>
          <c:showVal val="0"/>
          <c:showCatName val="0"/>
          <c:showSerName val="0"/>
          <c:showPercent val="0"/>
          <c:showBubbleSize val="0"/>
        </c:dLbls>
        <c:gapWidth val="150"/>
        <c:overlap val="100"/>
        <c:axId val="117478528"/>
        <c:axId val="117480064"/>
      </c:barChart>
      <c:catAx>
        <c:axId val="117478528"/>
        <c:scaling>
          <c:orientation val="maxMin"/>
        </c:scaling>
        <c:delete val="0"/>
        <c:axPos val="l"/>
        <c:numFmt formatCode="General" sourceLinked="0"/>
        <c:majorTickMark val="none"/>
        <c:minorTickMark val="none"/>
        <c:tickLblPos val="nextTo"/>
        <c:spPr>
          <a:ln>
            <a:solidFill>
              <a:srgbClr val="9999A9"/>
            </a:solidFill>
          </a:ln>
        </c:spPr>
        <c:txPr>
          <a:bodyPr/>
          <a:lstStyle/>
          <a:p>
            <a:pPr>
              <a:defRPr sz="1400" b="1">
                <a:solidFill>
                  <a:srgbClr val="9999A9"/>
                </a:solidFill>
              </a:defRPr>
            </a:pPr>
            <a:endParaRPr lang="de-DE"/>
          </a:p>
        </c:txPr>
        <c:crossAx val="117480064"/>
        <c:crosses val="autoZero"/>
        <c:auto val="1"/>
        <c:lblAlgn val="ctr"/>
        <c:lblOffset val="100"/>
        <c:noMultiLvlLbl val="0"/>
      </c:catAx>
      <c:valAx>
        <c:axId val="117480064"/>
        <c:scaling>
          <c:orientation val="minMax"/>
        </c:scaling>
        <c:delete val="1"/>
        <c:axPos val="t"/>
        <c:numFmt formatCode="0%" sourceLinked="1"/>
        <c:majorTickMark val="out"/>
        <c:minorTickMark val="none"/>
        <c:tickLblPos val="nextTo"/>
        <c:crossAx val="117478528"/>
        <c:crosses val="autoZero"/>
        <c:crossBetween val="between"/>
      </c:valAx>
    </c:plotArea>
    <c:legend>
      <c:legendPos val="r"/>
      <c:layout>
        <c:manualLayout>
          <c:xMode val="edge"/>
          <c:yMode val="edge"/>
          <c:x val="0.86565861098230712"/>
          <c:y val="0.42268663310873716"/>
          <c:w val="0.1177220514195424"/>
          <c:h val="0.50021975709950084"/>
        </c:manualLayout>
      </c:layout>
      <c:overlay val="0"/>
      <c:txPr>
        <a:bodyPr/>
        <a:lstStyle/>
        <a:p>
          <a:pPr>
            <a:defRPr sz="1200">
              <a:solidFill>
                <a:srgbClr val="9999A9"/>
              </a:solidFill>
            </a:defRPr>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plotArea>
      <c:layout>
        <c:manualLayout>
          <c:layoutTarget val="inner"/>
          <c:xMode val="edge"/>
          <c:yMode val="edge"/>
          <c:x val="9.6988886715702535E-2"/>
          <c:y val="0"/>
          <c:w val="0.64491806232844939"/>
          <c:h val="0.92545027061998009"/>
        </c:manualLayout>
      </c:layout>
      <c:barChart>
        <c:barDir val="bar"/>
        <c:grouping val="percentStacked"/>
        <c:varyColors val="0"/>
        <c:ser>
          <c:idx val="0"/>
          <c:order val="0"/>
          <c:tx>
            <c:strRef>
              <c:f>Tabelle1!$B$1</c:f>
              <c:strCache>
                <c:ptCount val="1"/>
                <c:pt idx="0">
                  <c:v>Data series 1</c:v>
                </c:pt>
              </c:strCache>
            </c:strRef>
          </c:tx>
          <c:spPr>
            <a:solidFill>
              <a:srgbClr val="00646E"/>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B$2:$B$5</c:f>
              <c:numCache>
                <c:formatCode>0.0</c:formatCode>
                <c:ptCount val="4"/>
                <c:pt idx="0">
                  <c:v>4.3</c:v>
                </c:pt>
                <c:pt idx="1">
                  <c:v>2.5</c:v>
                </c:pt>
                <c:pt idx="2">
                  <c:v>3.5</c:v>
                </c:pt>
                <c:pt idx="3">
                  <c:v>4.5</c:v>
                </c:pt>
              </c:numCache>
            </c:numRef>
          </c:val>
          <c:extLst>
            <c:ext xmlns:c16="http://schemas.microsoft.com/office/drawing/2014/chart" uri="{C3380CC4-5D6E-409C-BE32-E72D297353CC}">
              <c16:uniqueId val="{00000000-6221-4202-B866-B44DC27FB0C7}"/>
            </c:ext>
          </c:extLst>
        </c:ser>
        <c:ser>
          <c:idx val="1"/>
          <c:order val="1"/>
          <c:tx>
            <c:strRef>
              <c:f>Tabelle1!$C$1</c:f>
              <c:strCache>
                <c:ptCount val="1"/>
                <c:pt idx="0">
                  <c:v>Data series 2</c:v>
                </c:pt>
              </c:strCache>
            </c:strRef>
          </c:tx>
          <c:spPr>
            <a:solidFill>
              <a:srgbClr val="009999"/>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C$2:$C$5</c:f>
              <c:numCache>
                <c:formatCode>0.0</c:formatCode>
                <c:ptCount val="4"/>
                <c:pt idx="0">
                  <c:v>2.4</c:v>
                </c:pt>
                <c:pt idx="1">
                  <c:v>4.4000000000000004</c:v>
                </c:pt>
                <c:pt idx="2">
                  <c:v>1.8</c:v>
                </c:pt>
                <c:pt idx="3">
                  <c:v>2.8</c:v>
                </c:pt>
              </c:numCache>
            </c:numRef>
          </c:val>
          <c:extLst>
            <c:ext xmlns:c16="http://schemas.microsoft.com/office/drawing/2014/chart" uri="{C3380CC4-5D6E-409C-BE32-E72D297353CC}">
              <c16:uniqueId val="{00000001-6221-4202-B866-B44DC27FB0C7}"/>
            </c:ext>
          </c:extLst>
        </c:ser>
        <c:ser>
          <c:idx val="2"/>
          <c:order val="2"/>
          <c:tx>
            <c:strRef>
              <c:f>Tabelle1!$D$1</c:f>
              <c:strCache>
                <c:ptCount val="1"/>
                <c:pt idx="0">
                  <c:v>Data series 3</c:v>
                </c:pt>
              </c:strCache>
            </c:strRef>
          </c:tx>
          <c:spPr>
            <a:solidFill>
              <a:srgbClr val="00E6DC"/>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D$2:$D$5</c:f>
              <c:numCache>
                <c:formatCode>0.0</c:formatCode>
                <c:ptCount val="4"/>
                <c:pt idx="0">
                  <c:v>2</c:v>
                </c:pt>
                <c:pt idx="1">
                  <c:v>2</c:v>
                </c:pt>
                <c:pt idx="2">
                  <c:v>3</c:v>
                </c:pt>
                <c:pt idx="3">
                  <c:v>5</c:v>
                </c:pt>
              </c:numCache>
            </c:numRef>
          </c:val>
          <c:extLst>
            <c:ext xmlns:c16="http://schemas.microsoft.com/office/drawing/2014/chart" uri="{C3380CC4-5D6E-409C-BE32-E72D297353CC}">
              <c16:uniqueId val="{00000002-6221-4202-B866-B44DC27FB0C7}"/>
            </c:ext>
          </c:extLst>
        </c:ser>
        <c:ser>
          <c:idx val="3"/>
          <c:order val="3"/>
          <c:tx>
            <c:strRef>
              <c:f>Tabelle1!$E$1</c:f>
              <c:strCache>
                <c:ptCount val="1"/>
                <c:pt idx="0">
                  <c:v>Data series 4</c:v>
                </c:pt>
              </c:strCache>
            </c:strRef>
          </c:tx>
          <c:spPr>
            <a:solidFill>
              <a:srgbClr val="CCCCD4"/>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E$2:$E$5</c:f>
              <c:numCache>
                <c:formatCode>0.0</c:formatCode>
                <c:ptCount val="4"/>
                <c:pt idx="0">
                  <c:v>2</c:v>
                </c:pt>
                <c:pt idx="1">
                  <c:v>2</c:v>
                </c:pt>
                <c:pt idx="2">
                  <c:v>3</c:v>
                </c:pt>
                <c:pt idx="3">
                  <c:v>2</c:v>
                </c:pt>
              </c:numCache>
            </c:numRef>
          </c:val>
          <c:extLst>
            <c:ext xmlns:c16="http://schemas.microsoft.com/office/drawing/2014/chart" uri="{C3380CC4-5D6E-409C-BE32-E72D297353CC}">
              <c16:uniqueId val="{00000003-6221-4202-B866-B44DC27FB0C7}"/>
            </c:ext>
          </c:extLst>
        </c:ser>
        <c:ser>
          <c:idx val="4"/>
          <c:order val="4"/>
          <c:tx>
            <c:strRef>
              <c:f>Tabelle1!$F$1</c:f>
              <c:strCache>
                <c:ptCount val="1"/>
                <c:pt idx="0">
                  <c:v>Data series 5</c:v>
                </c:pt>
              </c:strCache>
            </c:strRef>
          </c:tx>
          <c:spPr>
            <a:solidFill>
              <a:srgbClr val="9999A9"/>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F$2:$F$5</c:f>
              <c:numCache>
                <c:formatCode>0.0</c:formatCode>
                <c:ptCount val="4"/>
                <c:pt idx="0">
                  <c:v>4</c:v>
                </c:pt>
                <c:pt idx="1">
                  <c:v>2</c:v>
                </c:pt>
                <c:pt idx="2">
                  <c:v>3</c:v>
                </c:pt>
                <c:pt idx="3">
                  <c:v>1</c:v>
                </c:pt>
              </c:numCache>
            </c:numRef>
          </c:val>
          <c:extLst>
            <c:ext xmlns:c16="http://schemas.microsoft.com/office/drawing/2014/chart" uri="{C3380CC4-5D6E-409C-BE32-E72D297353CC}">
              <c16:uniqueId val="{00000004-6221-4202-B866-B44DC27FB0C7}"/>
            </c:ext>
          </c:extLst>
        </c:ser>
        <c:ser>
          <c:idx val="5"/>
          <c:order val="5"/>
          <c:tx>
            <c:strRef>
              <c:f>Tabelle1!$G$1</c:f>
              <c:strCache>
                <c:ptCount val="1"/>
                <c:pt idx="0">
                  <c:v>Data series 6</c:v>
                </c:pt>
              </c:strCache>
            </c:strRef>
          </c:tx>
          <c:spPr>
            <a:solidFill>
              <a:srgbClr val="66667E"/>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G$2:$G$5</c:f>
              <c:numCache>
                <c:formatCode>0.0</c:formatCode>
                <c:ptCount val="4"/>
                <c:pt idx="0">
                  <c:v>3</c:v>
                </c:pt>
                <c:pt idx="1">
                  <c:v>2</c:v>
                </c:pt>
                <c:pt idx="2">
                  <c:v>1</c:v>
                </c:pt>
                <c:pt idx="3">
                  <c:v>2</c:v>
                </c:pt>
              </c:numCache>
            </c:numRef>
          </c:val>
          <c:extLst>
            <c:ext xmlns:c16="http://schemas.microsoft.com/office/drawing/2014/chart" uri="{C3380CC4-5D6E-409C-BE32-E72D297353CC}">
              <c16:uniqueId val="{00000005-6221-4202-B866-B44DC27FB0C7}"/>
            </c:ext>
          </c:extLst>
        </c:ser>
        <c:ser>
          <c:idx val="6"/>
          <c:order val="6"/>
          <c:tx>
            <c:strRef>
              <c:f>Tabelle1!$H$1</c:f>
              <c:strCache>
                <c:ptCount val="1"/>
                <c:pt idx="0">
                  <c:v>Data series 7</c:v>
                </c:pt>
              </c:strCache>
            </c:strRef>
          </c:tx>
          <c:spPr>
            <a:solidFill>
              <a:srgbClr val="00557C"/>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H$2:$H$5</c:f>
              <c:numCache>
                <c:formatCode>0.0</c:formatCode>
                <c:ptCount val="4"/>
                <c:pt idx="0">
                  <c:v>2</c:v>
                </c:pt>
                <c:pt idx="1">
                  <c:v>3</c:v>
                </c:pt>
                <c:pt idx="2">
                  <c:v>2</c:v>
                </c:pt>
                <c:pt idx="3">
                  <c:v>2</c:v>
                </c:pt>
              </c:numCache>
            </c:numRef>
          </c:val>
          <c:extLst>
            <c:ext xmlns:c16="http://schemas.microsoft.com/office/drawing/2014/chart" uri="{C3380CC4-5D6E-409C-BE32-E72D297353CC}">
              <c16:uniqueId val="{00000006-6221-4202-B866-B44DC27FB0C7}"/>
            </c:ext>
          </c:extLst>
        </c:ser>
        <c:ser>
          <c:idx val="7"/>
          <c:order val="7"/>
          <c:tx>
            <c:strRef>
              <c:f>Tabelle1!$I$1</c:f>
              <c:strCache>
                <c:ptCount val="1"/>
                <c:pt idx="0">
                  <c:v>Data series 8</c:v>
                </c:pt>
              </c:strCache>
            </c:strRef>
          </c:tx>
          <c:spPr>
            <a:solidFill>
              <a:srgbClr val="0087BE"/>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I$2:$I$5</c:f>
              <c:numCache>
                <c:formatCode>0.0</c:formatCode>
                <c:ptCount val="4"/>
                <c:pt idx="0">
                  <c:v>3</c:v>
                </c:pt>
                <c:pt idx="1">
                  <c:v>3</c:v>
                </c:pt>
                <c:pt idx="2">
                  <c:v>4</c:v>
                </c:pt>
                <c:pt idx="3">
                  <c:v>2</c:v>
                </c:pt>
              </c:numCache>
            </c:numRef>
          </c:val>
          <c:extLst>
            <c:ext xmlns:c16="http://schemas.microsoft.com/office/drawing/2014/chart" uri="{C3380CC4-5D6E-409C-BE32-E72D297353CC}">
              <c16:uniqueId val="{00000007-6221-4202-B866-B44DC27FB0C7}"/>
            </c:ext>
          </c:extLst>
        </c:ser>
        <c:ser>
          <c:idx val="8"/>
          <c:order val="8"/>
          <c:tx>
            <c:strRef>
              <c:f>Tabelle1!$J$1</c:f>
              <c:strCache>
                <c:ptCount val="1"/>
                <c:pt idx="0">
                  <c:v>Data series 9</c:v>
                </c:pt>
              </c:strCache>
            </c:strRef>
          </c:tx>
          <c:spPr>
            <a:solidFill>
              <a:srgbClr val="00BEDC"/>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J$2:$J$5</c:f>
              <c:numCache>
                <c:formatCode>0.0</c:formatCode>
                <c:ptCount val="4"/>
                <c:pt idx="0">
                  <c:v>2</c:v>
                </c:pt>
                <c:pt idx="1">
                  <c:v>3</c:v>
                </c:pt>
                <c:pt idx="2">
                  <c:v>2</c:v>
                </c:pt>
                <c:pt idx="3">
                  <c:v>3</c:v>
                </c:pt>
              </c:numCache>
            </c:numRef>
          </c:val>
          <c:extLst>
            <c:ext xmlns:c16="http://schemas.microsoft.com/office/drawing/2014/chart" uri="{C3380CC4-5D6E-409C-BE32-E72D297353CC}">
              <c16:uniqueId val="{00000008-6221-4202-B866-B44DC27FB0C7}"/>
            </c:ext>
          </c:extLst>
        </c:ser>
        <c:ser>
          <c:idx val="9"/>
          <c:order val="9"/>
          <c:tx>
            <c:strRef>
              <c:f>Tabelle1!$K$1</c:f>
              <c:strCache>
                <c:ptCount val="1"/>
                <c:pt idx="0">
                  <c:v>Data series 10</c:v>
                </c:pt>
              </c:strCache>
            </c:strRef>
          </c:tx>
          <c:spPr>
            <a:solidFill>
              <a:srgbClr val="AA32BE"/>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K$2:$K$5</c:f>
              <c:numCache>
                <c:formatCode>0.0</c:formatCode>
                <c:ptCount val="4"/>
                <c:pt idx="0">
                  <c:v>4</c:v>
                </c:pt>
                <c:pt idx="1">
                  <c:v>2</c:v>
                </c:pt>
                <c:pt idx="2">
                  <c:v>3</c:v>
                </c:pt>
                <c:pt idx="3">
                  <c:v>4</c:v>
                </c:pt>
              </c:numCache>
            </c:numRef>
          </c:val>
          <c:extLst>
            <c:ext xmlns:c16="http://schemas.microsoft.com/office/drawing/2014/chart" uri="{C3380CC4-5D6E-409C-BE32-E72D297353CC}">
              <c16:uniqueId val="{00000009-6221-4202-B866-B44DC27FB0C7}"/>
            </c:ext>
          </c:extLst>
        </c:ser>
        <c:ser>
          <c:idx val="10"/>
          <c:order val="10"/>
          <c:tx>
            <c:strRef>
              <c:f>Tabelle1!$L$1</c:f>
              <c:strCache>
                <c:ptCount val="1"/>
                <c:pt idx="0">
                  <c:v>Data series 11</c:v>
                </c:pt>
              </c:strCache>
            </c:strRef>
          </c:tx>
          <c:spPr>
            <a:solidFill>
              <a:srgbClr val="500078"/>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L$2:$L$5</c:f>
              <c:numCache>
                <c:formatCode>0.0</c:formatCode>
                <c:ptCount val="4"/>
                <c:pt idx="0">
                  <c:v>2</c:v>
                </c:pt>
                <c:pt idx="1">
                  <c:v>3</c:v>
                </c:pt>
                <c:pt idx="2">
                  <c:v>4</c:v>
                </c:pt>
                <c:pt idx="3">
                  <c:v>2</c:v>
                </c:pt>
              </c:numCache>
            </c:numRef>
          </c:val>
          <c:extLst>
            <c:ext xmlns:c16="http://schemas.microsoft.com/office/drawing/2014/chart" uri="{C3380CC4-5D6E-409C-BE32-E72D297353CC}">
              <c16:uniqueId val="{0000000A-6221-4202-B866-B44DC27FB0C7}"/>
            </c:ext>
          </c:extLst>
        </c:ser>
        <c:dLbls>
          <c:showLegendKey val="0"/>
          <c:showVal val="0"/>
          <c:showCatName val="0"/>
          <c:showSerName val="0"/>
          <c:showPercent val="0"/>
          <c:showBubbleSize val="0"/>
        </c:dLbls>
        <c:gapWidth val="150"/>
        <c:overlap val="100"/>
        <c:axId val="117478528"/>
        <c:axId val="117480064"/>
      </c:barChart>
      <c:catAx>
        <c:axId val="117478528"/>
        <c:scaling>
          <c:orientation val="maxMin"/>
        </c:scaling>
        <c:delete val="0"/>
        <c:axPos val="l"/>
        <c:numFmt formatCode="General" sourceLinked="0"/>
        <c:majorTickMark val="none"/>
        <c:minorTickMark val="none"/>
        <c:tickLblPos val="nextTo"/>
        <c:spPr>
          <a:ln>
            <a:solidFill>
              <a:srgbClr val="66667E"/>
            </a:solidFill>
          </a:ln>
        </c:spPr>
        <c:txPr>
          <a:bodyPr/>
          <a:lstStyle/>
          <a:p>
            <a:pPr>
              <a:defRPr sz="1400" b="1">
                <a:solidFill>
                  <a:srgbClr val="66667E"/>
                </a:solidFill>
              </a:defRPr>
            </a:pPr>
            <a:endParaRPr lang="de-DE"/>
          </a:p>
        </c:txPr>
        <c:crossAx val="117480064"/>
        <c:crosses val="autoZero"/>
        <c:auto val="1"/>
        <c:lblAlgn val="ctr"/>
        <c:lblOffset val="100"/>
        <c:noMultiLvlLbl val="0"/>
      </c:catAx>
      <c:valAx>
        <c:axId val="117480064"/>
        <c:scaling>
          <c:orientation val="minMax"/>
        </c:scaling>
        <c:delete val="1"/>
        <c:axPos val="t"/>
        <c:numFmt formatCode="0%" sourceLinked="1"/>
        <c:majorTickMark val="out"/>
        <c:minorTickMark val="none"/>
        <c:tickLblPos val="nextTo"/>
        <c:crossAx val="117478528"/>
        <c:crosses val="autoZero"/>
        <c:crossBetween val="between"/>
      </c:valAx>
    </c:plotArea>
    <c:legend>
      <c:legendPos val="r"/>
      <c:layout>
        <c:manualLayout>
          <c:xMode val="edge"/>
          <c:yMode val="edge"/>
          <c:x val="0.86776497062902025"/>
          <c:y val="0.3556646100600151"/>
          <c:w val="0.12218758309690775"/>
          <c:h val="0.56655968104187382"/>
        </c:manualLayout>
      </c:layout>
      <c:overlay val="0"/>
      <c:txPr>
        <a:bodyPr/>
        <a:lstStyle/>
        <a:p>
          <a:pPr>
            <a:defRPr sz="1200">
              <a:solidFill>
                <a:srgbClr val="66667E"/>
              </a:solidFill>
            </a:defRPr>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plotArea>
      <c:layout>
        <c:manualLayout>
          <c:layoutTarget val="inner"/>
          <c:xMode val="edge"/>
          <c:yMode val="edge"/>
          <c:x val="9.6988886715702535E-2"/>
          <c:y val="0"/>
          <c:w val="0.64491806232844939"/>
          <c:h val="0.92545027061998009"/>
        </c:manualLayout>
      </c:layout>
      <c:barChart>
        <c:barDir val="bar"/>
        <c:grouping val="percentStacked"/>
        <c:varyColors val="0"/>
        <c:ser>
          <c:idx val="0"/>
          <c:order val="0"/>
          <c:tx>
            <c:strRef>
              <c:f>Tabelle1!$B$1</c:f>
              <c:strCache>
                <c:ptCount val="1"/>
                <c:pt idx="0">
                  <c:v>Data series 1</c:v>
                </c:pt>
              </c:strCache>
            </c:strRef>
          </c:tx>
          <c:spPr>
            <a:solidFill>
              <a:srgbClr val="00646E"/>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B$2:$B$5</c:f>
              <c:numCache>
                <c:formatCode>0.0</c:formatCode>
                <c:ptCount val="4"/>
                <c:pt idx="0">
                  <c:v>4.3</c:v>
                </c:pt>
                <c:pt idx="1">
                  <c:v>2.5</c:v>
                </c:pt>
                <c:pt idx="2">
                  <c:v>3.5</c:v>
                </c:pt>
                <c:pt idx="3">
                  <c:v>4.5</c:v>
                </c:pt>
              </c:numCache>
            </c:numRef>
          </c:val>
          <c:extLst>
            <c:ext xmlns:c16="http://schemas.microsoft.com/office/drawing/2014/chart" uri="{C3380CC4-5D6E-409C-BE32-E72D297353CC}">
              <c16:uniqueId val="{00000000-6221-4202-B866-B44DC27FB0C7}"/>
            </c:ext>
          </c:extLst>
        </c:ser>
        <c:ser>
          <c:idx val="1"/>
          <c:order val="1"/>
          <c:tx>
            <c:strRef>
              <c:f>Tabelle1!$C$1</c:f>
              <c:strCache>
                <c:ptCount val="1"/>
                <c:pt idx="0">
                  <c:v>Data series 2</c:v>
                </c:pt>
              </c:strCache>
            </c:strRef>
          </c:tx>
          <c:spPr>
            <a:solidFill>
              <a:srgbClr val="009999"/>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C$2:$C$5</c:f>
              <c:numCache>
                <c:formatCode>0.0</c:formatCode>
                <c:ptCount val="4"/>
                <c:pt idx="0">
                  <c:v>2.4</c:v>
                </c:pt>
                <c:pt idx="1">
                  <c:v>4.4000000000000004</c:v>
                </c:pt>
                <c:pt idx="2">
                  <c:v>1.8</c:v>
                </c:pt>
                <c:pt idx="3">
                  <c:v>2.8</c:v>
                </c:pt>
              </c:numCache>
            </c:numRef>
          </c:val>
          <c:extLst>
            <c:ext xmlns:c16="http://schemas.microsoft.com/office/drawing/2014/chart" uri="{C3380CC4-5D6E-409C-BE32-E72D297353CC}">
              <c16:uniqueId val="{00000001-6221-4202-B866-B44DC27FB0C7}"/>
            </c:ext>
          </c:extLst>
        </c:ser>
        <c:ser>
          <c:idx val="2"/>
          <c:order val="2"/>
          <c:tx>
            <c:strRef>
              <c:f>Tabelle1!$D$1</c:f>
              <c:strCache>
                <c:ptCount val="1"/>
                <c:pt idx="0">
                  <c:v>Data series 3</c:v>
                </c:pt>
              </c:strCache>
            </c:strRef>
          </c:tx>
          <c:spPr>
            <a:solidFill>
              <a:srgbClr val="00E6DC"/>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D$2:$D$5</c:f>
              <c:numCache>
                <c:formatCode>0.0</c:formatCode>
                <c:ptCount val="4"/>
                <c:pt idx="0">
                  <c:v>2</c:v>
                </c:pt>
                <c:pt idx="1">
                  <c:v>2</c:v>
                </c:pt>
                <c:pt idx="2">
                  <c:v>3</c:v>
                </c:pt>
                <c:pt idx="3">
                  <c:v>5</c:v>
                </c:pt>
              </c:numCache>
            </c:numRef>
          </c:val>
          <c:extLst>
            <c:ext xmlns:c16="http://schemas.microsoft.com/office/drawing/2014/chart" uri="{C3380CC4-5D6E-409C-BE32-E72D297353CC}">
              <c16:uniqueId val="{00000002-6221-4202-B866-B44DC27FB0C7}"/>
            </c:ext>
          </c:extLst>
        </c:ser>
        <c:ser>
          <c:idx val="3"/>
          <c:order val="3"/>
          <c:tx>
            <c:strRef>
              <c:f>Tabelle1!$E$1</c:f>
              <c:strCache>
                <c:ptCount val="1"/>
                <c:pt idx="0">
                  <c:v>Data series 4</c:v>
                </c:pt>
              </c:strCache>
            </c:strRef>
          </c:tx>
          <c:spPr>
            <a:solidFill>
              <a:srgbClr val="CCCCD4"/>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E$2:$E$5</c:f>
              <c:numCache>
                <c:formatCode>0.0</c:formatCode>
                <c:ptCount val="4"/>
                <c:pt idx="0">
                  <c:v>2</c:v>
                </c:pt>
                <c:pt idx="1">
                  <c:v>2</c:v>
                </c:pt>
                <c:pt idx="2">
                  <c:v>3</c:v>
                </c:pt>
                <c:pt idx="3">
                  <c:v>2</c:v>
                </c:pt>
              </c:numCache>
            </c:numRef>
          </c:val>
          <c:extLst>
            <c:ext xmlns:c16="http://schemas.microsoft.com/office/drawing/2014/chart" uri="{C3380CC4-5D6E-409C-BE32-E72D297353CC}">
              <c16:uniqueId val="{00000003-6221-4202-B866-B44DC27FB0C7}"/>
            </c:ext>
          </c:extLst>
        </c:ser>
        <c:ser>
          <c:idx val="4"/>
          <c:order val="4"/>
          <c:tx>
            <c:strRef>
              <c:f>Tabelle1!$F$1</c:f>
              <c:strCache>
                <c:ptCount val="1"/>
                <c:pt idx="0">
                  <c:v>Data series 5</c:v>
                </c:pt>
              </c:strCache>
            </c:strRef>
          </c:tx>
          <c:spPr>
            <a:solidFill>
              <a:srgbClr val="9999A9"/>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F$2:$F$5</c:f>
              <c:numCache>
                <c:formatCode>0.0</c:formatCode>
                <c:ptCount val="4"/>
                <c:pt idx="0">
                  <c:v>4</c:v>
                </c:pt>
                <c:pt idx="1">
                  <c:v>2</c:v>
                </c:pt>
                <c:pt idx="2">
                  <c:v>3</c:v>
                </c:pt>
                <c:pt idx="3">
                  <c:v>1</c:v>
                </c:pt>
              </c:numCache>
            </c:numRef>
          </c:val>
          <c:extLst>
            <c:ext xmlns:c16="http://schemas.microsoft.com/office/drawing/2014/chart" uri="{C3380CC4-5D6E-409C-BE32-E72D297353CC}">
              <c16:uniqueId val="{00000004-6221-4202-B866-B44DC27FB0C7}"/>
            </c:ext>
          </c:extLst>
        </c:ser>
        <c:ser>
          <c:idx val="5"/>
          <c:order val="5"/>
          <c:tx>
            <c:strRef>
              <c:f>Tabelle1!$G$1</c:f>
              <c:strCache>
                <c:ptCount val="1"/>
                <c:pt idx="0">
                  <c:v>Data series 6</c:v>
                </c:pt>
              </c:strCache>
            </c:strRef>
          </c:tx>
          <c:spPr>
            <a:solidFill>
              <a:srgbClr val="66667E"/>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G$2:$G$5</c:f>
              <c:numCache>
                <c:formatCode>0.0</c:formatCode>
                <c:ptCount val="4"/>
                <c:pt idx="0">
                  <c:v>3</c:v>
                </c:pt>
                <c:pt idx="1">
                  <c:v>2</c:v>
                </c:pt>
                <c:pt idx="2">
                  <c:v>1</c:v>
                </c:pt>
                <c:pt idx="3">
                  <c:v>2</c:v>
                </c:pt>
              </c:numCache>
            </c:numRef>
          </c:val>
          <c:extLst>
            <c:ext xmlns:c16="http://schemas.microsoft.com/office/drawing/2014/chart" uri="{C3380CC4-5D6E-409C-BE32-E72D297353CC}">
              <c16:uniqueId val="{00000005-6221-4202-B866-B44DC27FB0C7}"/>
            </c:ext>
          </c:extLst>
        </c:ser>
        <c:ser>
          <c:idx val="6"/>
          <c:order val="6"/>
          <c:tx>
            <c:strRef>
              <c:f>Tabelle1!$H$1</c:f>
              <c:strCache>
                <c:ptCount val="1"/>
                <c:pt idx="0">
                  <c:v>Data series 7</c:v>
                </c:pt>
              </c:strCache>
            </c:strRef>
          </c:tx>
          <c:spPr>
            <a:solidFill>
              <a:srgbClr val="00557C"/>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H$2:$H$5</c:f>
              <c:numCache>
                <c:formatCode>0.0</c:formatCode>
                <c:ptCount val="4"/>
                <c:pt idx="0">
                  <c:v>2</c:v>
                </c:pt>
                <c:pt idx="1">
                  <c:v>3</c:v>
                </c:pt>
                <c:pt idx="2">
                  <c:v>2</c:v>
                </c:pt>
                <c:pt idx="3">
                  <c:v>2</c:v>
                </c:pt>
              </c:numCache>
            </c:numRef>
          </c:val>
          <c:extLst>
            <c:ext xmlns:c16="http://schemas.microsoft.com/office/drawing/2014/chart" uri="{C3380CC4-5D6E-409C-BE32-E72D297353CC}">
              <c16:uniqueId val="{00000006-6221-4202-B866-B44DC27FB0C7}"/>
            </c:ext>
          </c:extLst>
        </c:ser>
        <c:ser>
          <c:idx val="7"/>
          <c:order val="7"/>
          <c:tx>
            <c:strRef>
              <c:f>Tabelle1!$I$1</c:f>
              <c:strCache>
                <c:ptCount val="1"/>
                <c:pt idx="0">
                  <c:v>Data series 8</c:v>
                </c:pt>
              </c:strCache>
            </c:strRef>
          </c:tx>
          <c:spPr>
            <a:solidFill>
              <a:srgbClr val="0087BE"/>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I$2:$I$5</c:f>
              <c:numCache>
                <c:formatCode>0.0</c:formatCode>
                <c:ptCount val="4"/>
                <c:pt idx="0">
                  <c:v>3</c:v>
                </c:pt>
                <c:pt idx="1">
                  <c:v>3</c:v>
                </c:pt>
                <c:pt idx="2">
                  <c:v>4</c:v>
                </c:pt>
                <c:pt idx="3">
                  <c:v>2</c:v>
                </c:pt>
              </c:numCache>
            </c:numRef>
          </c:val>
          <c:extLst>
            <c:ext xmlns:c16="http://schemas.microsoft.com/office/drawing/2014/chart" uri="{C3380CC4-5D6E-409C-BE32-E72D297353CC}">
              <c16:uniqueId val="{00000007-6221-4202-B866-B44DC27FB0C7}"/>
            </c:ext>
          </c:extLst>
        </c:ser>
        <c:ser>
          <c:idx val="8"/>
          <c:order val="8"/>
          <c:tx>
            <c:strRef>
              <c:f>Tabelle1!$J$1</c:f>
              <c:strCache>
                <c:ptCount val="1"/>
                <c:pt idx="0">
                  <c:v>Data series 9</c:v>
                </c:pt>
              </c:strCache>
            </c:strRef>
          </c:tx>
          <c:spPr>
            <a:solidFill>
              <a:srgbClr val="00BEDC"/>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J$2:$J$5</c:f>
              <c:numCache>
                <c:formatCode>0.0</c:formatCode>
                <c:ptCount val="4"/>
                <c:pt idx="0">
                  <c:v>2</c:v>
                </c:pt>
                <c:pt idx="1">
                  <c:v>3</c:v>
                </c:pt>
                <c:pt idx="2">
                  <c:v>2</c:v>
                </c:pt>
                <c:pt idx="3">
                  <c:v>3</c:v>
                </c:pt>
              </c:numCache>
            </c:numRef>
          </c:val>
          <c:extLst>
            <c:ext xmlns:c16="http://schemas.microsoft.com/office/drawing/2014/chart" uri="{C3380CC4-5D6E-409C-BE32-E72D297353CC}">
              <c16:uniqueId val="{00000008-6221-4202-B866-B44DC27FB0C7}"/>
            </c:ext>
          </c:extLst>
        </c:ser>
        <c:ser>
          <c:idx val="9"/>
          <c:order val="9"/>
          <c:tx>
            <c:strRef>
              <c:f>Tabelle1!$K$1</c:f>
              <c:strCache>
                <c:ptCount val="1"/>
                <c:pt idx="0">
                  <c:v>Data series 10</c:v>
                </c:pt>
              </c:strCache>
            </c:strRef>
          </c:tx>
          <c:spPr>
            <a:solidFill>
              <a:srgbClr val="AA32BE"/>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K$2:$K$5</c:f>
              <c:numCache>
                <c:formatCode>0.0</c:formatCode>
                <c:ptCount val="4"/>
                <c:pt idx="0">
                  <c:v>4</c:v>
                </c:pt>
                <c:pt idx="1">
                  <c:v>2</c:v>
                </c:pt>
                <c:pt idx="2">
                  <c:v>3</c:v>
                </c:pt>
                <c:pt idx="3">
                  <c:v>4</c:v>
                </c:pt>
              </c:numCache>
            </c:numRef>
          </c:val>
          <c:extLst>
            <c:ext xmlns:c16="http://schemas.microsoft.com/office/drawing/2014/chart" uri="{C3380CC4-5D6E-409C-BE32-E72D297353CC}">
              <c16:uniqueId val="{00000009-6221-4202-B866-B44DC27FB0C7}"/>
            </c:ext>
          </c:extLst>
        </c:ser>
        <c:ser>
          <c:idx val="10"/>
          <c:order val="10"/>
          <c:tx>
            <c:strRef>
              <c:f>Tabelle1!$L$1</c:f>
              <c:strCache>
                <c:ptCount val="1"/>
                <c:pt idx="0">
                  <c:v>Data series 11</c:v>
                </c:pt>
              </c:strCache>
            </c:strRef>
          </c:tx>
          <c:spPr>
            <a:solidFill>
              <a:srgbClr val="500078"/>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L$2:$L$5</c:f>
              <c:numCache>
                <c:formatCode>0.0</c:formatCode>
                <c:ptCount val="4"/>
                <c:pt idx="0">
                  <c:v>2</c:v>
                </c:pt>
                <c:pt idx="1">
                  <c:v>3</c:v>
                </c:pt>
                <c:pt idx="2">
                  <c:v>4</c:v>
                </c:pt>
                <c:pt idx="3">
                  <c:v>2</c:v>
                </c:pt>
              </c:numCache>
            </c:numRef>
          </c:val>
          <c:extLst>
            <c:ext xmlns:c16="http://schemas.microsoft.com/office/drawing/2014/chart" uri="{C3380CC4-5D6E-409C-BE32-E72D297353CC}">
              <c16:uniqueId val="{0000000A-6221-4202-B866-B44DC27FB0C7}"/>
            </c:ext>
          </c:extLst>
        </c:ser>
        <c:dLbls>
          <c:showLegendKey val="0"/>
          <c:showVal val="0"/>
          <c:showCatName val="0"/>
          <c:showSerName val="0"/>
          <c:showPercent val="0"/>
          <c:showBubbleSize val="0"/>
        </c:dLbls>
        <c:gapWidth val="150"/>
        <c:overlap val="100"/>
        <c:axId val="117478528"/>
        <c:axId val="117480064"/>
      </c:barChart>
      <c:catAx>
        <c:axId val="117478528"/>
        <c:scaling>
          <c:orientation val="maxMin"/>
        </c:scaling>
        <c:delete val="0"/>
        <c:axPos val="l"/>
        <c:numFmt formatCode="General" sourceLinked="0"/>
        <c:majorTickMark val="none"/>
        <c:minorTickMark val="none"/>
        <c:tickLblPos val="nextTo"/>
        <c:spPr>
          <a:ln>
            <a:solidFill>
              <a:srgbClr val="9999A9"/>
            </a:solidFill>
          </a:ln>
        </c:spPr>
        <c:txPr>
          <a:bodyPr/>
          <a:lstStyle/>
          <a:p>
            <a:pPr>
              <a:defRPr sz="1400" b="1">
                <a:solidFill>
                  <a:srgbClr val="9999A9"/>
                </a:solidFill>
              </a:defRPr>
            </a:pPr>
            <a:endParaRPr lang="de-DE"/>
          </a:p>
        </c:txPr>
        <c:crossAx val="117480064"/>
        <c:crosses val="autoZero"/>
        <c:auto val="1"/>
        <c:lblAlgn val="ctr"/>
        <c:lblOffset val="100"/>
        <c:noMultiLvlLbl val="0"/>
      </c:catAx>
      <c:valAx>
        <c:axId val="117480064"/>
        <c:scaling>
          <c:orientation val="minMax"/>
        </c:scaling>
        <c:delete val="1"/>
        <c:axPos val="t"/>
        <c:numFmt formatCode="0%" sourceLinked="1"/>
        <c:majorTickMark val="out"/>
        <c:minorTickMark val="none"/>
        <c:tickLblPos val="nextTo"/>
        <c:crossAx val="117478528"/>
        <c:crosses val="autoZero"/>
        <c:crossBetween val="between"/>
      </c:valAx>
    </c:plotArea>
    <c:legend>
      <c:legendPos val="r"/>
      <c:layout>
        <c:manualLayout>
          <c:xMode val="edge"/>
          <c:yMode val="edge"/>
          <c:x val="0.86776497062902025"/>
          <c:y val="0.3556646100600151"/>
          <c:w val="0.12218758309690775"/>
          <c:h val="0.56655968104187382"/>
        </c:manualLayout>
      </c:layout>
      <c:overlay val="0"/>
      <c:txPr>
        <a:bodyPr/>
        <a:lstStyle/>
        <a:p>
          <a:pPr>
            <a:defRPr sz="1200">
              <a:solidFill>
                <a:srgbClr val="9999A9"/>
              </a:solidFill>
            </a:defRPr>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plotArea>
      <c:layout>
        <c:manualLayout>
          <c:layoutTarget val="inner"/>
          <c:xMode val="edge"/>
          <c:yMode val="edge"/>
          <c:x val="9.6988886715702535E-2"/>
          <c:y val="0"/>
          <c:w val="0.64491806232844939"/>
          <c:h val="0.92545027061998009"/>
        </c:manualLayout>
      </c:layout>
      <c:barChart>
        <c:barDir val="bar"/>
        <c:grouping val="percentStacked"/>
        <c:varyColors val="0"/>
        <c:ser>
          <c:idx val="0"/>
          <c:order val="0"/>
          <c:tx>
            <c:strRef>
              <c:f>Tabelle1!$B$1</c:f>
              <c:strCache>
                <c:ptCount val="1"/>
                <c:pt idx="0">
                  <c:v>Data series 1</c:v>
                </c:pt>
              </c:strCache>
            </c:strRef>
          </c:tx>
          <c:spPr>
            <a:solidFill>
              <a:srgbClr val="00646E"/>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B$2:$B$5</c:f>
              <c:numCache>
                <c:formatCode>0.0</c:formatCode>
                <c:ptCount val="4"/>
                <c:pt idx="0">
                  <c:v>4.3</c:v>
                </c:pt>
                <c:pt idx="1">
                  <c:v>2.5</c:v>
                </c:pt>
                <c:pt idx="2">
                  <c:v>3.5</c:v>
                </c:pt>
                <c:pt idx="3">
                  <c:v>4.5</c:v>
                </c:pt>
              </c:numCache>
            </c:numRef>
          </c:val>
          <c:extLst>
            <c:ext xmlns:c16="http://schemas.microsoft.com/office/drawing/2014/chart" uri="{C3380CC4-5D6E-409C-BE32-E72D297353CC}">
              <c16:uniqueId val="{00000000-6221-4202-B866-B44DC27FB0C7}"/>
            </c:ext>
          </c:extLst>
        </c:ser>
        <c:ser>
          <c:idx val="1"/>
          <c:order val="1"/>
          <c:tx>
            <c:strRef>
              <c:f>Tabelle1!$C$1</c:f>
              <c:strCache>
                <c:ptCount val="1"/>
                <c:pt idx="0">
                  <c:v>Data series 2</c:v>
                </c:pt>
              </c:strCache>
            </c:strRef>
          </c:tx>
          <c:spPr>
            <a:solidFill>
              <a:srgbClr val="009999"/>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C$2:$C$5</c:f>
              <c:numCache>
                <c:formatCode>0.0</c:formatCode>
                <c:ptCount val="4"/>
                <c:pt idx="0">
                  <c:v>2.4</c:v>
                </c:pt>
                <c:pt idx="1">
                  <c:v>4.4000000000000004</c:v>
                </c:pt>
                <c:pt idx="2">
                  <c:v>1.8</c:v>
                </c:pt>
                <c:pt idx="3">
                  <c:v>2.8</c:v>
                </c:pt>
              </c:numCache>
            </c:numRef>
          </c:val>
          <c:extLst>
            <c:ext xmlns:c16="http://schemas.microsoft.com/office/drawing/2014/chart" uri="{C3380CC4-5D6E-409C-BE32-E72D297353CC}">
              <c16:uniqueId val="{00000001-6221-4202-B866-B44DC27FB0C7}"/>
            </c:ext>
          </c:extLst>
        </c:ser>
        <c:ser>
          <c:idx val="2"/>
          <c:order val="2"/>
          <c:tx>
            <c:strRef>
              <c:f>Tabelle1!$D$1</c:f>
              <c:strCache>
                <c:ptCount val="1"/>
                <c:pt idx="0">
                  <c:v>Data series 3</c:v>
                </c:pt>
              </c:strCache>
            </c:strRef>
          </c:tx>
          <c:spPr>
            <a:solidFill>
              <a:srgbClr val="00E6DC"/>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D$2:$D$5</c:f>
              <c:numCache>
                <c:formatCode>0.0</c:formatCode>
                <c:ptCount val="4"/>
                <c:pt idx="0">
                  <c:v>2</c:v>
                </c:pt>
                <c:pt idx="1">
                  <c:v>2</c:v>
                </c:pt>
                <c:pt idx="2">
                  <c:v>3</c:v>
                </c:pt>
                <c:pt idx="3">
                  <c:v>5</c:v>
                </c:pt>
              </c:numCache>
            </c:numRef>
          </c:val>
          <c:extLst>
            <c:ext xmlns:c16="http://schemas.microsoft.com/office/drawing/2014/chart" uri="{C3380CC4-5D6E-409C-BE32-E72D297353CC}">
              <c16:uniqueId val="{00000002-6221-4202-B866-B44DC27FB0C7}"/>
            </c:ext>
          </c:extLst>
        </c:ser>
        <c:ser>
          <c:idx val="3"/>
          <c:order val="3"/>
          <c:tx>
            <c:strRef>
              <c:f>Tabelle1!$E$1</c:f>
              <c:strCache>
                <c:ptCount val="1"/>
                <c:pt idx="0">
                  <c:v>Data series 4</c:v>
                </c:pt>
              </c:strCache>
            </c:strRef>
          </c:tx>
          <c:spPr>
            <a:solidFill>
              <a:srgbClr val="00AF8E"/>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E$2:$E$5</c:f>
              <c:numCache>
                <c:formatCode>0.0</c:formatCode>
                <c:ptCount val="4"/>
                <c:pt idx="0">
                  <c:v>2</c:v>
                </c:pt>
                <c:pt idx="1">
                  <c:v>2</c:v>
                </c:pt>
                <c:pt idx="2">
                  <c:v>3</c:v>
                </c:pt>
                <c:pt idx="3">
                  <c:v>2</c:v>
                </c:pt>
              </c:numCache>
            </c:numRef>
          </c:val>
          <c:extLst>
            <c:ext xmlns:c16="http://schemas.microsoft.com/office/drawing/2014/chart" uri="{C3380CC4-5D6E-409C-BE32-E72D297353CC}">
              <c16:uniqueId val="{00000003-6221-4202-B866-B44DC27FB0C7}"/>
            </c:ext>
          </c:extLst>
        </c:ser>
        <c:ser>
          <c:idx val="4"/>
          <c:order val="4"/>
          <c:tx>
            <c:strRef>
              <c:f>Tabelle1!$F$1</c:f>
              <c:strCache>
                <c:ptCount val="1"/>
                <c:pt idx="0">
                  <c:v>Data series 5</c:v>
                </c:pt>
              </c:strCache>
            </c:strRef>
          </c:tx>
          <c:spPr>
            <a:solidFill>
              <a:srgbClr val="00D7A0"/>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F$2:$F$5</c:f>
              <c:numCache>
                <c:formatCode>0.0</c:formatCode>
                <c:ptCount val="4"/>
                <c:pt idx="0">
                  <c:v>4</c:v>
                </c:pt>
                <c:pt idx="1">
                  <c:v>2</c:v>
                </c:pt>
                <c:pt idx="2">
                  <c:v>3</c:v>
                </c:pt>
                <c:pt idx="3">
                  <c:v>1</c:v>
                </c:pt>
              </c:numCache>
            </c:numRef>
          </c:val>
          <c:extLst>
            <c:ext xmlns:c16="http://schemas.microsoft.com/office/drawing/2014/chart" uri="{C3380CC4-5D6E-409C-BE32-E72D297353CC}">
              <c16:uniqueId val="{00000004-6221-4202-B866-B44DC27FB0C7}"/>
            </c:ext>
          </c:extLst>
        </c:ser>
        <c:ser>
          <c:idx val="5"/>
          <c:order val="5"/>
          <c:tx>
            <c:strRef>
              <c:f>Tabelle1!$G$1</c:f>
              <c:strCache>
                <c:ptCount val="1"/>
                <c:pt idx="0">
                  <c:v>Data series 6</c:v>
                </c:pt>
              </c:strCache>
            </c:strRef>
          </c:tx>
          <c:spPr>
            <a:solidFill>
              <a:srgbClr val="00FFB9"/>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G$2:$G$5</c:f>
              <c:numCache>
                <c:formatCode>0.0</c:formatCode>
                <c:ptCount val="4"/>
                <c:pt idx="0">
                  <c:v>3</c:v>
                </c:pt>
                <c:pt idx="1">
                  <c:v>2</c:v>
                </c:pt>
                <c:pt idx="2">
                  <c:v>1</c:v>
                </c:pt>
                <c:pt idx="3">
                  <c:v>2</c:v>
                </c:pt>
              </c:numCache>
            </c:numRef>
          </c:val>
          <c:extLst>
            <c:ext xmlns:c16="http://schemas.microsoft.com/office/drawing/2014/chart" uri="{C3380CC4-5D6E-409C-BE32-E72D297353CC}">
              <c16:uniqueId val="{00000005-6221-4202-B866-B44DC27FB0C7}"/>
            </c:ext>
          </c:extLst>
        </c:ser>
        <c:ser>
          <c:idx val="6"/>
          <c:order val="6"/>
          <c:tx>
            <c:strRef>
              <c:f>Tabelle1!$H$1</c:f>
              <c:strCache>
                <c:ptCount val="1"/>
                <c:pt idx="0">
                  <c:v>Data series 7</c:v>
                </c:pt>
              </c:strCache>
            </c:strRef>
          </c:tx>
          <c:spPr>
            <a:solidFill>
              <a:srgbClr val="00BEDC"/>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H$2:$H$5</c:f>
              <c:numCache>
                <c:formatCode>0.0</c:formatCode>
                <c:ptCount val="4"/>
                <c:pt idx="0">
                  <c:v>2</c:v>
                </c:pt>
                <c:pt idx="1">
                  <c:v>3</c:v>
                </c:pt>
                <c:pt idx="2">
                  <c:v>2</c:v>
                </c:pt>
                <c:pt idx="3">
                  <c:v>2</c:v>
                </c:pt>
              </c:numCache>
            </c:numRef>
          </c:val>
          <c:extLst>
            <c:ext xmlns:c16="http://schemas.microsoft.com/office/drawing/2014/chart" uri="{C3380CC4-5D6E-409C-BE32-E72D297353CC}">
              <c16:uniqueId val="{00000006-6221-4202-B866-B44DC27FB0C7}"/>
            </c:ext>
          </c:extLst>
        </c:ser>
        <c:ser>
          <c:idx val="7"/>
          <c:order val="7"/>
          <c:tx>
            <c:strRef>
              <c:f>Tabelle1!$I$1</c:f>
              <c:strCache>
                <c:ptCount val="1"/>
                <c:pt idx="0">
                  <c:v>Data series 8</c:v>
                </c:pt>
              </c:strCache>
            </c:strRef>
          </c:tx>
          <c:spPr>
            <a:solidFill>
              <a:srgbClr val="0087BE"/>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I$2:$I$5</c:f>
              <c:numCache>
                <c:formatCode>0.0</c:formatCode>
                <c:ptCount val="4"/>
                <c:pt idx="0">
                  <c:v>3</c:v>
                </c:pt>
                <c:pt idx="1">
                  <c:v>3</c:v>
                </c:pt>
                <c:pt idx="2">
                  <c:v>4</c:v>
                </c:pt>
                <c:pt idx="3">
                  <c:v>2</c:v>
                </c:pt>
              </c:numCache>
            </c:numRef>
          </c:val>
          <c:extLst>
            <c:ext xmlns:c16="http://schemas.microsoft.com/office/drawing/2014/chart" uri="{C3380CC4-5D6E-409C-BE32-E72D297353CC}">
              <c16:uniqueId val="{00000007-6221-4202-B866-B44DC27FB0C7}"/>
            </c:ext>
          </c:extLst>
        </c:ser>
        <c:ser>
          <c:idx val="8"/>
          <c:order val="8"/>
          <c:tx>
            <c:strRef>
              <c:f>Tabelle1!$J$1</c:f>
              <c:strCache>
                <c:ptCount val="1"/>
                <c:pt idx="0">
                  <c:v>Data series 9</c:v>
                </c:pt>
              </c:strCache>
            </c:strRef>
          </c:tx>
          <c:spPr>
            <a:solidFill>
              <a:srgbClr val="00557C"/>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J$2:$J$5</c:f>
              <c:numCache>
                <c:formatCode>0.0</c:formatCode>
                <c:ptCount val="4"/>
                <c:pt idx="0">
                  <c:v>2</c:v>
                </c:pt>
                <c:pt idx="1">
                  <c:v>3</c:v>
                </c:pt>
                <c:pt idx="2">
                  <c:v>2</c:v>
                </c:pt>
                <c:pt idx="3">
                  <c:v>3</c:v>
                </c:pt>
              </c:numCache>
            </c:numRef>
          </c:val>
          <c:extLst>
            <c:ext xmlns:c16="http://schemas.microsoft.com/office/drawing/2014/chart" uri="{C3380CC4-5D6E-409C-BE32-E72D297353CC}">
              <c16:uniqueId val="{00000008-6221-4202-B866-B44DC27FB0C7}"/>
            </c:ext>
          </c:extLst>
        </c:ser>
        <c:ser>
          <c:idx val="9"/>
          <c:order val="9"/>
          <c:tx>
            <c:strRef>
              <c:f>Tabelle1!$K$1</c:f>
              <c:strCache>
                <c:ptCount val="1"/>
                <c:pt idx="0">
                  <c:v>Data series 10</c:v>
                </c:pt>
              </c:strCache>
            </c:strRef>
          </c:tx>
          <c:spPr>
            <a:solidFill>
              <a:srgbClr val="AA32BE"/>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K$2:$K$5</c:f>
              <c:numCache>
                <c:formatCode>0.0</c:formatCode>
                <c:ptCount val="4"/>
                <c:pt idx="0">
                  <c:v>4</c:v>
                </c:pt>
                <c:pt idx="1">
                  <c:v>2</c:v>
                </c:pt>
                <c:pt idx="2">
                  <c:v>3</c:v>
                </c:pt>
                <c:pt idx="3">
                  <c:v>4</c:v>
                </c:pt>
              </c:numCache>
            </c:numRef>
          </c:val>
          <c:extLst>
            <c:ext xmlns:c16="http://schemas.microsoft.com/office/drawing/2014/chart" uri="{C3380CC4-5D6E-409C-BE32-E72D297353CC}">
              <c16:uniqueId val="{00000009-6221-4202-B866-B44DC27FB0C7}"/>
            </c:ext>
          </c:extLst>
        </c:ser>
        <c:ser>
          <c:idx val="10"/>
          <c:order val="10"/>
          <c:tx>
            <c:strRef>
              <c:f>Tabelle1!$L$1</c:f>
              <c:strCache>
                <c:ptCount val="1"/>
                <c:pt idx="0">
                  <c:v>Data series 11</c:v>
                </c:pt>
              </c:strCache>
            </c:strRef>
          </c:tx>
          <c:spPr>
            <a:solidFill>
              <a:srgbClr val="500078"/>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L$2:$L$5</c:f>
              <c:numCache>
                <c:formatCode>0.0</c:formatCode>
                <c:ptCount val="4"/>
                <c:pt idx="0">
                  <c:v>2</c:v>
                </c:pt>
                <c:pt idx="1">
                  <c:v>3</c:v>
                </c:pt>
                <c:pt idx="2">
                  <c:v>4</c:v>
                </c:pt>
                <c:pt idx="3">
                  <c:v>2</c:v>
                </c:pt>
              </c:numCache>
            </c:numRef>
          </c:val>
          <c:extLst>
            <c:ext xmlns:c16="http://schemas.microsoft.com/office/drawing/2014/chart" uri="{C3380CC4-5D6E-409C-BE32-E72D297353CC}">
              <c16:uniqueId val="{0000000A-6221-4202-B866-B44DC27FB0C7}"/>
            </c:ext>
          </c:extLst>
        </c:ser>
        <c:dLbls>
          <c:showLegendKey val="0"/>
          <c:showVal val="0"/>
          <c:showCatName val="0"/>
          <c:showSerName val="0"/>
          <c:showPercent val="0"/>
          <c:showBubbleSize val="0"/>
        </c:dLbls>
        <c:gapWidth val="150"/>
        <c:overlap val="100"/>
        <c:axId val="117478528"/>
        <c:axId val="117480064"/>
      </c:barChart>
      <c:catAx>
        <c:axId val="117478528"/>
        <c:scaling>
          <c:orientation val="maxMin"/>
        </c:scaling>
        <c:delete val="0"/>
        <c:axPos val="l"/>
        <c:numFmt formatCode="General" sourceLinked="0"/>
        <c:majorTickMark val="none"/>
        <c:minorTickMark val="none"/>
        <c:tickLblPos val="nextTo"/>
        <c:spPr>
          <a:ln>
            <a:solidFill>
              <a:srgbClr val="66667E"/>
            </a:solidFill>
          </a:ln>
        </c:spPr>
        <c:txPr>
          <a:bodyPr/>
          <a:lstStyle/>
          <a:p>
            <a:pPr>
              <a:defRPr sz="1400" b="1">
                <a:solidFill>
                  <a:srgbClr val="66667E"/>
                </a:solidFill>
              </a:defRPr>
            </a:pPr>
            <a:endParaRPr lang="de-DE"/>
          </a:p>
        </c:txPr>
        <c:crossAx val="117480064"/>
        <c:crosses val="autoZero"/>
        <c:auto val="1"/>
        <c:lblAlgn val="ctr"/>
        <c:lblOffset val="100"/>
        <c:noMultiLvlLbl val="0"/>
      </c:catAx>
      <c:valAx>
        <c:axId val="117480064"/>
        <c:scaling>
          <c:orientation val="minMax"/>
        </c:scaling>
        <c:delete val="1"/>
        <c:axPos val="t"/>
        <c:numFmt formatCode="0%" sourceLinked="1"/>
        <c:majorTickMark val="out"/>
        <c:minorTickMark val="none"/>
        <c:tickLblPos val="nextTo"/>
        <c:crossAx val="117478528"/>
        <c:crosses val="autoZero"/>
        <c:crossBetween val="between"/>
      </c:valAx>
    </c:plotArea>
    <c:legend>
      <c:legendPos val="r"/>
      <c:layout>
        <c:manualLayout>
          <c:xMode val="edge"/>
          <c:yMode val="edge"/>
          <c:x val="0.86776497062902025"/>
          <c:y val="0.3556646100600151"/>
          <c:w val="0.12218758309690775"/>
          <c:h val="0.56655968104187382"/>
        </c:manualLayout>
      </c:layout>
      <c:overlay val="0"/>
      <c:txPr>
        <a:bodyPr/>
        <a:lstStyle/>
        <a:p>
          <a:pPr>
            <a:defRPr sz="1200">
              <a:solidFill>
                <a:srgbClr val="66667E"/>
              </a:solidFill>
            </a:defRPr>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plotArea>
      <c:layout>
        <c:manualLayout>
          <c:layoutTarget val="inner"/>
          <c:xMode val="edge"/>
          <c:yMode val="edge"/>
          <c:x val="9.6988886715702535E-2"/>
          <c:y val="0"/>
          <c:w val="0.64491806232844939"/>
          <c:h val="0.92545027061998009"/>
        </c:manualLayout>
      </c:layout>
      <c:barChart>
        <c:barDir val="bar"/>
        <c:grouping val="percentStacked"/>
        <c:varyColors val="0"/>
        <c:ser>
          <c:idx val="0"/>
          <c:order val="0"/>
          <c:tx>
            <c:strRef>
              <c:f>Tabelle1!$B$1</c:f>
              <c:strCache>
                <c:ptCount val="1"/>
                <c:pt idx="0">
                  <c:v>Data series 1</c:v>
                </c:pt>
              </c:strCache>
            </c:strRef>
          </c:tx>
          <c:spPr>
            <a:solidFill>
              <a:srgbClr val="00646E"/>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B$2:$B$5</c:f>
              <c:numCache>
                <c:formatCode>0.0</c:formatCode>
                <c:ptCount val="4"/>
                <c:pt idx="0">
                  <c:v>4.3</c:v>
                </c:pt>
                <c:pt idx="1">
                  <c:v>2.5</c:v>
                </c:pt>
                <c:pt idx="2">
                  <c:v>3.5</c:v>
                </c:pt>
                <c:pt idx="3">
                  <c:v>4.5</c:v>
                </c:pt>
              </c:numCache>
            </c:numRef>
          </c:val>
          <c:extLst>
            <c:ext xmlns:c16="http://schemas.microsoft.com/office/drawing/2014/chart" uri="{C3380CC4-5D6E-409C-BE32-E72D297353CC}">
              <c16:uniqueId val="{00000000-6221-4202-B866-B44DC27FB0C7}"/>
            </c:ext>
          </c:extLst>
        </c:ser>
        <c:ser>
          <c:idx val="1"/>
          <c:order val="1"/>
          <c:tx>
            <c:strRef>
              <c:f>Tabelle1!$C$1</c:f>
              <c:strCache>
                <c:ptCount val="1"/>
                <c:pt idx="0">
                  <c:v>Data series 2</c:v>
                </c:pt>
              </c:strCache>
            </c:strRef>
          </c:tx>
          <c:spPr>
            <a:solidFill>
              <a:srgbClr val="009999"/>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C$2:$C$5</c:f>
              <c:numCache>
                <c:formatCode>0.0</c:formatCode>
                <c:ptCount val="4"/>
                <c:pt idx="0">
                  <c:v>2.4</c:v>
                </c:pt>
                <c:pt idx="1">
                  <c:v>4.4000000000000004</c:v>
                </c:pt>
                <c:pt idx="2">
                  <c:v>1.8</c:v>
                </c:pt>
                <c:pt idx="3">
                  <c:v>2.8</c:v>
                </c:pt>
              </c:numCache>
            </c:numRef>
          </c:val>
          <c:extLst>
            <c:ext xmlns:c16="http://schemas.microsoft.com/office/drawing/2014/chart" uri="{C3380CC4-5D6E-409C-BE32-E72D297353CC}">
              <c16:uniqueId val="{00000001-6221-4202-B866-B44DC27FB0C7}"/>
            </c:ext>
          </c:extLst>
        </c:ser>
        <c:ser>
          <c:idx val="2"/>
          <c:order val="2"/>
          <c:tx>
            <c:strRef>
              <c:f>Tabelle1!$D$1</c:f>
              <c:strCache>
                <c:ptCount val="1"/>
                <c:pt idx="0">
                  <c:v>Data series 3</c:v>
                </c:pt>
              </c:strCache>
            </c:strRef>
          </c:tx>
          <c:spPr>
            <a:solidFill>
              <a:srgbClr val="00E6DC"/>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D$2:$D$5</c:f>
              <c:numCache>
                <c:formatCode>0.0</c:formatCode>
                <c:ptCount val="4"/>
                <c:pt idx="0">
                  <c:v>2</c:v>
                </c:pt>
                <c:pt idx="1">
                  <c:v>2</c:v>
                </c:pt>
                <c:pt idx="2">
                  <c:v>3</c:v>
                </c:pt>
                <c:pt idx="3">
                  <c:v>5</c:v>
                </c:pt>
              </c:numCache>
            </c:numRef>
          </c:val>
          <c:extLst>
            <c:ext xmlns:c16="http://schemas.microsoft.com/office/drawing/2014/chart" uri="{C3380CC4-5D6E-409C-BE32-E72D297353CC}">
              <c16:uniqueId val="{00000002-6221-4202-B866-B44DC27FB0C7}"/>
            </c:ext>
          </c:extLst>
        </c:ser>
        <c:ser>
          <c:idx val="3"/>
          <c:order val="3"/>
          <c:tx>
            <c:strRef>
              <c:f>Tabelle1!$E$1</c:f>
              <c:strCache>
                <c:ptCount val="1"/>
                <c:pt idx="0">
                  <c:v>Data series 4</c:v>
                </c:pt>
              </c:strCache>
            </c:strRef>
          </c:tx>
          <c:spPr>
            <a:solidFill>
              <a:srgbClr val="00AF8E"/>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E$2:$E$5</c:f>
              <c:numCache>
                <c:formatCode>0.0</c:formatCode>
                <c:ptCount val="4"/>
                <c:pt idx="0">
                  <c:v>2</c:v>
                </c:pt>
                <c:pt idx="1">
                  <c:v>2</c:v>
                </c:pt>
                <c:pt idx="2">
                  <c:v>3</c:v>
                </c:pt>
                <c:pt idx="3">
                  <c:v>2</c:v>
                </c:pt>
              </c:numCache>
            </c:numRef>
          </c:val>
          <c:extLst>
            <c:ext xmlns:c16="http://schemas.microsoft.com/office/drawing/2014/chart" uri="{C3380CC4-5D6E-409C-BE32-E72D297353CC}">
              <c16:uniqueId val="{00000003-6221-4202-B866-B44DC27FB0C7}"/>
            </c:ext>
          </c:extLst>
        </c:ser>
        <c:ser>
          <c:idx val="4"/>
          <c:order val="4"/>
          <c:tx>
            <c:strRef>
              <c:f>Tabelle1!$F$1</c:f>
              <c:strCache>
                <c:ptCount val="1"/>
                <c:pt idx="0">
                  <c:v>Data series 5</c:v>
                </c:pt>
              </c:strCache>
            </c:strRef>
          </c:tx>
          <c:spPr>
            <a:solidFill>
              <a:srgbClr val="00D7A0"/>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F$2:$F$5</c:f>
              <c:numCache>
                <c:formatCode>0.0</c:formatCode>
                <c:ptCount val="4"/>
                <c:pt idx="0">
                  <c:v>4</c:v>
                </c:pt>
                <c:pt idx="1">
                  <c:v>2</c:v>
                </c:pt>
                <c:pt idx="2">
                  <c:v>3</c:v>
                </c:pt>
                <c:pt idx="3">
                  <c:v>1</c:v>
                </c:pt>
              </c:numCache>
            </c:numRef>
          </c:val>
          <c:extLst>
            <c:ext xmlns:c16="http://schemas.microsoft.com/office/drawing/2014/chart" uri="{C3380CC4-5D6E-409C-BE32-E72D297353CC}">
              <c16:uniqueId val="{00000004-6221-4202-B866-B44DC27FB0C7}"/>
            </c:ext>
          </c:extLst>
        </c:ser>
        <c:ser>
          <c:idx val="5"/>
          <c:order val="5"/>
          <c:tx>
            <c:strRef>
              <c:f>Tabelle1!$G$1</c:f>
              <c:strCache>
                <c:ptCount val="1"/>
                <c:pt idx="0">
                  <c:v>Data series 6</c:v>
                </c:pt>
              </c:strCache>
            </c:strRef>
          </c:tx>
          <c:spPr>
            <a:solidFill>
              <a:srgbClr val="00FFB9"/>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G$2:$G$5</c:f>
              <c:numCache>
                <c:formatCode>0.0</c:formatCode>
                <c:ptCount val="4"/>
                <c:pt idx="0">
                  <c:v>3</c:v>
                </c:pt>
                <c:pt idx="1">
                  <c:v>2</c:v>
                </c:pt>
                <c:pt idx="2">
                  <c:v>1</c:v>
                </c:pt>
                <c:pt idx="3">
                  <c:v>2</c:v>
                </c:pt>
              </c:numCache>
            </c:numRef>
          </c:val>
          <c:extLst>
            <c:ext xmlns:c16="http://schemas.microsoft.com/office/drawing/2014/chart" uri="{C3380CC4-5D6E-409C-BE32-E72D297353CC}">
              <c16:uniqueId val="{00000005-6221-4202-B866-B44DC27FB0C7}"/>
            </c:ext>
          </c:extLst>
        </c:ser>
        <c:ser>
          <c:idx val="6"/>
          <c:order val="6"/>
          <c:tx>
            <c:strRef>
              <c:f>Tabelle1!$H$1</c:f>
              <c:strCache>
                <c:ptCount val="1"/>
                <c:pt idx="0">
                  <c:v>Data series 7</c:v>
                </c:pt>
              </c:strCache>
            </c:strRef>
          </c:tx>
          <c:spPr>
            <a:solidFill>
              <a:srgbClr val="00BEDC"/>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H$2:$H$5</c:f>
              <c:numCache>
                <c:formatCode>0.0</c:formatCode>
                <c:ptCount val="4"/>
                <c:pt idx="0">
                  <c:v>2</c:v>
                </c:pt>
                <c:pt idx="1">
                  <c:v>3</c:v>
                </c:pt>
                <c:pt idx="2">
                  <c:v>2</c:v>
                </c:pt>
                <c:pt idx="3">
                  <c:v>2</c:v>
                </c:pt>
              </c:numCache>
            </c:numRef>
          </c:val>
          <c:extLst>
            <c:ext xmlns:c16="http://schemas.microsoft.com/office/drawing/2014/chart" uri="{C3380CC4-5D6E-409C-BE32-E72D297353CC}">
              <c16:uniqueId val="{00000006-6221-4202-B866-B44DC27FB0C7}"/>
            </c:ext>
          </c:extLst>
        </c:ser>
        <c:ser>
          <c:idx val="7"/>
          <c:order val="7"/>
          <c:tx>
            <c:strRef>
              <c:f>Tabelle1!$I$1</c:f>
              <c:strCache>
                <c:ptCount val="1"/>
                <c:pt idx="0">
                  <c:v>Data series 8</c:v>
                </c:pt>
              </c:strCache>
            </c:strRef>
          </c:tx>
          <c:spPr>
            <a:solidFill>
              <a:srgbClr val="0087BE"/>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I$2:$I$5</c:f>
              <c:numCache>
                <c:formatCode>0.0</c:formatCode>
                <c:ptCount val="4"/>
                <c:pt idx="0">
                  <c:v>3</c:v>
                </c:pt>
                <c:pt idx="1">
                  <c:v>3</c:v>
                </c:pt>
                <c:pt idx="2">
                  <c:v>4</c:v>
                </c:pt>
                <c:pt idx="3">
                  <c:v>2</c:v>
                </c:pt>
              </c:numCache>
            </c:numRef>
          </c:val>
          <c:extLst>
            <c:ext xmlns:c16="http://schemas.microsoft.com/office/drawing/2014/chart" uri="{C3380CC4-5D6E-409C-BE32-E72D297353CC}">
              <c16:uniqueId val="{00000007-6221-4202-B866-B44DC27FB0C7}"/>
            </c:ext>
          </c:extLst>
        </c:ser>
        <c:ser>
          <c:idx val="8"/>
          <c:order val="8"/>
          <c:tx>
            <c:strRef>
              <c:f>Tabelle1!$J$1</c:f>
              <c:strCache>
                <c:ptCount val="1"/>
                <c:pt idx="0">
                  <c:v>Data series 9</c:v>
                </c:pt>
              </c:strCache>
            </c:strRef>
          </c:tx>
          <c:spPr>
            <a:solidFill>
              <a:srgbClr val="00557C"/>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J$2:$J$5</c:f>
              <c:numCache>
                <c:formatCode>0.0</c:formatCode>
                <c:ptCount val="4"/>
                <c:pt idx="0">
                  <c:v>2</c:v>
                </c:pt>
                <c:pt idx="1">
                  <c:v>3</c:v>
                </c:pt>
                <c:pt idx="2">
                  <c:v>2</c:v>
                </c:pt>
                <c:pt idx="3">
                  <c:v>3</c:v>
                </c:pt>
              </c:numCache>
            </c:numRef>
          </c:val>
          <c:extLst>
            <c:ext xmlns:c16="http://schemas.microsoft.com/office/drawing/2014/chart" uri="{C3380CC4-5D6E-409C-BE32-E72D297353CC}">
              <c16:uniqueId val="{00000008-6221-4202-B866-B44DC27FB0C7}"/>
            </c:ext>
          </c:extLst>
        </c:ser>
        <c:ser>
          <c:idx val="9"/>
          <c:order val="9"/>
          <c:tx>
            <c:strRef>
              <c:f>Tabelle1!$K$1</c:f>
              <c:strCache>
                <c:ptCount val="1"/>
                <c:pt idx="0">
                  <c:v>Data series 10</c:v>
                </c:pt>
              </c:strCache>
            </c:strRef>
          </c:tx>
          <c:spPr>
            <a:solidFill>
              <a:srgbClr val="AA32BE"/>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K$2:$K$5</c:f>
              <c:numCache>
                <c:formatCode>0.0</c:formatCode>
                <c:ptCount val="4"/>
                <c:pt idx="0">
                  <c:v>4</c:v>
                </c:pt>
                <c:pt idx="1">
                  <c:v>2</c:v>
                </c:pt>
                <c:pt idx="2">
                  <c:v>3</c:v>
                </c:pt>
                <c:pt idx="3">
                  <c:v>4</c:v>
                </c:pt>
              </c:numCache>
            </c:numRef>
          </c:val>
          <c:extLst>
            <c:ext xmlns:c16="http://schemas.microsoft.com/office/drawing/2014/chart" uri="{C3380CC4-5D6E-409C-BE32-E72D297353CC}">
              <c16:uniqueId val="{00000009-6221-4202-B866-B44DC27FB0C7}"/>
            </c:ext>
          </c:extLst>
        </c:ser>
        <c:ser>
          <c:idx val="10"/>
          <c:order val="10"/>
          <c:tx>
            <c:strRef>
              <c:f>Tabelle1!$L$1</c:f>
              <c:strCache>
                <c:ptCount val="1"/>
                <c:pt idx="0">
                  <c:v>Data series 11</c:v>
                </c:pt>
              </c:strCache>
            </c:strRef>
          </c:tx>
          <c:spPr>
            <a:solidFill>
              <a:srgbClr val="500078"/>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L$2:$L$5</c:f>
              <c:numCache>
                <c:formatCode>0.0</c:formatCode>
                <c:ptCount val="4"/>
                <c:pt idx="0">
                  <c:v>2</c:v>
                </c:pt>
                <c:pt idx="1">
                  <c:v>3</c:v>
                </c:pt>
                <c:pt idx="2">
                  <c:v>4</c:v>
                </c:pt>
                <c:pt idx="3">
                  <c:v>2</c:v>
                </c:pt>
              </c:numCache>
            </c:numRef>
          </c:val>
          <c:extLst>
            <c:ext xmlns:c16="http://schemas.microsoft.com/office/drawing/2014/chart" uri="{C3380CC4-5D6E-409C-BE32-E72D297353CC}">
              <c16:uniqueId val="{0000000A-6221-4202-B866-B44DC27FB0C7}"/>
            </c:ext>
          </c:extLst>
        </c:ser>
        <c:dLbls>
          <c:showLegendKey val="0"/>
          <c:showVal val="0"/>
          <c:showCatName val="0"/>
          <c:showSerName val="0"/>
          <c:showPercent val="0"/>
          <c:showBubbleSize val="0"/>
        </c:dLbls>
        <c:gapWidth val="150"/>
        <c:overlap val="100"/>
        <c:axId val="117478528"/>
        <c:axId val="117480064"/>
      </c:barChart>
      <c:catAx>
        <c:axId val="117478528"/>
        <c:scaling>
          <c:orientation val="maxMin"/>
        </c:scaling>
        <c:delete val="0"/>
        <c:axPos val="l"/>
        <c:numFmt formatCode="General" sourceLinked="0"/>
        <c:majorTickMark val="none"/>
        <c:minorTickMark val="none"/>
        <c:tickLblPos val="nextTo"/>
        <c:spPr>
          <a:ln>
            <a:solidFill>
              <a:srgbClr val="9999A9"/>
            </a:solidFill>
          </a:ln>
        </c:spPr>
        <c:txPr>
          <a:bodyPr/>
          <a:lstStyle/>
          <a:p>
            <a:pPr>
              <a:defRPr sz="1400" b="1">
                <a:solidFill>
                  <a:srgbClr val="9999A9"/>
                </a:solidFill>
              </a:defRPr>
            </a:pPr>
            <a:endParaRPr lang="de-DE"/>
          </a:p>
        </c:txPr>
        <c:crossAx val="117480064"/>
        <c:crosses val="autoZero"/>
        <c:auto val="1"/>
        <c:lblAlgn val="ctr"/>
        <c:lblOffset val="100"/>
        <c:noMultiLvlLbl val="0"/>
      </c:catAx>
      <c:valAx>
        <c:axId val="117480064"/>
        <c:scaling>
          <c:orientation val="minMax"/>
        </c:scaling>
        <c:delete val="1"/>
        <c:axPos val="t"/>
        <c:numFmt formatCode="0%" sourceLinked="1"/>
        <c:majorTickMark val="out"/>
        <c:minorTickMark val="none"/>
        <c:tickLblPos val="nextTo"/>
        <c:crossAx val="117478528"/>
        <c:crosses val="autoZero"/>
        <c:crossBetween val="between"/>
      </c:valAx>
    </c:plotArea>
    <c:legend>
      <c:legendPos val="r"/>
      <c:layout>
        <c:manualLayout>
          <c:xMode val="edge"/>
          <c:yMode val="edge"/>
          <c:x val="0.86776497062902025"/>
          <c:y val="0.3556646100600151"/>
          <c:w val="0.12218758309690775"/>
          <c:h val="0.56655968104187382"/>
        </c:manualLayout>
      </c:layout>
      <c:overlay val="0"/>
      <c:txPr>
        <a:bodyPr/>
        <a:lstStyle/>
        <a:p>
          <a:pPr>
            <a:defRPr sz="1200">
              <a:solidFill>
                <a:srgbClr val="9999A9"/>
              </a:solidFill>
            </a:defRPr>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18367810144054955"/>
          <c:y val="7.6004548183103496E-2"/>
          <c:w val="0.51892703223548153"/>
          <c:h val="0.8487569267036652"/>
        </c:manualLayout>
      </c:layout>
      <c:radarChart>
        <c:radarStyle val="filled"/>
        <c:varyColors val="0"/>
        <c:ser>
          <c:idx val="0"/>
          <c:order val="0"/>
          <c:tx>
            <c:strRef>
              <c:f>Tabelle1!$A$2</c:f>
              <c:strCache>
                <c:ptCount val="1"/>
                <c:pt idx="0">
                  <c:v>Data Series 1</c:v>
                </c:pt>
              </c:strCache>
            </c:strRef>
          </c:tx>
          <c:spPr>
            <a:noFill/>
            <a:ln w="25400">
              <a:solidFill>
                <a:srgbClr val="00FFB9"/>
              </a:solidFill>
            </a:ln>
          </c:spPr>
          <c:cat>
            <c:strRef>
              <c:f>Tabelle1!$B$1:$K$1</c:f>
              <c:strCache>
                <c:ptCount val="10"/>
                <c:pt idx="0">
                  <c:v>Lorem</c:v>
                </c:pt>
                <c:pt idx="1">
                  <c:v>Ipsum</c:v>
                </c:pt>
                <c:pt idx="2">
                  <c:v>Dolore</c:v>
                </c:pt>
                <c:pt idx="3">
                  <c:v>Esta</c:v>
                </c:pt>
                <c:pt idx="4">
                  <c:v>Conses</c:v>
                </c:pt>
                <c:pt idx="5">
                  <c:v>Loreme</c:v>
                </c:pt>
                <c:pt idx="6">
                  <c:v>Ipsume</c:v>
                </c:pt>
                <c:pt idx="7">
                  <c:v>Dolorer</c:v>
                </c:pt>
                <c:pt idx="8">
                  <c:v>Estas</c:v>
                </c:pt>
                <c:pt idx="9">
                  <c:v>Consest</c:v>
                </c:pt>
              </c:strCache>
            </c:strRef>
          </c:cat>
          <c:val>
            <c:numRef>
              <c:f>Tabelle1!$B$2:$K$2</c:f>
              <c:numCache>
                <c:formatCode>General</c:formatCode>
                <c:ptCount val="10"/>
                <c:pt idx="0">
                  <c:v>2.5</c:v>
                </c:pt>
                <c:pt idx="1">
                  <c:v>3</c:v>
                </c:pt>
                <c:pt idx="2">
                  <c:v>2</c:v>
                </c:pt>
                <c:pt idx="3">
                  <c:v>3</c:v>
                </c:pt>
                <c:pt idx="4">
                  <c:v>2</c:v>
                </c:pt>
                <c:pt idx="5">
                  <c:v>2</c:v>
                </c:pt>
                <c:pt idx="6">
                  <c:v>1</c:v>
                </c:pt>
                <c:pt idx="7">
                  <c:v>2</c:v>
                </c:pt>
                <c:pt idx="8">
                  <c:v>2</c:v>
                </c:pt>
                <c:pt idx="9">
                  <c:v>2.5</c:v>
                </c:pt>
              </c:numCache>
            </c:numRef>
          </c:val>
          <c:extLst>
            <c:ext xmlns:c16="http://schemas.microsoft.com/office/drawing/2014/chart" uri="{C3380CC4-5D6E-409C-BE32-E72D297353CC}">
              <c16:uniqueId val="{00000000-5768-8644-A502-B55FF49DBEC2}"/>
            </c:ext>
          </c:extLst>
        </c:ser>
        <c:ser>
          <c:idx val="1"/>
          <c:order val="1"/>
          <c:tx>
            <c:strRef>
              <c:f>Tabelle1!$A$3</c:f>
              <c:strCache>
                <c:ptCount val="1"/>
                <c:pt idx="0">
                  <c:v>Data Series 2</c:v>
                </c:pt>
              </c:strCache>
            </c:strRef>
          </c:tx>
          <c:spPr>
            <a:noFill/>
            <a:ln w="25400">
              <a:solidFill>
                <a:srgbClr val="00646E"/>
              </a:solidFill>
            </a:ln>
          </c:spPr>
          <c:cat>
            <c:strRef>
              <c:f>Tabelle1!$B$1:$K$1</c:f>
              <c:strCache>
                <c:ptCount val="10"/>
                <c:pt idx="0">
                  <c:v>Lorem</c:v>
                </c:pt>
                <c:pt idx="1">
                  <c:v>Ipsum</c:v>
                </c:pt>
                <c:pt idx="2">
                  <c:v>Dolore</c:v>
                </c:pt>
                <c:pt idx="3">
                  <c:v>Esta</c:v>
                </c:pt>
                <c:pt idx="4">
                  <c:v>Conses</c:v>
                </c:pt>
                <c:pt idx="5">
                  <c:v>Loreme</c:v>
                </c:pt>
                <c:pt idx="6">
                  <c:v>Ipsume</c:v>
                </c:pt>
                <c:pt idx="7">
                  <c:v>Dolorer</c:v>
                </c:pt>
                <c:pt idx="8">
                  <c:v>Estas</c:v>
                </c:pt>
                <c:pt idx="9">
                  <c:v>Consest</c:v>
                </c:pt>
              </c:strCache>
            </c:strRef>
          </c:cat>
          <c:val>
            <c:numRef>
              <c:f>Tabelle1!$B$3:$K$3</c:f>
              <c:numCache>
                <c:formatCode>General</c:formatCode>
                <c:ptCount val="10"/>
                <c:pt idx="0">
                  <c:v>2</c:v>
                </c:pt>
                <c:pt idx="1">
                  <c:v>2.2000000000000002</c:v>
                </c:pt>
                <c:pt idx="2">
                  <c:v>2.4</c:v>
                </c:pt>
                <c:pt idx="3">
                  <c:v>1.8</c:v>
                </c:pt>
                <c:pt idx="4">
                  <c:v>2.5</c:v>
                </c:pt>
                <c:pt idx="5">
                  <c:v>3</c:v>
                </c:pt>
                <c:pt idx="6">
                  <c:v>3</c:v>
                </c:pt>
                <c:pt idx="7">
                  <c:v>2.4</c:v>
                </c:pt>
                <c:pt idx="8">
                  <c:v>2.5</c:v>
                </c:pt>
                <c:pt idx="9">
                  <c:v>2</c:v>
                </c:pt>
              </c:numCache>
            </c:numRef>
          </c:val>
          <c:extLst>
            <c:ext xmlns:c16="http://schemas.microsoft.com/office/drawing/2014/chart" uri="{C3380CC4-5D6E-409C-BE32-E72D297353CC}">
              <c16:uniqueId val="{00000001-5768-8644-A502-B55FF49DBEC2}"/>
            </c:ext>
          </c:extLst>
        </c:ser>
        <c:ser>
          <c:idx val="2"/>
          <c:order val="2"/>
          <c:tx>
            <c:strRef>
              <c:f>Tabelle1!$A$4</c:f>
              <c:strCache>
                <c:ptCount val="1"/>
                <c:pt idx="0">
                  <c:v>Data Series 3</c:v>
                </c:pt>
              </c:strCache>
            </c:strRef>
          </c:tx>
          <c:spPr>
            <a:noFill/>
            <a:ln w="25400">
              <a:solidFill>
                <a:srgbClr val="9999A9"/>
              </a:solidFill>
              <a:prstDash val="solid"/>
            </a:ln>
          </c:spPr>
          <c:cat>
            <c:strRef>
              <c:f>Tabelle1!$B$1:$K$1</c:f>
              <c:strCache>
                <c:ptCount val="10"/>
                <c:pt idx="0">
                  <c:v>Lorem</c:v>
                </c:pt>
                <c:pt idx="1">
                  <c:v>Ipsum</c:v>
                </c:pt>
                <c:pt idx="2">
                  <c:v>Dolore</c:v>
                </c:pt>
                <c:pt idx="3">
                  <c:v>Esta</c:v>
                </c:pt>
                <c:pt idx="4">
                  <c:v>Conses</c:v>
                </c:pt>
                <c:pt idx="5">
                  <c:v>Loreme</c:v>
                </c:pt>
                <c:pt idx="6">
                  <c:v>Ipsume</c:v>
                </c:pt>
                <c:pt idx="7">
                  <c:v>Dolorer</c:v>
                </c:pt>
                <c:pt idx="8">
                  <c:v>Estas</c:v>
                </c:pt>
                <c:pt idx="9">
                  <c:v>Consest</c:v>
                </c:pt>
              </c:strCache>
            </c:strRef>
          </c:cat>
          <c:val>
            <c:numRef>
              <c:f>Tabelle1!$B$4:$K$4</c:f>
              <c:numCache>
                <c:formatCode>General</c:formatCode>
                <c:ptCount val="10"/>
                <c:pt idx="0">
                  <c:v>3</c:v>
                </c:pt>
                <c:pt idx="1">
                  <c:v>3.2</c:v>
                </c:pt>
                <c:pt idx="2">
                  <c:v>3.3</c:v>
                </c:pt>
                <c:pt idx="3">
                  <c:v>2.5</c:v>
                </c:pt>
                <c:pt idx="4">
                  <c:v>1.8</c:v>
                </c:pt>
                <c:pt idx="5">
                  <c:v>1.8</c:v>
                </c:pt>
                <c:pt idx="6">
                  <c:v>1.2</c:v>
                </c:pt>
                <c:pt idx="7">
                  <c:v>1.5</c:v>
                </c:pt>
                <c:pt idx="8">
                  <c:v>1.6</c:v>
                </c:pt>
                <c:pt idx="9">
                  <c:v>1.9</c:v>
                </c:pt>
              </c:numCache>
            </c:numRef>
          </c:val>
          <c:extLst>
            <c:ext xmlns:c16="http://schemas.microsoft.com/office/drawing/2014/chart" uri="{C3380CC4-5D6E-409C-BE32-E72D297353CC}">
              <c16:uniqueId val="{00000002-5768-8644-A502-B55FF49DBEC2}"/>
            </c:ext>
          </c:extLst>
        </c:ser>
        <c:dLbls>
          <c:showLegendKey val="0"/>
          <c:showVal val="0"/>
          <c:showCatName val="0"/>
          <c:showSerName val="0"/>
          <c:showPercent val="0"/>
          <c:showBubbleSize val="0"/>
        </c:dLbls>
        <c:axId val="117580928"/>
        <c:axId val="117582464"/>
      </c:radarChart>
      <c:catAx>
        <c:axId val="117580928"/>
        <c:scaling>
          <c:orientation val="minMax"/>
        </c:scaling>
        <c:delete val="0"/>
        <c:axPos val="b"/>
        <c:majorGridlines/>
        <c:numFmt formatCode="General" sourceLinked="1"/>
        <c:majorTickMark val="none"/>
        <c:minorTickMark val="none"/>
        <c:tickLblPos val="nextTo"/>
        <c:txPr>
          <a:bodyPr/>
          <a:lstStyle/>
          <a:p>
            <a:pPr>
              <a:defRPr sz="1200" b="1">
                <a:solidFill>
                  <a:srgbClr val="9999A9"/>
                </a:solidFill>
              </a:defRPr>
            </a:pPr>
            <a:endParaRPr lang="de-DE"/>
          </a:p>
        </c:txPr>
        <c:crossAx val="117582464"/>
        <c:crosses val="autoZero"/>
        <c:auto val="1"/>
        <c:lblAlgn val="ctr"/>
        <c:lblOffset val="100"/>
        <c:noMultiLvlLbl val="0"/>
      </c:catAx>
      <c:valAx>
        <c:axId val="117582464"/>
        <c:scaling>
          <c:orientation val="minMax"/>
        </c:scaling>
        <c:delete val="0"/>
        <c:axPos val="l"/>
        <c:majorGridlines>
          <c:spPr>
            <a:ln w="12700">
              <a:noFill/>
            </a:ln>
          </c:spPr>
        </c:majorGridlines>
        <c:numFmt formatCode="General" sourceLinked="1"/>
        <c:majorTickMark val="none"/>
        <c:minorTickMark val="none"/>
        <c:tickLblPos val="nextTo"/>
        <c:spPr>
          <a:ln>
            <a:solidFill>
              <a:srgbClr val="9999A9"/>
            </a:solidFill>
          </a:ln>
        </c:spPr>
        <c:txPr>
          <a:bodyPr/>
          <a:lstStyle/>
          <a:p>
            <a:pPr>
              <a:defRPr sz="1000">
                <a:solidFill>
                  <a:srgbClr val="9999A9"/>
                </a:solidFill>
              </a:defRPr>
            </a:pPr>
            <a:endParaRPr lang="de-DE"/>
          </a:p>
        </c:txPr>
        <c:crossAx val="117580928"/>
        <c:crosses val="autoZero"/>
        <c:crossBetween val="between"/>
      </c:valAx>
    </c:plotArea>
    <c:plotVisOnly val="1"/>
    <c:dispBlanksAs val="gap"/>
    <c:showDLblsOverMax val="0"/>
  </c:chart>
  <c:txPr>
    <a:bodyPr/>
    <a:lstStyle/>
    <a:p>
      <a:pPr>
        <a:defRPr sz="1800"/>
      </a:pPr>
      <a:endParaRPr lang="de-DE"/>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plotArea>
      <c:layout>
        <c:manualLayout>
          <c:layoutTarget val="inner"/>
          <c:xMode val="edge"/>
          <c:yMode val="edge"/>
          <c:x val="2.0653632642183364E-2"/>
          <c:y val="1.7931261322327866E-2"/>
          <c:w val="0.72056787908854403"/>
          <c:h val="0.90763654756362144"/>
        </c:manualLayout>
      </c:layout>
      <c:barChart>
        <c:barDir val="col"/>
        <c:grouping val="clustered"/>
        <c:varyColors val="0"/>
        <c:ser>
          <c:idx val="0"/>
          <c:order val="0"/>
          <c:tx>
            <c:strRef>
              <c:f>Tabelle1!$B$1</c:f>
              <c:strCache>
                <c:ptCount val="1"/>
                <c:pt idx="0">
                  <c:v>Data series 1</c:v>
                </c:pt>
              </c:strCache>
            </c:strRef>
          </c:tx>
          <c:spPr>
            <a:solidFill>
              <a:srgbClr val="00FFB9"/>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D466-4B9F-9604-BB2E6BADF15F}"/>
            </c:ext>
          </c:extLst>
        </c:ser>
        <c:ser>
          <c:idx val="1"/>
          <c:order val="1"/>
          <c:tx>
            <c:strRef>
              <c:f>Tabelle1!$C$1</c:f>
              <c:strCache>
                <c:ptCount val="1"/>
                <c:pt idx="0">
                  <c:v>Data series 2</c:v>
                </c:pt>
              </c:strCache>
            </c:strRef>
          </c:tx>
          <c:spPr>
            <a:solidFill>
              <a:srgbClr val="00AF8E"/>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D466-4B9F-9604-BB2E6BADF15F}"/>
            </c:ext>
          </c:extLst>
        </c:ser>
        <c:ser>
          <c:idx val="2"/>
          <c:order val="2"/>
          <c:tx>
            <c:strRef>
              <c:f>Tabelle1!$D$1</c:f>
              <c:strCache>
                <c:ptCount val="1"/>
                <c:pt idx="0">
                  <c:v>Data series 3</c:v>
                </c:pt>
              </c:strCache>
            </c:strRef>
          </c:tx>
          <c:spPr>
            <a:solidFill>
              <a:srgbClr val="00646E"/>
            </a:solidFill>
            <a:ln w="19050">
              <a:solidFill>
                <a:schemeClr val="bg1"/>
              </a:solidFill>
            </a:ln>
          </c:spPr>
          <c:invertIfNegative val="0"/>
          <c:cat>
            <c:strRef>
              <c:f>Tabelle1!$A$2:$A$5</c:f>
              <c:strCache>
                <c:ptCount val="4"/>
                <c:pt idx="0">
                  <c:v>Category 1</c:v>
                </c:pt>
                <c:pt idx="1">
                  <c:v>Category 2</c:v>
                </c:pt>
                <c:pt idx="2">
                  <c:v>Category 3</c:v>
                </c:pt>
                <c:pt idx="3">
                  <c:v>Category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D466-4B9F-9604-BB2E6BADF15F}"/>
            </c:ext>
          </c:extLst>
        </c:ser>
        <c:dLbls>
          <c:showLegendKey val="0"/>
          <c:showVal val="0"/>
          <c:showCatName val="0"/>
          <c:showSerName val="0"/>
          <c:showPercent val="0"/>
          <c:showBubbleSize val="0"/>
        </c:dLbls>
        <c:gapWidth val="150"/>
        <c:axId val="117478528"/>
        <c:axId val="117480064"/>
      </c:barChart>
      <c:catAx>
        <c:axId val="117478528"/>
        <c:scaling>
          <c:orientation val="minMax"/>
        </c:scaling>
        <c:delete val="0"/>
        <c:axPos val="b"/>
        <c:numFmt formatCode="General" sourceLinked="0"/>
        <c:majorTickMark val="out"/>
        <c:minorTickMark val="none"/>
        <c:tickLblPos val="nextTo"/>
        <c:spPr>
          <a:ln>
            <a:solidFill>
              <a:srgbClr val="66667E"/>
            </a:solidFill>
          </a:ln>
        </c:spPr>
        <c:txPr>
          <a:bodyPr/>
          <a:lstStyle/>
          <a:p>
            <a:pPr>
              <a:defRPr sz="1200" b="1">
                <a:solidFill>
                  <a:srgbClr val="66667E"/>
                </a:solidFill>
              </a:defRPr>
            </a:pPr>
            <a:endParaRPr lang="de-DE"/>
          </a:p>
        </c:txPr>
        <c:crossAx val="117480064"/>
        <c:crosses val="autoZero"/>
        <c:auto val="1"/>
        <c:lblAlgn val="ctr"/>
        <c:lblOffset val="100"/>
        <c:noMultiLvlLbl val="0"/>
      </c:catAx>
      <c:valAx>
        <c:axId val="117480064"/>
        <c:scaling>
          <c:orientation val="minMax"/>
        </c:scaling>
        <c:delete val="0"/>
        <c:axPos val="l"/>
        <c:majorGridlines>
          <c:spPr>
            <a:ln>
              <a:solidFill>
                <a:srgbClr val="66667E"/>
              </a:solidFill>
            </a:ln>
          </c:spPr>
        </c:majorGridlines>
        <c:numFmt formatCode="General" sourceLinked="1"/>
        <c:majorTickMark val="out"/>
        <c:minorTickMark val="none"/>
        <c:tickLblPos val="nextTo"/>
        <c:spPr>
          <a:ln>
            <a:noFill/>
          </a:ln>
        </c:spPr>
        <c:txPr>
          <a:bodyPr/>
          <a:lstStyle/>
          <a:p>
            <a:pPr>
              <a:defRPr sz="1200" b="1">
                <a:solidFill>
                  <a:srgbClr val="66667E"/>
                </a:solidFill>
              </a:defRPr>
            </a:pPr>
            <a:endParaRPr lang="de-DE"/>
          </a:p>
        </c:txPr>
        <c:crossAx val="117478528"/>
        <c:crosses val="autoZero"/>
        <c:crossBetween val="between"/>
      </c:valAx>
    </c:plotArea>
    <c:legend>
      <c:legendPos val="r"/>
      <c:layout>
        <c:manualLayout>
          <c:xMode val="edge"/>
          <c:yMode val="edge"/>
          <c:x val="0.86608759871415375"/>
          <c:y val="0.73848962910038563"/>
          <c:w val="0.11694006233805601"/>
          <c:h val="0.18592008438709309"/>
        </c:manualLayout>
      </c:layout>
      <c:overlay val="0"/>
      <c:txPr>
        <a:bodyPr/>
        <a:lstStyle/>
        <a:p>
          <a:pPr>
            <a:defRPr sz="1400">
              <a:solidFill>
                <a:srgbClr val="66667E"/>
              </a:solidFill>
            </a:defRPr>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plotArea>
      <c:layout>
        <c:manualLayout>
          <c:layoutTarget val="inner"/>
          <c:xMode val="edge"/>
          <c:yMode val="edge"/>
          <c:x val="2.0653632642183364E-2"/>
          <c:y val="1.7931261322327866E-2"/>
          <c:w val="0.72056787908854403"/>
          <c:h val="0.90763654756362144"/>
        </c:manualLayout>
      </c:layout>
      <c:barChart>
        <c:barDir val="col"/>
        <c:grouping val="clustered"/>
        <c:varyColors val="0"/>
        <c:ser>
          <c:idx val="0"/>
          <c:order val="0"/>
          <c:tx>
            <c:strRef>
              <c:f>Tabelle1!$B$1</c:f>
              <c:strCache>
                <c:ptCount val="1"/>
                <c:pt idx="0">
                  <c:v>Data series 1</c:v>
                </c:pt>
              </c:strCache>
            </c:strRef>
          </c:tx>
          <c:spPr>
            <a:solidFill>
              <a:srgbClr val="00FFB9"/>
            </a:solidFill>
            <a:ln w="19050">
              <a:solidFill>
                <a:schemeClr val="bg2"/>
              </a:solidFill>
            </a:ln>
          </c:spPr>
          <c:invertIfNegative val="0"/>
          <c:cat>
            <c:strRef>
              <c:f>Tabelle1!$A$2:$A$5</c:f>
              <c:strCache>
                <c:ptCount val="4"/>
                <c:pt idx="0">
                  <c:v>Category 1</c:v>
                </c:pt>
                <c:pt idx="1">
                  <c:v>Category 2</c:v>
                </c:pt>
                <c:pt idx="2">
                  <c:v>Category 3</c:v>
                </c:pt>
                <c:pt idx="3">
                  <c:v>Category 4</c:v>
                </c:pt>
              </c:strCache>
            </c:strRef>
          </c:cat>
          <c:val>
            <c:numRef>
              <c:f>Tabelle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D466-4B9F-9604-BB2E6BADF15F}"/>
            </c:ext>
          </c:extLst>
        </c:ser>
        <c:ser>
          <c:idx val="1"/>
          <c:order val="1"/>
          <c:tx>
            <c:strRef>
              <c:f>Tabelle1!$C$1</c:f>
              <c:strCache>
                <c:ptCount val="1"/>
                <c:pt idx="0">
                  <c:v>Data series 2</c:v>
                </c:pt>
              </c:strCache>
            </c:strRef>
          </c:tx>
          <c:spPr>
            <a:solidFill>
              <a:srgbClr val="00AF8E"/>
            </a:solidFill>
            <a:ln w="19050">
              <a:solidFill>
                <a:schemeClr val="bg2"/>
              </a:solidFill>
            </a:ln>
          </c:spPr>
          <c:invertIfNegative val="0"/>
          <c:cat>
            <c:strRef>
              <c:f>Tabelle1!$A$2:$A$5</c:f>
              <c:strCache>
                <c:ptCount val="4"/>
                <c:pt idx="0">
                  <c:v>Category 1</c:v>
                </c:pt>
                <c:pt idx="1">
                  <c:v>Category 2</c:v>
                </c:pt>
                <c:pt idx="2">
                  <c:v>Category 3</c:v>
                </c:pt>
                <c:pt idx="3">
                  <c:v>Category 4</c:v>
                </c:pt>
              </c:strCache>
            </c:strRef>
          </c:cat>
          <c:val>
            <c:numRef>
              <c:f>Tabelle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D466-4B9F-9604-BB2E6BADF15F}"/>
            </c:ext>
          </c:extLst>
        </c:ser>
        <c:ser>
          <c:idx val="2"/>
          <c:order val="2"/>
          <c:tx>
            <c:strRef>
              <c:f>Tabelle1!$D$1</c:f>
              <c:strCache>
                <c:ptCount val="1"/>
                <c:pt idx="0">
                  <c:v>Data series 3</c:v>
                </c:pt>
              </c:strCache>
            </c:strRef>
          </c:tx>
          <c:spPr>
            <a:solidFill>
              <a:srgbClr val="00646E"/>
            </a:solidFill>
            <a:ln w="19050">
              <a:solidFill>
                <a:schemeClr val="bg2"/>
              </a:solidFill>
            </a:ln>
          </c:spPr>
          <c:invertIfNegative val="0"/>
          <c:cat>
            <c:strRef>
              <c:f>Tabelle1!$A$2:$A$5</c:f>
              <c:strCache>
                <c:ptCount val="4"/>
                <c:pt idx="0">
                  <c:v>Category 1</c:v>
                </c:pt>
                <c:pt idx="1">
                  <c:v>Category 2</c:v>
                </c:pt>
                <c:pt idx="2">
                  <c:v>Category 3</c:v>
                </c:pt>
                <c:pt idx="3">
                  <c:v>Category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D466-4B9F-9604-BB2E6BADF15F}"/>
            </c:ext>
          </c:extLst>
        </c:ser>
        <c:dLbls>
          <c:showLegendKey val="0"/>
          <c:showVal val="0"/>
          <c:showCatName val="0"/>
          <c:showSerName val="0"/>
          <c:showPercent val="0"/>
          <c:showBubbleSize val="0"/>
        </c:dLbls>
        <c:gapWidth val="150"/>
        <c:axId val="117478528"/>
        <c:axId val="117480064"/>
      </c:barChart>
      <c:catAx>
        <c:axId val="117478528"/>
        <c:scaling>
          <c:orientation val="minMax"/>
        </c:scaling>
        <c:delete val="0"/>
        <c:axPos val="b"/>
        <c:numFmt formatCode="General" sourceLinked="0"/>
        <c:majorTickMark val="out"/>
        <c:minorTickMark val="none"/>
        <c:tickLblPos val="nextTo"/>
        <c:spPr>
          <a:ln>
            <a:solidFill>
              <a:srgbClr val="9999A9"/>
            </a:solidFill>
          </a:ln>
        </c:spPr>
        <c:txPr>
          <a:bodyPr/>
          <a:lstStyle/>
          <a:p>
            <a:pPr>
              <a:defRPr sz="1200" b="1">
                <a:solidFill>
                  <a:srgbClr val="9999A9"/>
                </a:solidFill>
              </a:defRPr>
            </a:pPr>
            <a:endParaRPr lang="de-DE"/>
          </a:p>
        </c:txPr>
        <c:crossAx val="117480064"/>
        <c:crosses val="autoZero"/>
        <c:auto val="1"/>
        <c:lblAlgn val="ctr"/>
        <c:lblOffset val="100"/>
        <c:noMultiLvlLbl val="0"/>
      </c:catAx>
      <c:valAx>
        <c:axId val="117480064"/>
        <c:scaling>
          <c:orientation val="minMax"/>
        </c:scaling>
        <c:delete val="0"/>
        <c:axPos val="l"/>
        <c:majorGridlines>
          <c:spPr>
            <a:ln>
              <a:solidFill>
                <a:srgbClr val="9999A9"/>
              </a:solidFill>
            </a:ln>
          </c:spPr>
        </c:majorGridlines>
        <c:numFmt formatCode="General" sourceLinked="1"/>
        <c:majorTickMark val="out"/>
        <c:minorTickMark val="none"/>
        <c:tickLblPos val="nextTo"/>
        <c:spPr>
          <a:ln>
            <a:noFill/>
          </a:ln>
        </c:spPr>
        <c:txPr>
          <a:bodyPr/>
          <a:lstStyle/>
          <a:p>
            <a:pPr>
              <a:defRPr sz="1200" b="1">
                <a:solidFill>
                  <a:srgbClr val="9999A9"/>
                </a:solidFill>
              </a:defRPr>
            </a:pPr>
            <a:endParaRPr lang="de-DE"/>
          </a:p>
        </c:txPr>
        <c:crossAx val="117478528"/>
        <c:crosses val="autoZero"/>
        <c:crossBetween val="between"/>
      </c:valAx>
    </c:plotArea>
    <c:legend>
      <c:legendPos val="r"/>
      <c:layout>
        <c:manualLayout>
          <c:xMode val="edge"/>
          <c:yMode val="edge"/>
          <c:x val="0.86608759871415375"/>
          <c:y val="0.73848962910038563"/>
          <c:w val="0.11694006233805601"/>
          <c:h val="0.18592008438709309"/>
        </c:manualLayout>
      </c:layout>
      <c:overlay val="0"/>
      <c:txPr>
        <a:bodyPr/>
        <a:lstStyle/>
        <a:p>
          <a:pPr>
            <a:defRPr sz="1400">
              <a:solidFill>
                <a:srgbClr val="9999A9"/>
              </a:solidFill>
            </a:defRPr>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plotArea>
      <c:layout>
        <c:manualLayout>
          <c:layoutTarget val="inner"/>
          <c:xMode val="edge"/>
          <c:yMode val="edge"/>
          <c:x val="2.9737934469406289E-2"/>
          <c:y val="1.7919797573670269E-2"/>
          <c:w val="0.71131060893461329"/>
          <c:h val="0.90493651975788469"/>
        </c:manualLayout>
      </c:layout>
      <c:barChart>
        <c:barDir val="col"/>
        <c:grouping val="stacked"/>
        <c:varyColors val="0"/>
        <c:ser>
          <c:idx val="0"/>
          <c:order val="0"/>
          <c:tx>
            <c:strRef>
              <c:f>Tabelle1!$B$1</c:f>
              <c:strCache>
                <c:ptCount val="1"/>
                <c:pt idx="0">
                  <c:v>Data series 1</c:v>
                </c:pt>
              </c:strCache>
            </c:strRef>
          </c:tx>
          <c:spPr>
            <a:solidFill>
              <a:srgbClr val="00646E"/>
            </a:solidFill>
            <a:ln w="19050">
              <a:solidFill>
                <a:schemeClr val="bg1"/>
              </a:solidFill>
            </a:ln>
          </c:spPr>
          <c:invertIfNegative val="0"/>
          <c:cat>
            <c:strRef>
              <c:f>Tabelle1!$A$2:$A$7</c:f>
              <c:strCache>
                <c:ptCount val="6"/>
                <c:pt idx="0">
                  <c:v>Category 1</c:v>
                </c:pt>
                <c:pt idx="1">
                  <c:v>Category 2</c:v>
                </c:pt>
                <c:pt idx="2">
                  <c:v>Category 3</c:v>
                </c:pt>
                <c:pt idx="3">
                  <c:v>Category 4</c:v>
                </c:pt>
                <c:pt idx="4">
                  <c:v>Category 5</c:v>
                </c:pt>
                <c:pt idx="5">
                  <c:v>Category 6</c:v>
                </c:pt>
              </c:strCache>
            </c:strRef>
          </c:cat>
          <c:val>
            <c:numRef>
              <c:f>Tabelle1!$B$2:$B$7</c:f>
              <c:numCache>
                <c:formatCode>General</c:formatCode>
                <c:ptCount val="6"/>
                <c:pt idx="0">
                  <c:v>4.3</c:v>
                </c:pt>
                <c:pt idx="1">
                  <c:v>2.5</c:v>
                </c:pt>
                <c:pt idx="2">
                  <c:v>3.5</c:v>
                </c:pt>
                <c:pt idx="3">
                  <c:v>3</c:v>
                </c:pt>
                <c:pt idx="4">
                  <c:v>1.5</c:v>
                </c:pt>
                <c:pt idx="5">
                  <c:v>4</c:v>
                </c:pt>
              </c:numCache>
            </c:numRef>
          </c:val>
          <c:extLst>
            <c:ext xmlns:c16="http://schemas.microsoft.com/office/drawing/2014/chart" uri="{C3380CC4-5D6E-409C-BE32-E72D297353CC}">
              <c16:uniqueId val="{00000000-D466-4B9F-9604-BB2E6BADF15F}"/>
            </c:ext>
          </c:extLst>
        </c:ser>
        <c:ser>
          <c:idx val="1"/>
          <c:order val="1"/>
          <c:tx>
            <c:strRef>
              <c:f>Tabelle1!$C$1</c:f>
              <c:strCache>
                <c:ptCount val="1"/>
                <c:pt idx="0">
                  <c:v>Data series 2</c:v>
                </c:pt>
              </c:strCache>
            </c:strRef>
          </c:tx>
          <c:spPr>
            <a:solidFill>
              <a:schemeClr val="accent1"/>
            </a:solidFill>
            <a:ln w="19050">
              <a:solidFill>
                <a:schemeClr val="bg1"/>
              </a:solidFill>
            </a:ln>
          </c:spPr>
          <c:invertIfNegative val="0"/>
          <c:cat>
            <c:strRef>
              <c:f>Tabelle1!$A$2:$A$7</c:f>
              <c:strCache>
                <c:ptCount val="6"/>
                <c:pt idx="0">
                  <c:v>Category 1</c:v>
                </c:pt>
                <c:pt idx="1">
                  <c:v>Category 2</c:v>
                </c:pt>
                <c:pt idx="2">
                  <c:v>Category 3</c:v>
                </c:pt>
                <c:pt idx="3">
                  <c:v>Category 4</c:v>
                </c:pt>
                <c:pt idx="4">
                  <c:v>Category 5</c:v>
                </c:pt>
                <c:pt idx="5">
                  <c:v>Category 6</c:v>
                </c:pt>
              </c:strCache>
            </c:strRef>
          </c:cat>
          <c:val>
            <c:numRef>
              <c:f>Tabelle1!$C$2:$C$7</c:f>
              <c:numCache>
                <c:formatCode>General</c:formatCode>
                <c:ptCount val="6"/>
                <c:pt idx="0">
                  <c:v>2.4</c:v>
                </c:pt>
                <c:pt idx="1">
                  <c:v>4.4000000000000004</c:v>
                </c:pt>
                <c:pt idx="2">
                  <c:v>1.8</c:v>
                </c:pt>
                <c:pt idx="3">
                  <c:v>2</c:v>
                </c:pt>
                <c:pt idx="4">
                  <c:v>2</c:v>
                </c:pt>
                <c:pt idx="5">
                  <c:v>3</c:v>
                </c:pt>
              </c:numCache>
            </c:numRef>
          </c:val>
          <c:extLst>
            <c:ext xmlns:c16="http://schemas.microsoft.com/office/drawing/2014/chart" uri="{C3380CC4-5D6E-409C-BE32-E72D297353CC}">
              <c16:uniqueId val="{00000001-D466-4B9F-9604-BB2E6BADF15F}"/>
            </c:ext>
          </c:extLst>
        </c:ser>
        <c:ser>
          <c:idx val="2"/>
          <c:order val="2"/>
          <c:tx>
            <c:strRef>
              <c:f>Tabelle1!$D$1</c:f>
              <c:strCache>
                <c:ptCount val="1"/>
                <c:pt idx="0">
                  <c:v>Data series 3</c:v>
                </c:pt>
              </c:strCache>
            </c:strRef>
          </c:tx>
          <c:spPr>
            <a:solidFill>
              <a:srgbClr val="00E6DC"/>
            </a:solidFill>
            <a:ln w="19050">
              <a:solidFill>
                <a:schemeClr val="bg1"/>
              </a:solidFill>
            </a:ln>
          </c:spPr>
          <c:invertIfNegative val="0"/>
          <c:cat>
            <c:strRef>
              <c:f>Tabelle1!$A$2:$A$7</c:f>
              <c:strCache>
                <c:ptCount val="6"/>
                <c:pt idx="0">
                  <c:v>Category 1</c:v>
                </c:pt>
                <c:pt idx="1">
                  <c:v>Category 2</c:v>
                </c:pt>
                <c:pt idx="2">
                  <c:v>Category 3</c:v>
                </c:pt>
                <c:pt idx="3">
                  <c:v>Category 4</c:v>
                </c:pt>
                <c:pt idx="4">
                  <c:v>Category 5</c:v>
                </c:pt>
                <c:pt idx="5">
                  <c:v>Category 6</c:v>
                </c:pt>
              </c:strCache>
            </c:strRef>
          </c:cat>
          <c:val>
            <c:numRef>
              <c:f>Tabelle1!$D$2:$D$7</c:f>
              <c:numCache>
                <c:formatCode>General</c:formatCode>
                <c:ptCount val="6"/>
                <c:pt idx="0">
                  <c:v>2</c:v>
                </c:pt>
                <c:pt idx="1">
                  <c:v>2</c:v>
                </c:pt>
                <c:pt idx="2">
                  <c:v>3</c:v>
                </c:pt>
                <c:pt idx="3">
                  <c:v>4.3</c:v>
                </c:pt>
                <c:pt idx="4">
                  <c:v>2.5</c:v>
                </c:pt>
                <c:pt idx="5">
                  <c:v>3.5</c:v>
                </c:pt>
              </c:numCache>
            </c:numRef>
          </c:val>
          <c:extLst>
            <c:ext xmlns:c16="http://schemas.microsoft.com/office/drawing/2014/chart" uri="{C3380CC4-5D6E-409C-BE32-E72D297353CC}">
              <c16:uniqueId val="{00000002-D466-4B9F-9604-BB2E6BADF15F}"/>
            </c:ext>
          </c:extLst>
        </c:ser>
        <c:dLbls>
          <c:showLegendKey val="0"/>
          <c:showVal val="0"/>
          <c:showCatName val="0"/>
          <c:showSerName val="0"/>
          <c:showPercent val="0"/>
          <c:showBubbleSize val="0"/>
        </c:dLbls>
        <c:gapWidth val="150"/>
        <c:overlap val="100"/>
        <c:axId val="117478528"/>
        <c:axId val="117480064"/>
      </c:barChart>
      <c:catAx>
        <c:axId val="117478528"/>
        <c:scaling>
          <c:orientation val="minMax"/>
        </c:scaling>
        <c:delete val="0"/>
        <c:axPos val="b"/>
        <c:numFmt formatCode="General" sourceLinked="0"/>
        <c:majorTickMark val="out"/>
        <c:minorTickMark val="none"/>
        <c:tickLblPos val="nextTo"/>
        <c:spPr>
          <a:ln>
            <a:solidFill>
              <a:srgbClr val="66667E"/>
            </a:solidFill>
          </a:ln>
        </c:spPr>
        <c:txPr>
          <a:bodyPr/>
          <a:lstStyle/>
          <a:p>
            <a:pPr>
              <a:defRPr sz="1200" b="1">
                <a:solidFill>
                  <a:srgbClr val="66667E"/>
                </a:solidFill>
              </a:defRPr>
            </a:pPr>
            <a:endParaRPr lang="de-DE"/>
          </a:p>
        </c:txPr>
        <c:crossAx val="117480064"/>
        <c:crosses val="autoZero"/>
        <c:auto val="1"/>
        <c:lblAlgn val="ctr"/>
        <c:lblOffset val="100"/>
        <c:noMultiLvlLbl val="0"/>
      </c:catAx>
      <c:valAx>
        <c:axId val="117480064"/>
        <c:scaling>
          <c:orientation val="minMax"/>
        </c:scaling>
        <c:delete val="0"/>
        <c:axPos val="l"/>
        <c:majorGridlines>
          <c:spPr>
            <a:ln>
              <a:solidFill>
                <a:srgbClr val="66667E"/>
              </a:solidFill>
            </a:ln>
          </c:spPr>
        </c:majorGridlines>
        <c:numFmt formatCode="General" sourceLinked="1"/>
        <c:majorTickMark val="out"/>
        <c:minorTickMark val="none"/>
        <c:tickLblPos val="nextTo"/>
        <c:spPr>
          <a:ln>
            <a:noFill/>
          </a:ln>
        </c:spPr>
        <c:txPr>
          <a:bodyPr/>
          <a:lstStyle/>
          <a:p>
            <a:pPr>
              <a:defRPr sz="1200" b="1">
                <a:solidFill>
                  <a:srgbClr val="66667E"/>
                </a:solidFill>
              </a:defRPr>
            </a:pPr>
            <a:endParaRPr lang="de-DE"/>
          </a:p>
        </c:txPr>
        <c:crossAx val="117478528"/>
        <c:crosses val="autoZero"/>
        <c:crossBetween val="between"/>
      </c:valAx>
    </c:plotArea>
    <c:legend>
      <c:legendPos val="r"/>
      <c:layout>
        <c:manualLayout>
          <c:xMode val="edge"/>
          <c:yMode val="edge"/>
          <c:x val="0.86515745920553322"/>
          <c:y val="0.73560375517340137"/>
          <c:w val="0.11694006233805601"/>
          <c:h val="0.18592008438709307"/>
        </c:manualLayout>
      </c:layout>
      <c:overlay val="0"/>
      <c:txPr>
        <a:bodyPr/>
        <a:lstStyle/>
        <a:p>
          <a:pPr>
            <a:defRPr sz="1400">
              <a:solidFill>
                <a:srgbClr val="66667E"/>
              </a:solidFill>
            </a:defRPr>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3">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104">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1.xml><?xml version="1.0" encoding="utf-8"?>
<cs:chartStyle xmlns:cs="http://schemas.microsoft.com/office/drawing/2012/chartStyle" xmlns:a="http://schemas.openxmlformats.org/drawingml/2006/main" id="104">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2.xml><?xml version="1.0" encoding="utf-8"?>
<cs:chartStyle xmlns:cs="http://schemas.microsoft.com/office/drawing/2012/chartStyle" xmlns:a="http://schemas.openxmlformats.org/drawingml/2006/main" id="104">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3.xml><?xml version="1.0" encoding="utf-8"?>
<cs:chartStyle xmlns:cs="http://schemas.microsoft.com/office/drawing/2012/chartStyle" xmlns:a="http://schemas.openxmlformats.org/drawingml/2006/main" id="104">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4.xml><?xml version="1.0" encoding="utf-8"?>
<cs:chartStyle xmlns:cs="http://schemas.microsoft.com/office/drawing/2012/chartStyle" xmlns:a="http://schemas.openxmlformats.org/drawingml/2006/main" id="104">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5.xml><?xml version="1.0" encoding="utf-8"?>
<cs:chartStyle xmlns:cs="http://schemas.microsoft.com/office/drawing/2012/chartStyle" xmlns:a="http://schemas.openxmlformats.org/drawingml/2006/main" id="104">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6.xml><?xml version="1.0" encoding="utf-8"?>
<cs:chartStyle xmlns:cs="http://schemas.microsoft.com/office/drawing/2012/chartStyle" xmlns:a="http://schemas.openxmlformats.org/drawingml/2006/main" id="104">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7.xml><?xml version="1.0" encoding="utf-8"?>
<cs:chartStyle xmlns:cs="http://schemas.microsoft.com/office/drawing/2012/chartStyle" xmlns:a="http://schemas.openxmlformats.org/drawingml/2006/main" id="104">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8.xml><?xml version="1.0" encoding="utf-8"?>
<cs:chartStyle xmlns:cs="http://schemas.microsoft.com/office/drawing/2012/chartStyle" xmlns:a="http://schemas.openxmlformats.org/drawingml/2006/main" id="104">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9.xml><?xml version="1.0" encoding="utf-8"?>
<cs:chartStyle xmlns:cs="http://schemas.microsoft.com/office/drawing/2012/chartStyle" xmlns:a="http://schemas.openxmlformats.org/drawingml/2006/main" id="104">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03">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0.xml><?xml version="1.0" encoding="utf-8"?>
<cs:chartStyle xmlns:cs="http://schemas.microsoft.com/office/drawing/2012/chartStyle" xmlns:a="http://schemas.openxmlformats.org/drawingml/2006/main" id="104">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1.xml><?xml version="1.0" encoding="utf-8"?>
<cs:chartStyle xmlns:cs="http://schemas.microsoft.com/office/drawing/2012/chartStyle" xmlns:a="http://schemas.openxmlformats.org/drawingml/2006/main" id="104">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2.xml><?xml version="1.0" encoding="utf-8"?>
<cs:chartStyle xmlns:cs="http://schemas.microsoft.com/office/drawing/2012/chartStyle" xmlns:a="http://schemas.openxmlformats.org/drawingml/2006/main" id="104">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04">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4">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04">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04">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104">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104">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104">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D8AB745-D0D5-4762-9DF6-84C6314A6D4B}" type="doc">
      <dgm:prSet loTypeId="urn:microsoft.com/office/officeart/2005/8/layout/gear1" loCatId="process" qsTypeId="urn:microsoft.com/office/officeart/2005/8/quickstyle/simple1" qsCatId="simple" csTypeId="urn:microsoft.com/office/officeart/2005/8/colors/accent1_2" csCatId="accent1" phldr="1"/>
      <dgm:spPr/>
    </dgm:pt>
    <dgm:pt modelId="{3147A277-E8D5-4D49-8807-DC545FA8B88A}">
      <dgm:prSet phldrT="[Text]" custT="1"/>
      <dgm:spPr>
        <a:solidFill>
          <a:srgbClr val="00646E"/>
        </a:solidFill>
        <a:ln>
          <a:noFill/>
        </a:ln>
      </dgm:spPr>
      <dgm:t>
        <a:bodyPr/>
        <a:lstStyle/>
        <a:p>
          <a:pPr>
            <a:lnSpc>
              <a:spcPct val="100000"/>
            </a:lnSpc>
            <a:spcBef>
              <a:spcPts val="300"/>
            </a:spcBef>
            <a:spcAft>
              <a:spcPts val="0"/>
            </a:spcAft>
          </a:pPr>
          <a:r>
            <a:rPr lang="de-DE" sz="1800" dirty="0"/>
            <a:t>Esta conseque</a:t>
          </a:r>
          <a:br>
            <a:rPr lang="de-DE" sz="1800" dirty="0"/>
          </a:br>
          <a:r>
            <a:rPr lang="de-DE" sz="1800" dirty="0"/>
            <a:t>renants</a:t>
          </a:r>
          <a:endParaRPr lang="en-US" sz="1800" dirty="0"/>
        </a:p>
      </dgm:t>
    </dgm:pt>
    <dgm:pt modelId="{67E02156-8B12-4FEE-ABC9-C661A7EA9B2E}" type="parTrans" cxnId="{76807A8D-25BF-4068-A1C9-0696B791C5D8}">
      <dgm:prSet/>
      <dgm:spPr/>
      <dgm:t>
        <a:bodyPr/>
        <a:lstStyle/>
        <a:p>
          <a:endParaRPr lang="de-DE"/>
        </a:p>
      </dgm:t>
    </dgm:pt>
    <dgm:pt modelId="{7D727B30-8152-43B0-8A2B-10E074F47AFE}" type="sibTrans" cxnId="{76807A8D-25BF-4068-A1C9-0696B791C5D8}">
      <dgm:prSet/>
      <dgm:spPr>
        <a:gradFill rotWithShape="0">
          <a:gsLst>
            <a:gs pos="0">
              <a:srgbClr val="00FFB9"/>
            </a:gs>
            <a:gs pos="100000">
              <a:srgbClr val="00E6DC"/>
            </a:gs>
          </a:gsLst>
          <a:lin ang="0" scaled="0"/>
        </a:gradFill>
      </dgm:spPr>
      <dgm:t>
        <a:bodyPr/>
        <a:lstStyle/>
        <a:p>
          <a:endParaRPr lang="de-DE"/>
        </a:p>
      </dgm:t>
    </dgm:pt>
    <dgm:pt modelId="{2A3F5CA5-8194-4215-9B8F-2A5A7FCB24E5}">
      <dgm:prSet phldrT="[Text]" custT="1"/>
      <dgm:spPr>
        <a:solidFill>
          <a:srgbClr val="CCCCD4"/>
        </a:solidFill>
        <a:ln>
          <a:noFill/>
        </a:ln>
      </dgm:spPr>
      <dgm:t>
        <a:bodyPr/>
        <a:lstStyle/>
        <a:p>
          <a:pPr>
            <a:lnSpc>
              <a:spcPct val="100000"/>
            </a:lnSpc>
            <a:spcBef>
              <a:spcPts val="300"/>
            </a:spcBef>
            <a:spcAft>
              <a:spcPts val="0"/>
            </a:spcAft>
          </a:pPr>
          <a:r>
            <a:rPr lang="de-DE" sz="1800" dirty="0">
              <a:solidFill>
                <a:schemeClr val="tx2"/>
              </a:solidFill>
            </a:rPr>
            <a:t>Lorem</a:t>
          </a:r>
          <a:endParaRPr lang="en-US" sz="1800" dirty="0">
            <a:solidFill>
              <a:schemeClr val="tx2"/>
            </a:solidFill>
          </a:endParaRPr>
        </a:p>
      </dgm:t>
    </dgm:pt>
    <dgm:pt modelId="{B5CB2279-2ED3-4818-8006-596EEA75E4CE}" type="parTrans" cxnId="{8A2CDDC3-578E-4312-B183-AC4CF4DCF01F}">
      <dgm:prSet/>
      <dgm:spPr/>
      <dgm:t>
        <a:bodyPr/>
        <a:lstStyle/>
        <a:p>
          <a:endParaRPr lang="de-DE"/>
        </a:p>
      </dgm:t>
    </dgm:pt>
    <dgm:pt modelId="{C1E122F3-8114-4DD8-A9BE-AAA681902A22}" type="sibTrans" cxnId="{8A2CDDC3-578E-4312-B183-AC4CF4DCF01F}">
      <dgm:prSet/>
      <dgm:spPr>
        <a:gradFill rotWithShape="0">
          <a:gsLst>
            <a:gs pos="0">
              <a:srgbClr val="00FFB9"/>
            </a:gs>
            <a:gs pos="100000">
              <a:srgbClr val="00E6DC"/>
            </a:gs>
          </a:gsLst>
          <a:lin ang="0" scaled="0"/>
        </a:gradFill>
      </dgm:spPr>
      <dgm:t>
        <a:bodyPr/>
        <a:lstStyle/>
        <a:p>
          <a:endParaRPr lang="de-DE"/>
        </a:p>
      </dgm:t>
    </dgm:pt>
    <dgm:pt modelId="{56CACEDE-CF73-4881-9009-799C24A22B4A}">
      <dgm:prSet phldrT="[Text]" custT="1"/>
      <dgm:spPr>
        <a:solidFill>
          <a:srgbClr val="66667E"/>
        </a:solidFill>
        <a:ln>
          <a:noFill/>
        </a:ln>
      </dgm:spPr>
      <dgm:t>
        <a:bodyPr/>
        <a:lstStyle/>
        <a:p>
          <a:pPr>
            <a:lnSpc>
              <a:spcPct val="100000"/>
            </a:lnSpc>
            <a:spcBef>
              <a:spcPts val="300"/>
            </a:spcBef>
            <a:spcAft>
              <a:spcPts val="0"/>
            </a:spcAft>
          </a:pPr>
          <a:r>
            <a:rPr lang="de-DE" sz="1800" dirty="0"/>
            <a:t>Ipsum dolore</a:t>
          </a:r>
          <a:endParaRPr lang="en-US" sz="1800" dirty="0"/>
        </a:p>
      </dgm:t>
    </dgm:pt>
    <dgm:pt modelId="{8BCE031E-CB1F-432E-8C73-6C4A8C34250D}" type="parTrans" cxnId="{8961CB60-1517-4A8C-AA69-36D46B349E29}">
      <dgm:prSet/>
      <dgm:spPr/>
      <dgm:t>
        <a:bodyPr/>
        <a:lstStyle/>
        <a:p>
          <a:endParaRPr lang="de-DE"/>
        </a:p>
      </dgm:t>
    </dgm:pt>
    <dgm:pt modelId="{45D6BE5E-D9BD-4452-8919-C192FA9E820F}" type="sibTrans" cxnId="{8961CB60-1517-4A8C-AA69-36D46B349E29}">
      <dgm:prSet/>
      <dgm:spPr>
        <a:gradFill rotWithShape="0">
          <a:gsLst>
            <a:gs pos="0">
              <a:srgbClr val="00FFB9"/>
            </a:gs>
            <a:gs pos="100000">
              <a:srgbClr val="00E6DC"/>
            </a:gs>
          </a:gsLst>
          <a:lin ang="0" scaled="0"/>
        </a:gradFill>
      </dgm:spPr>
      <dgm:t>
        <a:bodyPr/>
        <a:lstStyle/>
        <a:p>
          <a:endParaRPr lang="de-DE"/>
        </a:p>
      </dgm:t>
    </dgm:pt>
    <dgm:pt modelId="{E2319D22-8CE1-4ECA-A796-DE3A3F1674E8}" type="pres">
      <dgm:prSet presAssocID="{8D8AB745-D0D5-4762-9DF6-84C6314A6D4B}" presName="composite" presStyleCnt="0">
        <dgm:presLayoutVars>
          <dgm:chMax val="3"/>
          <dgm:animLvl val="lvl"/>
          <dgm:resizeHandles val="exact"/>
        </dgm:presLayoutVars>
      </dgm:prSet>
      <dgm:spPr/>
    </dgm:pt>
    <dgm:pt modelId="{43BE4FC8-25EC-4671-9194-9EB787004E24}" type="pres">
      <dgm:prSet presAssocID="{3147A277-E8D5-4D49-8807-DC545FA8B88A}" presName="gear1" presStyleLbl="node1" presStyleIdx="0" presStyleCnt="3" custLinFactNeighborX="33274" custLinFactNeighborY="-26661">
        <dgm:presLayoutVars>
          <dgm:chMax val="1"/>
          <dgm:bulletEnabled val="1"/>
        </dgm:presLayoutVars>
      </dgm:prSet>
      <dgm:spPr/>
    </dgm:pt>
    <dgm:pt modelId="{3E4E8D31-36B1-43B6-B81A-FF83787EE9B2}" type="pres">
      <dgm:prSet presAssocID="{3147A277-E8D5-4D49-8807-DC545FA8B88A}" presName="gear1srcNode" presStyleLbl="node1" presStyleIdx="0" presStyleCnt="3"/>
      <dgm:spPr/>
    </dgm:pt>
    <dgm:pt modelId="{E496A382-07CD-494F-8B8D-093005503708}" type="pres">
      <dgm:prSet presAssocID="{3147A277-E8D5-4D49-8807-DC545FA8B88A}" presName="gear1dstNode" presStyleLbl="node1" presStyleIdx="0" presStyleCnt="3"/>
      <dgm:spPr/>
    </dgm:pt>
    <dgm:pt modelId="{51493DE2-7D45-4F5A-8B41-316960F4B8C3}" type="pres">
      <dgm:prSet presAssocID="{2A3F5CA5-8194-4215-9B8F-2A5A7FCB24E5}" presName="gear2" presStyleLbl="node1" presStyleIdx="1" presStyleCnt="3" custLinFactNeighborX="-26492" custLinFactNeighborY="-33655">
        <dgm:presLayoutVars>
          <dgm:chMax val="1"/>
          <dgm:bulletEnabled val="1"/>
        </dgm:presLayoutVars>
      </dgm:prSet>
      <dgm:spPr/>
    </dgm:pt>
    <dgm:pt modelId="{C1C39E6D-06F3-41B1-8A35-C217965241C1}" type="pres">
      <dgm:prSet presAssocID="{2A3F5CA5-8194-4215-9B8F-2A5A7FCB24E5}" presName="gear2srcNode" presStyleLbl="node1" presStyleIdx="1" presStyleCnt="3"/>
      <dgm:spPr/>
    </dgm:pt>
    <dgm:pt modelId="{2C894100-D9C3-4054-8665-55E43406D8CD}" type="pres">
      <dgm:prSet presAssocID="{2A3F5CA5-8194-4215-9B8F-2A5A7FCB24E5}" presName="gear2dstNode" presStyleLbl="node1" presStyleIdx="1" presStyleCnt="3"/>
      <dgm:spPr/>
    </dgm:pt>
    <dgm:pt modelId="{C570D3DC-65AE-442B-836D-BB4C58F20D4A}" type="pres">
      <dgm:prSet presAssocID="{56CACEDE-CF73-4881-9009-799C24A22B4A}" presName="gear3" presStyleLbl="node1" presStyleIdx="2" presStyleCnt="3" custLinFactNeighborX="8792" custLinFactNeighborY="-4616"/>
      <dgm:spPr/>
    </dgm:pt>
    <dgm:pt modelId="{EBDABA33-3748-4B2D-BCF4-B19A14BF9A6D}" type="pres">
      <dgm:prSet presAssocID="{56CACEDE-CF73-4881-9009-799C24A22B4A}" presName="gear3tx" presStyleLbl="node1" presStyleIdx="2" presStyleCnt="3">
        <dgm:presLayoutVars>
          <dgm:chMax val="1"/>
          <dgm:bulletEnabled val="1"/>
        </dgm:presLayoutVars>
      </dgm:prSet>
      <dgm:spPr/>
    </dgm:pt>
    <dgm:pt modelId="{F45F4F55-7902-43DB-B4D1-9892E10BA2CA}" type="pres">
      <dgm:prSet presAssocID="{56CACEDE-CF73-4881-9009-799C24A22B4A}" presName="gear3srcNode" presStyleLbl="node1" presStyleIdx="2" presStyleCnt="3"/>
      <dgm:spPr/>
    </dgm:pt>
    <dgm:pt modelId="{87B0D348-3DE2-43F5-90DE-994EBA7CC9B1}" type="pres">
      <dgm:prSet presAssocID="{56CACEDE-CF73-4881-9009-799C24A22B4A}" presName="gear3dstNode" presStyleLbl="node1" presStyleIdx="2" presStyleCnt="3"/>
      <dgm:spPr/>
    </dgm:pt>
    <dgm:pt modelId="{974C2129-6F71-435E-9714-7C94F7B9B864}" type="pres">
      <dgm:prSet presAssocID="{7D727B30-8152-43B0-8A2B-10E074F47AFE}" presName="connector1" presStyleLbl="sibTrans2D1" presStyleIdx="0" presStyleCnt="3" custAng="3109692" custFlipVert="1" custScaleX="108008" custScaleY="112014" custLinFactNeighborX="21990" custLinFactNeighborY="-19038"/>
      <dgm:spPr/>
    </dgm:pt>
    <dgm:pt modelId="{9EC2936E-B971-4698-B9D8-CD79BEF5A4B8}" type="pres">
      <dgm:prSet presAssocID="{C1E122F3-8114-4DD8-A9BE-AAA681902A22}" presName="connector2" presStyleLbl="sibTrans2D1" presStyleIdx="1" presStyleCnt="3" custAng="18900000" custLinFactNeighborX="-24809" custLinFactNeighborY="-12831"/>
      <dgm:spPr/>
    </dgm:pt>
    <dgm:pt modelId="{CE3628BB-654B-4A22-BC70-3F5E077F6191}" type="pres">
      <dgm:prSet presAssocID="{45D6BE5E-D9BD-4452-8919-C192FA9E820F}" presName="connector3" presStyleLbl="sibTrans2D1" presStyleIdx="2" presStyleCnt="3" custAng="3600000" custLinFactNeighborX="8062" custLinFactNeighborY="-3"/>
      <dgm:spPr/>
    </dgm:pt>
  </dgm:ptLst>
  <dgm:cxnLst>
    <dgm:cxn modelId="{B1F95606-327F-4D4C-B7D6-5A7173E7C9BD}" type="presOf" srcId="{56CACEDE-CF73-4881-9009-799C24A22B4A}" destId="{87B0D348-3DE2-43F5-90DE-994EBA7CC9B1}" srcOrd="3" destOrd="0" presId="urn:microsoft.com/office/officeart/2005/8/layout/gear1"/>
    <dgm:cxn modelId="{B04D060C-5656-4795-B88B-DCD35ADA51A3}" type="presOf" srcId="{8D8AB745-D0D5-4762-9DF6-84C6314A6D4B}" destId="{E2319D22-8CE1-4ECA-A796-DE3A3F1674E8}" srcOrd="0" destOrd="0" presId="urn:microsoft.com/office/officeart/2005/8/layout/gear1"/>
    <dgm:cxn modelId="{55A3F424-6E34-405A-A1CF-ADA8752A1C17}" type="presOf" srcId="{45D6BE5E-D9BD-4452-8919-C192FA9E820F}" destId="{CE3628BB-654B-4A22-BC70-3F5E077F6191}" srcOrd="0" destOrd="0" presId="urn:microsoft.com/office/officeart/2005/8/layout/gear1"/>
    <dgm:cxn modelId="{F91BA235-0065-499F-B4D4-A079D3BC50B4}" type="presOf" srcId="{2A3F5CA5-8194-4215-9B8F-2A5A7FCB24E5}" destId="{C1C39E6D-06F3-41B1-8A35-C217965241C1}" srcOrd="1" destOrd="0" presId="urn:microsoft.com/office/officeart/2005/8/layout/gear1"/>
    <dgm:cxn modelId="{8961CB60-1517-4A8C-AA69-36D46B349E29}" srcId="{8D8AB745-D0D5-4762-9DF6-84C6314A6D4B}" destId="{56CACEDE-CF73-4881-9009-799C24A22B4A}" srcOrd="2" destOrd="0" parTransId="{8BCE031E-CB1F-432E-8C73-6C4A8C34250D}" sibTransId="{45D6BE5E-D9BD-4452-8919-C192FA9E820F}"/>
    <dgm:cxn modelId="{9E76E268-4599-4098-9FB2-ED7D5998C4E4}" type="presOf" srcId="{56CACEDE-CF73-4881-9009-799C24A22B4A}" destId="{C570D3DC-65AE-442B-836D-BB4C58F20D4A}" srcOrd="0" destOrd="0" presId="urn:microsoft.com/office/officeart/2005/8/layout/gear1"/>
    <dgm:cxn modelId="{05943557-A37B-44BE-89D2-868502E139F2}" type="presOf" srcId="{2A3F5CA5-8194-4215-9B8F-2A5A7FCB24E5}" destId="{51493DE2-7D45-4F5A-8B41-316960F4B8C3}" srcOrd="0" destOrd="0" presId="urn:microsoft.com/office/officeart/2005/8/layout/gear1"/>
    <dgm:cxn modelId="{64223783-C5EC-4F27-A10A-2B55EB2B39D0}" type="presOf" srcId="{3147A277-E8D5-4D49-8807-DC545FA8B88A}" destId="{E496A382-07CD-494F-8B8D-093005503708}" srcOrd="2" destOrd="0" presId="urn:microsoft.com/office/officeart/2005/8/layout/gear1"/>
    <dgm:cxn modelId="{76807A8D-25BF-4068-A1C9-0696B791C5D8}" srcId="{8D8AB745-D0D5-4762-9DF6-84C6314A6D4B}" destId="{3147A277-E8D5-4D49-8807-DC545FA8B88A}" srcOrd="0" destOrd="0" parTransId="{67E02156-8B12-4FEE-ABC9-C661A7EA9B2E}" sibTransId="{7D727B30-8152-43B0-8A2B-10E074F47AFE}"/>
    <dgm:cxn modelId="{BF108EBF-9E7F-465D-8CDF-9511AEFB2E6C}" type="presOf" srcId="{C1E122F3-8114-4DD8-A9BE-AAA681902A22}" destId="{9EC2936E-B971-4698-B9D8-CD79BEF5A4B8}" srcOrd="0" destOrd="0" presId="urn:microsoft.com/office/officeart/2005/8/layout/gear1"/>
    <dgm:cxn modelId="{8A2CDDC3-578E-4312-B183-AC4CF4DCF01F}" srcId="{8D8AB745-D0D5-4762-9DF6-84C6314A6D4B}" destId="{2A3F5CA5-8194-4215-9B8F-2A5A7FCB24E5}" srcOrd="1" destOrd="0" parTransId="{B5CB2279-2ED3-4818-8006-596EEA75E4CE}" sibTransId="{C1E122F3-8114-4DD8-A9BE-AAA681902A22}"/>
    <dgm:cxn modelId="{0734DDC8-9643-472D-BF56-744E9BDEA846}" type="presOf" srcId="{56CACEDE-CF73-4881-9009-799C24A22B4A}" destId="{EBDABA33-3748-4B2D-BCF4-B19A14BF9A6D}" srcOrd="1" destOrd="0" presId="urn:microsoft.com/office/officeart/2005/8/layout/gear1"/>
    <dgm:cxn modelId="{45C1C9CC-59A4-45CE-B7AE-F46AD27732C4}" type="presOf" srcId="{3147A277-E8D5-4D49-8807-DC545FA8B88A}" destId="{43BE4FC8-25EC-4671-9194-9EB787004E24}" srcOrd="0" destOrd="0" presId="urn:microsoft.com/office/officeart/2005/8/layout/gear1"/>
    <dgm:cxn modelId="{F7DB34EA-0E41-4EC7-B3B8-A44313A0F104}" type="presOf" srcId="{2A3F5CA5-8194-4215-9B8F-2A5A7FCB24E5}" destId="{2C894100-D9C3-4054-8665-55E43406D8CD}" srcOrd="2" destOrd="0" presId="urn:microsoft.com/office/officeart/2005/8/layout/gear1"/>
    <dgm:cxn modelId="{070D35EE-E4F2-424A-93B2-CD7B1D185F88}" type="presOf" srcId="{56CACEDE-CF73-4881-9009-799C24A22B4A}" destId="{F45F4F55-7902-43DB-B4D1-9892E10BA2CA}" srcOrd="2" destOrd="0" presId="urn:microsoft.com/office/officeart/2005/8/layout/gear1"/>
    <dgm:cxn modelId="{5E8393EE-3A78-400B-8D5A-3113CAD308AA}" type="presOf" srcId="{3147A277-E8D5-4D49-8807-DC545FA8B88A}" destId="{3E4E8D31-36B1-43B6-B81A-FF83787EE9B2}" srcOrd="1" destOrd="0" presId="urn:microsoft.com/office/officeart/2005/8/layout/gear1"/>
    <dgm:cxn modelId="{2B9540FC-0DAB-4A7A-AAC3-6F5BC1695EE2}" type="presOf" srcId="{7D727B30-8152-43B0-8A2B-10E074F47AFE}" destId="{974C2129-6F71-435E-9714-7C94F7B9B864}" srcOrd="0" destOrd="0" presId="urn:microsoft.com/office/officeart/2005/8/layout/gear1"/>
    <dgm:cxn modelId="{F6E66BF2-6CE0-48D8-95DC-3945F397EE97}" type="presParOf" srcId="{E2319D22-8CE1-4ECA-A796-DE3A3F1674E8}" destId="{43BE4FC8-25EC-4671-9194-9EB787004E24}" srcOrd="0" destOrd="0" presId="urn:microsoft.com/office/officeart/2005/8/layout/gear1"/>
    <dgm:cxn modelId="{65C556C8-7787-44EF-84CB-121CB13656E6}" type="presParOf" srcId="{E2319D22-8CE1-4ECA-A796-DE3A3F1674E8}" destId="{3E4E8D31-36B1-43B6-B81A-FF83787EE9B2}" srcOrd="1" destOrd="0" presId="urn:microsoft.com/office/officeart/2005/8/layout/gear1"/>
    <dgm:cxn modelId="{A8D41892-A35A-4348-8D03-DF579C00AB2D}" type="presParOf" srcId="{E2319D22-8CE1-4ECA-A796-DE3A3F1674E8}" destId="{E496A382-07CD-494F-8B8D-093005503708}" srcOrd="2" destOrd="0" presId="urn:microsoft.com/office/officeart/2005/8/layout/gear1"/>
    <dgm:cxn modelId="{324402A8-E107-4C1A-93D2-2F84E20F6943}" type="presParOf" srcId="{E2319D22-8CE1-4ECA-A796-DE3A3F1674E8}" destId="{51493DE2-7D45-4F5A-8B41-316960F4B8C3}" srcOrd="3" destOrd="0" presId="urn:microsoft.com/office/officeart/2005/8/layout/gear1"/>
    <dgm:cxn modelId="{6D8344E2-8B7A-4871-82D2-EBDF45A0CA0F}" type="presParOf" srcId="{E2319D22-8CE1-4ECA-A796-DE3A3F1674E8}" destId="{C1C39E6D-06F3-41B1-8A35-C217965241C1}" srcOrd="4" destOrd="0" presId="urn:microsoft.com/office/officeart/2005/8/layout/gear1"/>
    <dgm:cxn modelId="{089B576E-68C9-4F44-9AE1-FD1987D57906}" type="presParOf" srcId="{E2319D22-8CE1-4ECA-A796-DE3A3F1674E8}" destId="{2C894100-D9C3-4054-8665-55E43406D8CD}" srcOrd="5" destOrd="0" presId="urn:microsoft.com/office/officeart/2005/8/layout/gear1"/>
    <dgm:cxn modelId="{5F71CAB6-8318-449D-A562-953FF0BA733A}" type="presParOf" srcId="{E2319D22-8CE1-4ECA-A796-DE3A3F1674E8}" destId="{C570D3DC-65AE-442B-836D-BB4C58F20D4A}" srcOrd="6" destOrd="0" presId="urn:microsoft.com/office/officeart/2005/8/layout/gear1"/>
    <dgm:cxn modelId="{2A667987-C52A-4292-BFE9-DA95981AC572}" type="presParOf" srcId="{E2319D22-8CE1-4ECA-A796-DE3A3F1674E8}" destId="{EBDABA33-3748-4B2D-BCF4-B19A14BF9A6D}" srcOrd="7" destOrd="0" presId="urn:microsoft.com/office/officeart/2005/8/layout/gear1"/>
    <dgm:cxn modelId="{97D48600-A74D-4823-8A08-7A6C49864C24}" type="presParOf" srcId="{E2319D22-8CE1-4ECA-A796-DE3A3F1674E8}" destId="{F45F4F55-7902-43DB-B4D1-9892E10BA2CA}" srcOrd="8" destOrd="0" presId="urn:microsoft.com/office/officeart/2005/8/layout/gear1"/>
    <dgm:cxn modelId="{D57D0077-DDD0-43C0-9116-FE541EB5AC3C}" type="presParOf" srcId="{E2319D22-8CE1-4ECA-A796-DE3A3F1674E8}" destId="{87B0D348-3DE2-43F5-90DE-994EBA7CC9B1}" srcOrd="9" destOrd="0" presId="urn:microsoft.com/office/officeart/2005/8/layout/gear1"/>
    <dgm:cxn modelId="{DB9EF7B7-210D-4EFD-8679-3AEBED6AF90D}" type="presParOf" srcId="{E2319D22-8CE1-4ECA-A796-DE3A3F1674E8}" destId="{974C2129-6F71-435E-9714-7C94F7B9B864}" srcOrd="10" destOrd="0" presId="urn:microsoft.com/office/officeart/2005/8/layout/gear1"/>
    <dgm:cxn modelId="{C824F10C-0A9E-4810-A6E0-FC7611B2077D}" type="presParOf" srcId="{E2319D22-8CE1-4ECA-A796-DE3A3F1674E8}" destId="{9EC2936E-B971-4698-B9D8-CD79BEF5A4B8}" srcOrd="11" destOrd="0" presId="urn:microsoft.com/office/officeart/2005/8/layout/gear1"/>
    <dgm:cxn modelId="{6419561E-2D7C-4AA2-B50B-A08127154157}" type="presParOf" srcId="{E2319D22-8CE1-4ECA-A796-DE3A3F1674E8}" destId="{CE3628BB-654B-4A22-BC70-3F5E077F6191}" srcOrd="12" destOrd="0" presId="urn:microsoft.com/office/officeart/2005/8/layout/gear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D8AB745-D0D5-4762-9DF6-84C6314A6D4B}" type="doc">
      <dgm:prSet loTypeId="urn:microsoft.com/office/officeart/2005/8/layout/gear1" loCatId="process" qsTypeId="urn:microsoft.com/office/officeart/2005/8/quickstyle/simple1" qsCatId="simple" csTypeId="urn:microsoft.com/office/officeart/2005/8/colors/accent1_2" csCatId="accent1" phldr="1"/>
      <dgm:spPr/>
    </dgm:pt>
    <dgm:pt modelId="{3147A277-E8D5-4D49-8807-DC545FA8B88A}">
      <dgm:prSet phldrT="[Text]" custT="1"/>
      <dgm:spPr>
        <a:solidFill>
          <a:srgbClr val="00646E"/>
        </a:solidFill>
        <a:ln>
          <a:noFill/>
        </a:ln>
      </dgm:spPr>
      <dgm:t>
        <a:bodyPr/>
        <a:lstStyle/>
        <a:p>
          <a:pPr>
            <a:lnSpc>
              <a:spcPct val="100000"/>
            </a:lnSpc>
            <a:spcBef>
              <a:spcPts val="300"/>
            </a:spcBef>
            <a:spcAft>
              <a:spcPts val="0"/>
            </a:spcAft>
          </a:pPr>
          <a:r>
            <a:rPr lang="de-DE" sz="1800" dirty="0">
              <a:solidFill>
                <a:schemeClr val="tx1"/>
              </a:solidFill>
            </a:rPr>
            <a:t>Esta conseque</a:t>
          </a:r>
          <a:br>
            <a:rPr lang="de-DE" sz="1800" dirty="0">
              <a:solidFill>
                <a:schemeClr val="tx1"/>
              </a:solidFill>
            </a:rPr>
          </a:br>
          <a:r>
            <a:rPr lang="de-DE" sz="1800" dirty="0">
              <a:solidFill>
                <a:schemeClr val="tx1"/>
              </a:solidFill>
            </a:rPr>
            <a:t>renants</a:t>
          </a:r>
          <a:endParaRPr lang="en-US" sz="1800" dirty="0">
            <a:solidFill>
              <a:schemeClr val="tx1"/>
            </a:solidFill>
          </a:endParaRPr>
        </a:p>
      </dgm:t>
    </dgm:pt>
    <dgm:pt modelId="{67E02156-8B12-4FEE-ABC9-C661A7EA9B2E}" type="parTrans" cxnId="{76807A8D-25BF-4068-A1C9-0696B791C5D8}">
      <dgm:prSet/>
      <dgm:spPr/>
      <dgm:t>
        <a:bodyPr/>
        <a:lstStyle/>
        <a:p>
          <a:endParaRPr lang="de-DE"/>
        </a:p>
      </dgm:t>
    </dgm:pt>
    <dgm:pt modelId="{7D727B30-8152-43B0-8A2B-10E074F47AFE}" type="sibTrans" cxnId="{76807A8D-25BF-4068-A1C9-0696B791C5D8}">
      <dgm:prSet/>
      <dgm:spPr>
        <a:gradFill rotWithShape="0">
          <a:gsLst>
            <a:gs pos="0">
              <a:srgbClr val="00FFB9"/>
            </a:gs>
            <a:gs pos="100000">
              <a:srgbClr val="00E6DC"/>
            </a:gs>
          </a:gsLst>
          <a:lin ang="0" scaled="0"/>
        </a:gradFill>
      </dgm:spPr>
      <dgm:t>
        <a:bodyPr/>
        <a:lstStyle/>
        <a:p>
          <a:endParaRPr lang="de-DE"/>
        </a:p>
      </dgm:t>
    </dgm:pt>
    <dgm:pt modelId="{2A3F5CA5-8194-4215-9B8F-2A5A7FCB24E5}">
      <dgm:prSet phldrT="[Text]" custT="1"/>
      <dgm:spPr>
        <a:solidFill>
          <a:srgbClr val="66667E"/>
        </a:solidFill>
        <a:ln>
          <a:noFill/>
        </a:ln>
      </dgm:spPr>
      <dgm:t>
        <a:bodyPr/>
        <a:lstStyle/>
        <a:p>
          <a:pPr>
            <a:lnSpc>
              <a:spcPct val="100000"/>
            </a:lnSpc>
            <a:spcBef>
              <a:spcPts val="300"/>
            </a:spcBef>
            <a:spcAft>
              <a:spcPts val="0"/>
            </a:spcAft>
          </a:pPr>
          <a:r>
            <a:rPr lang="de-DE" sz="1800" dirty="0">
              <a:solidFill>
                <a:schemeClr val="tx1"/>
              </a:solidFill>
            </a:rPr>
            <a:t>Lorem</a:t>
          </a:r>
          <a:endParaRPr lang="en-US" sz="1800" dirty="0">
            <a:solidFill>
              <a:schemeClr val="tx1"/>
            </a:solidFill>
          </a:endParaRPr>
        </a:p>
      </dgm:t>
    </dgm:pt>
    <dgm:pt modelId="{B5CB2279-2ED3-4818-8006-596EEA75E4CE}" type="parTrans" cxnId="{8A2CDDC3-578E-4312-B183-AC4CF4DCF01F}">
      <dgm:prSet/>
      <dgm:spPr/>
      <dgm:t>
        <a:bodyPr/>
        <a:lstStyle/>
        <a:p>
          <a:endParaRPr lang="de-DE"/>
        </a:p>
      </dgm:t>
    </dgm:pt>
    <dgm:pt modelId="{C1E122F3-8114-4DD8-A9BE-AAA681902A22}" type="sibTrans" cxnId="{8A2CDDC3-578E-4312-B183-AC4CF4DCF01F}">
      <dgm:prSet/>
      <dgm:spPr>
        <a:gradFill rotWithShape="0">
          <a:gsLst>
            <a:gs pos="0">
              <a:srgbClr val="00FFB9"/>
            </a:gs>
            <a:gs pos="100000">
              <a:srgbClr val="00E6DC"/>
            </a:gs>
          </a:gsLst>
          <a:lin ang="0" scaled="0"/>
        </a:gradFill>
      </dgm:spPr>
      <dgm:t>
        <a:bodyPr/>
        <a:lstStyle/>
        <a:p>
          <a:endParaRPr lang="de-DE"/>
        </a:p>
      </dgm:t>
    </dgm:pt>
    <dgm:pt modelId="{56CACEDE-CF73-4881-9009-799C24A22B4A}">
      <dgm:prSet phldrT="[Text]" custT="1"/>
      <dgm:spPr>
        <a:solidFill>
          <a:srgbClr val="CCCCD4"/>
        </a:solidFill>
        <a:ln>
          <a:noFill/>
        </a:ln>
      </dgm:spPr>
      <dgm:t>
        <a:bodyPr/>
        <a:lstStyle/>
        <a:p>
          <a:pPr>
            <a:lnSpc>
              <a:spcPct val="100000"/>
            </a:lnSpc>
            <a:spcBef>
              <a:spcPts val="300"/>
            </a:spcBef>
            <a:spcAft>
              <a:spcPts val="0"/>
            </a:spcAft>
          </a:pPr>
          <a:r>
            <a:rPr lang="de-DE" sz="1800" dirty="0">
              <a:solidFill>
                <a:schemeClr val="bg2"/>
              </a:solidFill>
            </a:rPr>
            <a:t>Ipsum dolore</a:t>
          </a:r>
          <a:endParaRPr lang="en-US" sz="1800" dirty="0">
            <a:solidFill>
              <a:schemeClr val="bg2"/>
            </a:solidFill>
          </a:endParaRPr>
        </a:p>
      </dgm:t>
    </dgm:pt>
    <dgm:pt modelId="{8BCE031E-CB1F-432E-8C73-6C4A8C34250D}" type="parTrans" cxnId="{8961CB60-1517-4A8C-AA69-36D46B349E29}">
      <dgm:prSet/>
      <dgm:spPr/>
      <dgm:t>
        <a:bodyPr/>
        <a:lstStyle/>
        <a:p>
          <a:endParaRPr lang="de-DE"/>
        </a:p>
      </dgm:t>
    </dgm:pt>
    <dgm:pt modelId="{45D6BE5E-D9BD-4452-8919-C192FA9E820F}" type="sibTrans" cxnId="{8961CB60-1517-4A8C-AA69-36D46B349E29}">
      <dgm:prSet/>
      <dgm:spPr>
        <a:gradFill rotWithShape="0">
          <a:gsLst>
            <a:gs pos="0">
              <a:srgbClr val="00FFB9"/>
            </a:gs>
            <a:gs pos="100000">
              <a:srgbClr val="00E6DC"/>
            </a:gs>
          </a:gsLst>
          <a:lin ang="0" scaled="0"/>
        </a:gradFill>
      </dgm:spPr>
      <dgm:t>
        <a:bodyPr/>
        <a:lstStyle/>
        <a:p>
          <a:endParaRPr lang="de-DE"/>
        </a:p>
      </dgm:t>
    </dgm:pt>
    <dgm:pt modelId="{E2319D22-8CE1-4ECA-A796-DE3A3F1674E8}" type="pres">
      <dgm:prSet presAssocID="{8D8AB745-D0D5-4762-9DF6-84C6314A6D4B}" presName="composite" presStyleCnt="0">
        <dgm:presLayoutVars>
          <dgm:chMax val="3"/>
          <dgm:animLvl val="lvl"/>
          <dgm:resizeHandles val="exact"/>
        </dgm:presLayoutVars>
      </dgm:prSet>
      <dgm:spPr/>
    </dgm:pt>
    <dgm:pt modelId="{43BE4FC8-25EC-4671-9194-9EB787004E24}" type="pres">
      <dgm:prSet presAssocID="{3147A277-E8D5-4D49-8807-DC545FA8B88A}" presName="gear1" presStyleLbl="node1" presStyleIdx="0" presStyleCnt="3" custLinFactNeighborX="33274" custLinFactNeighborY="-26661">
        <dgm:presLayoutVars>
          <dgm:chMax val="1"/>
          <dgm:bulletEnabled val="1"/>
        </dgm:presLayoutVars>
      </dgm:prSet>
      <dgm:spPr/>
    </dgm:pt>
    <dgm:pt modelId="{3E4E8D31-36B1-43B6-B81A-FF83787EE9B2}" type="pres">
      <dgm:prSet presAssocID="{3147A277-E8D5-4D49-8807-DC545FA8B88A}" presName="gear1srcNode" presStyleLbl="node1" presStyleIdx="0" presStyleCnt="3"/>
      <dgm:spPr/>
    </dgm:pt>
    <dgm:pt modelId="{E496A382-07CD-494F-8B8D-093005503708}" type="pres">
      <dgm:prSet presAssocID="{3147A277-E8D5-4D49-8807-DC545FA8B88A}" presName="gear1dstNode" presStyleLbl="node1" presStyleIdx="0" presStyleCnt="3"/>
      <dgm:spPr/>
    </dgm:pt>
    <dgm:pt modelId="{51493DE2-7D45-4F5A-8B41-316960F4B8C3}" type="pres">
      <dgm:prSet presAssocID="{2A3F5CA5-8194-4215-9B8F-2A5A7FCB24E5}" presName="gear2" presStyleLbl="node1" presStyleIdx="1" presStyleCnt="3" custLinFactNeighborX="-26492" custLinFactNeighborY="-33655">
        <dgm:presLayoutVars>
          <dgm:chMax val="1"/>
          <dgm:bulletEnabled val="1"/>
        </dgm:presLayoutVars>
      </dgm:prSet>
      <dgm:spPr/>
    </dgm:pt>
    <dgm:pt modelId="{C1C39E6D-06F3-41B1-8A35-C217965241C1}" type="pres">
      <dgm:prSet presAssocID="{2A3F5CA5-8194-4215-9B8F-2A5A7FCB24E5}" presName="gear2srcNode" presStyleLbl="node1" presStyleIdx="1" presStyleCnt="3"/>
      <dgm:spPr/>
    </dgm:pt>
    <dgm:pt modelId="{2C894100-D9C3-4054-8665-55E43406D8CD}" type="pres">
      <dgm:prSet presAssocID="{2A3F5CA5-8194-4215-9B8F-2A5A7FCB24E5}" presName="gear2dstNode" presStyleLbl="node1" presStyleIdx="1" presStyleCnt="3"/>
      <dgm:spPr/>
    </dgm:pt>
    <dgm:pt modelId="{C570D3DC-65AE-442B-836D-BB4C58F20D4A}" type="pres">
      <dgm:prSet presAssocID="{56CACEDE-CF73-4881-9009-799C24A22B4A}" presName="gear3" presStyleLbl="node1" presStyleIdx="2" presStyleCnt="3" custLinFactNeighborX="8792" custLinFactNeighborY="-4616"/>
      <dgm:spPr/>
    </dgm:pt>
    <dgm:pt modelId="{EBDABA33-3748-4B2D-BCF4-B19A14BF9A6D}" type="pres">
      <dgm:prSet presAssocID="{56CACEDE-CF73-4881-9009-799C24A22B4A}" presName="gear3tx" presStyleLbl="node1" presStyleIdx="2" presStyleCnt="3">
        <dgm:presLayoutVars>
          <dgm:chMax val="1"/>
          <dgm:bulletEnabled val="1"/>
        </dgm:presLayoutVars>
      </dgm:prSet>
      <dgm:spPr/>
    </dgm:pt>
    <dgm:pt modelId="{F45F4F55-7902-43DB-B4D1-9892E10BA2CA}" type="pres">
      <dgm:prSet presAssocID="{56CACEDE-CF73-4881-9009-799C24A22B4A}" presName="gear3srcNode" presStyleLbl="node1" presStyleIdx="2" presStyleCnt="3"/>
      <dgm:spPr/>
    </dgm:pt>
    <dgm:pt modelId="{87B0D348-3DE2-43F5-90DE-994EBA7CC9B1}" type="pres">
      <dgm:prSet presAssocID="{56CACEDE-CF73-4881-9009-799C24A22B4A}" presName="gear3dstNode" presStyleLbl="node1" presStyleIdx="2" presStyleCnt="3"/>
      <dgm:spPr/>
    </dgm:pt>
    <dgm:pt modelId="{974C2129-6F71-435E-9714-7C94F7B9B864}" type="pres">
      <dgm:prSet presAssocID="{7D727B30-8152-43B0-8A2B-10E074F47AFE}" presName="connector1" presStyleLbl="sibTrans2D1" presStyleIdx="0" presStyleCnt="3" custAng="3109692" custFlipVert="1" custScaleX="108008" custScaleY="112014" custLinFactNeighborX="21990" custLinFactNeighborY="-19038"/>
      <dgm:spPr/>
    </dgm:pt>
    <dgm:pt modelId="{9EC2936E-B971-4698-B9D8-CD79BEF5A4B8}" type="pres">
      <dgm:prSet presAssocID="{C1E122F3-8114-4DD8-A9BE-AAA681902A22}" presName="connector2" presStyleLbl="sibTrans2D1" presStyleIdx="1" presStyleCnt="3" custAng="18900000" custLinFactNeighborX="-24809" custLinFactNeighborY="-12831"/>
      <dgm:spPr/>
    </dgm:pt>
    <dgm:pt modelId="{CE3628BB-654B-4A22-BC70-3F5E077F6191}" type="pres">
      <dgm:prSet presAssocID="{45D6BE5E-D9BD-4452-8919-C192FA9E820F}" presName="connector3" presStyleLbl="sibTrans2D1" presStyleIdx="2" presStyleCnt="3" custAng="3600000" custLinFactNeighborX="8062" custLinFactNeighborY="-3"/>
      <dgm:spPr/>
    </dgm:pt>
  </dgm:ptLst>
  <dgm:cxnLst>
    <dgm:cxn modelId="{B1F95606-327F-4D4C-B7D6-5A7173E7C9BD}" type="presOf" srcId="{56CACEDE-CF73-4881-9009-799C24A22B4A}" destId="{87B0D348-3DE2-43F5-90DE-994EBA7CC9B1}" srcOrd="3" destOrd="0" presId="urn:microsoft.com/office/officeart/2005/8/layout/gear1"/>
    <dgm:cxn modelId="{B04D060C-5656-4795-B88B-DCD35ADA51A3}" type="presOf" srcId="{8D8AB745-D0D5-4762-9DF6-84C6314A6D4B}" destId="{E2319D22-8CE1-4ECA-A796-DE3A3F1674E8}" srcOrd="0" destOrd="0" presId="urn:microsoft.com/office/officeart/2005/8/layout/gear1"/>
    <dgm:cxn modelId="{55A3F424-6E34-405A-A1CF-ADA8752A1C17}" type="presOf" srcId="{45D6BE5E-D9BD-4452-8919-C192FA9E820F}" destId="{CE3628BB-654B-4A22-BC70-3F5E077F6191}" srcOrd="0" destOrd="0" presId="urn:microsoft.com/office/officeart/2005/8/layout/gear1"/>
    <dgm:cxn modelId="{F91BA235-0065-499F-B4D4-A079D3BC50B4}" type="presOf" srcId="{2A3F5CA5-8194-4215-9B8F-2A5A7FCB24E5}" destId="{C1C39E6D-06F3-41B1-8A35-C217965241C1}" srcOrd="1" destOrd="0" presId="urn:microsoft.com/office/officeart/2005/8/layout/gear1"/>
    <dgm:cxn modelId="{8961CB60-1517-4A8C-AA69-36D46B349E29}" srcId="{8D8AB745-D0D5-4762-9DF6-84C6314A6D4B}" destId="{56CACEDE-CF73-4881-9009-799C24A22B4A}" srcOrd="2" destOrd="0" parTransId="{8BCE031E-CB1F-432E-8C73-6C4A8C34250D}" sibTransId="{45D6BE5E-D9BD-4452-8919-C192FA9E820F}"/>
    <dgm:cxn modelId="{9E76E268-4599-4098-9FB2-ED7D5998C4E4}" type="presOf" srcId="{56CACEDE-CF73-4881-9009-799C24A22B4A}" destId="{C570D3DC-65AE-442B-836D-BB4C58F20D4A}" srcOrd="0" destOrd="0" presId="urn:microsoft.com/office/officeart/2005/8/layout/gear1"/>
    <dgm:cxn modelId="{05943557-A37B-44BE-89D2-868502E139F2}" type="presOf" srcId="{2A3F5CA5-8194-4215-9B8F-2A5A7FCB24E5}" destId="{51493DE2-7D45-4F5A-8B41-316960F4B8C3}" srcOrd="0" destOrd="0" presId="urn:microsoft.com/office/officeart/2005/8/layout/gear1"/>
    <dgm:cxn modelId="{64223783-C5EC-4F27-A10A-2B55EB2B39D0}" type="presOf" srcId="{3147A277-E8D5-4D49-8807-DC545FA8B88A}" destId="{E496A382-07CD-494F-8B8D-093005503708}" srcOrd="2" destOrd="0" presId="urn:microsoft.com/office/officeart/2005/8/layout/gear1"/>
    <dgm:cxn modelId="{76807A8D-25BF-4068-A1C9-0696B791C5D8}" srcId="{8D8AB745-D0D5-4762-9DF6-84C6314A6D4B}" destId="{3147A277-E8D5-4D49-8807-DC545FA8B88A}" srcOrd="0" destOrd="0" parTransId="{67E02156-8B12-4FEE-ABC9-C661A7EA9B2E}" sibTransId="{7D727B30-8152-43B0-8A2B-10E074F47AFE}"/>
    <dgm:cxn modelId="{BF108EBF-9E7F-465D-8CDF-9511AEFB2E6C}" type="presOf" srcId="{C1E122F3-8114-4DD8-A9BE-AAA681902A22}" destId="{9EC2936E-B971-4698-B9D8-CD79BEF5A4B8}" srcOrd="0" destOrd="0" presId="urn:microsoft.com/office/officeart/2005/8/layout/gear1"/>
    <dgm:cxn modelId="{8A2CDDC3-578E-4312-B183-AC4CF4DCF01F}" srcId="{8D8AB745-D0D5-4762-9DF6-84C6314A6D4B}" destId="{2A3F5CA5-8194-4215-9B8F-2A5A7FCB24E5}" srcOrd="1" destOrd="0" parTransId="{B5CB2279-2ED3-4818-8006-596EEA75E4CE}" sibTransId="{C1E122F3-8114-4DD8-A9BE-AAA681902A22}"/>
    <dgm:cxn modelId="{0734DDC8-9643-472D-BF56-744E9BDEA846}" type="presOf" srcId="{56CACEDE-CF73-4881-9009-799C24A22B4A}" destId="{EBDABA33-3748-4B2D-BCF4-B19A14BF9A6D}" srcOrd="1" destOrd="0" presId="urn:microsoft.com/office/officeart/2005/8/layout/gear1"/>
    <dgm:cxn modelId="{45C1C9CC-59A4-45CE-B7AE-F46AD27732C4}" type="presOf" srcId="{3147A277-E8D5-4D49-8807-DC545FA8B88A}" destId="{43BE4FC8-25EC-4671-9194-9EB787004E24}" srcOrd="0" destOrd="0" presId="urn:microsoft.com/office/officeart/2005/8/layout/gear1"/>
    <dgm:cxn modelId="{F7DB34EA-0E41-4EC7-B3B8-A44313A0F104}" type="presOf" srcId="{2A3F5CA5-8194-4215-9B8F-2A5A7FCB24E5}" destId="{2C894100-D9C3-4054-8665-55E43406D8CD}" srcOrd="2" destOrd="0" presId="urn:microsoft.com/office/officeart/2005/8/layout/gear1"/>
    <dgm:cxn modelId="{070D35EE-E4F2-424A-93B2-CD7B1D185F88}" type="presOf" srcId="{56CACEDE-CF73-4881-9009-799C24A22B4A}" destId="{F45F4F55-7902-43DB-B4D1-9892E10BA2CA}" srcOrd="2" destOrd="0" presId="urn:microsoft.com/office/officeart/2005/8/layout/gear1"/>
    <dgm:cxn modelId="{5E8393EE-3A78-400B-8D5A-3113CAD308AA}" type="presOf" srcId="{3147A277-E8D5-4D49-8807-DC545FA8B88A}" destId="{3E4E8D31-36B1-43B6-B81A-FF83787EE9B2}" srcOrd="1" destOrd="0" presId="urn:microsoft.com/office/officeart/2005/8/layout/gear1"/>
    <dgm:cxn modelId="{2B9540FC-0DAB-4A7A-AAC3-6F5BC1695EE2}" type="presOf" srcId="{7D727B30-8152-43B0-8A2B-10E074F47AFE}" destId="{974C2129-6F71-435E-9714-7C94F7B9B864}" srcOrd="0" destOrd="0" presId="urn:microsoft.com/office/officeart/2005/8/layout/gear1"/>
    <dgm:cxn modelId="{F6E66BF2-6CE0-48D8-95DC-3945F397EE97}" type="presParOf" srcId="{E2319D22-8CE1-4ECA-A796-DE3A3F1674E8}" destId="{43BE4FC8-25EC-4671-9194-9EB787004E24}" srcOrd="0" destOrd="0" presId="urn:microsoft.com/office/officeart/2005/8/layout/gear1"/>
    <dgm:cxn modelId="{65C556C8-7787-44EF-84CB-121CB13656E6}" type="presParOf" srcId="{E2319D22-8CE1-4ECA-A796-DE3A3F1674E8}" destId="{3E4E8D31-36B1-43B6-B81A-FF83787EE9B2}" srcOrd="1" destOrd="0" presId="urn:microsoft.com/office/officeart/2005/8/layout/gear1"/>
    <dgm:cxn modelId="{A8D41892-A35A-4348-8D03-DF579C00AB2D}" type="presParOf" srcId="{E2319D22-8CE1-4ECA-A796-DE3A3F1674E8}" destId="{E496A382-07CD-494F-8B8D-093005503708}" srcOrd="2" destOrd="0" presId="urn:microsoft.com/office/officeart/2005/8/layout/gear1"/>
    <dgm:cxn modelId="{324402A8-E107-4C1A-93D2-2F84E20F6943}" type="presParOf" srcId="{E2319D22-8CE1-4ECA-A796-DE3A3F1674E8}" destId="{51493DE2-7D45-4F5A-8B41-316960F4B8C3}" srcOrd="3" destOrd="0" presId="urn:microsoft.com/office/officeart/2005/8/layout/gear1"/>
    <dgm:cxn modelId="{6D8344E2-8B7A-4871-82D2-EBDF45A0CA0F}" type="presParOf" srcId="{E2319D22-8CE1-4ECA-A796-DE3A3F1674E8}" destId="{C1C39E6D-06F3-41B1-8A35-C217965241C1}" srcOrd="4" destOrd="0" presId="urn:microsoft.com/office/officeart/2005/8/layout/gear1"/>
    <dgm:cxn modelId="{089B576E-68C9-4F44-9AE1-FD1987D57906}" type="presParOf" srcId="{E2319D22-8CE1-4ECA-A796-DE3A3F1674E8}" destId="{2C894100-D9C3-4054-8665-55E43406D8CD}" srcOrd="5" destOrd="0" presId="urn:microsoft.com/office/officeart/2005/8/layout/gear1"/>
    <dgm:cxn modelId="{5F71CAB6-8318-449D-A562-953FF0BA733A}" type="presParOf" srcId="{E2319D22-8CE1-4ECA-A796-DE3A3F1674E8}" destId="{C570D3DC-65AE-442B-836D-BB4C58F20D4A}" srcOrd="6" destOrd="0" presId="urn:microsoft.com/office/officeart/2005/8/layout/gear1"/>
    <dgm:cxn modelId="{2A667987-C52A-4292-BFE9-DA95981AC572}" type="presParOf" srcId="{E2319D22-8CE1-4ECA-A796-DE3A3F1674E8}" destId="{EBDABA33-3748-4B2D-BCF4-B19A14BF9A6D}" srcOrd="7" destOrd="0" presId="urn:microsoft.com/office/officeart/2005/8/layout/gear1"/>
    <dgm:cxn modelId="{97D48600-A74D-4823-8A08-7A6C49864C24}" type="presParOf" srcId="{E2319D22-8CE1-4ECA-A796-DE3A3F1674E8}" destId="{F45F4F55-7902-43DB-B4D1-9892E10BA2CA}" srcOrd="8" destOrd="0" presId="urn:microsoft.com/office/officeart/2005/8/layout/gear1"/>
    <dgm:cxn modelId="{D57D0077-DDD0-43C0-9116-FE541EB5AC3C}" type="presParOf" srcId="{E2319D22-8CE1-4ECA-A796-DE3A3F1674E8}" destId="{87B0D348-3DE2-43F5-90DE-994EBA7CC9B1}" srcOrd="9" destOrd="0" presId="urn:microsoft.com/office/officeart/2005/8/layout/gear1"/>
    <dgm:cxn modelId="{DB9EF7B7-210D-4EFD-8679-3AEBED6AF90D}" type="presParOf" srcId="{E2319D22-8CE1-4ECA-A796-DE3A3F1674E8}" destId="{974C2129-6F71-435E-9714-7C94F7B9B864}" srcOrd="10" destOrd="0" presId="urn:microsoft.com/office/officeart/2005/8/layout/gear1"/>
    <dgm:cxn modelId="{C824F10C-0A9E-4810-A6E0-FC7611B2077D}" type="presParOf" srcId="{E2319D22-8CE1-4ECA-A796-DE3A3F1674E8}" destId="{9EC2936E-B971-4698-B9D8-CD79BEF5A4B8}" srcOrd="11" destOrd="0" presId="urn:microsoft.com/office/officeart/2005/8/layout/gear1"/>
    <dgm:cxn modelId="{6419561E-2D7C-4AA2-B50B-A08127154157}" type="presParOf" srcId="{E2319D22-8CE1-4ECA-A796-DE3A3F1674E8}" destId="{CE3628BB-654B-4A22-BC70-3F5E077F6191}" srcOrd="12" destOrd="0" presId="urn:microsoft.com/office/officeart/2005/8/layout/gear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BE4FC8-25EC-4671-9194-9EB787004E24}">
      <dsp:nvSpPr>
        <dsp:cNvPr id="0" name=""/>
        <dsp:cNvSpPr/>
      </dsp:nvSpPr>
      <dsp:spPr>
        <a:xfrm>
          <a:off x="4508585" y="1548962"/>
          <a:ext cx="2808270" cy="2808270"/>
        </a:xfrm>
        <a:prstGeom prst="gear9">
          <a:avLst/>
        </a:prstGeom>
        <a:solidFill>
          <a:srgbClr val="00646E"/>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100000"/>
            </a:lnSpc>
            <a:spcBef>
              <a:spcPct val="0"/>
            </a:spcBef>
            <a:spcAft>
              <a:spcPts val="0"/>
            </a:spcAft>
            <a:buNone/>
          </a:pPr>
          <a:r>
            <a:rPr lang="de-DE" sz="1800" kern="1200" dirty="0"/>
            <a:t>Esta conseque</a:t>
          </a:r>
          <a:br>
            <a:rPr lang="de-DE" sz="1800" kern="1200" dirty="0"/>
          </a:br>
          <a:r>
            <a:rPr lang="de-DE" sz="1800" kern="1200" dirty="0"/>
            <a:t>renants</a:t>
          </a:r>
          <a:endParaRPr lang="en-US" sz="1800" kern="1200" dirty="0"/>
        </a:p>
      </dsp:txBody>
      <dsp:txXfrm>
        <a:off x="5073172" y="2206786"/>
        <a:ext cx="1679096" cy="1443509"/>
      </dsp:txXfrm>
    </dsp:sp>
    <dsp:sp modelId="{51493DE2-7D45-4F5A-8B41-316960F4B8C3}">
      <dsp:nvSpPr>
        <dsp:cNvPr id="0" name=""/>
        <dsp:cNvSpPr/>
      </dsp:nvSpPr>
      <dsp:spPr>
        <a:xfrm>
          <a:off x="1399192" y="946540"/>
          <a:ext cx="2042378" cy="2042378"/>
        </a:xfrm>
        <a:prstGeom prst="gear6">
          <a:avLst/>
        </a:prstGeom>
        <a:solidFill>
          <a:srgbClr val="CCCCD4"/>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100000"/>
            </a:lnSpc>
            <a:spcBef>
              <a:spcPct val="0"/>
            </a:spcBef>
            <a:spcAft>
              <a:spcPts val="0"/>
            </a:spcAft>
            <a:buNone/>
          </a:pPr>
          <a:r>
            <a:rPr lang="de-DE" sz="1800" kern="1200" dirty="0">
              <a:solidFill>
                <a:schemeClr val="tx2"/>
              </a:solidFill>
            </a:rPr>
            <a:t>Lorem</a:t>
          </a:r>
          <a:endParaRPr lang="en-US" sz="1800" kern="1200" dirty="0">
            <a:solidFill>
              <a:schemeClr val="tx2"/>
            </a:solidFill>
          </a:endParaRPr>
        </a:p>
      </dsp:txBody>
      <dsp:txXfrm>
        <a:off x="1913367" y="1463822"/>
        <a:ext cx="1014028" cy="1007814"/>
      </dsp:txXfrm>
    </dsp:sp>
    <dsp:sp modelId="{C570D3DC-65AE-442B-836D-BB4C58F20D4A}">
      <dsp:nvSpPr>
        <dsp:cNvPr id="0" name=""/>
        <dsp:cNvSpPr/>
      </dsp:nvSpPr>
      <dsp:spPr>
        <a:xfrm rot="20700000">
          <a:off x="3299678" y="224870"/>
          <a:ext cx="2001113" cy="2001113"/>
        </a:xfrm>
        <a:prstGeom prst="gear6">
          <a:avLst/>
        </a:prstGeom>
        <a:solidFill>
          <a:srgbClr val="66667E"/>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100000"/>
            </a:lnSpc>
            <a:spcBef>
              <a:spcPct val="0"/>
            </a:spcBef>
            <a:spcAft>
              <a:spcPts val="0"/>
            </a:spcAft>
            <a:buNone/>
          </a:pPr>
          <a:r>
            <a:rPr lang="de-DE" sz="1800" kern="1200" dirty="0"/>
            <a:t>Ipsum dolore</a:t>
          </a:r>
          <a:endParaRPr lang="en-US" sz="1800" kern="1200" dirty="0"/>
        </a:p>
      </dsp:txBody>
      <dsp:txXfrm rot="-20700000">
        <a:off x="3738581" y="663772"/>
        <a:ext cx="1123308" cy="1123308"/>
      </dsp:txXfrm>
    </dsp:sp>
    <dsp:sp modelId="{974C2129-6F71-435E-9714-7C94F7B9B864}">
      <dsp:nvSpPr>
        <dsp:cNvPr id="0" name=""/>
        <dsp:cNvSpPr/>
      </dsp:nvSpPr>
      <dsp:spPr>
        <a:xfrm rot="18490308" flipV="1">
          <a:off x="4014884" y="967858"/>
          <a:ext cx="3882440" cy="4026439"/>
        </a:xfrm>
        <a:prstGeom prst="circularArrow">
          <a:avLst>
            <a:gd name="adj1" fmla="val 4687"/>
            <a:gd name="adj2" fmla="val 299029"/>
            <a:gd name="adj3" fmla="val 2534345"/>
            <a:gd name="adj4" fmla="val 15822655"/>
            <a:gd name="adj5" fmla="val 5469"/>
          </a:avLst>
        </a:prstGeom>
        <a:gradFill rotWithShape="0">
          <a:gsLst>
            <a:gs pos="0">
              <a:srgbClr val="00FFB9"/>
            </a:gs>
            <a:gs pos="100000">
              <a:srgbClr val="00E6DC"/>
            </a:gs>
          </a:gsLst>
          <a:lin ang="0" scaled="0"/>
        </a:gradFill>
        <a:ln>
          <a:noFill/>
        </a:ln>
        <a:effectLst/>
      </dsp:spPr>
      <dsp:style>
        <a:lnRef idx="0">
          <a:scrgbClr r="0" g="0" b="0"/>
        </a:lnRef>
        <a:fillRef idx="1">
          <a:scrgbClr r="0" g="0" b="0"/>
        </a:fillRef>
        <a:effectRef idx="0">
          <a:scrgbClr r="0" g="0" b="0"/>
        </a:effectRef>
        <a:fontRef idx="minor">
          <a:schemeClr val="lt1"/>
        </a:fontRef>
      </dsp:style>
    </dsp:sp>
    <dsp:sp modelId="{9EC2936E-B971-4698-B9D8-CD79BEF5A4B8}">
      <dsp:nvSpPr>
        <dsp:cNvPr id="0" name=""/>
        <dsp:cNvSpPr/>
      </dsp:nvSpPr>
      <dsp:spPr>
        <a:xfrm rot="18900000">
          <a:off x="930623" y="842983"/>
          <a:ext cx="2611691" cy="2611691"/>
        </a:xfrm>
        <a:prstGeom prst="leftCircularArrow">
          <a:avLst>
            <a:gd name="adj1" fmla="val 6452"/>
            <a:gd name="adj2" fmla="val 429999"/>
            <a:gd name="adj3" fmla="val 10489124"/>
            <a:gd name="adj4" fmla="val 14837806"/>
            <a:gd name="adj5" fmla="val 7527"/>
          </a:avLst>
        </a:prstGeom>
        <a:gradFill rotWithShape="0">
          <a:gsLst>
            <a:gs pos="0">
              <a:srgbClr val="00FFB9"/>
            </a:gs>
            <a:gs pos="100000">
              <a:srgbClr val="00E6DC"/>
            </a:gs>
          </a:gsLst>
          <a:lin ang="0" scaled="0"/>
        </a:gradFill>
        <a:ln>
          <a:noFill/>
        </a:ln>
        <a:effectLst/>
      </dsp:spPr>
      <dsp:style>
        <a:lnRef idx="0">
          <a:scrgbClr r="0" g="0" b="0"/>
        </a:lnRef>
        <a:fillRef idx="1">
          <a:scrgbClr r="0" g="0" b="0"/>
        </a:fillRef>
        <a:effectRef idx="0">
          <a:scrgbClr r="0" g="0" b="0"/>
        </a:effectRef>
        <a:fontRef idx="minor">
          <a:schemeClr val="lt1"/>
        </a:fontRef>
      </dsp:style>
    </dsp:sp>
    <dsp:sp modelId="{CE3628BB-654B-4A22-BC70-3F5E077F6191}">
      <dsp:nvSpPr>
        <dsp:cNvPr id="0" name=""/>
        <dsp:cNvSpPr/>
      </dsp:nvSpPr>
      <dsp:spPr>
        <a:xfrm rot="3600000">
          <a:off x="2848341" y="-217445"/>
          <a:ext cx="2815929" cy="2815929"/>
        </a:xfrm>
        <a:prstGeom prst="circularArrow">
          <a:avLst>
            <a:gd name="adj1" fmla="val 5984"/>
            <a:gd name="adj2" fmla="val 394124"/>
            <a:gd name="adj3" fmla="val 13313824"/>
            <a:gd name="adj4" fmla="val 10508221"/>
            <a:gd name="adj5" fmla="val 6981"/>
          </a:avLst>
        </a:prstGeom>
        <a:gradFill rotWithShape="0">
          <a:gsLst>
            <a:gs pos="0">
              <a:srgbClr val="00FFB9"/>
            </a:gs>
            <a:gs pos="100000">
              <a:srgbClr val="00E6DC"/>
            </a:gs>
          </a:gsLst>
          <a:lin ang="0" scaled="0"/>
        </a:gra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BE4FC8-25EC-4671-9194-9EB787004E24}">
      <dsp:nvSpPr>
        <dsp:cNvPr id="0" name=""/>
        <dsp:cNvSpPr/>
      </dsp:nvSpPr>
      <dsp:spPr>
        <a:xfrm>
          <a:off x="4508585" y="1548962"/>
          <a:ext cx="2808270" cy="2808270"/>
        </a:xfrm>
        <a:prstGeom prst="gear9">
          <a:avLst/>
        </a:prstGeom>
        <a:solidFill>
          <a:srgbClr val="00646E"/>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100000"/>
            </a:lnSpc>
            <a:spcBef>
              <a:spcPct val="0"/>
            </a:spcBef>
            <a:spcAft>
              <a:spcPts val="0"/>
            </a:spcAft>
            <a:buNone/>
          </a:pPr>
          <a:r>
            <a:rPr lang="de-DE" sz="1800" kern="1200" dirty="0">
              <a:solidFill>
                <a:schemeClr val="tx1"/>
              </a:solidFill>
            </a:rPr>
            <a:t>Esta conseque</a:t>
          </a:r>
          <a:br>
            <a:rPr lang="de-DE" sz="1800" kern="1200" dirty="0">
              <a:solidFill>
                <a:schemeClr val="tx1"/>
              </a:solidFill>
            </a:rPr>
          </a:br>
          <a:r>
            <a:rPr lang="de-DE" sz="1800" kern="1200" dirty="0">
              <a:solidFill>
                <a:schemeClr val="tx1"/>
              </a:solidFill>
            </a:rPr>
            <a:t>renants</a:t>
          </a:r>
          <a:endParaRPr lang="en-US" sz="1800" kern="1200" dirty="0">
            <a:solidFill>
              <a:schemeClr val="tx1"/>
            </a:solidFill>
          </a:endParaRPr>
        </a:p>
      </dsp:txBody>
      <dsp:txXfrm>
        <a:off x="5073172" y="2206786"/>
        <a:ext cx="1679096" cy="1443509"/>
      </dsp:txXfrm>
    </dsp:sp>
    <dsp:sp modelId="{51493DE2-7D45-4F5A-8B41-316960F4B8C3}">
      <dsp:nvSpPr>
        <dsp:cNvPr id="0" name=""/>
        <dsp:cNvSpPr/>
      </dsp:nvSpPr>
      <dsp:spPr>
        <a:xfrm>
          <a:off x="1399192" y="946540"/>
          <a:ext cx="2042378" cy="2042378"/>
        </a:xfrm>
        <a:prstGeom prst="gear6">
          <a:avLst/>
        </a:prstGeom>
        <a:solidFill>
          <a:srgbClr val="66667E"/>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100000"/>
            </a:lnSpc>
            <a:spcBef>
              <a:spcPct val="0"/>
            </a:spcBef>
            <a:spcAft>
              <a:spcPts val="0"/>
            </a:spcAft>
            <a:buNone/>
          </a:pPr>
          <a:r>
            <a:rPr lang="de-DE" sz="1800" kern="1200" dirty="0">
              <a:solidFill>
                <a:schemeClr val="tx1"/>
              </a:solidFill>
            </a:rPr>
            <a:t>Lorem</a:t>
          </a:r>
          <a:endParaRPr lang="en-US" sz="1800" kern="1200" dirty="0">
            <a:solidFill>
              <a:schemeClr val="tx1"/>
            </a:solidFill>
          </a:endParaRPr>
        </a:p>
      </dsp:txBody>
      <dsp:txXfrm>
        <a:off x="1913367" y="1463822"/>
        <a:ext cx="1014028" cy="1007814"/>
      </dsp:txXfrm>
    </dsp:sp>
    <dsp:sp modelId="{C570D3DC-65AE-442B-836D-BB4C58F20D4A}">
      <dsp:nvSpPr>
        <dsp:cNvPr id="0" name=""/>
        <dsp:cNvSpPr/>
      </dsp:nvSpPr>
      <dsp:spPr>
        <a:xfrm rot="20700000">
          <a:off x="3299678" y="224870"/>
          <a:ext cx="2001113" cy="2001113"/>
        </a:xfrm>
        <a:prstGeom prst="gear6">
          <a:avLst/>
        </a:prstGeom>
        <a:solidFill>
          <a:srgbClr val="CCCCD4"/>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100000"/>
            </a:lnSpc>
            <a:spcBef>
              <a:spcPct val="0"/>
            </a:spcBef>
            <a:spcAft>
              <a:spcPts val="0"/>
            </a:spcAft>
            <a:buNone/>
          </a:pPr>
          <a:r>
            <a:rPr lang="de-DE" sz="1800" kern="1200" dirty="0">
              <a:solidFill>
                <a:schemeClr val="bg2"/>
              </a:solidFill>
            </a:rPr>
            <a:t>Ipsum dolore</a:t>
          </a:r>
          <a:endParaRPr lang="en-US" sz="1800" kern="1200" dirty="0">
            <a:solidFill>
              <a:schemeClr val="bg2"/>
            </a:solidFill>
          </a:endParaRPr>
        </a:p>
      </dsp:txBody>
      <dsp:txXfrm rot="-20700000">
        <a:off x="3738581" y="663772"/>
        <a:ext cx="1123308" cy="1123308"/>
      </dsp:txXfrm>
    </dsp:sp>
    <dsp:sp modelId="{974C2129-6F71-435E-9714-7C94F7B9B864}">
      <dsp:nvSpPr>
        <dsp:cNvPr id="0" name=""/>
        <dsp:cNvSpPr/>
      </dsp:nvSpPr>
      <dsp:spPr>
        <a:xfrm rot="18490308" flipV="1">
          <a:off x="4014884" y="967858"/>
          <a:ext cx="3882440" cy="4026439"/>
        </a:xfrm>
        <a:prstGeom prst="circularArrow">
          <a:avLst>
            <a:gd name="adj1" fmla="val 4687"/>
            <a:gd name="adj2" fmla="val 299029"/>
            <a:gd name="adj3" fmla="val 2534345"/>
            <a:gd name="adj4" fmla="val 15822655"/>
            <a:gd name="adj5" fmla="val 5469"/>
          </a:avLst>
        </a:prstGeom>
        <a:gradFill rotWithShape="0">
          <a:gsLst>
            <a:gs pos="0">
              <a:srgbClr val="00FFB9"/>
            </a:gs>
            <a:gs pos="100000">
              <a:srgbClr val="00E6DC"/>
            </a:gs>
          </a:gsLst>
          <a:lin ang="0" scaled="0"/>
        </a:gradFill>
        <a:ln>
          <a:noFill/>
        </a:ln>
        <a:effectLst/>
      </dsp:spPr>
      <dsp:style>
        <a:lnRef idx="0">
          <a:scrgbClr r="0" g="0" b="0"/>
        </a:lnRef>
        <a:fillRef idx="1">
          <a:scrgbClr r="0" g="0" b="0"/>
        </a:fillRef>
        <a:effectRef idx="0">
          <a:scrgbClr r="0" g="0" b="0"/>
        </a:effectRef>
        <a:fontRef idx="minor">
          <a:schemeClr val="lt1"/>
        </a:fontRef>
      </dsp:style>
    </dsp:sp>
    <dsp:sp modelId="{9EC2936E-B971-4698-B9D8-CD79BEF5A4B8}">
      <dsp:nvSpPr>
        <dsp:cNvPr id="0" name=""/>
        <dsp:cNvSpPr/>
      </dsp:nvSpPr>
      <dsp:spPr>
        <a:xfrm rot="18900000">
          <a:off x="930623" y="842983"/>
          <a:ext cx="2611691" cy="2611691"/>
        </a:xfrm>
        <a:prstGeom prst="leftCircularArrow">
          <a:avLst>
            <a:gd name="adj1" fmla="val 6452"/>
            <a:gd name="adj2" fmla="val 429999"/>
            <a:gd name="adj3" fmla="val 10489124"/>
            <a:gd name="adj4" fmla="val 14837806"/>
            <a:gd name="adj5" fmla="val 7527"/>
          </a:avLst>
        </a:prstGeom>
        <a:gradFill rotWithShape="0">
          <a:gsLst>
            <a:gs pos="0">
              <a:srgbClr val="00FFB9"/>
            </a:gs>
            <a:gs pos="100000">
              <a:srgbClr val="00E6DC"/>
            </a:gs>
          </a:gsLst>
          <a:lin ang="0" scaled="0"/>
        </a:gradFill>
        <a:ln>
          <a:noFill/>
        </a:ln>
        <a:effectLst/>
      </dsp:spPr>
      <dsp:style>
        <a:lnRef idx="0">
          <a:scrgbClr r="0" g="0" b="0"/>
        </a:lnRef>
        <a:fillRef idx="1">
          <a:scrgbClr r="0" g="0" b="0"/>
        </a:fillRef>
        <a:effectRef idx="0">
          <a:scrgbClr r="0" g="0" b="0"/>
        </a:effectRef>
        <a:fontRef idx="minor">
          <a:schemeClr val="lt1"/>
        </a:fontRef>
      </dsp:style>
    </dsp:sp>
    <dsp:sp modelId="{CE3628BB-654B-4A22-BC70-3F5E077F6191}">
      <dsp:nvSpPr>
        <dsp:cNvPr id="0" name=""/>
        <dsp:cNvSpPr/>
      </dsp:nvSpPr>
      <dsp:spPr>
        <a:xfrm rot="3600000">
          <a:off x="2848341" y="-217445"/>
          <a:ext cx="2815929" cy="2815929"/>
        </a:xfrm>
        <a:prstGeom prst="circularArrow">
          <a:avLst>
            <a:gd name="adj1" fmla="val 5984"/>
            <a:gd name="adj2" fmla="val 394124"/>
            <a:gd name="adj3" fmla="val 13313824"/>
            <a:gd name="adj4" fmla="val 10508221"/>
            <a:gd name="adj5" fmla="val 6981"/>
          </a:avLst>
        </a:prstGeom>
        <a:gradFill rotWithShape="0">
          <a:gsLst>
            <a:gs pos="0">
              <a:srgbClr val="00FFB9"/>
            </a:gs>
            <a:gs pos="100000">
              <a:srgbClr val="00E6DC"/>
            </a:gs>
          </a:gsLst>
          <a:lin ang="0" scaled="0"/>
        </a:gra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a:extLst>
              <a:ext uri="{FF2B5EF4-FFF2-40B4-BE49-F238E27FC236}">
                <a16:creationId xmlns:a16="http://schemas.microsoft.com/office/drawing/2014/main" id="{9A8492AF-21D1-4EA9-B88E-2B2469E5B0BF}"/>
              </a:ext>
            </a:extLst>
          </p:cNvPr>
          <p:cNvSpPr>
            <a:spLocks noGrp="1"/>
          </p:cNvSpPr>
          <p:nvPr>
            <p:ph type="hdr" sz="quarter"/>
          </p:nvPr>
        </p:nvSpPr>
        <p:spPr>
          <a:xfrm>
            <a:off x="0" y="0"/>
            <a:ext cx="4363200" cy="360000"/>
          </a:xfrm>
          <a:prstGeom prst="rect">
            <a:avLst/>
          </a:prstGeom>
        </p:spPr>
        <p:txBody>
          <a:bodyPr vert="horz" lIns="91440" tIns="45720" rIns="91440" bIns="45720" rtlCol="0"/>
          <a:lstStyle>
            <a:lvl1pPr algn="l">
              <a:defRPr sz="1200"/>
            </a:lvl1pPr>
          </a:lstStyle>
          <a:p>
            <a:endParaRPr lang="en-US" sz="1050" b="1" dirty="0"/>
          </a:p>
        </p:txBody>
      </p:sp>
      <p:sp>
        <p:nvSpPr>
          <p:cNvPr id="3" name="Date">
            <a:extLst>
              <a:ext uri="{FF2B5EF4-FFF2-40B4-BE49-F238E27FC236}">
                <a16:creationId xmlns:a16="http://schemas.microsoft.com/office/drawing/2014/main" id="{F2C5CF11-9AB8-4366-83D6-4A911EAE67AA}"/>
              </a:ext>
            </a:extLst>
          </p:cNvPr>
          <p:cNvSpPr>
            <a:spLocks noGrp="1"/>
          </p:cNvSpPr>
          <p:nvPr>
            <p:ph type="dt" sz="quarter" idx="1"/>
          </p:nvPr>
        </p:nvSpPr>
        <p:spPr>
          <a:xfrm>
            <a:off x="5086800" y="0"/>
            <a:ext cx="1771200" cy="360000"/>
          </a:xfrm>
          <a:prstGeom prst="rect">
            <a:avLst/>
          </a:prstGeom>
        </p:spPr>
        <p:txBody>
          <a:bodyPr vert="horz" lIns="91440" tIns="45720" rIns="91440" bIns="45720" rtlCol="0"/>
          <a:lstStyle>
            <a:lvl1pPr algn="r">
              <a:defRPr sz="1200"/>
            </a:lvl1pPr>
          </a:lstStyle>
          <a:p>
            <a:fld id="{FEF1F2B9-B350-4061-A6D1-2A3340A8623F}" type="datetimeFigureOut">
              <a:rPr lang="en-US" sz="1050" smtClean="0"/>
              <a:t>8/29/2022</a:t>
            </a:fld>
            <a:endParaRPr lang="en-US" sz="1050" dirty="0"/>
          </a:p>
        </p:txBody>
      </p:sp>
      <p:sp>
        <p:nvSpPr>
          <p:cNvPr id="4" name="Footer Placeholder">
            <a:extLst>
              <a:ext uri="{FF2B5EF4-FFF2-40B4-BE49-F238E27FC236}">
                <a16:creationId xmlns:a16="http://schemas.microsoft.com/office/drawing/2014/main" id="{9797856F-D8D3-4EDB-AD63-B3F84321424C}"/>
              </a:ext>
            </a:extLst>
          </p:cNvPr>
          <p:cNvSpPr>
            <a:spLocks noGrp="1"/>
          </p:cNvSpPr>
          <p:nvPr>
            <p:ph type="ftr" sz="quarter" idx="2"/>
          </p:nvPr>
        </p:nvSpPr>
        <p:spPr>
          <a:xfrm>
            <a:off x="0" y="8784000"/>
            <a:ext cx="4363200" cy="360000"/>
          </a:xfrm>
          <a:prstGeom prst="rect">
            <a:avLst/>
          </a:prstGeom>
        </p:spPr>
        <p:txBody>
          <a:bodyPr vert="horz" lIns="91440" tIns="45720" rIns="91440" bIns="45720" rtlCol="0" anchor="b"/>
          <a:lstStyle>
            <a:lvl1pPr algn="l">
              <a:defRPr sz="1200"/>
            </a:lvl1pPr>
          </a:lstStyle>
          <a:p>
            <a:endParaRPr lang="en-US" sz="1050" dirty="0"/>
          </a:p>
        </p:txBody>
      </p:sp>
      <p:sp>
        <p:nvSpPr>
          <p:cNvPr id="5" name="Slide Number Placeholder">
            <a:extLst>
              <a:ext uri="{FF2B5EF4-FFF2-40B4-BE49-F238E27FC236}">
                <a16:creationId xmlns:a16="http://schemas.microsoft.com/office/drawing/2014/main" id="{DA566997-7A2F-418F-AC55-BAC678F9F134}"/>
              </a:ext>
            </a:extLst>
          </p:cNvPr>
          <p:cNvSpPr>
            <a:spLocks noGrp="1"/>
          </p:cNvSpPr>
          <p:nvPr>
            <p:ph type="sldNum" sz="quarter" idx="3"/>
          </p:nvPr>
        </p:nvSpPr>
        <p:spPr>
          <a:xfrm>
            <a:off x="5086800" y="8784000"/>
            <a:ext cx="1771200" cy="360000"/>
          </a:xfrm>
          <a:prstGeom prst="rect">
            <a:avLst/>
          </a:prstGeom>
        </p:spPr>
        <p:txBody>
          <a:bodyPr vert="horz" lIns="91440" tIns="45720" rIns="91440" bIns="45720" rtlCol="0" anchor="b"/>
          <a:lstStyle>
            <a:lvl1pPr algn="r">
              <a:defRPr sz="1200"/>
            </a:lvl1pPr>
          </a:lstStyle>
          <a:p>
            <a:r>
              <a:rPr lang="en-US" sz="1050" b="1" dirty="0">
                <a:solidFill>
                  <a:schemeClr val="accent2"/>
                </a:solidFill>
              </a:rPr>
              <a:t>Hand out</a:t>
            </a:r>
            <a:r>
              <a:rPr lang="en-US" sz="1050" dirty="0">
                <a:solidFill>
                  <a:schemeClr val="accent2"/>
                </a:solidFill>
              </a:rPr>
              <a:t> </a:t>
            </a:r>
            <a:fld id="{C92BABF8-1341-4DCB-864A-D83C08BEEAE4}" type="slidenum">
              <a:rPr lang="en-US" sz="1050" smtClean="0"/>
              <a:t>‹Nr.›</a:t>
            </a:fld>
            <a:endParaRPr lang="en-US" sz="1050" dirty="0"/>
          </a:p>
        </p:txBody>
      </p:sp>
      <p:pic>
        <p:nvPicPr>
          <p:cNvPr id="6" name="Siemens logo">
            <a:extLst>
              <a:ext uri="{FF2B5EF4-FFF2-40B4-BE49-F238E27FC236}">
                <a16:creationId xmlns:a16="http://schemas.microsoft.com/office/drawing/2014/main" id="{C5A460D9-E760-498F-8A06-286EB0B001C9}"/>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853000" y="550800"/>
            <a:ext cx="1152000" cy="183168"/>
          </a:xfrm>
          <a:prstGeom prst="rect">
            <a:avLst/>
          </a:prstGeom>
        </p:spPr>
      </p:pic>
    </p:spTree>
    <p:extLst>
      <p:ext uri="{BB962C8B-B14F-4D97-AF65-F5344CB8AC3E}">
        <p14:creationId xmlns:p14="http://schemas.microsoft.com/office/powerpoint/2010/main" val="13597834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p:cNvSpPr>
            <a:spLocks noGrp="1"/>
          </p:cNvSpPr>
          <p:nvPr>
            <p:ph type="hdr" sz="quarter"/>
          </p:nvPr>
        </p:nvSpPr>
        <p:spPr>
          <a:xfrm>
            <a:off x="0" y="0"/>
            <a:ext cx="4363200" cy="360000"/>
          </a:xfrm>
          <a:prstGeom prst="rect">
            <a:avLst/>
          </a:prstGeom>
        </p:spPr>
        <p:txBody>
          <a:bodyPr vert="horz" lIns="91440" tIns="45720" rIns="91440" bIns="45720" rtlCol="0"/>
          <a:lstStyle>
            <a:lvl1pPr algn="l">
              <a:defRPr sz="1050" b="1"/>
            </a:lvl1pPr>
          </a:lstStyle>
          <a:p>
            <a:endParaRPr lang="en-US" dirty="0"/>
          </a:p>
        </p:txBody>
      </p:sp>
      <p:sp>
        <p:nvSpPr>
          <p:cNvPr id="3" name="Date"/>
          <p:cNvSpPr>
            <a:spLocks noGrp="1"/>
          </p:cNvSpPr>
          <p:nvPr>
            <p:ph type="dt" idx="1"/>
          </p:nvPr>
        </p:nvSpPr>
        <p:spPr>
          <a:xfrm>
            <a:off x="5086800" y="0"/>
            <a:ext cx="1771200" cy="360000"/>
          </a:xfrm>
          <a:prstGeom prst="rect">
            <a:avLst/>
          </a:prstGeom>
        </p:spPr>
        <p:txBody>
          <a:bodyPr vert="horz" lIns="91440" tIns="45720" rIns="91440" bIns="45720" rtlCol="0"/>
          <a:lstStyle>
            <a:lvl1pPr algn="r">
              <a:defRPr sz="1050"/>
            </a:lvl1pPr>
          </a:lstStyle>
          <a:p>
            <a:fld id="{76FBC1AF-E4C9-412F-9B6D-66CD520F95DB}" type="datetimeFigureOut">
              <a:rPr lang="en-US" smtClean="0"/>
              <a:pPr/>
              <a:t>8/29/2022</a:t>
            </a:fld>
            <a:endParaRPr lang="en-US" dirty="0"/>
          </a:p>
        </p:txBody>
      </p:sp>
      <p:sp>
        <p:nvSpPr>
          <p:cNvPr id="4" name="Slide Image Placeholder"/>
          <p:cNvSpPr>
            <a:spLocks noGrp="1" noRot="1" noChangeAspect="1"/>
          </p:cNvSpPr>
          <p:nvPr>
            <p:ph type="sldImg" idx="2"/>
          </p:nvPr>
        </p:nvSpPr>
        <p:spPr>
          <a:xfrm>
            <a:off x="406800" y="619200"/>
            <a:ext cx="6048000" cy="3402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p:cNvSpPr>
            <a:spLocks noGrp="1"/>
          </p:cNvSpPr>
          <p:nvPr>
            <p:ph type="body" sz="quarter" idx="3"/>
          </p:nvPr>
        </p:nvSpPr>
        <p:spPr>
          <a:xfrm>
            <a:off x="406800" y="4575600"/>
            <a:ext cx="6048000" cy="396000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 level</a:t>
            </a:r>
          </a:p>
          <a:p>
            <a:pPr lvl="8"/>
            <a:r>
              <a:rPr lang="en-US" dirty="0"/>
              <a:t>Ninth level</a:t>
            </a:r>
          </a:p>
        </p:txBody>
      </p:sp>
      <p:sp>
        <p:nvSpPr>
          <p:cNvPr id="6" name="Footer Placeholder"/>
          <p:cNvSpPr>
            <a:spLocks noGrp="1"/>
          </p:cNvSpPr>
          <p:nvPr>
            <p:ph type="ftr" sz="quarter" idx="4"/>
          </p:nvPr>
        </p:nvSpPr>
        <p:spPr>
          <a:xfrm>
            <a:off x="0" y="8784000"/>
            <a:ext cx="4363200" cy="360000"/>
          </a:xfrm>
          <a:prstGeom prst="rect">
            <a:avLst/>
          </a:prstGeom>
        </p:spPr>
        <p:txBody>
          <a:bodyPr vert="horz" lIns="91440" tIns="45720" rIns="91440" bIns="45720" rtlCol="0" anchor="b"/>
          <a:lstStyle>
            <a:lvl1pPr algn="l">
              <a:defRPr sz="1050"/>
            </a:lvl1pPr>
          </a:lstStyle>
          <a:p>
            <a:endParaRPr lang="en-US" dirty="0"/>
          </a:p>
        </p:txBody>
      </p:sp>
      <p:sp>
        <p:nvSpPr>
          <p:cNvPr id="7" name="Slide Number Placeholder"/>
          <p:cNvSpPr>
            <a:spLocks noGrp="1"/>
          </p:cNvSpPr>
          <p:nvPr>
            <p:ph type="sldNum" sz="quarter" idx="5"/>
          </p:nvPr>
        </p:nvSpPr>
        <p:spPr>
          <a:xfrm>
            <a:off x="5086800" y="8784000"/>
            <a:ext cx="1771200" cy="360000"/>
          </a:xfrm>
          <a:prstGeom prst="rect">
            <a:avLst/>
          </a:prstGeom>
        </p:spPr>
        <p:txBody>
          <a:bodyPr vert="horz" lIns="91440" tIns="45720" rIns="91440" bIns="45720" rtlCol="0" anchor="b"/>
          <a:lstStyle>
            <a:lvl1pPr algn="r">
              <a:defRPr sz="1050"/>
            </a:lvl1pPr>
          </a:lstStyle>
          <a:p>
            <a:r>
              <a:rPr lang="en-US" b="1" dirty="0">
                <a:solidFill>
                  <a:schemeClr val="accent2"/>
                </a:solidFill>
              </a:rPr>
              <a:t>Notes</a:t>
            </a:r>
            <a:r>
              <a:rPr lang="en-US" dirty="0"/>
              <a:t> </a:t>
            </a:r>
            <a:fld id="{E76C657F-0E32-4130-ADDA-66B81138A76A}" type="slidenum">
              <a:rPr lang="en-US" smtClean="0"/>
              <a:pPr/>
              <a:t>‹Nr.›</a:t>
            </a:fld>
            <a:endParaRPr lang="en-US" dirty="0"/>
          </a:p>
        </p:txBody>
      </p:sp>
    </p:spTree>
    <p:extLst>
      <p:ext uri="{BB962C8B-B14F-4D97-AF65-F5344CB8AC3E}">
        <p14:creationId xmlns:p14="http://schemas.microsoft.com/office/powerpoint/2010/main" val="527306072"/>
      </p:ext>
    </p:extLst>
  </p:cSld>
  <p:clrMap bg1="lt1" tx1="dk1" bg2="lt2" tx2="dk2" accent1="accent1" accent2="accent2" accent3="accent3" accent4="accent4" accent5="accent5" accent6="accent6" hlink="hlink" folHlink="folHlink"/>
  <p:notesStyle>
    <a:lvl1pPr marL="0" algn="l" defTabSz="914400" rtl="0" eaLnBrk="1" latinLnBrk="0" hangingPunct="1">
      <a:spcAft>
        <a:spcPts val="600"/>
      </a:spcAft>
      <a:defRPr sz="1200" kern="1200">
        <a:solidFill>
          <a:schemeClr val="tx1"/>
        </a:solidFill>
        <a:latin typeface="+mn-lt"/>
        <a:ea typeface="+mn-ea"/>
        <a:cs typeface="+mn-cs"/>
      </a:defRPr>
    </a:lvl1pPr>
    <a:lvl2pPr marL="144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88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3pPr>
    <a:lvl4pPr marL="432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576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5pPr>
    <a:lvl6pPr marL="720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6pPr>
    <a:lvl7pPr marL="864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7pPr>
    <a:lvl8pPr marL="1008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8pPr>
    <a:lvl9pPr marL="1152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pPr/>
              <a:t>2</a:t>
            </a:fld>
            <a:endParaRPr lang="en-US" dirty="0"/>
          </a:p>
        </p:txBody>
      </p:sp>
    </p:spTree>
    <p:extLst>
      <p:ext uri="{BB962C8B-B14F-4D97-AF65-F5344CB8AC3E}">
        <p14:creationId xmlns:p14="http://schemas.microsoft.com/office/powerpoint/2010/main" val="31853527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18</a:t>
            </a:fld>
            <a:endParaRPr lang="de-DE" dirty="0">
              <a:latin typeface="Arial" pitchFamily="34" charset="0"/>
            </a:endParaRPr>
          </a:p>
        </p:txBody>
      </p:sp>
    </p:spTree>
    <p:extLst>
      <p:ext uri="{BB962C8B-B14F-4D97-AF65-F5344CB8AC3E}">
        <p14:creationId xmlns:p14="http://schemas.microsoft.com/office/powerpoint/2010/main" val="19889673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19</a:t>
            </a:fld>
            <a:endParaRPr lang="de-DE" dirty="0">
              <a:latin typeface="Arial" pitchFamily="34" charset="0"/>
            </a:endParaRPr>
          </a:p>
        </p:txBody>
      </p:sp>
    </p:spTree>
    <p:extLst>
      <p:ext uri="{BB962C8B-B14F-4D97-AF65-F5344CB8AC3E}">
        <p14:creationId xmlns:p14="http://schemas.microsoft.com/office/powerpoint/2010/main" val="17138668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24</a:t>
            </a:fld>
            <a:endParaRPr lang="de-DE" dirty="0">
              <a:latin typeface="Arial" pitchFamily="34" charset="0"/>
            </a:endParaRPr>
          </a:p>
        </p:txBody>
      </p:sp>
    </p:spTree>
    <p:extLst>
      <p:ext uri="{BB962C8B-B14F-4D97-AF65-F5344CB8AC3E}">
        <p14:creationId xmlns:p14="http://schemas.microsoft.com/office/powerpoint/2010/main" val="5876211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25</a:t>
            </a:fld>
            <a:endParaRPr lang="de-DE" dirty="0">
              <a:latin typeface="Arial" pitchFamily="34" charset="0"/>
            </a:endParaRPr>
          </a:p>
        </p:txBody>
      </p:sp>
    </p:spTree>
    <p:extLst>
      <p:ext uri="{BB962C8B-B14F-4D97-AF65-F5344CB8AC3E}">
        <p14:creationId xmlns:p14="http://schemas.microsoft.com/office/powerpoint/2010/main" val="17723341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r>
              <a:rPr lang="en-US" b="1" dirty="0"/>
              <a:t>Key findings</a:t>
            </a:r>
          </a:p>
          <a:p>
            <a:pPr marL="171450" indent="-171450">
              <a:buFont typeface="Arial" panose="020B0604020202020204" pitchFamily="34" charset="0"/>
              <a:buChar char="•"/>
            </a:pPr>
            <a:r>
              <a:rPr lang="en-US" b="0" dirty="0"/>
              <a:t>Floating Panel design is more on brand</a:t>
            </a:r>
          </a:p>
          <a:p>
            <a:pPr marL="171450" indent="-171450">
              <a:buFont typeface="Arial" panose="020B0604020202020204" pitchFamily="34" charset="0"/>
              <a:buChar char="•"/>
            </a:pPr>
            <a:r>
              <a:rPr lang="en-US" b="0" dirty="0"/>
              <a:t>Right angle lines reflect the Floating Panel style </a:t>
            </a:r>
          </a:p>
          <a:p>
            <a:pPr marL="171450" indent="-171450">
              <a:buFont typeface="Arial" panose="020B0604020202020204" pitchFamily="34" charset="0"/>
              <a:buChar char="•"/>
            </a:pPr>
            <a:endParaRPr lang="en-US" b="0" dirty="0"/>
          </a:p>
          <a:p>
            <a:endParaRPr lang="en-US" dirty="0"/>
          </a:p>
        </p:txBody>
      </p:sp>
      <p:sp>
        <p:nvSpPr>
          <p:cNvPr id="4" name="Slide Number Placehold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32</a:t>
            </a:fld>
            <a:endParaRPr lang="de-DE" dirty="0">
              <a:latin typeface="Arial" pitchFamily="34" charset="0"/>
            </a:endParaRPr>
          </a:p>
        </p:txBody>
      </p:sp>
    </p:spTree>
    <p:extLst>
      <p:ext uri="{BB962C8B-B14F-4D97-AF65-F5344CB8AC3E}">
        <p14:creationId xmlns:p14="http://schemas.microsoft.com/office/powerpoint/2010/main" val="23742641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r>
              <a:rPr lang="en-US" b="1" dirty="0"/>
              <a:t>Key findings</a:t>
            </a:r>
          </a:p>
          <a:p>
            <a:pPr marL="171450" indent="-171450">
              <a:buFont typeface="Arial" panose="020B0604020202020204" pitchFamily="34" charset="0"/>
              <a:buChar char="•"/>
            </a:pPr>
            <a:r>
              <a:rPr lang="en-US" b="0" dirty="0"/>
              <a:t>Floating Panel design is more on brand</a:t>
            </a:r>
          </a:p>
          <a:p>
            <a:pPr marL="171450" indent="-171450">
              <a:buFont typeface="Arial" panose="020B0604020202020204" pitchFamily="34" charset="0"/>
              <a:buChar char="•"/>
            </a:pPr>
            <a:r>
              <a:rPr lang="en-US" b="0" dirty="0"/>
              <a:t>Right angle lines reflect the Floating Panel style </a:t>
            </a:r>
          </a:p>
          <a:p>
            <a:pPr marL="171450" indent="-171450">
              <a:buFont typeface="Arial" panose="020B0604020202020204" pitchFamily="34" charset="0"/>
              <a:buChar char="•"/>
            </a:pPr>
            <a:endParaRPr lang="en-US" b="0" dirty="0"/>
          </a:p>
          <a:p>
            <a:endParaRPr lang="en-US" dirty="0"/>
          </a:p>
        </p:txBody>
      </p:sp>
      <p:sp>
        <p:nvSpPr>
          <p:cNvPr id="4" name="Slide Number Placehold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33</a:t>
            </a:fld>
            <a:endParaRPr lang="de-DE" dirty="0">
              <a:latin typeface="Arial" pitchFamily="34" charset="0"/>
            </a:endParaRPr>
          </a:p>
        </p:txBody>
      </p:sp>
    </p:spTree>
    <p:extLst>
      <p:ext uri="{BB962C8B-B14F-4D97-AF65-F5344CB8AC3E}">
        <p14:creationId xmlns:p14="http://schemas.microsoft.com/office/powerpoint/2010/main" val="3371169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r>
              <a:rPr lang="en-US" b="1" dirty="0"/>
              <a:t>Key findings</a:t>
            </a:r>
          </a:p>
          <a:p>
            <a:pPr marL="171450" indent="-171450">
              <a:buFont typeface="Arial" panose="020B0604020202020204" pitchFamily="34" charset="0"/>
              <a:buChar char="•"/>
            </a:pPr>
            <a:r>
              <a:rPr lang="en-US" b="0" dirty="0"/>
              <a:t>Floating Panel design is more on brand</a:t>
            </a:r>
          </a:p>
          <a:p>
            <a:pPr marL="171450" indent="-171450">
              <a:buFont typeface="Arial" panose="020B0604020202020204" pitchFamily="34" charset="0"/>
              <a:buChar char="•"/>
            </a:pPr>
            <a:r>
              <a:rPr lang="en-US" b="0" dirty="0"/>
              <a:t>Right angle lines reflect the Floating Panel style </a:t>
            </a:r>
          </a:p>
          <a:p>
            <a:pPr marL="171450" indent="-171450">
              <a:buFont typeface="Arial" panose="020B0604020202020204" pitchFamily="34" charset="0"/>
              <a:buChar char="•"/>
            </a:pPr>
            <a:endParaRPr lang="en-US" b="0" dirty="0"/>
          </a:p>
          <a:p>
            <a:endParaRPr lang="en-US" dirty="0"/>
          </a:p>
        </p:txBody>
      </p:sp>
      <p:sp>
        <p:nvSpPr>
          <p:cNvPr id="4" name="Slide Number Placehold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34</a:t>
            </a:fld>
            <a:endParaRPr lang="de-DE" dirty="0">
              <a:latin typeface="Arial" pitchFamily="34" charset="0"/>
            </a:endParaRPr>
          </a:p>
        </p:txBody>
      </p:sp>
    </p:spTree>
    <p:extLst>
      <p:ext uri="{BB962C8B-B14F-4D97-AF65-F5344CB8AC3E}">
        <p14:creationId xmlns:p14="http://schemas.microsoft.com/office/powerpoint/2010/main" val="18179131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r>
              <a:rPr lang="en-US" b="1" dirty="0"/>
              <a:t>Key findings</a:t>
            </a:r>
          </a:p>
          <a:p>
            <a:pPr marL="171450" indent="-171450">
              <a:buFont typeface="Arial" panose="020B0604020202020204" pitchFamily="34" charset="0"/>
              <a:buChar char="•"/>
            </a:pPr>
            <a:r>
              <a:rPr lang="en-US" b="0" dirty="0"/>
              <a:t>Floating Panel design is more on brand</a:t>
            </a:r>
          </a:p>
          <a:p>
            <a:pPr marL="171450" indent="-171450">
              <a:buFont typeface="Arial" panose="020B0604020202020204" pitchFamily="34" charset="0"/>
              <a:buChar char="•"/>
            </a:pPr>
            <a:r>
              <a:rPr lang="en-US" b="0" dirty="0"/>
              <a:t>Right angle lines reflect the Floating Panel style </a:t>
            </a:r>
          </a:p>
          <a:p>
            <a:pPr marL="171450" indent="-171450">
              <a:buFont typeface="Arial" panose="020B0604020202020204" pitchFamily="34" charset="0"/>
              <a:buChar char="•"/>
            </a:pPr>
            <a:endParaRPr lang="en-US" b="0" dirty="0"/>
          </a:p>
          <a:p>
            <a:endParaRPr lang="en-US" dirty="0"/>
          </a:p>
        </p:txBody>
      </p:sp>
      <p:sp>
        <p:nvSpPr>
          <p:cNvPr id="4" name="Slide Number Placehold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35</a:t>
            </a:fld>
            <a:endParaRPr lang="de-DE" dirty="0">
              <a:latin typeface="Arial" pitchFamily="34" charset="0"/>
            </a:endParaRPr>
          </a:p>
        </p:txBody>
      </p:sp>
    </p:spTree>
    <p:extLst>
      <p:ext uri="{BB962C8B-B14F-4D97-AF65-F5344CB8AC3E}">
        <p14:creationId xmlns:p14="http://schemas.microsoft.com/office/powerpoint/2010/main" val="17412652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pPr/>
              <a:t>40</a:t>
            </a:fld>
            <a:endParaRPr lang="en-US" dirty="0"/>
          </a:p>
        </p:txBody>
      </p:sp>
    </p:spTree>
    <p:extLst>
      <p:ext uri="{BB962C8B-B14F-4D97-AF65-F5344CB8AC3E}">
        <p14:creationId xmlns:p14="http://schemas.microsoft.com/office/powerpoint/2010/main" val="37938258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pPr/>
              <a:t>41</a:t>
            </a:fld>
            <a:endParaRPr lang="en-US" dirty="0"/>
          </a:p>
        </p:txBody>
      </p:sp>
    </p:spTree>
    <p:extLst>
      <p:ext uri="{BB962C8B-B14F-4D97-AF65-F5344CB8AC3E}">
        <p14:creationId xmlns:p14="http://schemas.microsoft.com/office/powerpoint/2010/main" val="839141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2413" y="739775"/>
            <a:ext cx="6337300" cy="3563938"/>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r>
              <a:rPr dirty="0"/>
              <a:t>Notice </a:t>
            </a:r>
            <a:fld id="{BAE73B1B-6614-4DC3-8344-764940825F29}" type="slidenum">
              <a:rPr lang="en-US" smtClean="0"/>
              <a:pPr/>
              <a:t>5</a:t>
            </a:fld>
            <a:endParaRPr lang="en-US" dirty="0"/>
          </a:p>
        </p:txBody>
      </p:sp>
    </p:spTree>
    <p:extLst>
      <p:ext uri="{BB962C8B-B14F-4D97-AF65-F5344CB8AC3E}">
        <p14:creationId xmlns:p14="http://schemas.microsoft.com/office/powerpoint/2010/main" val="25341864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514" name="Rectangle 7"/>
          <p:cNvSpPr>
            <a:spLocks noGrp="1" noChangeArrowheads="1"/>
          </p:cNvSpPr>
          <p:nvPr>
            <p:ph type="sldNum" sz="quarter" idx="5"/>
          </p:nvPr>
        </p:nvSpPr>
        <p:spPr>
          <a:noFill/>
        </p:spPr>
        <p:txBody>
          <a:bodyPr/>
          <a:lstStyle>
            <a:lvl1pPr algn="l" eaLnBrk="0" hangingPunct="0">
              <a:spcBef>
                <a:spcPct val="30000"/>
              </a:spcBef>
              <a:defRPr sz="1200">
                <a:solidFill>
                  <a:schemeClr val="tx1"/>
                </a:solidFill>
                <a:latin typeface="Arial" charset="0"/>
              </a:defRPr>
            </a:lvl1pPr>
            <a:lvl2pPr marL="765778" indent="-294530" algn="l" eaLnBrk="0" hangingPunct="0">
              <a:spcBef>
                <a:spcPct val="30000"/>
              </a:spcBef>
              <a:defRPr sz="1200">
                <a:solidFill>
                  <a:schemeClr val="tx1"/>
                </a:solidFill>
                <a:latin typeface="Arial" charset="0"/>
              </a:defRPr>
            </a:lvl2pPr>
            <a:lvl3pPr marL="1178121" indent="-235624" algn="l" eaLnBrk="0" hangingPunct="0">
              <a:spcBef>
                <a:spcPct val="30000"/>
              </a:spcBef>
              <a:defRPr sz="1200">
                <a:solidFill>
                  <a:schemeClr val="tx1"/>
                </a:solidFill>
                <a:latin typeface="Arial" charset="0"/>
              </a:defRPr>
            </a:lvl3pPr>
            <a:lvl4pPr marL="1649369" indent="-235624" algn="l" eaLnBrk="0" hangingPunct="0">
              <a:spcBef>
                <a:spcPct val="30000"/>
              </a:spcBef>
              <a:defRPr sz="1200">
                <a:solidFill>
                  <a:schemeClr val="tx1"/>
                </a:solidFill>
                <a:latin typeface="Arial" charset="0"/>
              </a:defRPr>
            </a:lvl4pPr>
            <a:lvl5pPr marL="2120617" indent="-235624" algn="l" eaLnBrk="0" hangingPunct="0">
              <a:spcBef>
                <a:spcPct val="30000"/>
              </a:spcBef>
              <a:defRPr sz="1200">
                <a:solidFill>
                  <a:schemeClr val="tx1"/>
                </a:solidFill>
                <a:latin typeface="Arial" charset="0"/>
              </a:defRPr>
            </a:lvl5pPr>
            <a:lvl6pPr marL="2591865" indent="-235624" eaLnBrk="0" fontAlgn="base" hangingPunct="0">
              <a:spcBef>
                <a:spcPct val="30000"/>
              </a:spcBef>
              <a:spcAft>
                <a:spcPct val="0"/>
              </a:spcAft>
              <a:defRPr sz="1200">
                <a:solidFill>
                  <a:schemeClr val="tx1"/>
                </a:solidFill>
                <a:latin typeface="Arial" charset="0"/>
              </a:defRPr>
            </a:lvl6pPr>
            <a:lvl7pPr marL="3063114" indent="-235624" eaLnBrk="0" fontAlgn="base" hangingPunct="0">
              <a:spcBef>
                <a:spcPct val="30000"/>
              </a:spcBef>
              <a:spcAft>
                <a:spcPct val="0"/>
              </a:spcAft>
              <a:defRPr sz="1200">
                <a:solidFill>
                  <a:schemeClr val="tx1"/>
                </a:solidFill>
                <a:latin typeface="Arial" charset="0"/>
              </a:defRPr>
            </a:lvl7pPr>
            <a:lvl8pPr marL="3534362" indent="-235624" eaLnBrk="0" fontAlgn="base" hangingPunct="0">
              <a:spcBef>
                <a:spcPct val="30000"/>
              </a:spcBef>
              <a:spcAft>
                <a:spcPct val="0"/>
              </a:spcAft>
              <a:defRPr sz="1200">
                <a:solidFill>
                  <a:schemeClr val="tx1"/>
                </a:solidFill>
                <a:latin typeface="Arial" charset="0"/>
              </a:defRPr>
            </a:lvl8pPr>
            <a:lvl9pPr marL="4005610" indent="-235624" eaLnBrk="0" fontAlgn="base" hangingPunct="0">
              <a:spcBef>
                <a:spcPct val="30000"/>
              </a:spcBef>
              <a:spcAft>
                <a:spcPct val="0"/>
              </a:spcAft>
              <a:defRPr sz="1200">
                <a:solidFill>
                  <a:schemeClr val="tx1"/>
                </a:solidFill>
                <a:latin typeface="Arial" charset="0"/>
              </a:defRPr>
            </a:lvl9pPr>
          </a:lstStyle>
          <a:p>
            <a:pPr algn="r" eaLnBrk="1" hangingPunct="1">
              <a:spcBef>
                <a:spcPct val="0"/>
              </a:spcBef>
            </a:pPr>
            <a:fld id="{10DC7261-B29E-4370-A45F-212275620F99}" type="slidenum">
              <a:rPr lang="de-DE" altLang="de-DE" smtClean="0"/>
              <a:pPr algn="r" eaLnBrk="1" hangingPunct="1">
                <a:spcBef>
                  <a:spcPct val="0"/>
                </a:spcBef>
              </a:pPr>
              <a:t>48</a:t>
            </a:fld>
            <a:endParaRPr lang="en-US" altLang="de-DE" dirty="0"/>
          </a:p>
        </p:txBody>
      </p:sp>
      <p:sp>
        <p:nvSpPr>
          <p:cNvPr id="192515" name="Rectangle 2"/>
          <p:cNvSpPr>
            <a:spLocks noGrp="1" noRot="1" noChangeAspect="1" noChangeArrowheads="1" noTextEdit="1"/>
          </p:cNvSpPr>
          <p:nvPr>
            <p:ph type="sldImg"/>
          </p:nvPr>
        </p:nvSpPr>
        <p:spPr>
          <a:xfrm>
            <a:off x="11113" y="468313"/>
            <a:ext cx="7105650" cy="3997325"/>
          </a:xfrm>
          <a:ln/>
        </p:spPr>
      </p:sp>
      <p:sp>
        <p:nvSpPr>
          <p:cNvPr id="192516" name="Rectangle 3"/>
          <p:cNvSpPr>
            <a:spLocks noGrp="1" noChangeArrowheads="1"/>
          </p:cNvSpPr>
          <p:nvPr>
            <p:ph type="body" idx="1"/>
          </p:nvPr>
        </p:nvSpPr>
        <p:spPr>
          <a:xfrm>
            <a:off x="808533" y="4699569"/>
            <a:ext cx="5510174" cy="4779525"/>
          </a:xfrm>
          <a:noFill/>
        </p:spPr>
        <p:txBody>
          <a:bodyPr/>
          <a:lstStyle/>
          <a:p>
            <a:pPr eaLnBrk="1" hangingPunct="1"/>
            <a:endParaRPr lang="en-US" altLang="de-DE" dirty="0"/>
          </a:p>
        </p:txBody>
      </p:sp>
    </p:spTree>
    <p:extLst>
      <p:ext uri="{BB962C8B-B14F-4D97-AF65-F5344CB8AC3E}">
        <p14:creationId xmlns:p14="http://schemas.microsoft.com/office/powerpoint/2010/main" val="25809303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514" name="Rectangle 7"/>
          <p:cNvSpPr>
            <a:spLocks noGrp="1" noChangeArrowheads="1"/>
          </p:cNvSpPr>
          <p:nvPr>
            <p:ph type="sldNum" sz="quarter" idx="5"/>
          </p:nvPr>
        </p:nvSpPr>
        <p:spPr>
          <a:noFill/>
        </p:spPr>
        <p:txBody>
          <a:bodyPr/>
          <a:lstStyle>
            <a:lvl1pPr algn="l" eaLnBrk="0" hangingPunct="0">
              <a:spcBef>
                <a:spcPct val="30000"/>
              </a:spcBef>
              <a:defRPr sz="1200">
                <a:solidFill>
                  <a:schemeClr val="tx1"/>
                </a:solidFill>
                <a:latin typeface="Arial" charset="0"/>
              </a:defRPr>
            </a:lvl1pPr>
            <a:lvl2pPr marL="765778" indent="-294530" algn="l" eaLnBrk="0" hangingPunct="0">
              <a:spcBef>
                <a:spcPct val="30000"/>
              </a:spcBef>
              <a:defRPr sz="1200">
                <a:solidFill>
                  <a:schemeClr val="tx1"/>
                </a:solidFill>
                <a:latin typeface="Arial" charset="0"/>
              </a:defRPr>
            </a:lvl2pPr>
            <a:lvl3pPr marL="1178121" indent="-235624" algn="l" eaLnBrk="0" hangingPunct="0">
              <a:spcBef>
                <a:spcPct val="30000"/>
              </a:spcBef>
              <a:defRPr sz="1200">
                <a:solidFill>
                  <a:schemeClr val="tx1"/>
                </a:solidFill>
                <a:latin typeface="Arial" charset="0"/>
              </a:defRPr>
            </a:lvl3pPr>
            <a:lvl4pPr marL="1649369" indent="-235624" algn="l" eaLnBrk="0" hangingPunct="0">
              <a:spcBef>
                <a:spcPct val="30000"/>
              </a:spcBef>
              <a:defRPr sz="1200">
                <a:solidFill>
                  <a:schemeClr val="tx1"/>
                </a:solidFill>
                <a:latin typeface="Arial" charset="0"/>
              </a:defRPr>
            </a:lvl4pPr>
            <a:lvl5pPr marL="2120617" indent="-235624" algn="l" eaLnBrk="0" hangingPunct="0">
              <a:spcBef>
                <a:spcPct val="30000"/>
              </a:spcBef>
              <a:defRPr sz="1200">
                <a:solidFill>
                  <a:schemeClr val="tx1"/>
                </a:solidFill>
                <a:latin typeface="Arial" charset="0"/>
              </a:defRPr>
            </a:lvl5pPr>
            <a:lvl6pPr marL="2591865" indent="-235624" eaLnBrk="0" fontAlgn="base" hangingPunct="0">
              <a:spcBef>
                <a:spcPct val="30000"/>
              </a:spcBef>
              <a:spcAft>
                <a:spcPct val="0"/>
              </a:spcAft>
              <a:defRPr sz="1200">
                <a:solidFill>
                  <a:schemeClr val="tx1"/>
                </a:solidFill>
                <a:latin typeface="Arial" charset="0"/>
              </a:defRPr>
            </a:lvl6pPr>
            <a:lvl7pPr marL="3063114" indent="-235624" eaLnBrk="0" fontAlgn="base" hangingPunct="0">
              <a:spcBef>
                <a:spcPct val="30000"/>
              </a:spcBef>
              <a:spcAft>
                <a:spcPct val="0"/>
              </a:spcAft>
              <a:defRPr sz="1200">
                <a:solidFill>
                  <a:schemeClr val="tx1"/>
                </a:solidFill>
                <a:latin typeface="Arial" charset="0"/>
              </a:defRPr>
            </a:lvl7pPr>
            <a:lvl8pPr marL="3534362" indent="-235624" eaLnBrk="0" fontAlgn="base" hangingPunct="0">
              <a:spcBef>
                <a:spcPct val="30000"/>
              </a:spcBef>
              <a:spcAft>
                <a:spcPct val="0"/>
              </a:spcAft>
              <a:defRPr sz="1200">
                <a:solidFill>
                  <a:schemeClr val="tx1"/>
                </a:solidFill>
                <a:latin typeface="Arial" charset="0"/>
              </a:defRPr>
            </a:lvl8pPr>
            <a:lvl9pPr marL="4005610" indent="-235624" eaLnBrk="0" fontAlgn="base" hangingPunct="0">
              <a:spcBef>
                <a:spcPct val="30000"/>
              </a:spcBef>
              <a:spcAft>
                <a:spcPct val="0"/>
              </a:spcAft>
              <a:defRPr sz="1200">
                <a:solidFill>
                  <a:schemeClr val="tx1"/>
                </a:solidFill>
                <a:latin typeface="Arial" charset="0"/>
              </a:defRPr>
            </a:lvl9pPr>
          </a:lstStyle>
          <a:p>
            <a:pPr algn="r" eaLnBrk="1" hangingPunct="1">
              <a:spcBef>
                <a:spcPct val="0"/>
              </a:spcBef>
            </a:pPr>
            <a:fld id="{10DC7261-B29E-4370-A45F-212275620F99}" type="slidenum">
              <a:rPr lang="de-DE" altLang="de-DE" smtClean="0"/>
              <a:pPr algn="r" eaLnBrk="1" hangingPunct="1">
                <a:spcBef>
                  <a:spcPct val="0"/>
                </a:spcBef>
              </a:pPr>
              <a:t>49</a:t>
            </a:fld>
            <a:endParaRPr lang="en-US" altLang="de-DE" dirty="0"/>
          </a:p>
        </p:txBody>
      </p:sp>
      <p:sp>
        <p:nvSpPr>
          <p:cNvPr id="192515" name="Rectangle 2"/>
          <p:cNvSpPr>
            <a:spLocks noGrp="1" noRot="1" noChangeAspect="1" noChangeArrowheads="1" noTextEdit="1"/>
          </p:cNvSpPr>
          <p:nvPr>
            <p:ph type="sldImg"/>
          </p:nvPr>
        </p:nvSpPr>
        <p:spPr>
          <a:xfrm>
            <a:off x="11113" y="468313"/>
            <a:ext cx="7105650" cy="3997325"/>
          </a:xfrm>
          <a:ln/>
        </p:spPr>
      </p:sp>
      <p:sp>
        <p:nvSpPr>
          <p:cNvPr id="192516" name="Rectangle 3"/>
          <p:cNvSpPr>
            <a:spLocks noGrp="1" noChangeArrowheads="1"/>
          </p:cNvSpPr>
          <p:nvPr>
            <p:ph type="body" idx="1"/>
          </p:nvPr>
        </p:nvSpPr>
        <p:spPr>
          <a:xfrm>
            <a:off x="808533" y="4699569"/>
            <a:ext cx="5510174" cy="4779525"/>
          </a:xfrm>
          <a:noFill/>
        </p:spPr>
        <p:txBody>
          <a:bodyPr/>
          <a:lstStyle/>
          <a:p>
            <a:pPr eaLnBrk="1" hangingPunct="1"/>
            <a:endParaRPr lang="en-US" altLang="de-DE" dirty="0"/>
          </a:p>
        </p:txBody>
      </p:sp>
    </p:spTree>
    <p:extLst>
      <p:ext uri="{BB962C8B-B14F-4D97-AF65-F5344CB8AC3E}">
        <p14:creationId xmlns:p14="http://schemas.microsoft.com/office/powerpoint/2010/main" val="24338575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pPr/>
              <a:t>50</a:t>
            </a:fld>
            <a:endParaRPr lang="en-US" dirty="0"/>
          </a:p>
        </p:txBody>
      </p:sp>
    </p:spTree>
    <p:extLst>
      <p:ext uri="{BB962C8B-B14F-4D97-AF65-F5344CB8AC3E}">
        <p14:creationId xmlns:p14="http://schemas.microsoft.com/office/powerpoint/2010/main" val="32467239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pPr/>
              <a:t>51</a:t>
            </a:fld>
            <a:endParaRPr lang="en-US" dirty="0"/>
          </a:p>
        </p:txBody>
      </p:sp>
    </p:spTree>
    <p:extLst>
      <p:ext uri="{BB962C8B-B14F-4D97-AF65-F5344CB8AC3E}">
        <p14:creationId xmlns:p14="http://schemas.microsoft.com/office/powerpoint/2010/main" val="143699796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pPr/>
              <a:t>64</a:t>
            </a:fld>
            <a:endParaRPr lang="en-US" dirty="0"/>
          </a:p>
        </p:txBody>
      </p:sp>
    </p:spTree>
    <p:extLst>
      <p:ext uri="{BB962C8B-B14F-4D97-AF65-F5344CB8AC3E}">
        <p14:creationId xmlns:p14="http://schemas.microsoft.com/office/powerpoint/2010/main" val="25291494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pPr/>
              <a:t>65</a:t>
            </a:fld>
            <a:endParaRPr lang="en-US" dirty="0"/>
          </a:p>
        </p:txBody>
      </p:sp>
    </p:spTree>
    <p:extLst>
      <p:ext uri="{BB962C8B-B14F-4D97-AF65-F5344CB8AC3E}">
        <p14:creationId xmlns:p14="http://schemas.microsoft.com/office/powerpoint/2010/main" val="68765585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pPr/>
              <a:t>72</a:t>
            </a:fld>
            <a:endParaRPr lang="en-US" dirty="0"/>
          </a:p>
        </p:txBody>
      </p:sp>
    </p:spTree>
    <p:extLst>
      <p:ext uri="{BB962C8B-B14F-4D97-AF65-F5344CB8AC3E}">
        <p14:creationId xmlns:p14="http://schemas.microsoft.com/office/powerpoint/2010/main" val="122934304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pPr/>
              <a:t>73</a:t>
            </a:fld>
            <a:endParaRPr lang="en-US" dirty="0"/>
          </a:p>
        </p:txBody>
      </p:sp>
    </p:spTree>
    <p:extLst>
      <p:ext uri="{BB962C8B-B14F-4D97-AF65-F5344CB8AC3E}">
        <p14:creationId xmlns:p14="http://schemas.microsoft.com/office/powerpoint/2010/main" val="235196425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98</a:t>
            </a:fld>
            <a:endParaRPr lang="de-DE" dirty="0">
              <a:latin typeface="Arial" pitchFamily="34" charset="0"/>
            </a:endParaRPr>
          </a:p>
        </p:txBody>
      </p:sp>
    </p:spTree>
    <p:extLst>
      <p:ext uri="{BB962C8B-B14F-4D97-AF65-F5344CB8AC3E}">
        <p14:creationId xmlns:p14="http://schemas.microsoft.com/office/powerpoint/2010/main" val="351877574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99</a:t>
            </a:fld>
            <a:endParaRPr lang="de-DE" dirty="0">
              <a:latin typeface="Arial" pitchFamily="34" charset="0"/>
            </a:endParaRPr>
          </a:p>
        </p:txBody>
      </p:sp>
    </p:spTree>
    <p:extLst>
      <p:ext uri="{BB962C8B-B14F-4D97-AF65-F5344CB8AC3E}">
        <p14:creationId xmlns:p14="http://schemas.microsoft.com/office/powerpoint/2010/main" val="20646199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2413" y="739775"/>
            <a:ext cx="6337300" cy="3563938"/>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r>
              <a:rPr dirty="0"/>
              <a:t>Notice </a:t>
            </a:r>
            <a:fld id="{BAE73B1B-6614-4DC3-8344-764940825F29}" type="slidenum">
              <a:rPr lang="en-US" smtClean="0"/>
              <a:pPr/>
              <a:t>6</a:t>
            </a:fld>
            <a:endParaRPr lang="en-US" dirty="0"/>
          </a:p>
        </p:txBody>
      </p:sp>
    </p:spTree>
    <p:extLst>
      <p:ext uri="{BB962C8B-B14F-4D97-AF65-F5344CB8AC3E}">
        <p14:creationId xmlns:p14="http://schemas.microsoft.com/office/powerpoint/2010/main" val="34514351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pPr/>
              <a:t>102</a:t>
            </a:fld>
            <a:endParaRPr lang="en-US" dirty="0"/>
          </a:p>
        </p:txBody>
      </p:sp>
    </p:spTree>
    <p:extLst>
      <p:ext uri="{BB962C8B-B14F-4D97-AF65-F5344CB8AC3E}">
        <p14:creationId xmlns:p14="http://schemas.microsoft.com/office/powerpoint/2010/main" val="390570246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pPr/>
              <a:t>103</a:t>
            </a:fld>
            <a:endParaRPr lang="en-US" dirty="0"/>
          </a:p>
        </p:txBody>
      </p:sp>
    </p:spTree>
    <p:extLst>
      <p:ext uri="{BB962C8B-B14F-4D97-AF65-F5344CB8AC3E}">
        <p14:creationId xmlns:p14="http://schemas.microsoft.com/office/powerpoint/2010/main" val="119534425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104</a:t>
            </a:fld>
            <a:endParaRPr lang="de-DE" dirty="0">
              <a:latin typeface="Arial" pitchFamily="34" charset="0"/>
            </a:endParaRPr>
          </a:p>
        </p:txBody>
      </p:sp>
    </p:spTree>
    <p:extLst>
      <p:ext uri="{BB962C8B-B14F-4D97-AF65-F5344CB8AC3E}">
        <p14:creationId xmlns:p14="http://schemas.microsoft.com/office/powerpoint/2010/main" val="41266923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105</a:t>
            </a:fld>
            <a:endParaRPr lang="de-DE" dirty="0">
              <a:latin typeface="Arial" pitchFamily="34" charset="0"/>
            </a:endParaRPr>
          </a:p>
        </p:txBody>
      </p:sp>
    </p:spTree>
    <p:extLst>
      <p:ext uri="{BB962C8B-B14F-4D97-AF65-F5344CB8AC3E}">
        <p14:creationId xmlns:p14="http://schemas.microsoft.com/office/powerpoint/2010/main" val="129897281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106</a:t>
            </a:fld>
            <a:endParaRPr lang="de-DE" dirty="0">
              <a:latin typeface="Arial" pitchFamily="34" charset="0"/>
            </a:endParaRPr>
          </a:p>
        </p:txBody>
      </p:sp>
    </p:spTree>
    <p:extLst>
      <p:ext uri="{BB962C8B-B14F-4D97-AF65-F5344CB8AC3E}">
        <p14:creationId xmlns:p14="http://schemas.microsoft.com/office/powerpoint/2010/main" val="247869513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107</a:t>
            </a:fld>
            <a:endParaRPr lang="de-DE" dirty="0">
              <a:latin typeface="Arial" pitchFamily="34" charset="0"/>
            </a:endParaRPr>
          </a:p>
        </p:txBody>
      </p:sp>
    </p:spTree>
    <p:extLst>
      <p:ext uri="{BB962C8B-B14F-4D97-AF65-F5344CB8AC3E}">
        <p14:creationId xmlns:p14="http://schemas.microsoft.com/office/powerpoint/2010/main" val="344996473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108</a:t>
            </a:fld>
            <a:endParaRPr lang="de-DE" dirty="0">
              <a:latin typeface="Arial" pitchFamily="34" charset="0"/>
            </a:endParaRPr>
          </a:p>
        </p:txBody>
      </p:sp>
    </p:spTree>
    <p:extLst>
      <p:ext uri="{BB962C8B-B14F-4D97-AF65-F5344CB8AC3E}">
        <p14:creationId xmlns:p14="http://schemas.microsoft.com/office/powerpoint/2010/main" val="12889860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109</a:t>
            </a:fld>
            <a:endParaRPr lang="de-DE" dirty="0">
              <a:latin typeface="Arial" pitchFamily="34" charset="0"/>
            </a:endParaRPr>
          </a:p>
        </p:txBody>
      </p:sp>
    </p:spTree>
    <p:extLst>
      <p:ext uri="{BB962C8B-B14F-4D97-AF65-F5344CB8AC3E}">
        <p14:creationId xmlns:p14="http://schemas.microsoft.com/office/powerpoint/2010/main" val="5683612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110</a:t>
            </a:fld>
            <a:endParaRPr lang="de-DE" dirty="0">
              <a:latin typeface="Arial" pitchFamily="34" charset="0"/>
            </a:endParaRPr>
          </a:p>
        </p:txBody>
      </p:sp>
    </p:spTree>
    <p:extLst>
      <p:ext uri="{BB962C8B-B14F-4D97-AF65-F5344CB8AC3E}">
        <p14:creationId xmlns:p14="http://schemas.microsoft.com/office/powerpoint/2010/main" val="336919787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111</a:t>
            </a:fld>
            <a:endParaRPr lang="de-DE" dirty="0">
              <a:latin typeface="Arial" pitchFamily="34" charset="0"/>
            </a:endParaRPr>
          </a:p>
        </p:txBody>
      </p:sp>
    </p:spTree>
    <p:extLst>
      <p:ext uri="{BB962C8B-B14F-4D97-AF65-F5344CB8AC3E}">
        <p14:creationId xmlns:p14="http://schemas.microsoft.com/office/powerpoint/2010/main" val="33478361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pPr/>
              <a:t>12</a:t>
            </a:fld>
            <a:endParaRPr lang="en-US" dirty="0"/>
          </a:p>
        </p:txBody>
      </p:sp>
    </p:spTree>
    <p:extLst>
      <p:ext uri="{BB962C8B-B14F-4D97-AF65-F5344CB8AC3E}">
        <p14:creationId xmlns:p14="http://schemas.microsoft.com/office/powerpoint/2010/main" val="252728461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pPr/>
              <a:t>112</a:t>
            </a:fld>
            <a:endParaRPr lang="en-US" dirty="0"/>
          </a:p>
        </p:txBody>
      </p:sp>
    </p:spTree>
    <p:extLst>
      <p:ext uri="{BB962C8B-B14F-4D97-AF65-F5344CB8AC3E}">
        <p14:creationId xmlns:p14="http://schemas.microsoft.com/office/powerpoint/2010/main" val="36754653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pPr/>
              <a:t>113</a:t>
            </a:fld>
            <a:endParaRPr lang="en-US" dirty="0"/>
          </a:p>
        </p:txBody>
      </p:sp>
    </p:spTree>
    <p:extLst>
      <p:ext uri="{BB962C8B-B14F-4D97-AF65-F5344CB8AC3E}">
        <p14:creationId xmlns:p14="http://schemas.microsoft.com/office/powerpoint/2010/main" val="185969293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pPr/>
              <a:t>122</a:t>
            </a:fld>
            <a:endParaRPr lang="en-US" dirty="0"/>
          </a:p>
        </p:txBody>
      </p:sp>
    </p:spTree>
    <p:extLst>
      <p:ext uri="{BB962C8B-B14F-4D97-AF65-F5344CB8AC3E}">
        <p14:creationId xmlns:p14="http://schemas.microsoft.com/office/powerpoint/2010/main" val="230426837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pPr/>
              <a:t>123</a:t>
            </a:fld>
            <a:endParaRPr lang="en-US" dirty="0"/>
          </a:p>
        </p:txBody>
      </p:sp>
    </p:spTree>
    <p:extLst>
      <p:ext uri="{BB962C8B-B14F-4D97-AF65-F5344CB8AC3E}">
        <p14:creationId xmlns:p14="http://schemas.microsoft.com/office/powerpoint/2010/main" val="224499010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Folienbildplatzhalter 1"/>
          <p:cNvSpPr>
            <a:spLocks noGrp="1" noRot="1" noChangeAspect="1" noTextEdit="1"/>
          </p:cNvSpPr>
          <p:nvPr>
            <p:ph type="sldImg"/>
          </p:nvPr>
        </p:nvSpPr>
        <p:spPr>
          <a:xfrm>
            <a:off x="252413" y="739775"/>
            <a:ext cx="6337300" cy="3563938"/>
          </a:xfrm>
          <a:ln/>
        </p:spPr>
      </p:sp>
      <p:sp>
        <p:nvSpPr>
          <p:cNvPr id="61443" name="Notizenplatzhalter 2"/>
          <p:cNvSpPr>
            <a:spLocks noGrp="1"/>
          </p:cNvSpPr>
          <p:nvPr>
            <p:ph type="body" idx="1"/>
          </p:nvPr>
        </p:nvSpPr>
        <p:spPr>
          <a:noFill/>
          <a:ln/>
        </p:spPr>
        <p:txBody>
          <a:bodyPr/>
          <a:lstStyle/>
          <a:p>
            <a:pPr marL="171035" indent="-171035"/>
            <a:endParaRPr lang="en-US" altLang="de-DE" dirty="0">
              <a:latin typeface="Arial" charset="0"/>
              <a:ea typeface="ＭＳ Ｐゴシック" pitchFamily="34" charset="-128"/>
            </a:endParaRPr>
          </a:p>
        </p:txBody>
      </p:sp>
      <p:sp>
        <p:nvSpPr>
          <p:cNvPr id="61444" name="Foliennummernplatzhalter 3"/>
          <p:cNvSpPr>
            <a:spLocks noGrp="1"/>
          </p:cNvSpPr>
          <p:nvPr>
            <p:ph type="sldNum" sz="quarter" idx="5"/>
          </p:nvPr>
        </p:nvSpPr>
        <p:spPr>
          <a:noFill/>
        </p:spPr>
        <p:txBody>
          <a:bodyPr/>
          <a:lstStyle/>
          <a:p>
            <a:r>
              <a:rPr lang="de-DE" altLang="de-DE" dirty="0">
                <a:solidFill>
                  <a:srgbClr val="EEECE1"/>
                </a:solidFill>
                <a:latin typeface="Siemens Sans" pitchFamily="2" charset="0"/>
              </a:rPr>
              <a:t>Notes </a:t>
            </a:r>
            <a:fld id="{59F29FD2-2D9F-4C33-9CC8-6CDD5F1FD8EC}" type="slidenum">
              <a:rPr lang="de-DE" altLang="de-DE">
                <a:solidFill>
                  <a:srgbClr val="EEECE1"/>
                </a:solidFill>
                <a:latin typeface="Siemens Sans" pitchFamily="2" charset="0"/>
              </a:rPr>
              <a:pPr/>
              <a:t>138</a:t>
            </a:fld>
            <a:endParaRPr lang="de-DE" altLang="de-DE" dirty="0">
              <a:solidFill>
                <a:srgbClr val="EEECE1"/>
              </a:solidFill>
              <a:latin typeface="Siemens Sans" pitchFamily="2" charset="0"/>
            </a:endParaRPr>
          </a:p>
        </p:txBody>
      </p:sp>
    </p:spTree>
    <p:extLst>
      <p:ext uri="{BB962C8B-B14F-4D97-AF65-F5344CB8AC3E}">
        <p14:creationId xmlns:p14="http://schemas.microsoft.com/office/powerpoint/2010/main" val="381186224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Folienbildplatzhalter 1"/>
          <p:cNvSpPr>
            <a:spLocks noGrp="1" noRot="1" noChangeAspect="1" noTextEdit="1"/>
          </p:cNvSpPr>
          <p:nvPr>
            <p:ph type="sldImg"/>
          </p:nvPr>
        </p:nvSpPr>
        <p:spPr>
          <a:xfrm>
            <a:off x="252413" y="739775"/>
            <a:ext cx="6337300" cy="3563938"/>
          </a:xfrm>
          <a:ln/>
        </p:spPr>
      </p:sp>
      <p:sp>
        <p:nvSpPr>
          <p:cNvPr id="61443" name="Notizenplatzhalter 2"/>
          <p:cNvSpPr>
            <a:spLocks noGrp="1"/>
          </p:cNvSpPr>
          <p:nvPr>
            <p:ph type="body" idx="1"/>
          </p:nvPr>
        </p:nvSpPr>
        <p:spPr>
          <a:noFill/>
          <a:ln/>
        </p:spPr>
        <p:txBody>
          <a:bodyPr/>
          <a:lstStyle/>
          <a:p>
            <a:pPr marL="171035" indent="-171035"/>
            <a:endParaRPr lang="en-US" altLang="de-DE" dirty="0">
              <a:latin typeface="Arial" charset="0"/>
              <a:ea typeface="ＭＳ Ｐゴシック" pitchFamily="34" charset="-128"/>
            </a:endParaRPr>
          </a:p>
        </p:txBody>
      </p:sp>
      <p:sp>
        <p:nvSpPr>
          <p:cNvPr id="61444" name="Foliennummernplatzhalter 3"/>
          <p:cNvSpPr>
            <a:spLocks noGrp="1"/>
          </p:cNvSpPr>
          <p:nvPr>
            <p:ph type="sldNum" sz="quarter" idx="5"/>
          </p:nvPr>
        </p:nvSpPr>
        <p:spPr>
          <a:noFill/>
        </p:spPr>
        <p:txBody>
          <a:bodyPr/>
          <a:lstStyle/>
          <a:p>
            <a:r>
              <a:rPr lang="de-DE" altLang="de-DE" dirty="0">
                <a:solidFill>
                  <a:srgbClr val="EEECE1"/>
                </a:solidFill>
                <a:latin typeface="Siemens Sans" pitchFamily="2" charset="0"/>
              </a:rPr>
              <a:t>Notes </a:t>
            </a:r>
            <a:fld id="{59F29FD2-2D9F-4C33-9CC8-6CDD5F1FD8EC}" type="slidenum">
              <a:rPr lang="de-DE" altLang="de-DE">
                <a:solidFill>
                  <a:srgbClr val="EEECE1"/>
                </a:solidFill>
                <a:latin typeface="Siemens Sans" pitchFamily="2" charset="0"/>
              </a:rPr>
              <a:pPr/>
              <a:t>139</a:t>
            </a:fld>
            <a:endParaRPr lang="de-DE" altLang="de-DE" dirty="0">
              <a:solidFill>
                <a:srgbClr val="EEECE1"/>
              </a:solidFill>
              <a:latin typeface="Siemens Sans" pitchFamily="2" charset="0"/>
            </a:endParaRPr>
          </a:p>
        </p:txBody>
      </p:sp>
    </p:spTree>
    <p:extLst>
      <p:ext uri="{BB962C8B-B14F-4D97-AF65-F5344CB8AC3E}">
        <p14:creationId xmlns:p14="http://schemas.microsoft.com/office/powerpoint/2010/main" val="240300902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Folienbildplatzhalter 1"/>
          <p:cNvSpPr>
            <a:spLocks noGrp="1" noRot="1" noChangeAspect="1" noTextEdit="1"/>
          </p:cNvSpPr>
          <p:nvPr>
            <p:ph type="sldImg"/>
          </p:nvPr>
        </p:nvSpPr>
        <p:spPr>
          <a:xfrm>
            <a:off x="252413" y="739775"/>
            <a:ext cx="6337300" cy="3563938"/>
          </a:xfrm>
          <a:ln/>
        </p:spPr>
      </p:sp>
      <p:sp>
        <p:nvSpPr>
          <p:cNvPr id="61443" name="Notizenplatzhalter 2"/>
          <p:cNvSpPr>
            <a:spLocks noGrp="1"/>
          </p:cNvSpPr>
          <p:nvPr>
            <p:ph type="body" idx="1"/>
          </p:nvPr>
        </p:nvSpPr>
        <p:spPr>
          <a:noFill/>
          <a:ln/>
        </p:spPr>
        <p:txBody>
          <a:bodyPr/>
          <a:lstStyle/>
          <a:p>
            <a:pPr marL="171035" indent="-171035"/>
            <a:endParaRPr lang="en-US" altLang="de-DE" dirty="0">
              <a:latin typeface="Arial" charset="0"/>
              <a:ea typeface="ＭＳ Ｐゴシック" pitchFamily="34" charset="-128"/>
            </a:endParaRPr>
          </a:p>
        </p:txBody>
      </p:sp>
      <p:sp>
        <p:nvSpPr>
          <p:cNvPr id="61444" name="Foliennummernplatzhalter 3"/>
          <p:cNvSpPr>
            <a:spLocks noGrp="1"/>
          </p:cNvSpPr>
          <p:nvPr>
            <p:ph type="sldNum" sz="quarter" idx="5"/>
          </p:nvPr>
        </p:nvSpPr>
        <p:spPr>
          <a:noFill/>
        </p:spPr>
        <p:txBody>
          <a:bodyPr/>
          <a:lstStyle/>
          <a:p>
            <a:r>
              <a:rPr lang="de-DE" altLang="de-DE" dirty="0">
                <a:solidFill>
                  <a:srgbClr val="EEECE1"/>
                </a:solidFill>
                <a:latin typeface="Siemens Sans" pitchFamily="2" charset="0"/>
              </a:rPr>
              <a:t>Notes </a:t>
            </a:r>
            <a:fld id="{59F29FD2-2D9F-4C33-9CC8-6CDD5F1FD8EC}" type="slidenum">
              <a:rPr lang="de-DE" altLang="de-DE">
                <a:solidFill>
                  <a:srgbClr val="EEECE1"/>
                </a:solidFill>
                <a:latin typeface="Siemens Sans" pitchFamily="2" charset="0"/>
              </a:rPr>
              <a:pPr/>
              <a:t>140</a:t>
            </a:fld>
            <a:endParaRPr lang="de-DE" altLang="de-DE" dirty="0">
              <a:solidFill>
                <a:srgbClr val="EEECE1"/>
              </a:solidFill>
              <a:latin typeface="Siemens Sans" pitchFamily="2" charset="0"/>
            </a:endParaRPr>
          </a:p>
        </p:txBody>
      </p:sp>
    </p:spTree>
    <p:extLst>
      <p:ext uri="{BB962C8B-B14F-4D97-AF65-F5344CB8AC3E}">
        <p14:creationId xmlns:p14="http://schemas.microsoft.com/office/powerpoint/2010/main" val="178302295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Folienbildplatzhalter 1"/>
          <p:cNvSpPr>
            <a:spLocks noGrp="1" noRot="1" noChangeAspect="1" noTextEdit="1"/>
          </p:cNvSpPr>
          <p:nvPr>
            <p:ph type="sldImg"/>
          </p:nvPr>
        </p:nvSpPr>
        <p:spPr>
          <a:xfrm>
            <a:off x="252413" y="739775"/>
            <a:ext cx="6337300" cy="3563938"/>
          </a:xfrm>
          <a:ln/>
        </p:spPr>
      </p:sp>
      <p:sp>
        <p:nvSpPr>
          <p:cNvPr id="61443" name="Notizenplatzhalter 2"/>
          <p:cNvSpPr>
            <a:spLocks noGrp="1"/>
          </p:cNvSpPr>
          <p:nvPr>
            <p:ph type="body" idx="1"/>
          </p:nvPr>
        </p:nvSpPr>
        <p:spPr>
          <a:noFill/>
          <a:ln/>
        </p:spPr>
        <p:txBody>
          <a:bodyPr/>
          <a:lstStyle/>
          <a:p>
            <a:pPr marL="171035" indent="-171035"/>
            <a:endParaRPr lang="en-US" altLang="de-DE" dirty="0">
              <a:latin typeface="Arial" charset="0"/>
              <a:ea typeface="ＭＳ Ｐゴシック" pitchFamily="34" charset="-128"/>
            </a:endParaRPr>
          </a:p>
        </p:txBody>
      </p:sp>
      <p:sp>
        <p:nvSpPr>
          <p:cNvPr id="61444" name="Foliennummernplatzhalter 3"/>
          <p:cNvSpPr>
            <a:spLocks noGrp="1"/>
          </p:cNvSpPr>
          <p:nvPr>
            <p:ph type="sldNum" sz="quarter" idx="5"/>
          </p:nvPr>
        </p:nvSpPr>
        <p:spPr>
          <a:noFill/>
        </p:spPr>
        <p:txBody>
          <a:bodyPr/>
          <a:lstStyle/>
          <a:p>
            <a:r>
              <a:rPr lang="de-DE" altLang="de-DE" dirty="0">
                <a:solidFill>
                  <a:srgbClr val="EEECE1"/>
                </a:solidFill>
                <a:latin typeface="Siemens Sans" pitchFamily="2" charset="0"/>
              </a:rPr>
              <a:t>Notes </a:t>
            </a:r>
            <a:fld id="{59F29FD2-2D9F-4C33-9CC8-6CDD5F1FD8EC}" type="slidenum">
              <a:rPr lang="de-DE" altLang="de-DE">
                <a:solidFill>
                  <a:srgbClr val="EEECE1"/>
                </a:solidFill>
                <a:latin typeface="Siemens Sans" pitchFamily="2" charset="0"/>
              </a:rPr>
              <a:pPr/>
              <a:t>141</a:t>
            </a:fld>
            <a:endParaRPr lang="de-DE" altLang="de-DE" dirty="0">
              <a:solidFill>
                <a:srgbClr val="EEECE1"/>
              </a:solidFill>
              <a:latin typeface="Siemens Sans" pitchFamily="2" charset="0"/>
            </a:endParaRPr>
          </a:p>
        </p:txBody>
      </p:sp>
    </p:spTree>
    <p:extLst>
      <p:ext uri="{BB962C8B-B14F-4D97-AF65-F5344CB8AC3E}">
        <p14:creationId xmlns:p14="http://schemas.microsoft.com/office/powerpoint/2010/main" val="360356994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148</a:t>
            </a:fld>
            <a:endParaRPr lang="de-DE" dirty="0">
              <a:latin typeface="Arial" pitchFamily="34" charset="0"/>
            </a:endParaRPr>
          </a:p>
        </p:txBody>
      </p:sp>
    </p:spTree>
    <p:extLst>
      <p:ext uri="{BB962C8B-B14F-4D97-AF65-F5344CB8AC3E}">
        <p14:creationId xmlns:p14="http://schemas.microsoft.com/office/powerpoint/2010/main" val="250129439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149</a:t>
            </a:fld>
            <a:endParaRPr lang="de-DE" dirty="0">
              <a:latin typeface="Arial" pitchFamily="34" charset="0"/>
            </a:endParaRPr>
          </a:p>
        </p:txBody>
      </p:sp>
    </p:spTree>
    <p:extLst>
      <p:ext uri="{BB962C8B-B14F-4D97-AF65-F5344CB8AC3E}">
        <p14:creationId xmlns:p14="http://schemas.microsoft.com/office/powerpoint/2010/main" val="27009766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pPr/>
              <a:t>13</a:t>
            </a:fld>
            <a:endParaRPr lang="en-US" dirty="0"/>
          </a:p>
        </p:txBody>
      </p:sp>
    </p:spTree>
    <p:extLst>
      <p:ext uri="{BB962C8B-B14F-4D97-AF65-F5344CB8AC3E}">
        <p14:creationId xmlns:p14="http://schemas.microsoft.com/office/powerpoint/2010/main" val="373720733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150</a:t>
            </a:fld>
            <a:endParaRPr lang="de-DE" dirty="0">
              <a:latin typeface="Arial" pitchFamily="34" charset="0"/>
            </a:endParaRPr>
          </a:p>
        </p:txBody>
      </p:sp>
    </p:spTree>
    <p:extLst>
      <p:ext uri="{BB962C8B-B14F-4D97-AF65-F5344CB8AC3E}">
        <p14:creationId xmlns:p14="http://schemas.microsoft.com/office/powerpoint/2010/main" val="157450985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151</a:t>
            </a:fld>
            <a:endParaRPr lang="de-DE" dirty="0">
              <a:latin typeface="Arial" pitchFamily="34" charset="0"/>
            </a:endParaRPr>
          </a:p>
        </p:txBody>
      </p:sp>
    </p:spTree>
    <p:extLst>
      <p:ext uri="{BB962C8B-B14F-4D97-AF65-F5344CB8AC3E}">
        <p14:creationId xmlns:p14="http://schemas.microsoft.com/office/powerpoint/2010/main" val="210428994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152</a:t>
            </a:fld>
            <a:endParaRPr lang="de-DE" dirty="0">
              <a:latin typeface="Arial" pitchFamily="34" charset="0"/>
            </a:endParaRPr>
          </a:p>
        </p:txBody>
      </p:sp>
    </p:spTree>
    <p:extLst>
      <p:ext uri="{BB962C8B-B14F-4D97-AF65-F5344CB8AC3E}">
        <p14:creationId xmlns:p14="http://schemas.microsoft.com/office/powerpoint/2010/main" val="339978693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153</a:t>
            </a:fld>
            <a:endParaRPr lang="de-DE" dirty="0">
              <a:latin typeface="Arial" pitchFamily="34" charset="0"/>
            </a:endParaRPr>
          </a:p>
        </p:txBody>
      </p:sp>
    </p:spTree>
    <p:extLst>
      <p:ext uri="{BB962C8B-B14F-4D97-AF65-F5344CB8AC3E}">
        <p14:creationId xmlns:p14="http://schemas.microsoft.com/office/powerpoint/2010/main" val="84447695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154</a:t>
            </a:fld>
            <a:endParaRPr lang="de-DE" dirty="0">
              <a:latin typeface="Arial" pitchFamily="34" charset="0"/>
            </a:endParaRPr>
          </a:p>
        </p:txBody>
      </p:sp>
    </p:spTree>
    <p:extLst>
      <p:ext uri="{BB962C8B-B14F-4D97-AF65-F5344CB8AC3E}">
        <p14:creationId xmlns:p14="http://schemas.microsoft.com/office/powerpoint/2010/main" val="263967051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155</a:t>
            </a:fld>
            <a:endParaRPr lang="de-DE" dirty="0">
              <a:latin typeface="Arial" pitchFamily="34" charset="0"/>
            </a:endParaRPr>
          </a:p>
        </p:txBody>
      </p:sp>
    </p:spTree>
    <p:extLst>
      <p:ext uri="{BB962C8B-B14F-4D97-AF65-F5344CB8AC3E}">
        <p14:creationId xmlns:p14="http://schemas.microsoft.com/office/powerpoint/2010/main" val="38499852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156</a:t>
            </a:fld>
            <a:endParaRPr lang="de-DE" dirty="0">
              <a:latin typeface="Arial" pitchFamily="34" charset="0"/>
            </a:endParaRPr>
          </a:p>
        </p:txBody>
      </p:sp>
    </p:spTree>
    <p:extLst>
      <p:ext uri="{BB962C8B-B14F-4D97-AF65-F5344CB8AC3E}">
        <p14:creationId xmlns:p14="http://schemas.microsoft.com/office/powerpoint/2010/main" val="179406188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157</a:t>
            </a:fld>
            <a:endParaRPr lang="de-DE" dirty="0">
              <a:latin typeface="Arial" pitchFamily="34" charset="0"/>
            </a:endParaRPr>
          </a:p>
        </p:txBody>
      </p:sp>
    </p:spTree>
    <p:extLst>
      <p:ext uri="{BB962C8B-B14F-4D97-AF65-F5344CB8AC3E}">
        <p14:creationId xmlns:p14="http://schemas.microsoft.com/office/powerpoint/2010/main" val="380018215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pPr/>
              <a:t>158</a:t>
            </a:fld>
            <a:endParaRPr lang="en-US" dirty="0"/>
          </a:p>
        </p:txBody>
      </p:sp>
    </p:spTree>
    <p:extLst>
      <p:ext uri="{BB962C8B-B14F-4D97-AF65-F5344CB8AC3E}">
        <p14:creationId xmlns:p14="http://schemas.microsoft.com/office/powerpoint/2010/main" val="93227070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pPr/>
              <a:t>159</a:t>
            </a:fld>
            <a:endParaRPr lang="en-US" dirty="0"/>
          </a:p>
        </p:txBody>
      </p:sp>
    </p:spTree>
    <p:extLst>
      <p:ext uri="{BB962C8B-B14F-4D97-AF65-F5344CB8AC3E}">
        <p14:creationId xmlns:p14="http://schemas.microsoft.com/office/powerpoint/2010/main" val="24585951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pPr/>
              <a:t>14</a:t>
            </a:fld>
            <a:endParaRPr lang="en-US" dirty="0"/>
          </a:p>
        </p:txBody>
      </p:sp>
    </p:spTree>
    <p:extLst>
      <p:ext uri="{BB962C8B-B14F-4D97-AF65-F5344CB8AC3E}">
        <p14:creationId xmlns:p14="http://schemas.microsoft.com/office/powerpoint/2010/main" val="108645037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160</a:t>
            </a:fld>
            <a:endParaRPr lang="de-DE" dirty="0">
              <a:latin typeface="Arial" pitchFamily="34" charset="0"/>
            </a:endParaRPr>
          </a:p>
        </p:txBody>
      </p:sp>
    </p:spTree>
    <p:extLst>
      <p:ext uri="{BB962C8B-B14F-4D97-AF65-F5344CB8AC3E}">
        <p14:creationId xmlns:p14="http://schemas.microsoft.com/office/powerpoint/2010/main" val="170369733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161</a:t>
            </a:fld>
            <a:endParaRPr lang="de-DE" dirty="0">
              <a:latin typeface="Arial" pitchFamily="34" charset="0"/>
            </a:endParaRPr>
          </a:p>
        </p:txBody>
      </p:sp>
    </p:spTree>
    <p:extLst>
      <p:ext uri="{BB962C8B-B14F-4D97-AF65-F5344CB8AC3E}">
        <p14:creationId xmlns:p14="http://schemas.microsoft.com/office/powerpoint/2010/main" val="277904258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162</a:t>
            </a:fld>
            <a:endParaRPr lang="de-DE" dirty="0">
              <a:latin typeface="Arial" pitchFamily="34" charset="0"/>
            </a:endParaRPr>
          </a:p>
        </p:txBody>
      </p:sp>
    </p:spTree>
    <p:extLst>
      <p:ext uri="{BB962C8B-B14F-4D97-AF65-F5344CB8AC3E}">
        <p14:creationId xmlns:p14="http://schemas.microsoft.com/office/powerpoint/2010/main" val="168259488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163</a:t>
            </a:fld>
            <a:endParaRPr lang="de-DE" dirty="0">
              <a:latin typeface="Arial" pitchFamily="34" charset="0"/>
            </a:endParaRPr>
          </a:p>
        </p:txBody>
      </p:sp>
    </p:spTree>
    <p:extLst>
      <p:ext uri="{BB962C8B-B14F-4D97-AF65-F5344CB8AC3E}">
        <p14:creationId xmlns:p14="http://schemas.microsoft.com/office/powerpoint/2010/main" val="375720150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164</a:t>
            </a:fld>
            <a:endParaRPr lang="de-DE" dirty="0">
              <a:latin typeface="Arial" pitchFamily="34" charset="0"/>
            </a:endParaRPr>
          </a:p>
        </p:txBody>
      </p:sp>
    </p:spTree>
    <p:extLst>
      <p:ext uri="{BB962C8B-B14F-4D97-AF65-F5344CB8AC3E}">
        <p14:creationId xmlns:p14="http://schemas.microsoft.com/office/powerpoint/2010/main" val="134900105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165</a:t>
            </a:fld>
            <a:endParaRPr lang="de-DE" dirty="0">
              <a:latin typeface="Arial" pitchFamily="34" charset="0"/>
            </a:endParaRPr>
          </a:p>
        </p:txBody>
      </p:sp>
    </p:spTree>
    <p:extLst>
      <p:ext uri="{BB962C8B-B14F-4D97-AF65-F5344CB8AC3E}">
        <p14:creationId xmlns:p14="http://schemas.microsoft.com/office/powerpoint/2010/main" val="270554159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166</a:t>
            </a:fld>
            <a:endParaRPr lang="de-DE" dirty="0">
              <a:latin typeface="Arial" pitchFamily="34" charset="0"/>
            </a:endParaRPr>
          </a:p>
        </p:txBody>
      </p:sp>
    </p:spTree>
    <p:extLst>
      <p:ext uri="{BB962C8B-B14F-4D97-AF65-F5344CB8AC3E}">
        <p14:creationId xmlns:p14="http://schemas.microsoft.com/office/powerpoint/2010/main" val="360793576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167</a:t>
            </a:fld>
            <a:endParaRPr lang="de-DE" dirty="0">
              <a:latin typeface="Arial" pitchFamily="34" charset="0"/>
            </a:endParaRPr>
          </a:p>
        </p:txBody>
      </p:sp>
    </p:spTree>
    <p:extLst>
      <p:ext uri="{BB962C8B-B14F-4D97-AF65-F5344CB8AC3E}">
        <p14:creationId xmlns:p14="http://schemas.microsoft.com/office/powerpoint/2010/main" val="65526593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168</a:t>
            </a:fld>
            <a:endParaRPr lang="de-DE" dirty="0">
              <a:latin typeface="Arial" pitchFamily="34" charset="0"/>
            </a:endParaRPr>
          </a:p>
        </p:txBody>
      </p:sp>
    </p:spTree>
    <p:extLst>
      <p:ext uri="{BB962C8B-B14F-4D97-AF65-F5344CB8AC3E}">
        <p14:creationId xmlns:p14="http://schemas.microsoft.com/office/powerpoint/2010/main" val="408123716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169</a:t>
            </a:fld>
            <a:endParaRPr lang="de-DE" dirty="0">
              <a:latin typeface="Arial" pitchFamily="34" charset="0"/>
            </a:endParaRPr>
          </a:p>
        </p:txBody>
      </p:sp>
    </p:spTree>
    <p:extLst>
      <p:ext uri="{BB962C8B-B14F-4D97-AF65-F5344CB8AC3E}">
        <p14:creationId xmlns:p14="http://schemas.microsoft.com/office/powerpoint/2010/main" val="19432613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pPr/>
              <a:t>15</a:t>
            </a:fld>
            <a:endParaRPr lang="en-US" dirty="0"/>
          </a:p>
        </p:txBody>
      </p:sp>
    </p:spTree>
    <p:extLst>
      <p:ext uri="{BB962C8B-B14F-4D97-AF65-F5344CB8AC3E}">
        <p14:creationId xmlns:p14="http://schemas.microsoft.com/office/powerpoint/2010/main" val="46305146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170</a:t>
            </a:fld>
            <a:endParaRPr lang="de-DE" dirty="0">
              <a:latin typeface="Arial" pitchFamily="34" charset="0"/>
            </a:endParaRPr>
          </a:p>
        </p:txBody>
      </p:sp>
    </p:spTree>
    <p:extLst>
      <p:ext uri="{BB962C8B-B14F-4D97-AF65-F5344CB8AC3E}">
        <p14:creationId xmlns:p14="http://schemas.microsoft.com/office/powerpoint/2010/main" val="380813538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171</a:t>
            </a:fld>
            <a:endParaRPr lang="de-DE" dirty="0">
              <a:latin typeface="Arial" pitchFamily="34" charset="0"/>
            </a:endParaRPr>
          </a:p>
        </p:txBody>
      </p:sp>
    </p:spTree>
    <p:extLst>
      <p:ext uri="{BB962C8B-B14F-4D97-AF65-F5344CB8AC3E}">
        <p14:creationId xmlns:p14="http://schemas.microsoft.com/office/powerpoint/2010/main" val="106930879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172</a:t>
            </a:fld>
            <a:endParaRPr lang="de-DE" dirty="0">
              <a:latin typeface="Arial" pitchFamily="34" charset="0"/>
            </a:endParaRPr>
          </a:p>
        </p:txBody>
      </p:sp>
    </p:spTree>
    <p:extLst>
      <p:ext uri="{BB962C8B-B14F-4D97-AF65-F5344CB8AC3E}">
        <p14:creationId xmlns:p14="http://schemas.microsoft.com/office/powerpoint/2010/main" val="104384580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173</a:t>
            </a:fld>
            <a:endParaRPr lang="de-DE" dirty="0">
              <a:latin typeface="Arial" pitchFamily="34" charset="0"/>
            </a:endParaRPr>
          </a:p>
        </p:txBody>
      </p:sp>
    </p:spTree>
    <p:extLst>
      <p:ext uri="{BB962C8B-B14F-4D97-AF65-F5344CB8AC3E}">
        <p14:creationId xmlns:p14="http://schemas.microsoft.com/office/powerpoint/2010/main" val="78659901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pPr/>
              <a:t>176</a:t>
            </a:fld>
            <a:endParaRPr lang="en-US" dirty="0"/>
          </a:p>
        </p:txBody>
      </p:sp>
    </p:spTree>
    <p:extLst>
      <p:ext uri="{BB962C8B-B14F-4D97-AF65-F5344CB8AC3E}">
        <p14:creationId xmlns:p14="http://schemas.microsoft.com/office/powerpoint/2010/main" val="382894220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pPr/>
              <a:t>177</a:t>
            </a:fld>
            <a:endParaRPr lang="en-US" dirty="0"/>
          </a:p>
        </p:txBody>
      </p:sp>
    </p:spTree>
    <p:extLst>
      <p:ext uri="{BB962C8B-B14F-4D97-AF65-F5344CB8AC3E}">
        <p14:creationId xmlns:p14="http://schemas.microsoft.com/office/powerpoint/2010/main" val="362152429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2413" y="739775"/>
            <a:ext cx="6337300" cy="3563938"/>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200</a:t>
            </a:fld>
            <a:endParaRPr lang="de-DE" dirty="0">
              <a:latin typeface="Arial" pitchFamily="34" charset="0"/>
            </a:endParaRPr>
          </a:p>
        </p:txBody>
      </p:sp>
    </p:spTree>
    <p:extLst>
      <p:ext uri="{BB962C8B-B14F-4D97-AF65-F5344CB8AC3E}">
        <p14:creationId xmlns:p14="http://schemas.microsoft.com/office/powerpoint/2010/main" val="258613097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2413" y="739775"/>
            <a:ext cx="6337300" cy="3563938"/>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201</a:t>
            </a:fld>
            <a:endParaRPr lang="de-DE" dirty="0">
              <a:latin typeface="Arial" pitchFamily="34" charset="0"/>
            </a:endParaRPr>
          </a:p>
        </p:txBody>
      </p:sp>
    </p:spTree>
    <p:extLst>
      <p:ext uri="{BB962C8B-B14F-4D97-AF65-F5344CB8AC3E}">
        <p14:creationId xmlns:p14="http://schemas.microsoft.com/office/powerpoint/2010/main" val="186531529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2413" y="739775"/>
            <a:ext cx="6337300" cy="3563938"/>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202</a:t>
            </a:fld>
            <a:endParaRPr lang="de-DE" dirty="0">
              <a:latin typeface="Arial" pitchFamily="34" charset="0"/>
            </a:endParaRPr>
          </a:p>
        </p:txBody>
      </p:sp>
    </p:spTree>
    <p:extLst>
      <p:ext uri="{BB962C8B-B14F-4D97-AF65-F5344CB8AC3E}">
        <p14:creationId xmlns:p14="http://schemas.microsoft.com/office/powerpoint/2010/main" val="1247470553"/>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2413" y="739775"/>
            <a:ext cx="6337300" cy="3563938"/>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203</a:t>
            </a:fld>
            <a:endParaRPr lang="de-DE" dirty="0">
              <a:latin typeface="Arial" pitchFamily="34" charset="0"/>
            </a:endParaRPr>
          </a:p>
        </p:txBody>
      </p:sp>
    </p:spTree>
    <p:extLst>
      <p:ext uri="{BB962C8B-B14F-4D97-AF65-F5344CB8AC3E}">
        <p14:creationId xmlns:p14="http://schemas.microsoft.com/office/powerpoint/2010/main" val="32544278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16</a:t>
            </a:fld>
            <a:endParaRPr lang="de-DE" dirty="0">
              <a:latin typeface="Arial" pitchFamily="34" charset="0"/>
            </a:endParaRPr>
          </a:p>
        </p:txBody>
      </p:sp>
    </p:spTree>
    <p:extLst>
      <p:ext uri="{BB962C8B-B14F-4D97-AF65-F5344CB8AC3E}">
        <p14:creationId xmlns:p14="http://schemas.microsoft.com/office/powerpoint/2010/main" val="677553968"/>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2413" y="739775"/>
            <a:ext cx="6337300" cy="3563938"/>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204</a:t>
            </a:fld>
            <a:endParaRPr lang="de-DE" dirty="0">
              <a:latin typeface="Arial" pitchFamily="34" charset="0"/>
            </a:endParaRPr>
          </a:p>
        </p:txBody>
      </p:sp>
    </p:spTree>
    <p:extLst>
      <p:ext uri="{BB962C8B-B14F-4D97-AF65-F5344CB8AC3E}">
        <p14:creationId xmlns:p14="http://schemas.microsoft.com/office/powerpoint/2010/main" val="407472823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2413" y="739775"/>
            <a:ext cx="6337300" cy="3563938"/>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205</a:t>
            </a:fld>
            <a:endParaRPr lang="de-DE" dirty="0">
              <a:latin typeface="Arial" pitchFamily="34" charset="0"/>
            </a:endParaRPr>
          </a:p>
        </p:txBody>
      </p:sp>
    </p:spTree>
    <p:extLst>
      <p:ext uri="{BB962C8B-B14F-4D97-AF65-F5344CB8AC3E}">
        <p14:creationId xmlns:p14="http://schemas.microsoft.com/office/powerpoint/2010/main" val="15264623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2413" y="739775"/>
            <a:ext cx="6337300" cy="3563938"/>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206</a:t>
            </a:fld>
            <a:endParaRPr lang="de-DE" dirty="0">
              <a:latin typeface="Arial" pitchFamily="34" charset="0"/>
            </a:endParaRPr>
          </a:p>
        </p:txBody>
      </p:sp>
    </p:spTree>
    <p:extLst>
      <p:ext uri="{BB962C8B-B14F-4D97-AF65-F5344CB8AC3E}">
        <p14:creationId xmlns:p14="http://schemas.microsoft.com/office/powerpoint/2010/main" val="857613165"/>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2413" y="739775"/>
            <a:ext cx="6337300" cy="3563938"/>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207</a:t>
            </a:fld>
            <a:endParaRPr lang="de-DE" dirty="0">
              <a:latin typeface="Arial" pitchFamily="34" charset="0"/>
            </a:endParaRPr>
          </a:p>
        </p:txBody>
      </p:sp>
    </p:spTree>
    <p:extLst>
      <p:ext uri="{BB962C8B-B14F-4D97-AF65-F5344CB8AC3E}">
        <p14:creationId xmlns:p14="http://schemas.microsoft.com/office/powerpoint/2010/main" val="18523986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17</a:t>
            </a:fld>
            <a:endParaRPr lang="de-DE" dirty="0">
              <a:latin typeface="Arial" pitchFamily="34" charset="0"/>
            </a:endParaRPr>
          </a:p>
        </p:txBody>
      </p:sp>
    </p:spTree>
    <p:extLst>
      <p:ext uri="{BB962C8B-B14F-4D97-AF65-F5344CB8AC3E}">
        <p14:creationId xmlns:p14="http://schemas.microsoft.com/office/powerpoint/2010/main" val="31512107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8.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1.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1.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jpeg"/><Relationship Id="rId1" Type="http://schemas.openxmlformats.org/officeDocument/2006/relationships/slideMaster" Target="../slideMasters/slideMaster1.xml"/><Relationship Id="rId4" Type="http://schemas.openxmlformats.org/officeDocument/2006/relationships/image" Target="../media/image22.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6.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7.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3.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8.sv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1.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Deep Blue 80pt">
    <p:bg>
      <p:bgRef idx="1001">
        <a:schemeClr val="bg2"/>
      </p:bgRef>
    </p:bg>
    <p:spTree>
      <p:nvGrpSpPr>
        <p:cNvPr id="1" name=""/>
        <p:cNvGrpSpPr/>
        <p:nvPr/>
      </p:nvGrpSpPr>
      <p:grpSpPr>
        <a:xfrm>
          <a:off x="0" y="0"/>
          <a:ext cx="0" cy="0"/>
          <a:chOff x="0" y="0"/>
          <a:chExt cx="0" cy="0"/>
        </a:xfrm>
      </p:grpSpPr>
      <p:pic>
        <p:nvPicPr>
          <p:cNvPr id="6" name="Cognisphere" descr="A picture containing fireworks, star, table, sky&#10;&#10;Description automatically generated">
            <a:extLst>
              <a:ext uri="{FF2B5EF4-FFF2-40B4-BE49-F238E27FC236}">
                <a16:creationId xmlns:a16="http://schemas.microsoft.com/office/drawing/2014/main" id="{591CD5A4-BDEB-4734-8FA5-5C3B4A08A49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4"/>
            <a:ext cx="11376788" cy="2462213"/>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700"/>
            </a:stretch>
          </a:blipFill>
        </p:spPr>
        <p:txBody>
          <a:bodyPr rIns="0" bIns="0" anchor="t" anchorCtr="0">
            <a:spAutoFit/>
          </a:bodyPr>
          <a:lstStyle>
            <a:lvl1pPr marL="540000">
              <a:lnSpc>
                <a:spcPct val="100000"/>
              </a:lnSpc>
              <a:defRPr sz="8000">
                <a:solidFill>
                  <a:schemeClr val="tx1"/>
                </a:solidFill>
              </a:defRPr>
            </a:lvl1pPr>
          </a:lstStyle>
          <a:p>
            <a:r>
              <a:rPr lang="en-US" dirty="0"/>
              <a:t>Click to edit Master title style 8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7"/>
            <a:ext cx="9288000" cy="1930398"/>
          </a:xfrm>
          <a:prstGeom prst="rect">
            <a:avLst/>
          </a:prstGeom>
        </p:spPr>
        <p:txBody>
          <a:bodyPr lIns="0" tIns="3492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dirty="0"/>
              <a:t>Subhead for headline size 80 </a:t>
            </a:r>
            <a:r>
              <a:rPr lang="en-US" dirty="0" err="1"/>
              <a:t>pt</a:t>
            </a:r>
            <a:endParaRPr lang="en-US"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en-US" dirty="0"/>
              <a:t>Restricted | © Siemens 20XX | Author | Department | YYYY-MM-DD</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02625059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picture light 48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dirty="0"/>
              <a:t>Click to edit </a:t>
            </a:r>
            <a:br>
              <a:rPr lang="en-US" dirty="0"/>
            </a:br>
            <a:r>
              <a:rPr lang="en-US" dirty="0"/>
              <a:t>Master title style 48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dirty="0"/>
              <a:t>Restricted | © Siemens 20XX | Author | Department | YYYY-MM-DD</a:t>
            </a:r>
          </a:p>
        </p:txBody>
      </p:sp>
      <p:pic>
        <p:nvPicPr>
          <p:cNvPr id="9" name="Siemens Logo">
            <a:extLst>
              <a:ext uri="{FF2B5EF4-FFF2-40B4-BE49-F238E27FC236}">
                <a16:creationId xmlns:a16="http://schemas.microsoft.com/office/drawing/2014/main" id="{46D369A7-07BD-4B91-9E53-807AAAF0C30C}"/>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91266537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picture light 40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dirty="0"/>
              <a:t>Restricted | © Siemens 20XX | Author | Department | YYYY-MM-DD</a:t>
            </a:r>
          </a:p>
        </p:txBody>
      </p:sp>
      <p:pic>
        <p:nvPicPr>
          <p:cNvPr id="9" name="Siemens Logo">
            <a:extLst>
              <a:ext uri="{FF2B5EF4-FFF2-40B4-BE49-F238E27FC236}">
                <a16:creationId xmlns:a16="http://schemas.microsoft.com/office/drawing/2014/main" id="{DC2D4109-C5C2-42BB-B5A0-2F6793388E2C}"/>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48489209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picture light 36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dirty="0"/>
              <a:t>Click to edit </a:t>
            </a:r>
            <a:br>
              <a:rPr lang="en-US" dirty="0"/>
            </a:br>
            <a:r>
              <a:rPr lang="en-US" dirty="0"/>
              <a:t>Master title style </a:t>
            </a:r>
            <a:br>
              <a:rPr lang="en-US" dirty="0"/>
            </a:br>
            <a:r>
              <a:rPr lang="en-US" dirty="0"/>
              <a:t>36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36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dirty="0"/>
              <a:t>Restricted | © Siemens 20XX | Author | Department | YYYY-MM-DD</a:t>
            </a:r>
          </a:p>
        </p:txBody>
      </p:sp>
      <p:pic>
        <p:nvPicPr>
          <p:cNvPr id="9" name="Siemens Logo">
            <a:extLst>
              <a:ext uri="{FF2B5EF4-FFF2-40B4-BE49-F238E27FC236}">
                <a16:creationId xmlns:a16="http://schemas.microsoft.com/office/drawing/2014/main" id="{298AE3DB-A74B-4AD6-A37C-FBCFB647B93F}"/>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119060479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picture Gradient 48pt">
    <p:bg>
      <p:bgPr>
        <a:gradFill>
          <a:gsLst>
            <a:gs pos="52000">
              <a:schemeClr val="bg2"/>
            </a:gs>
            <a:gs pos="100000">
              <a:schemeClr val="accent1"/>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dirty="0"/>
              <a:t>Click to edit </a:t>
            </a:r>
            <a:br>
              <a:rPr lang="en-US" dirty="0"/>
            </a:br>
            <a:r>
              <a:rPr lang="en-US" dirty="0"/>
              <a:t>Master title style 48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dirty="0"/>
              <a:t>Restricted | © Siemens 20XX | Author | Department | YYYY-MM-DD</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0942360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picture Gradient 40pt">
    <p:bg>
      <p:bgPr>
        <a:gradFill>
          <a:gsLst>
            <a:gs pos="52000">
              <a:schemeClr val="bg2"/>
            </a:gs>
            <a:gs pos="100000">
              <a:schemeClr val="accent1"/>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dirty="0"/>
              <a:t>Restricted | © Siemens 20XX | Author | Department | YYYY-MM-DD</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53037772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picture Gradient 36pt">
    <p:bg>
      <p:bgPr>
        <a:gradFill>
          <a:gsLst>
            <a:gs pos="52000">
              <a:schemeClr val="bg2"/>
            </a:gs>
            <a:gs pos="100000">
              <a:schemeClr val="accent1"/>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dirty="0"/>
              <a:t>Click to edit </a:t>
            </a:r>
            <a:br>
              <a:rPr lang="en-US" dirty="0"/>
            </a:br>
            <a:r>
              <a:rPr lang="en-US" dirty="0"/>
              <a:t>Master title style </a:t>
            </a:r>
            <a:br>
              <a:rPr lang="en-US" dirty="0"/>
            </a:br>
            <a:r>
              <a:rPr lang="en-US" dirty="0"/>
              <a:t>36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36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dirty="0"/>
              <a:t>Restricted | © Siemens 20XX | Author | Department | YYYY-MM-DD</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85282429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picture Gradient 90° 48pt">
    <p:bg>
      <p:bgPr>
        <a:gradFill>
          <a:gsLst>
            <a:gs pos="33000">
              <a:schemeClr val="bg2"/>
            </a:gs>
            <a:gs pos="100000">
              <a:schemeClr val="accent1"/>
            </a:gs>
          </a:gsLst>
          <a:lin ang="0" scaled="0"/>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dirty="0"/>
              <a:t>Click to edit </a:t>
            </a:r>
            <a:br>
              <a:rPr lang="en-US" dirty="0"/>
            </a:br>
            <a:r>
              <a:rPr lang="en-US" dirty="0"/>
              <a:t>Master title style 48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dirty="0"/>
              <a:t>Restricted | © Siemens 20XX | Author | Department | YYYY-MM-DD</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29832566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picture Gradient 90° 40pt">
    <p:bg>
      <p:bgPr>
        <a:gradFill>
          <a:gsLst>
            <a:gs pos="33000">
              <a:schemeClr val="bg2"/>
            </a:gs>
            <a:gs pos="100000">
              <a:schemeClr val="accent1"/>
            </a:gs>
          </a:gsLst>
          <a:lin ang="0" scaled="0"/>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dirty="0"/>
              <a:t>Restricted | © Siemens 20XX | Author | Department | YYYY-MM-DD</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19736171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picture Gradient 90° 36pt">
    <p:bg>
      <p:bgPr>
        <a:gradFill>
          <a:gsLst>
            <a:gs pos="33000">
              <a:schemeClr val="bg2"/>
            </a:gs>
            <a:gs pos="100000">
              <a:schemeClr val="accent1"/>
            </a:gs>
          </a:gsLst>
          <a:lin ang="0" scaled="0"/>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dirty="0"/>
              <a:t>Click to edit </a:t>
            </a:r>
            <a:br>
              <a:rPr lang="en-US" dirty="0"/>
            </a:br>
            <a:r>
              <a:rPr lang="en-US" dirty="0"/>
              <a:t>Master title style </a:t>
            </a:r>
            <a:br>
              <a:rPr lang="en-US" dirty="0"/>
            </a:br>
            <a:r>
              <a:rPr lang="en-US" dirty="0"/>
              <a:t>36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line for headline size 36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dirty="0"/>
              <a:t>Restricted | © Siemens 20XX | Author | Department | YYYY-MM-DD</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87088937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picture Gradient Green 48pt">
    <p:bg>
      <p:bgPr>
        <a:gradFill>
          <a:gsLst>
            <a:gs pos="52000">
              <a:schemeClr val="bg2"/>
            </a:gs>
            <a:gs pos="100000">
              <a:srgbClr val="00AF8E"/>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dirty="0"/>
              <a:t>Click to edit </a:t>
            </a:r>
            <a:br>
              <a:rPr lang="en-US" dirty="0"/>
            </a:br>
            <a:r>
              <a:rPr lang="en-US" dirty="0"/>
              <a:t>Master title style 48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dirty="0"/>
              <a:t>Restricted | © Siemens 20XX | Author | Department | YYYY-MM-DD</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58991117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Deep Blue 60pt">
    <p:bg>
      <p:bgRef idx="1001">
        <a:schemeClr val="bg2"/>
      </p:bgRef>
    </p:bg>
    <p:spTree>
      <p:nvGrpSpPr>
        <p:cNvPr id="1" name=""/>
        <p:cNvGrpSpPr/>
        <p:nvPr/>
      </p:nvGrpSpPr>
      <p:grpSpPr>
        <a:xfrm>
          <a:off x="0" y="0"/>
          <a:ext cx="0" cy="0"/>
          <a:chOff x="0" y="0"/>
          <a:chExt cx="0" cy="0"/>
        </a:xfrm>
      </p:grpSpPr>
      <p:pic>
        <p:nvPicPr>
          <p:cNvPr id="7" name="Cognisphere" descr="A close up of a light&#10;&#10;Description automatically generated">
            <a:extLst>
              <a:ext uri="{FF2B5EF4-FFF2-40B4-BE49-F238E27FC236}">
                <a16:creationId xmlns:a16="http://schemas.microsoft.com/office/drawing/2014/main" id="{F50DEF7C-D243-494F-A738-41FC9AF515A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769989"/>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500"/>
            </a:stretch>
          </a:blipFill>
        </p:spPr>
        <p:txBody>
          <a:bodyPr rIns="0" bIns="0" anchor="t" anchorCtr="0">
            <a:spAutoFit/>
          </a:bodyPr>
          <a:lstStyle>
            <a:lvl1pPr marL="414000">
              <a:lnSpc>
                <a:spcPct val="100000"/>
              </a:lnSpc>
              <a:defRPr sz="6000">
                <a:solidFill>
                  <a:schemeClr val="tx1"/>
                </a:solidFill>
              </a:defRPr>
            </a:lvl1pPr>
          </a:lstStyle>
          <a:p>
            <a:r>
              <a:rPr lang="en-US" dirty="0"/>
              <a:t>Click to edit </a:t>
            </a:r>
            <a:br>
              <a:rPr lang="en-US" dirty="0"/>
            </a:br>
            <a:r>
              <a:rPr lang="en-US" dirty="0"/>
              <a:t>Master title style</a:t>
            </a:r>
            <a:br>
              <a:rPr lang="en-US" dirty="0"/>
            </a:br>
            <a:r>
              <a:rPr lang="en-US" dirty="0"/>
              <a:t>M3 lines 6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4184453"/>
            <a:ext cx="9288000" cy="1622622"/>
          </a:xfrm>
          <a:prstGeom prst="rect">
            <a:avLst/>
          </a:prstGeom>
        </p:spPr>
        <p:txBody>
          <a:bodyPr lIns="0" tIns="3492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60 </a:t>
            </a:r>
            <a:r>
              <a:rPr lang="en-US" dirty="0" err="1"/>
              <a:t>pt</a:t>
            </a:r>
            <a:endParaRPr lang="en-US"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en-US" dirty="0"/>
              <a:t>Restricted | © Siemens 20XX | Author | Department | YYYY-MM-DD</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27311794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picture Gradient Green 40pt">
    <p:bg>
      <p:bgPr>
        <a:gradFill>
          <a:gsLst>
            <a:gs pos="52000">
              <a:schemeClr val="bg2"/>
            </a:gs>
            <a:gs pos="100000">
              <a:srgbClr val="00AF8E"/>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dirty="0"/>
              <a:t>Restricted | © Siemens 20XX | Author | Department | YYYY-MM-DD</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88019628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picture Gradient Green 36pt">
    <p:bg>
      <p:bgPr>
        <a:gradFill>
          <a:gsLst>
            <a:gs pos="52000">
              <a:schemeClr val="bg2"/>
            </a:gs>
            <a:gs pos="100000">
              <a:srgbClr val="00AF8E"/>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dirty="0"/>
              <a:t>Click to edit </a:t>
            </a:r>
            <a:br>
              <a:rPr lang="en-US" dirty="0"/>
            </a:br>
            <a:r>
              <a:rPr lang="en-US" dirty="0"/>
              <a:t>Master title style </a:t>
            </a:r>
            <a:br>
              <a:rPr lang="en-US" dirty="0"/>
            </a:br>
            <a:r>
              <a:rPr lang="en-US" dirty="0"/>
              <a:t>36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36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dirty="0"/>
              <a:t>Restricted | © Siemens 20XX | Author | Department | YYYY-MM-DD</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74164754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picture Gradient Blue 48pt">
    <p:bg>
      <p:bgPr>
        <a:gradFill>
          <a:gsLst>
            <a:gs pos="52000">
              <a:schemeClr val="bg2"/>
            </a:gs>
            <a:gs pos="100000">
              <a:schemeClr val="accent4"/>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dirty="0"/>
              <a:t>Click to edit </a:t>
            </a:r>
            <a:br>
              <a:rPr lang="en-US" dirty="0"/>
            </a:br>
            <a:r>
              <a:rPr lang="en-US" dirty="0"/>
              <a:t>Master title style 48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dirty="0"/>
              <a:t>Restricted | © Siemens 20XX | Author | Department | YYYY-MM-DD</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83567349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picture Gradient Blue 40pt">
    <p:bg>
      <p:bgPr>
        <a:gradFill>
          <a:gsLst>
            <a:gs pos="52000">
              <a:schemeClr val="bg2"/>
            </a:gs>
            <a:gs pos="100000">
              <a:schemeClr val="accent4"/>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dirty="0"/>
              <a:t>Restricted | © Siemens 20XX | Author | Department | YYYY-MM-DD</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62222597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picture Gradient Blue 36pt">
    <p:bg>
      <p:bgPr>
        <a:gradFill>
          <a:gsLst>
            <a:gs pos="52000">
              <a:schemeClr val="bg2"/>
            </a:gs>
            <a:gs pos="100000">
              <a:schemeClr val="accent4"/>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dirty="0"/>
              <a:t>Click to edit </a:t>
            </a:r>
            <a:br>
              <a:rPr lang="en-US" dirty="0"/>
            </a:br>
            <a:r>
              <a:rPr lang="en-US" dirty="0"/>
              <a:t>Master title style </a:t>
            </a:r>
            <a:br>
              <a:rPr lang="en-US" dirty="0"/>
            </a:br>
            <a:r>
              <a:rPr lang="en-US" dirty="0"/>
              <a:t>36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36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dirty="0"/>
              <a:t>Restricted | © Siemens 20XX | Author | Department | YYYY-MM-DD</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68948699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hapter title dark 8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46221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700"/>
            </a:stretch>
          </a:blipFill>
        </p:spPr>
        <p:txBody>
          <a:bodyPr rIns="0" bIns="0" anchor="t" anchorCtr="0">
            <a:spAutoFit/>
          </a:bodyPr>
          <a:lstStyle>
            <a:lvl1pPr marL="540000">
              <a:lnSpc>
                <a:spcPct val="100000"/>
              </a:lnSpc>
              <a:defRPr sz="8000">
                <a:solidFill>
                  <a:schemeClr val="tx1"/>
                </a:solidFill>
              </a:defRPr>
            </a:lvl1pPr>
          </a:lstStyle>
          <a:p>
            <a:r>
              <a:rPr lang="en-US" dirty="0"/>
              <a:t>Click to edit Master title style 8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5"/>
            <a:ext cx="9288000" cy="1930399"/>
          </a:xfrm>
          <a:prstGeom prst="rect">
            <a:avLst/>
          </a:prstGeom>
        </p:spPr>
        <p:txBody>
          <a:bodyPr lIns="0" tIns="3492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dirty="0"/>
              <a:t>Subhead for headline size 80 </a:t>
            </a:r>
            <a:r>
              <a:rPr lang="en-US" dirty="0" err="1"/>
              <a:t>pt</a:t>
            </a:r>
            <a:endParaRPr lang="en-US" dirty="0"/>
          </a:p>
        </p:txBody>
      </p:sp>
      <p:sp>
        <p:nvSpPr>
          <p:cNvPr id="5" name="Footer Placeholder">
            <a:extLst>
              <a:ext uri="{FF2B5EF4-FFF2-40B4-BE49-F238E27FC236}">
                <a16:creationId xmlns:a16="http://schemas.microsoft.com/office/drawing/2014/main" id="{EDBCA456-A643-45C8-9383-5A06099EB621}"/>
              </a:ext>
            </a:extLst>
          </p:cNvPr>
          <p:cNvSpPr>
            <a:spLocks noGrp="1"/>
          </p:cNvSpPr>
          <p:nvPr>
            <p:ph type="ftr" sz="quarter" idx="10"/>
          </p:nvPr>
        </p:nvSpPr>
        <p:spPr>
          <a:xfrm>
            <a:off x="1059160" y="6310800"/>
            <a:ext cx="8640003" cy="547200"/>
          </a:xfrm>
        </p:spPr>
        <p:txBody>
          <a:bodyPr/>
          <a:lstStyle/>
          <a:p>
            <a:r>
              <a:rPr lang="en-US" dirty="0"/>
              <a:t>Restricted | © Siemens 20XX | Author | Department | YYYY-MM-DD</a:t>
            </a:r>
          </a:p>
        </p:txBody>
      </p:sp>
      <p:sp>
        <p:nvSpPr>
          <p:cNvPr id="6" name="Slide Number Placeholder">
            <a:extLst>
              <a:ext uri="{FF2B5EF4-FFF2-40B4-BE49-F238E27FC236}">
                <a16:creationId xmlns:a16="http://schemas.microsoft.com/office/drawing/2014/main" id="{5B05DC85-FD3C-4245-83A1-F6197CB9E08F}"/>
              </a:ext>
            </a:extLst>
          </p:cNvPr>
          <p:cNvSpPr>
            <a:spLocks noGrp="1"/>
          </p:cNvSpPr>
          <p:nvPr>
            <p:ph type="sldNum" sz="quarter" idx="11"/>
          </p:nvPr>
        </p:nvSpPr>
        <p:spPr/>
        <p:txBody>
          <a:bodyPr/>
          <a:lstStyle/>
          <a:p>
            <a:r>
              <a:rPr lang="en-US" dirty="0"/>
              <a:t>Page </a:t>
            </a:r>
            <a:fld id="{15EBE321-CBB1-4E91-BD14-37C8D44326FB}" type="slidenum">
              <a:rPr lang="en-US" smtClean="0"/>
              <a:pPr/>
              <a:t>‹Nr.›</a:t>
            </a:fld>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404299050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hapter title dark 6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769989"/>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500"/>
            </a:stretch>
          </a:blipFill>
        </p:spPr>
        <p:txBody>
          <a:bodyPr rIns="0" bIns="0" anchor="t" anchorCtr="0">
            <a:spAutoFit/>
          </a:bodyPr>
          <a:lstStyle>
            <a:lvl1pPr marL="414000">
              <a:lnSpc>
                <a:spcPct val="100000"/>
              </a:lnSpc>
              <a:defRPr sz="6000">
                <a:solidFill>
                  <a:schemeClr val="tx1"/>
                </a:solidFill>
              </a:defRPr>
            </a:lvl1pPr>
          </a:lstStyle>
          <a:p>
            <a:r>
              <a:rPr lang="en-US" dirty="0"/>
              <a:t>Click to edit </a:t>
            </a:r>
            <a:br>
              <a:rPr lang="en-US" dirty="0"/>
            </a:br>
            <a:r>
              <a:rPr lang="en-US" dirty="0"/>
              <a:t>Master title style</a:t>
            </a:r>
            <a:br>
              <a:rPr lang="en-US" dirty="0"/>
            </a:br>
            <a:r>
              <a:rPr lang="en-US" dirty="0"/>
              <a:t>3 lines 6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4184452"/>
            <a:ext cx="9288000" cy="1622622"/>
          </a:xfrm>
          <a:prstGeom prst="rect">
            <a:avLst/>
          </a:prstGeom>
        </p:spPr>
        <p:txBody>
          <a:bodyPr lIns="0" tIns="3492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60 </a:t>
            </a:r>
            <a:r>
              <a:rPr lang="en-US" dirty="0" err="1"/>
              <a:t>pt</a:t>
            </a:r>
            <a:endParaRPr lang="en-US" dirty="0"/>
          </a:p>
        </p:txBody>
      </p:sp>
      <p:sp>
        <p:nvSpPr>
          <p:cNvPr id="5" name="Footer Placeholder">
            <a:extLst>
              <a:ext uri="{FF2B5EF4-FFF2-40B4-BE49-F238E27FC236}">
                <a16:creationId xmlns:a16="http://schemas.microsoft.com/office/drawing/2014/main" id="{21031E7D-E514-484A-9CCD-52A9C2222261}"/>
              </a:ext>
            </a:extLst>
          </p:cNvPr>
          <p:cNvSpPr>
            <a:spLocks noGrp="1"/>
          </p:cNvSpPr>
          <p:nvPr>
            <p:ph type="ftr" sz="quarter" idx="10"/>
          </p:nvPr>
        </p:nvSpPr>
        <p:spPr>
          <a:xfrm>
            <a:off x="1059160" y="6310800"/>
            <a:ext cx="8640003" cy="547200"/>
          </a:xfrm>
        </p:spPr>
        <p:txBody>
          <a:bodyPr/>
          <a:lstStyle/>
          <a:p>
            <a:r>
              <a:rPr lang="en-US" dirty="0"/>
              <a:t>Restricted | © Siemens 20XX | Author | Department | YYYY-MM-DD</a:t>
            </a:r>
          </a:p>
        </p:txBody>
      </p:sp>
      <p:sp>
        <p:nvSpPr>
          <p:cNvPr id="6" name="Slide Number Placeholder">
            <a:extLst>
              <a:ext uri="{FF2B5EF4-FFF2-40B4-BE49-F238E27FC236}">
                <a16:creationId xmlns:a16="http://schemas.microsoft.com/office/drawing/2014/main" id="{447F428C-5AA7-413C-A721-B7AADDF8B425}"/>
              </a:ext>
            </a:extLst>
          </p:cNvPr>
          <p:cNvSpPr>
            <a:spLocks noGrp="1"/>
          </p:cNvSpPr>
          <p:nvPr>
            <p:ph type="sldNum" sz="quarter" idx="11"/>
          </p:nvPr>
        </p:nvSpPr>
        <p:spPr/>
        <p:txBody>
          <a:bodyPr/>
          <a:lstStyle/>
          <a:p>
            <a:r>
              <a:rPr lang="en-US" dirty="0"/>
              <a:t>Page </a:t>
            </a:r>
            <a:fld id="{15EBE321-CBB1-4E91-BD14-37C8D44326FB}" type="slidenum">
              <a:rPr lang="en-US" smtClean="0"/>
              <a:pPr/>
              <a:t>‹Nr.›</a:t>
            </a:fld>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29485912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hapter title dark 4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4"/>
            <a:ext cx="11376788" cy="246221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500"/>
            </a:stretch>
          </a:blipFill>
        </p:spPr>
        <p:txBody>
          <a:bodyPr wrap="square" rIns="0" bIns="0" anchor="t" anchorCtr="0">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a:t>
            </a:r>
            <a:br>
              <a:rPr lang="en-US" dirty="0"/>
            </a:br>
            <a:r>
              <a:rPr lang="en-US" dirty="0"/>
              <a:t>extra long headlines</a:t>
            </a:r>
            <a:br>
              <a:rPr lang="en-US" dirty="0"/>
            </a:br>
            <a:r>
              <a:rPr lang="en-US" dirty="0"/>
              <a:t>4 lines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7"/>
            <a:ext cx="9288000" cy="1930121"/>
          </a:xfrm>
          <a:prstGeom prst="rect">
            <a:avLst/>
          </a:prstGeom>
        </p:spPr>
        <p:txBody>
          <a:bodyPr lIns="0" tIns="3492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40 </a:t>
            </a:r>
            <a:r>
              <a:rPr lang="en-US" dirty="0" err="1"/>
              <a:t>pt</a:t>
            </a:r>
            <a:endParaRPr lang="en-US" dirty="0"/>
          </a:p>
        </p:txBody>
      </p:sp>
      <p:sp>
        <p:nvSpPr>
          <p:cNvPr id="5" name="Footer Placeholder">
            <a:extLst>
              <a:ext uri="{FF2B5EF4-FFF2-40B4-BE49-F238E27FC236}">
                <a16:creationId xmlns:a16="http://schemas.microsoft.com/office/drawing/2014/main" id="{1498F1A9-6241-4523-AFBC-C74F3AA4AC35}"/>
              </a:ext>
            </a:extLst>
          </p:cNvPr>
          <p:cNvSpPr>
            <a:spLocks noGrp="1"/>
          </p:cNvSpPr>
          <p:nvPr>
            <p:ph type="ftr" sz="quarter" idx="10"/>
          </p:nvPr>
        </p:nvSpPr>
        <p:spPr>
          <a:xfrm>
            <a:off x="1059160" y="6310800"/>
            <a:ext cx="8639240" cy="547200"/>
          </a:xfrm>
        </p:spPr>
        <p:txBody>
          <a:bodyPr/>
          <a:lstStyle/>
          <a:p>
            <a:r>
              <a:rPr lang="en-US" dirty="0"/>
              <a:t>Restricted | © Siemens 20XX | Author | Department | YYYY-MM-DD</a:t>
            </a:r>
          </a:p>
        </p:txBody>
      </p:sp>
      <p:sp>
        <p:nvSpPr>
          <p:cNvPr id="6" name="Slide Number Placeholder">
            <a:extLst>
              <a:ext uri="{FF2B5EF4-FFF2-40B4-BE49-F238E27FC236}">
                <a16:creationId xmlns:a16="http://schemas.microsoft.com/office/drawing/2014/main" id="{267619FE-01EE-4013-B481-A8C505C5D26A}"/>
              </a:ext>
            </a:extLst>
          </p:cNvPr>
          <p:cNvSpPr>
            <a:spLocks noGrp="1"/>
          </p:cNvSpPr>
          <p:nvPr>
            <p:ph type="sldNum" sz="quarter" idx="11"/>
          </p:nvPr>
        </p:nvSpPr>
        <p:spPr/>
        <p:txBody>
          <a:bodyPr/>
          <a:lstStyle/>
          <a:p>
            <a:r>
              <a:rPr lang="en-US" dirty="0"/>
              <a:t>Page </a:t>
            </a:r>
            <a:fld id="{15EBE321-CBB1-4E91-BD14-37C8D44326FB}" type="slidenum">
              <a:rPr lang="en-US" smtClean="0"/>
              <a:pPr/>
              <a:t>‹Nr.›</a:t>
            </a:fld>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41632210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hapter title light 8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46221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700"/>
            </a:stretch>
          </a:blipFill>
        </p:spPr>
        <p:txBody>
          <a:bodyPr rIns="0" bIns="0" anchor="t" anchorCtr="0">
            <a:spAutoFit/>
          </a:bodyPr>
          <a:lstStyle>
            <a:lvl1pPr marL="540000">
              <a:lnSpc>
                <a:spcPct val="100000"/>
              </a:lnSpc>
              <a:defRPr sz="8000">
                <a:solidFill>
                  <a:schemeClr val="tx1"/>
                </a:solidFill>
              </a:defRPr>
            </a:lvl1pPr>
          </a:lstStyle>
          <a:p>
            <a:r>
              <a:rPr lang="en-US" dirty="0"/>
              <a:t>Click to edit Master title style 8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7"/>
            <a:ext cx="9288000" cy="1930398"/>
          </a:xfrm>
          <a:prstGeom prst="rect">
            <a:avLst/>
          </a:prstGeom>
        </p:spPr>
        <p:txBody>
          <a:bodyPr lIns="0" tIns="3492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dirty="0"/>
              <a:t>Subhead for headline size 80 </a:t>
            </a:r>
            <a:r>
              <a:rPr lang="en-US" dirty="0" err="1"/>
              <a:t>pt</a:t>
            </a:r>
            <a:endParaRPr lang="en-US" dirty="0"/>
          </a:p>
        </p:txBody>
      </p:sp>
      <p:sp>
        <p:nvSpPr>
          <p:cNvPr id="5" name="Footer Placeholder">
            <a:extLst>
              <a:ext uri="{FF2B5EF4-FFF2-40B4-BE49-F238E27FC236}">
                <a16:creationId xmlns:a16="http://schemas.microsoft.com/office/drawing/2014/main" id="{EDBCA456-A643-45C8-9383-5A06099EB621}"/>
              </a:ext>
            </a:extLst>
          </p:cNvPr>
          <p:cNvSpPr>
            <a:spLocks noGrp="1"/>
          </p:cNvSpPr>
          <p:nvPr>
            <p:ph type="ftr" sz="quarter" idx="10"/>
          </p:nvPr>
        </p:nvSpPr>
        <p:spPr>
          <a:xfrm>
            <a:off x="1059160" y="6310800"/>
            <a:ext cx="8640003" cy="547200"/>
          </a:xfrm>
        </p:spPr>
        <p:txBody>
          <a:bodyPr/>
          <a:lstStyle/>
          <a:p>
            <a:r>
              <a:rPr lang="en-US" dirty="0"/>
              <a:t>Restricted | © Siemens 20XX | Author | Department | YYYY-MM-DD</a:t>
            </a:r>
          </a:p>
        </p:txBody>
      </p:sp>
      <p:sp>
        <p:nvSpPr>
          <p:cNvPr id="6" name="Slide Number Placeholder">
            <a:extLst>
              <a:ext uri="{FF2B5EF4-FFF2-40B4-BE49-F238E27FC236}">
                <a16:creationId xmlns:a16="http://schemas.microsoft.com/office/drawing/2014/main" id="{5B05DC85-FD3C-4245-83A1-F6197CB9E08F}"/>
              </a:ext>
            </a:extLst>
          </p:cNvPr>
          <p:cNvSpPr>
            <a:spLocks noGrp="1"/>
          </p:cNvSpPr>
          <p:nvPr>
            <p:ph type="sldNum" sz="quarter" idx="11"/>
          </p:nvPr>
        </p:nvSpPr>
        <p:spPr/>
        <p:txBody>
          <a:bodyPr/>
          <a:lstStyle/>
          <a:p>
            <a:r>
              <a:rPr lang="en-US" dirty="0"/>
              <a:t>Page </a:t>
            </a:r>
            <a:fld id="{15EBE321-CBB1-4E91-BD14-37C8D44326FB}" type="slidenum">
              <a:rPr lang="en-US" smtClean="0"/>
              <a:pPr/>
              <a:t>‹Nr.›</a:t>
            </a:fld>
            <a:endParaRPr lang="en-US" dirty="0"/>
          </a:p>
        </p:txBody>
      </p:sp>
      <p:pic>
        <p:nvPicPr>
          <p:cNvPr id="7" name="Siemens Logo">
            <a:extLst>
              <a:ext uri="{FF2B5EF4-FFF2-40B4-BE49-F238E27FC236}">
                <a16:creationId xmlns:a16="http://schemas.microsoft.com/office/drawing/2014/main" id="{4FC1DCA2-253A-4E87-91E4-D402488C8D78}"/>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14551110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pter title light 6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769989"/>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500"/>
            </a:stretch>
          </a:blipFill>
        </p:spPr>
        <p:txBody>
          <a:bodyPr rIns="0" bIns="0" anchor="t" anchorCtr="0">
            <a:spAutoFit/>
          </a:bodyPr>
          <a:lstStyle>
            <a:lvl1pPr marL="414000">
              <a:lnSpc>
                <a:spcPct val="100000"/>
              </a:lnSpc>
              <a:defRPr sz="6000">
                <a:solidFill>
                  <a:schemeClr val="tx1"/>
                </a:solidFill>
              </a:defRPr>
            </a:lvl1pPr>
          </a:lstStyle>
          <a:p>
            <a:r>
              <a:rPr lang="en-US" dirty="0"/>
              <a:t>Click to edit </a:t>
            </a:r>
            <a:br>
              <a:rPr lang="en-US" dirty="0"/>
            </a:br>
            <a:r>
              <a:rPr lang="en-US" dirty="0"/>
              <a:t>Master title style</a:t>
            </a:r>
            <a:br>
              <a:rPr lang="en-US" dirty="0"/>
            </a:br>
            <a:r>
              <a:rPr lang="en-US" dirty="0"/>
              <a:t>3 lines 6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4184451"/>
            <a:ext cx="9288000" cy="1622623"/>
          </a:xfrm>
          <a:prstGeom prst="rect">
            <a:avLst/>
          </a:prstGeom>
        </p:spPr>
        <p:txBody>
          <a:bodyPr lIns="0" tIns="3492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60 </a:t>
            </a:r>
            <a:r>
              <a:rPr lang="en-US" dirty="0" err="1"/>
              <a:t>pt</a:t>
            </a:r>
            <a:endParaRPr lang="en-US" dirty="0"/>
          </a:p>
        </p:txBody>
      </p:sp>
      <p:sp>
        <p:nvSpPr>
          <p:cNvPr id="5" name="Footer Placeholder">
            <a:extLst>
              <a:ext uri="{FF2B5EF4-FFF2-40B4-BE49-F238E27FC236}">
                <a16:creationId xmlns:a16="http://schemas.microsoft.com/office/drawing/2014/main" id="{21031E7D-E514-484A-9CCD-52A9C2222261}"/>
              </a:ext>
            </a:extLst>
          </p:cNvPr>
          <p:cNvSpPr>
            <a:spLocks noGrp="1"/>
          </p:cNvSpPr>
          <p:nvPr>
            <p:ph type="ftr" sz="quarter" idx="10"/>
          </p:nvPr>
        </p:nvSpPr>
        <p:spPr>
          <a:xfrm>
            <a:off x="1059160" y="6310800"/>
            <a:ext cx="8640003" cy="547200"/>
          </a:xfrm>
        </p:spPr>
        <p:txBody>
          <a:bodyPr/>
          <a:lstStyle/>
          <a:p>
            <a:r>
              <a:rPr lang="en-US" dirty="0"/>
              <a:t>Restricted | © Siemens 20XX | Author | Department | YYYY-MM-DD</a:t>
            </a:r>
          </a:p>
        </p:txBody>
      </p:sp>
      <p:sp>
        <p:nvSpPr>
          <p:cNvPr id="6" name="Slide Number Placeholder">
            <a:extLst>
              <a:ext uri="{FF2B5EF4-FFF2-40B4-BE49-F238E27FC236}">
                <a16:creationId xmlns:a16="http://schemas.microsoft.com/office/drawing/2014/main" id="{447F428C-5AA7-413C-A721-B7AADDF8B425}"/>
              </a:ext>
            </a:extLst>
          </p:cNvPr>
          <p:cNvSpPr>
            <a:spLocks noGrp="1"/>
          </p:cNvSpPr>
          <p:nvPr>
            <p:ph type="sldNum" sz="quarter" idx="11"/>
          </p:nvPr>
        </p:nvSpPr>
        <p:spPr/>
        <p:txBody>
          <a:bodyPr/>
          <a:lstStyle/>
          <a:p>
            <a:r>
              <a:rPr lang="en-US" dirty="0"/>
              <a:t>Page </a:t>
            </a:r>
            <a:fld id="{15EBE321-CBB1-4E91-BD14-37C8D44326FB}" type="slidenum">
              <a:rPr lang="en-US" smtClean="0"/>
              <a:pPr/>
              <a:t>‹Nr.›</a:t>
            </a:fld>
            <a:endParaRPr lang="en-US" dirty="0"/>
          </a:p>
        </p:txBody>
      </p:sp>
      <p:pic>
        <p:nvPicPr>
          <p:cNvPr id="7" name="Siemens Logo">
            <a:extLst>
              <a:ext uri="{FF2B5EF4-FFF2-40B4-BE49-F238E27FC236}">
                <a16:creationId xmlns:a16="http://schemas.microsoft.com/office/drawing/2014/main" id="{3543E2CC-A901-4194-A712-51CE520302B1}"/>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39439022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Deep Blue 40pt">
    <p:bg>
      <p:bgRef idx="1001">
        <a:schemeClr val="bg2"/>
      </p:bgRef>
    </p:bg>
    <p:spTree>
      <p:nvGrpSpPr>
        <p:cNvPr id="1" name=""/>
        <p:cNvGrpSpPr/>
        <p:nvPr/>
      </p:nvGrpSpPr>
      <p:grpSpPr>
        <a:xfrm>
          <a:off x="0" y="0"/>
          <a:ext cx="0" cy="0"/>
          <a:chOff x="0" y="0"/>
          <a:chExt cx="0" cy="0"/>
        </a:xfrm>
      </p:grpSpPr>
      <p:pic>
        <p:nvPicPr>
          <p:cNvPr id="7" name="Cognisphere" descr="A picture containing light, star&#10;&#10;Description automatically generated">
            <a:extLst>
              <a:ext uri="{FF2B5EF4-FFF2-40B4-BE49-F238E27FC236}">
                <a16:creationId xmlns:a16="http://schemas.microsoft.com/office/drawing/2014/main" id="{AA220E05-4C1E-4F58-BFC0-57C07A95F70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9288000" cy="2462213"/>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500"/>
            </a:stretch>
          </a:blipFill>
        </p:spPr>
        <p:txBody>
          <a:bodyPr wrap="square" rIns="0" bIns="0" anchor="t" anchorCtr="0">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a:t>
            </a:r>
            <a:br>
              <a:rPr lang="en-US" dirty="0"/>
            </a:br>
            <a:r>
              <a:rPr lang="en-US" dirty="0"/>
              <a:t>extra long headlines</a:t>
            </a:r>
            <a:br>
              <a:rPr lang="en-US" dirty="0"/>
            </a:br>
            <a:r>
              <a:rPr lang="en-US" dirty="0"/>
              <a:t>4 lines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5"/>
            <a:ext cx="9288000" cy="1930123"/>
          </a:xfrm>
          <a:prstGeom prst="rect">
            <a:avLst/>
          </a:prstGeom>
        </p:spPr>
        <p:txBody>
          <a:bodyPr lIns="0" tIns="3492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40 </a:t>
            </a:r>
            <a:r>
              <a:rPr lang="en-US" dirty="0" err="1"/>
              <a:t>pt</a:t>
            </a:r>
            <a:endParaRPr lang="en-US"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en-US" dirty="0"/>
              <a:t>Restricted | © Siemens 20XX | Author | Department | YYYY-MM-DD</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02496156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hapter title light 4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399" y="1414463"/>
            <a:ext cx="11370437" cy="246221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500"/>
            </a:stretch>
          </a:blipFill>
        </p:spPr>
        <p:txBody>
          <a:bodyPr wrap="square" rIns="0" bIns="0" anchor="t" anchorCtr="0">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a:t>
            </a:r>
            <a:br>
              <a:rPr lang="en-US" dirty="0"/>
            </a:br>
            <a:r>
              <a:rPr lang="en-US" dirty="0"/>
              <a:t>extra long headlines</a:t>
            </a:r>
            <a:br>
              <a:rPr lang="en-US" dirty="0"/>
            </a:br>
            <a:r>
              <a:rPr lang="en-US" dirty="0"/>
              <a:t>4 lines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5"/>
            <a:ext cx="9288000" cy="1930123"/>
          </a:xfrm>
          <a:prstGeom prst="rect">
            <a:avLst/>
          </a:prstGeom>
        </p:spPr>
        <p:txBody>
          <a:bodyPr lIns="0" tIns="3492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40 </a:t>
            </a:r>
            <a:r>
              <a:rPr lang="en-US" dirty="0" err="1"/>
              <a:t>pt</a:t>
            </a:r>
            <a:endParaRPr lang="en-US" dirty="0"/>
          </a:p>
        </p:txBody>
      </p:sp>
      <p:sp>
        <p:nvSpPr>
          <p:cNvPr id="5" name="Footer Placeholder">
            <a:extLst>
              <a:ext uri="{FF2B5EF4-FFF2-40B4-BE49-F238E27FC236}">
                <a16:creationId xmlns:a16="http://schemas.microsoft.com/office/drawing/2014/main" id="{1498F1A9-6241-4523-AFBC-C74F3AA4AC35}"/>
              </a:ext>
            </a:extLst>
          </p:cNvPr>
          <p:cNvSpPr>
            <a:spLocks noGrp="1"/>
          </p:cNvSpPr>
          <p:nvPr>
            <p:ph type="ftr" sz="quarter" idx="10"/>
          </p:nvPr>
        </p:nvSpPr>
        <p:spPr>
          <a:xfrm>
            <a:off x="1059160" y="6310800"/>
            <a:ext cx="8639240" cy="547200"/>
          </a:xfrm>
        </p:spPr>
        <p:txBody>
          <a:bodyPr/>
          <a:lstStyle/>
          <a:p>
            <a:r>
              <a:rPr lang="en-US" dirty="0"/>
              <a:t>Restricted | © Siemens 20XX | Author | Department | YYYY-MM-DD</a:t>
            </a:r>
          </a:p>
        </p:txBody>
      </p:sp>
      <p:sp>
        <p:nvSpPr>
          <p:cNvPr id="6" name="Slide Number Placeholder">
            <a:extLst>
              <a:ext uri="{FF2B5EF4-FFF2-40B4-BE49-F238E27FC236}">
                <a16:creationId xmlns:a16="http://schemas.microsoft.com/office/drawing/2014/main" id="{267619FE-01EE-4013-B481-A8C505C5D26A}"/>
              </a:ext>
            </a:extLst>
          </p:cNvPr>
          <p:cNvSpPr>
            <a:spLocks noGrp="1"/>
          </p:cNvSpPr>
          <p:nvPr>
            <p:ph type="sldNum" sz="quarter" idx="11"/>
          </p:nvPr>
        </p:nvSpPr>
        <p:spPr/>
        <p:txBody>
          <a:bodyPr/>
          <a:lstStyle/>
          <a:p>
            <a:r>
              <a:rPr lang="en-US" dirty="0"/>
              <a:t>Page </a:t>
            </a:r>
            <a:fld id="{15EBE321-CBB1-4E91-BD14-37C8D44326FB}" type="slidenum">
              <a:rPr lang="en-US" smtClean="0"/>
              <a:pPr/>
              <a:t>‹Nr.›</a:t>
            </a:fld>
            <a:endParaRPr lang="en-US" dirty="0"/>
          </a:p>
        </p:txBody>
      </p:sp>
      <p:pic>
        <p:nvPicPr>
          <p:cNvPr id="7" name="Siemens Logo">
            <a:extLst>
              <a:ext uri="{FF2B5EF4-FFF2-40B4-BE49-F238E27FC236}">
                <a16:creationId xmlns:a16="http://schemas.microsoft.com/office/drawing/2014/main" id="{2A2349A4-4A97-42CC-AE59-7EDEE385EDFA}"/>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38680367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dex / Agenda">
    <p:spTree>
      <p:nvGrpSpPr>
        <p:cNvPr id="1" name=""/>
        <p:cNvGrpSpPr/>
        <p:nvPr/>
      </p:nvGrpSpPr>
      <p:grpSpPr>
        <a:xfrm>
          <a:off x="0" y="0"/>
          <a:ext cx="0" cy="0"/>
          <a:chOff x="0" y="0"/>
          <a:chExt cx="0" cy="0"/>
        </a:xfrm>
      </p:grpSpPr>
      <p:pic>
        <p:nvPicPr>
          <p:cNvPr id="8" name="Cognisphere" descr="A picture containing chart&#10;&#10;Description automatically generated">
            <a:extLst>
              <a:ext uri="{FF2B5EF4-FFF2-40B4-BE49-F238E27FC236}">
                <a16:creationId xmlns:a16="http://schemas.microsoft.com/office/drawing/2014/main" id="{FEC69F24-2876-47B9-A4B6-0ADE800ECDDB}"/>
              </a:ext>
            </a:extLst>
          </p:cNvPr>
          <p:cNvPicPr>
            <a:picLocks noChangeAspect="1"/>
          </p:cNvPicPr>
          <p:nvPr userDrawn="1"/>
        </p:nvPicPr>
        <p:blipFill rotWithShape="1">
          <a:blip r:embed="rId2" cstate="print">
            <a:alphaModFix amt="60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a:extLst>
              <a:ext uri="{FF2B5EF4-FFF2-40B4-BE49-F238E27FC236}">
                <a16:creationId xmlns:a16="http://schemas.microsoft.com/office/drawing/2014/main" id="{5CDB9E4A-37E0-45B2-BC93-C2EC503FB8F7}"/>
              </a:ext>
            </a:extLst>
          </p:cNvPr>
          <p:cNvSpPr>
            <a:spLocks noGrp="1"/>
          </p:cNvSpPr>
          <p:nvPr>
            <p:ph type="title"/>
          </p:nvPr>
        </p:nvSpPr>
        <p:spPr>
          <a:xfrm>
            <a:off x="410400" y="478800"/>
            <a:ext cx="5904675" cy="576000"/>
          </a:xfrm>
        </p:spPr>
        <p:txBody>
          <a:bodyPr/>
          <a:lstStyle/>
          <a:p>
            <a:r>
              <a:rPr lang="en-US" dirty="0"/>
              <a:t>Click to edit Master title style</a:t>
            </a:r>
          </a:p>
        </p:txBody>
      </p:sp>
      <p:sp>
        <p:nvSpPr>
          <p:cNvPr id="4" name="Copy">
            <a:extLst>
              <a:ext uri="{FF2B5EF4-FFF2-40B4-BE49-F238E27FC236}">
                <a16:creationId xmlns:a16="http://schemas.microsoft.com/office/drawing/2014/main" id="{0E701EC8-7FC1-42BE-915D-048C74A40E0C}"/>
              </a:ext>
            </a:extLst>
          </p:cNvPr>
          <p:cNvSpPr>
            <a:spLocks noGrp="1"/>
          </p:cNvSpPr>
          <p:nvPr>
            <p:ph type="body" sz="quarter" idx="12"/>
          </p:nvPr>
        </p:nvSpPr>
        <p:spPr>
          <a:xfrm>
            <a:off x="411163" y="1414463"/>
            <a:ext cx="5903912" cy="4751387"/>
          </a:xfrm>
        </p:spPr>
        <p:txBody>
          <a:bodyPr/>
          <a:lstStyle>
            <a:lvl1pPr>
              <a:spcAft>
                <a:spcPts val="900"/>
              </a:spcAft>
              <a:tabLst>
                <a:tab pos="5902325" algn="r"/>
              </a:tabLst>
              <a:defRPr/>
            </a:lvl1pPr>
            <a:lvl2pPr>
              <a:spcAft>
                <a:spcPts val="900"/>
              </a:spcAft>
              <a:tabLst>
                <a:tab pos="5902325" algn="r"/>
              </a:tabLst>
              <a:defRPr/>
            </a:lvl2pPr>
            <a:lvl3pPr marL="180000">
              <a:spcAft>
                <a:spcPts val="900"/>
              </a:spcAft>
              <a:tabLst>
                <a:tab pos="5902325" algn="r"/>
              </a:tabLst>
              <a:defRPr b="1"/>
            </a:lvl3pPr>
            <a:lvl4pPr marL="360000">
              <a:spcAft>
                <a:spcPts val="900"/>
              </a:spcAft>
              <a:tabLst>
                <a:tab pos="5902325" algn="r"/>
              </a:tabLst>
              <a:defRPr/>
            </a:lvl4pPr>
            <a:lvl5pPr marL="360000">
              <a:spcAft>
                <a:spcPts val="900"/>
              </a:spcAft>
              <a:tabLst>
                <a:tab pos="5902325" algn="r"/>
              </a:tabLst>
              <a:defRPr b="1"/>
            </a:lvl5pPr>
            <a:lvl6pPr marL="180000">
              <a:spcAft>
                <a:spcPts val="600"/>
              </a:spcAft>
              <a:tabLst>
                <a:tab pos="5902325" algn="r"/>
              </a:tabLst>
              <a:defRPr sz="1600"/>
            </a:lvl6pPr>
            <a:lvl7pPr marL="180000">
              <a:spcAft>
                <a:spcPts val="600"/>
              </a:spcAft>
              <a:tabLst>
                <a:tab pos="5902325" algn="r"/>
              </a:tabLst>
              <a:defRPr sz="1600" b="1"/>
            </a:lvl7pPr>
            <a:lvl8pPr marL="360000">
              <a:spcAft>
                <a:spcPts val="600"/>
              </a:spcAft>
              <a:tabLst>
                <a:tab pos="5902325" algn="r"/>
              </a:tabLst>
              <a:defRPr sz="1600"/>
            </a:lvl8pPr>
            <a:lvl9pPr marL="360000">
              <a:spcAft>
                <a:spcPts val="600"/>
              </a:spcAft>
              <a:tabLst>
                <a:tab pos="5902325" algn="r"/>
              </a:tabLst>
              <a:defRPr sz="1600" b="1"/>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9" name="Footer Placeholder">
            <a:extLst>
              <a:ext uri="{FF2B5EF4-FFF2-40B4-BE49-F238E27FC236}">
                <a16:creationId xmlns:a16="http://schemas.microsoft.com/office/drawing/2014/main" id="{8C6E0B19-DC70-4D19-9A56-05E87567F196}"/>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10" name="Slide Number Placeholder">
            <a:extLst>
              <a:ext uri="{FF2B5EF4-FFF2-40B4-BE49-F238E27FC236}">
                <a16:creationId xmlns:a16="http://schemas.microsoft.com/office/drawing/2014/main" id="{D3DF1D7C-B467-46E9-B036-83EC1DBE711C}"/>
              </a:ext>
            </a:extLst>
          </p:cNvPr>
          <p:cNvSpPr>
            <a:spLocks noGrp="1"/>
          </p:cNvSpPr>
          <p:nvPr>
            <p:ph type="sldNum" sz="quarter" idx="11"/>
          </p:nvPr>
        </p:nvSpPr>
        <p:spPr/>
        <p:txBody>
          <a:bodyPr/>
          <a:lstStyle/>
          <a:p>
            <a:r>
              <a:rPr lang="en-US" dirty="0"/>
              <a:t>Page </a:t>
            </a:r>
            <a:fld id="{15EBE321-CBB1-4E91-BD14-37C8D44326FB}" type="slidenum">
              <a:rPr lang="en-US" smtClean="0"/>
              <a:pPr/>
              <a:t>‹Nr.›</a:t>
            </a:fld>
            <a:endParaRPr lang="en-US" dirty="0"/>
          </a:p>
        </p:txBody>
      </p:sp>
      <p:pic>
        <p:nvPicPr>
          <p:cNvPr id="7" name="Siemens Logo">
            <a:extLst>
              <a:ext uri="{FF2B5EF4-FFF2-40B4-BE49-F238E27FC236}">
                <a16:creationId xmlns:a16="http://schemas.microsoft.com/office/drawing/2014/main" id="{E73DB6A8-F91C-4B87-ACAA-19A2D5EA21EF}"/>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643747429"/>
      </p:ext>
    </p:extLst>
  </p:cSld>
  <p:clrMapOvr>
    <a:masterClrMapping/>
  </p:clrMapOvr>
  <p:extLst>
    <p:ext uri="{DCECCB84-F9BA-43D5-87BE-67443E8EF086}">
      <p15:sldGuideLst xmlns:p15="http://schemas.microsoft.com/office/powerpoint/2012/main">
        <p15:guide id="1" pos="259">
          <p15:clr>
            <a:srgbClr val="65CEFF"/>
          </p15:clr>
        </p15:guide>
        <p15:guide id="5" pos="3978">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guide id="19" pos="4248">
          <p15:clr>
            <a:srgbClr val="65CEF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able of contents / Agenda">
    <p:bg>
      <p:bgRef idx="1001">
        <a:schemeClr val="bg2"/>
      </p:bgRef>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p:txBody>
          <a:bodyPr/>
          <a:lstStyle/>
          <a:p>
            <a:r>
              <a:rPr lang="en-US" dirty="0"/>
              <a:t>Page </a:t>
            </a:r>
            <a:fld id="{15EBE321-CBB1-4E91-BD14-37C8D44326FB}" type="slidenum">
              <a:rPr lang="en-US" smtClean="0"/>
              <a:pPr/>
              <a:t>‹Nr.›</a:t>
            </a:fld>
            <a:endParaRPr lang="en-US" dirty="0"/>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67482363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ree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p>
            <a:r>
              <a:rPr lang="en-US" dirty="0"/>
              <a:t>Click to edit Master title style</a:t>
            </a:r>
          </a:p>
        </p:txBody>
      </p:sp>
      <p:sp>
        <p:nvSpPr>
          <p:cNvPr id="9" name="Footer Placeholder">
            <a:extLst>
              <a:ext uri="{FF2B5EF4-FFF2-40B4-BE49-F238E27FC236}">
                <a16:creationId xmlns:a16="http://schemas.microsoft.com/office/drawing/2014/main" id="{8C6E0B19-DC70-4D19-9A56-05E87567F196}"/>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10" name="Slide Number Placeholder">
            <a:extLst>
              <a:ext uri="{FF2B5EF4-FFF2-40B4-BE49-F238E27FC236}">
                <a16:creationId xmlns:a16="http://schemas.microsoft.com/office/drawing/2014/main" id="{D3DF1D7C-B467-46E9-B036-83EC1DBE711C}"/>
              </a:ext>
            </a:extLst>
          </p:cNvPr>
          <p:cNvSpPr>
            <a:spLocks noGrp="1"/>
          </p:cNvSpPr>
          <p:nvPr>
            <p:ph type="sldNum" sz="quarter" idx="11"/>
          </p:nvPr>
        </p:nvSpPr>
        <p:spPr/>
        <p:txBody>
          <a:bodyPr/>
          <a:lstStyle/>
          <a:p>
            <a:r>
              <a:rPr lang="en-US" dirty="0"/>
              <a:t>Page </a:t>
            </a:r>
            <a:fld id="{15EBE321-CBB1-4E91-BD14-37C8D44326FB}" type="slidenum">
              <a:rPr lang="en-US" smtClean="0"/>
              <a:pPr/>
              <a:t>‹Nr.›</a:t>
            </a:fld>
            <a:endParaRPr lang="en-US" dirty="0"/>
          </a:p>
        </p:txBody>
      </p:sp>
      <p:pic>
        <p:nvPicPr>
          <p:cNvPr id="7" name="Siemens Logo">
            <a:extLst>
              <a:ext uri="{FF2B5EF4-FFF2-40B4-BE49-F238E27FC236}">
                <a16:creationId xmlns:a16="http://schemas.microsoft.com/office/drawing/2014/main" id="{E73DB6A8-F91C-4B87-ACAA-19A2D5EA21E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943002918"/>
      </p:ext>
    </p:extLst>
  </p:cSld>
  <p:clrMapOvr>
    <a:masterClrMapping/>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3705" userDrawn="1">
          <p15:clr>
            <a:srgbClr val="65CEFF"/>
          </p15:clr>
        </p15:guide>
        <p15:guide id="5" pos="3978" userDrawn="1">
          <p15:clr>
            <a:srgbClr val="65CEFF"/>
          </p15:clr>
        </p15:guide>
        <p15:guide id="7" pos="4975" userDrawn="1">
          <p15:clr>
            <a:srgbClr val="65CEFF"/>
          </p15:clr>
        </p15:guide>
        <p15:guide id="8" pos="5157" userDrawn="1">
          <p15:clr>
            <a:srgbClr val="65CEFF"/>
          </p15:clr>
        </p15:guide>
        <p15:guide id="9" pos="6472" userDrawn="1">
          <p15:clr>
            <a:srgbClr val="65CEFF"/>
          </p15:clr>
        </p15:guide>
        <p15:guide id="10" pos="7425" userDrawn="1">
          <p15:clr>
            <a:srgbClr val="65CEFF"/>
          </p15:clr>
        </p15:guide>
        <p15:guide id="11" orient="horz" pos="302" userDrawn="1">
          <p15:clr>
            <a:srgbClr val="65CEFF"/>
          </p15:clr>
        </p15:guide>
        <p15:guide id="12" orient="horz" pos="664" userDrawn="1">
          <p15:clr>
            <a:srgbClr val="65CEFF"/>
          </p15:clr>
        </p15:guide>
        <p15:guide id="13" orient="horz" pos="891" userDrawn="1">
          <p15:clr>
            <a:srgbClr val="65CEFF"/>
          </p15:clr>
        </p15:guide>
        <p15:guide id="14" orient="horz" pos="2206" userDrawn="1">
          <p15:clr>
            <a:srgbClr val="65CEFF"/>
          </p15:clr>
        </p15:guide>
        <p15:guide id="15" orient="horz" pos="2343" userDrawn="1">
          <p15:clr>
            <a:srgbClr val="65CEFF"/>
          </p15:clr>
        </p15:guide>
        <p15:guide id="16" orient="horz" pos="3658"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ree Content without logo">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p>
            <a:r>
              <a:rPr lang="en-US" dirty="0"/>
              <a:t>Click to edit Master title style</a:t>
            </a:r>
          </a:p>
        </p:txBody>
      </p:sp>
      <p:sp>
        <p:nvSpPr>
          <p:cNvPr id="9" name="Footer Placeholder">
            <a:extLst>
              <a:ext uri="{FF2B5EF4-FFF2-40B4-BE49-F238E27FC236}">
                <a16:creationId xmlns:a16="http://schemas.microsoft.com/office/drawing/2014/main" id="{8C6E0B19-DC70-4D19-9A56-05E87567F196}"/>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10" name="Slide Number Placeholder">
            <a:extLst>
              <a:ext uri="{FF2B5EF4-FFF2-40B4-BE49-F238E27FC236}">
                <a16:creationId xmlns:a16="http://schemas.microsoft.com/office/drawing/2014/main" id="{D3DF1D7C-B467-46E9-B036-83EC1DBE711C}"/>
              </a:ext>
            </a:extLst>
          </p:cNvPr>
          <p:cNvSpPr>
            <a:spLocks noGrp="1"/>
          </p:cNvSpPr>
          <p:nvPr>
            <p:ph type="sldNum" sz="quarter" idx="11"/>
          </p:nvPr>
        </p:nvSpPr>
        <p:spPr/>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2968626746"/>
      </p:ext>
    </p:extLst>
  </p:cSld>
  <p:clrMapOvr>
    <a:masterClrMapping/>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1CAAD1C1-677B-4ED7-96BE-27B1141D53D5}"/>
              </a:ext>
            </a:extLst>
          </p:cNvPr>
          <p:cNvSpPr>
            <a:spLocks noGrp="1"/>
          </p:cNvSpPr>
          <p:nvPr>
            <p:ph type="pic" sz="quarter" idx="12" hasCustomPrompt="1"/>
          </p:nvPr>
        </p:nvSpPr>
        <p:spPr>
          <a:xfrm>
            <a:off x="0" y="1"/>
            <a:ext cx="12192000" cy="6167438"/>
          </a:xfrm>
          <a:solidFill>
            <a:schemeClr val="accent1"/>
          </a:solidFill>
        </p:spPr>
        <p:txBody>
          <a:bodyPr lIns="144000" tIns="108000" rIns="144000" bIns="108000"/>
          <a:lstStyle>
            <a:lvl1pPr marL="0" indent="0">
              <a:buNone/>
              <a:defRPr>
                <a:solidFill>
                  <a:schemeClr val="bg1"/>
                </a:solidFill>
              </a:defRPr>
            </a:lvl1pPr>
          </a:lstStyle>
          <a:p>
            <a:r>
              <a:rPr lang="en-US" noProof="0" dirty="0"/>
              <a:t>Full size picture</a:t>
            </a:r>
          </a:p>
        </p:txBody>
      </p:sp>
      <p:sp>
        <p:nvSpPr>
          <p:cNvPr id="2" name="Title">
            <a:extLst>
              <a:ext uri="{FF2B5EF4-FFF2-40B4-BE49-F238E27FC236}">
                <a16:creationId xmlns:a16="http://schemas.microsoft.com/office/drawing/2014/main" id="{3F142F7C-7BE3-40CB-8C53-6F7533073558}"/>
              </a:ext>
            </a:extLst>
          </p:cNvPr>
          <p:cNvSpPr>
            <a:spLocks noGrp="1"/>
          </p:cNvSpPr>
          <p:nvPr>
            <p:ph type="title" hasCustomPrompt="1"/>
          </p:nvPr>
        </p:nvSpPr>
        <p:spPr>
          <a:xfrm>
            <a:off x="1022400" y="1054100"/>
            <a:ext cx="9252000" cy="1491868"/>
          </a:xfrm>
          <a:noFill/>
        </p:spPr>
        <p:txBody>
          <a:bodyPr wrap="square" rIns="0" bIns="0" anchor="t">
            <a:spAutoFit/>
          </a:bodyPr>
          <a:lstStyle>
            <a:lvl1pPr marL="0">
              <a:lnSpc>
                <a:spcPct val="100000"/>
              </a:lnSpc>
              <a:defRPr sz="4800">
                <a:solidFill>
                  <a:schemeClr val="tx1"/>
                </a:solidFill>
              </a:defRPr>
            </a:lvl1pPr>
          </a:lstStyle>
          <a:p>
            <a:r>
              <a:rPr lang="en-US" dirty="0"/>
              <a:t>Click to edit </a:t>
            </a:r>
            <a:br>
              <a:rPr lang="en-US" dirty="0"/>
            </a:br>
            <a:r>
              <a:rPr lang="en-US" dirty="0"/>
              <a:t>Master title style</a:t>
            </a:r>
          </a:p>
        </p:txBody>
      </p:sp>
      <p:sp>
        <p:nvSpPr>
          <p:cNvPr id="4" name="Footer Placeholder">
            <a:extLst>
              <a:ext uri="{FF2B5EF4-FFF2-40B4-BE49-F238E27FC236}">
                <a16:creationId xmlns:a16="http://schemas.microsoft.com/office/drawing/2014/main" id="{F80D0117-50BB-4A8D-AD28-794FFDA35404}"/>
              </a:ext>
            </a:extLst>
          </p:cNvPr>
          <p:cNvSpPr>
            <a:spLocks noGrp="1"/>
          </p:cNvSpPr>
          <p:nvPr>
            <p:ph type="ftr" sz="quarter" idx="16"/>
          </p:nvPr>
        </p:nvSpPr>
        <p:spPr/>
        <p:txBody>
          <a:bodyPr/>
          <a:lstStyle/>
          <a:p>
            <a:pPr>
              <a:lnSpc>
                <a:spcPct val="100000"/>
              </a:lnSpc>
            </a:pPr>
            <a:r>
              <a:rPr lang="en-US" dirty="0"/>
              <a:t>Restricted | © Siemens 20XX | Author | Department | YYYY-MM-DD</a:t>
            </a:r>
          </a:p>
        </p:txBody>
      </p:sp>
      <p:sp>
        <p:nvSpPr>
          <p:cNvPr id="5" name="Slide Number Placeholder">
            <a:extLst>
              <a:ext uri="{FF2B5EF4-FFF2-40B4-BE49-F238E27FC236}">
                <a16:creationId xmlns:a16="http://schemas.microsoft.com/office/drawing/2014/main" id="{79F3E7D3-5B15-444A-88AC-9161D47F12FD}"/>
              </a:ext>
            </a:extLst>
          </p:cNvPr>
          <p:cNvSpPr>
            <a:spLocks noGrp="1"/>
          </p:cNvSpPr>
          <p:nvPr>
            <p:ph type="sldNum" sz="quarter" idx="17"/>
          </p:nvPr>
        </p:nvSpPr>
        <p:spPr/>
        <p:txBody>
          <a:bodyPr/>
          <a:lstStyle/>
          <a:p>
            <a:r>
              <a:rPr lang="en-US" dirty="0"/>
              <a:t>Page </a:t>
            </a:r>
            <a:fld id="{15EBE321-CBB1-4E91-BD14-37C8D44326FB}" type="slidenum">
              <a:rPr lang="en-US" smtClean="0"/>
              <a:pPr/>
              <a:t>‹Nr.›</a:t>
            </a:fld>
            <a:endParaRPr lang="en-US" dirty="0"/>
          </a:p>
        </p:txBody>
      </p:sp>
      <p:pic>
        <p:nvPicPr>
          <p:cNvPr id="9" name="Siemens Logo">
            <a:extLst>
              <a:ext uri="{FF2B5EF4-FFF2-40B4-BE49-F238E27FC236}">
                <a16:creationId xmlns:a16="http://schemas.microsoft.com/office/drawing/2014/main" id="{30251D14-AF6A-4279-B0A9-69FD9519EA5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009199822"/>
      </p:ext>
    </p:extLst>
  </p:cSld>
  <p:clrMapOvr>
    <a:masterClrMapping/>
  </p:clrMapOvr>
  <p:extLst>
    <p:ext uri="{DCECCB84-F9BA-43D5-87BE-67443E8EF086}">
      <p15:sldGuideLst xmlns:p15="http://schemas.microsoft.com/office/powerpoint/2012/main">
        <p15:guide id="1" pos="259" userDrawn="1">
          <p15:clr>
            <a:srgbClr val="65CEFF"/>
          </p15:clr>
        </p15:guide>
        <p15:guide id="9" pos="6472" userDrawn="1">
          <p15:clr>
            <a:srgbClr val="65CEFF"/>
          </p15:clr>
        </p15:guide>
        <p15:guide id="10" pos="7425" userDrawn="1">
          <p15:clr>
            <a:srgbClr val="65CEFF"/>
          </p15:clr>
        </p15:guide>
        <p15:guide id="12" orient="horz" pos="664"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ingle image (Text spotlight)">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1CAAD1C1-677B-4ED7-96BE-27B1141D53D5}"/>
              </a:ext>
            </a:extLst>
          </p:cNvPr>
          <p:cNvSpPr>
            <a:spLocks noGrp="1"/>
          </p:cNvSpPr>
          <p:nvPr>
            <p:ph type="pic" sz="quarter" idx="12" hasCustomPrompt="1"/>
          </p:nvPr>
        </p:nvSpPr>
        <p:spPr>
          <a:xfrm>
            <a:off x="0" y="1"/>
            <a:ext cx="7611160" cy="6167438"/>
          </a:xfrm>
          <a:solidFill>
            <a:schemeClr val="accent1"/>
          </a:solidFill>
        </p:spPr>
        <p:txBody>
          <a:bodyPr lIns="144000" tIns="108000" rIns="144000" bIns="108000"/>
          <a:lstStyle>
            <a:lvl1pPr marL="0" indent="0">
              <a:buNone/>
              <a:defRPr>
                <a:solidFill>
                  <a:schemeClr val="bg1"/>
                </a:solidFill>
              </a:defRPr>
            </a:lvl1pPr>
          </a:lstStyle>
          <a:p>
            <a:r>
              <a:rPr lang="en-US" noProof="0" dirty="0"/>
              <a:t>Picture</a:t>
            </a:r>
          </a:p>
        </p:txBody>
      </p:sp>
      <p:sp>
        <p:nvSpPr>
          <p:cNvPr id="2" name="Title">
            <a:extLst>
              <a:ext uri="{FF2B5EF4-FFF2-40B4-BE49-F238E27FC236}">
                <a16:creationId xmlns:a16="http://schemas.microsoft.com/office/drawing/2014/main" id="{AFFC798E-B633-4D30-A7C1-DC796BD8887A}"/>
              </a:ext>
            </a:extLst>
          </p:cNvPr>
          <p:cNvSpPr>
            <a:spLocks noGrp="1"/>
          </p:cNvSpPr>
          <p:nvPr>
            <p:ph type="title" hasCustomPrompt="1"/>
          </p:nvPr>
        </p:nvSpPr>
        <p:spPr>
          <a:xfrm>
            <a:off x="1022400" y="1054100"/>
            <a:ext cx="6156275" cy="2215991"/>
          </a:xfrm>
          <a:noFill/>
        </p:spPr>
        <p:txBody>
          <a:bodyPr wrap="square" rIns="0" bIns="0" anchor="t">
            <a:spAutoFit/>
          </a:bodyPr>
          <a:lstStyle>
            <a:lvl1pPr marL="0">
              <a:lnSpc>
                <a:spcPct val="100000"/>
              </a:lnSpc>
              <a:defRPr sz="4800">
                <a:solidFill>
                  <a:schemeClr val="tx1"/>
                </a:solidFill>
              </a:defRPr>
            </a:lvl1pPr>
          </a:lstStyle>
          <a:p>
            <a:r>
              <a:rPr lang="en-US" dirty="0"/>
              <a:t>Click to edit </a:t>
            </a:r>
            <a:br>
              <a:rPr lang="en-US" dirty="0"/>
            </a:br>
            <a:r>
              <a:rPr lang="en-US" dirty="0"/>
              <a:t>Master title style</a:t>
            </a:r>
            <a:br>
              <a:rPr lang="en-US" dirty="0"/>
            </a:br>
            <a:r>
              <a:rPr lang="en-US" dirty="0"/>
              <a:t>3 lines</a:t>
            </a:r>
          </a:p>
        </p:txBody>
      </p:sp>
      <p:sp>
        <p:nvSpPr>
          <p:cNvPr id="3" name="Copy">
            <a:extLst>
              <a:ext uri="{FF2B5EF4-FFF2-40B4-BE49-F238E27FC236}">
                <a16:creationId xmlns:a16="http://schemas.microsoft.com/office/drawing/2014/main" id="{6F965802-E517-4CC3-99D7-1DA8BF1FB020}"/>
              </a:ext>
            </a:extLst>
          </p:cNvPr>
          <p:cNvSpPr>
            <a:spLocks noGrp="1"/>
          </p:cNvSpPr>
          <p:nvPr>
            <p:ph type="body" sz="quarter" idx="18"/>
          </p:nvPr>
        </p:nvSpPr>
        <p:spPr>
          <a:xfrm>
            <a:off x="8042400" y="1054100"/>
            <a:ext cx="3744000" cy="5113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Footer Placeholder">
            <a:extLst>
              <a:ext uri="{FF2B5EF4-FFF2-40B4-BE49-F238E27FC236}">
                <a16:creationId xmlns:a16="http://schemas.microsoft.com/office/drawing/2014/main" id="{F80D0117-50BB-4A8D-AD28-794FFDA35404}"/>
              </a:ext>
            </a:extLst>
          </p:cNvPr>
          <p:cNvSpPr>
            <a:spLocks noGrp="1"/>
          </p:cNvSpPr>
          <p:nvPr>
            <p:ph type="ftr" sz="quarter" idx="16"/>
          </p:nvPr>
        </p:nvSpPr>
        <p:spPr/>
        <p:txBody>
          <a:bodyPr/>
          <a:lstStyle/>
          <a:p>
            <a:pPr>
              <a:lnSpc>
                <a:spcPct val="100000"/>
              </a:lnSpc>
            </a:pPr>
            <a:r>
              <a:rPr lang="en-US" dirty="0"/>
              <a:t>Restricted | © Siemens 20XX | Author | Department | YYYY-MM-DD</a:t>
            </a:r>
          </a:p>
        </p:txBody>
      </p:sp>
      <p:sp>
        <p:nvSpPr>
          <p:cNvPr id="5" name="Slide Number Placeholder">
            <a:extLst>
              <a:ext uri="{FF2B5EF4-FFF2-40B4-BE49-F238E27FC236}">
                <a16:creationId xmlns:a16="http://schemas.microsoft.com/office/drawing/2014/main" id="{79F3E7D3-5B15-444A-88AC-9161D47F12FD}"/>
              </a:ext>
            </a:extLst>
          </p:cNvPr>
          <p:cNvSpPr>
            <a:spLocks noGrp="1"/>
          </p:cNvSpPr>
          <p:nvPr>
            <p:ph type="sldNum" sz="quarter" idx="17"/>
          </p:nvPr>
        </p:nvSpPr>
        <p:spPr/>
        <p:txBody>
          <a:bodyPr/>
          <a:lstStyle/>
          <a:p>
            <a:r>
              <a:rPr lang="en-US" dirty="0"/>
              <a:t>Page </a:t>
            </a:r>
            <a:fld id="{15EBE321-CBB1-4E91-BD14-37C8D44326FB}" type="slidenum">
              <a:rPr lang="en-US" smtClean="0"/>
              <a:pPr/>
              <a:t>‹Nr.›</a:t>
            </a:fld>
            <a:endParaRPr lang="en-US" dirty="0"/>
          </a:p>
        </p:txBody>
      </p:sp>
      <p:pic>
        <p:nvPicPr>
          <p:cNvPr id="9" name="Siemens Logo">
            <a:extLst>
              <a:ext uri="{FF2B5EF4-FFF2-40B4-BE49-F238E27FC236}">
                <a16:creationId xmlns:a16="http://schemas.microsoft.com/office/drawing/2014/main" id="{30251D14-AF6A-4279-B0A9-69FD9519EA5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4014279886"/>
      </p:ext>
    </p:extLst>
  </p:cSld>
  <p:clrMapOvr>
    <a:masterClrMapping/>
  </p:clrMapOvr>
  <p:extLst>
    <p:ext uri="{DCECCB84-F9BA-43D5-87BE-67443E8EF086}">
      <p15:sldGuideLst xmlns:p15="http://schemas.microsoft.com/office/powerpoint/2012/main">
        <p15:guide id="1" pos="259" userDrawn="1">
          <p15:clr>
            <a:srgbClr val="65CEFF"/>
          </p15:clr>
        </p15:guide>
        <p15:guide id="2" pos="4522" userDrawn="1">
          <p15:clr>
            <a:srgbClr val="65CEFF"/>
          </p15:clr>
        </p15:guide>
        <p15:guide id="3" pos="4794" userDrawn="1">
          <p15:clr>
            <a:srgbClr val="65CEFF"/>
          </p15:clr>
        </p15:guide>
        <p15:guide id="4" pos="5066" userDrawn="1">
          <p15:clr>
            <a:srgbClr val="65CEFF"/>
          </p15:clr>
        </p15:guide>
        <p15:guide id="5" pos="6472" userDrawn="1">
          <p15:clr>
            <a:srgbClr val="65CEFF"/>
          </p15:clr>
        </p15:guide>
        <p15:guide id="6" pos="7425" userDrawn="1">
          <p15:clr>
            <a:srgbClr val="65CEFF"/>
          </p15:clr>
        </p15:guide>
        <p15:guide id="7" orient="horz" pos="302" userDrawn="1">
          <p15:clr>
            <a:srgbClr val="65CEFF"/>
          </p15:clr>
        </p15:guide>
        <p15:guide id="8" orient="horz" pos="664" userDrawn="1">
          <p15:clr>
            <a:srgbClr val="65CEFF"/>
          </p15:clr>
        </p15:guide>
        <p15:guide id="9" orient="horz" pos="891" userDrawn="1">
          <p15:clr>
            <a:srgbClr val="65CEFF"/>
          </p15:clr>
        </p15:guide>
        <p15:guide id="10" orient="horz" pos="3658" userDrawn="1">
          <p15:clr>
            <a:srgbClr val="65CEFF"/>
          </p15:clr>
        </p15:guide>
        <p15:guide id="11" orient="horz" pos="3885" userDrawn="1">
          <p15:clr>
            <a:srgbClr val="65CEFF"/>
          </p15:clr>
        </p15:guide>
        <p15:guide id="12" orient="horz" pos="4157" userDrawn="1">
          <p15:clr>
            <a:srgbClr val="65CE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ull bleed color Deep Blue (with key visual)">
    <p:bg>
      <p:bgRef idx="1001">
        <a:schemeClr val="bg2"/>
      </p:bgRef>
    </p:bg>
    <p:spTree>
      <p:nvGrpSpPr>
        <p:cNvPr id="1" name=""/>
        <p:cNvGrpSpPr/>
        <p:nvPr/>
      </p:nvGrpSpPr>
      <p:grpSpPr>
        <a:xfrm>
          <a:off x="0" y="0"/>
          <a:ext cx="0" cy="0"/>
          <a:chOff x="0" y="0"/>
          <a:chExt cx="0" cy="0"/>
        </a:xfrm>
      </p:grpSpPr>
      <p:pic>
        <p:nvPicPr>
          <p:cNvPr id="4" name="Cognisphere" descr="A picture containing fish, monitor, keyboard, computer&#10;&#10;Description automatically generated">
            <a:extLst>
              <a:ext uri="{FF2B5EF4-FFF2-40B4-BE49-F238E27FC236}">
                <a16:creationId xmlns:a16="http://schemas.microsoft.com/office/drawing/2014/main" id="{AE83F1C5-95B7-47C3-B837-8191D1E3972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p:txBody>
          <a:bodyPr/>
          <a:lstStyle/>
          <a:p>
            <a:r>
              <a:rPr lang="en-US" dirty="0"/>
              <a:t>Page </a:t>
            </a:r>
            <a:fld id="{15EBE321-CBB1-4E91-BD14-37C8D44326FB}" type="slidenum">
              <a:rPr lang="en-US" smtClean="0"/>
              <a:pPr/>
              <a:t>‹Nr.›</a:t>
            </a:fld>
            <a:endParaRPr lang="en-US" dirty="0"/>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251049182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ull bleed color Deep Blue">
    <p:bg>
      <p:bgRef idx="1001">
        <a:schemeClr val="bg2"/>
      </p:bgRef>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p:txBody>
          <a:bodyPr/>
          <a:lstStyle/>
          <a:p>
            <a:r>
              <a:rPr lang="en-US" dirty="0"/>
              <a:t>Page </a:t>
            </a:r>
            <a:fld id="{15EBE321-CBB1-4E91-BD14-37C8D44326FB}" type="slidenum">
              <a:rPr lang="en-US" smtClean="0"/>
              <a:pPr/>
              <a:t>‹Nr.›</a:t>
            </a:fld>
            <a:endParaRPr lang="en-US" dirty="0"/>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400453451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3705" userDrawn="1">
          <p15:clr>
            <a:srgbClr val="65CEFF"/>
          </p15:clr>
        </p15:guide>
        <p15:guide id="5" pos="3978" userDrawn="1">
          <p15:clr>
            <a:srgbClr val="65CEFF"/>
          </p15:clr>
        </p15:guide>
        <p15:guide id="7" pos="4975" userDrawn="1">
          <p15:clr>
            <a:srgbClr val="65CEFF"/>
          </p15:clr>
        </p15:guide>
        <p15:guide id="8" pos="5157" userDrawn="1">
          <p15:clr>
            <a:srgbClr val="65CEFF"/>
          </p15:clr>
        </p15:guide>
        <p15:guide id="9" pos="6472" userDrawn="1">
          <p15:clr>
            <a:srgbClr val="65CEFF"/>
          </p15:clr>
        </p15:guide>
        <p15:guide id="10" pos="7425" userDrawn="1">
          <p15:clr>
            <a:srgbClr val="65CEFF"/>
          </p15:clr>
        </p15:guide>
        <p15:guide id="11" orient="horz" pos="302" userDrawn="1">
          <p15:clr>
            <a:srgbClr val="65CEFF"/>
          </p15:clr>
        </p15:guide>
        <p15:guide id="12" orient="horz" pos="664" userDrawn="1">
          <p15:clr>
            <a:srgbClr val="65CEFF"/>
          </p15:clr>
        </p15:guide>
        <p15:guide id="13" orient="horz" pos="891" userDrawn="1">
          <p15:clr>
            <a:srgbClr val="65CEFF"/>
          </p15:clr>
        </p15:guide>
        <p15:guide id="14" orient="horz" pos="2206" userDrawn="1">
          <p15:clr>
            <a:srgbClr val="65CEFF"/>
          </p15:clr>
        </p15:guide>
        <p15:guide id="15" orient="horz" pos="2343" userDrawn="1">
          <p15:clr>
            <a:srgbClr val="65CEFF"/>
          </p15:clr>
        </p15:guide>
        <p15:guide id="16" orient="horz" pos="3658"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ull bleed color Gradient (with key visual)">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pic>
        <p:nvPicPr>
          <p:cNvPr id="4" name="Cognisphere" descr="A picture containing sky, water, star&#10;&#10;Description automatically generated">
            <a:extLst>
              <a:ext uri="{FF2B5EF4-FFF2-40B4-BE49-F238E27FC236}">
                <a16:creationId xmlns:a16="http://schemas.microsoft.com/office/drawing/2014/main" id="{E2F7C1AE-8376-445B-98CD-DBE6E96E387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5" name="Footer Placeholder">
            <a:extLst>
              <a:ext uri="{FF2B5EF4-FFF2-40B4-BE49-F238E27FC236}">
                <a16:creationId xmlns:a16="http://schemas.microsoft.com/office/drawing/2014/main" id="{E4BECE54-DDA8-4D2C-8A02-4C8E3E1585E1}"/>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6" name="Slide Number Placeholder">
            <a:extLst>
              <a:ext uri="{FF2B5EF4-FFF2-40B4-BE49-F238E27FC236}">
                <a16:creationId xmlns:a16="http://schemas.microsoft.com/office/drawing/2014/main" id="{07B7E75B-80B4-49F8-AA70-A41C9D896853}"/>
              </a:ext>
            </a:extLst>
          </p:cNvPr>
          <p:cNvSpPr>
            <a:spLocks noGrp="1"/>
          </p:cNvSpPr>
          <p:nvPr>
            <p:ph type="sldNum" sz="quarter" idx="11"/>
          </p:nvPr>
        </p:nvSpPr>
        <p:spPr/>
        <p:txBody>
          <a:bodyPr/>
          <a:lstStyle/>
          <a:p>
            <a:r>
              <a:rPr lang="en-US" dirty="0"/>
              <a:t>Page </a:t>
            </a:r>
            <a:fld id="{15EBE321-CBB1-4E91-BD14-37C8D44326FB}" type="slidenum">
              <a:rPr lang="en-US" smtClean="0"/>
              <a:pPr/>
              <a:t>‹Nr.›</a:t>
            </a:fld>
            <a:endParaRPr lang="en-US" dirty="0"/>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333381269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3">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Gradient DB–Petrol 80p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pic>
        <p:nvPicPr>
          <p:cNvPr id="7" name="Cognisphere" descr="Background pattern&#10;&#10;Description automatically generated">
            <a:extLst>
              <a:ext uri="{FF2B5EF4-FFF2-40B4-BE49-F238E27FC236}">
                <a16:creationId xmlns:a16="http://schemas.microsoft.com/office/drawing/2014/main" id="{70837433-2C09-4518-AF0D-697A97CAC3A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4"/>
            <a:ext cx="11376788" cy="2462213"/>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700"/>
            </a:stretch>
          </a:blipFill>
        </p:spPr>
        <p:txBody>
          <a:bodyPr rIns="0" bIns="0" anchor="t" anchorCtr="0">
            <a:spAutoFit/>
          </a:bodyPr>
          <a:lstStyle>
            <a:lvl1pPr marL="540000">
              <a:lnSpc>
                <a:spcPct val="100000"/>
              </a:lnSpc>
              <a:defRPr sz="8000">
                <a:solidFill>
                  <a:schemeClr val="tx1"/>
                </a:solidFill>
              </a:defRPr>
            </a:lvl1pPr>
          </a:lstStyle>
          <a:p>
            <a:r>
              <a:rPr lang="en-US" dirty="0"/>
              <a:t>Click to edit Master title style 8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7"/>
            <a:ext cx="9288000" cy="1930398"/>
          </a:xfrm>
          <a:prstGeom prst="rect">
            <a:avLst/>
          </a:prstGeom>
        </p:spPr>
        <p:txBody>
          <a:bodyPr lIns="0" tIns="3492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80 </a:t>
            </a:r>
            <a:r>
              <a:rPr lang="en-US" dirty="0" err="1"/>
              <a:t>pt</a:t>
            </a:r>
            <a:endParaRPr lang="en-US"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en-US" dirty="0"/>
              <a:t>Restricted | © Siemens 20XX | Author | Department | YYYY-MM-DD</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81359146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ull bleed color Gradien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5" name="Footer Placeholder">
            <a:extLst>
              <a:ext uri="{FF2B5EF4-FFF2-40B4-BE49-F238E27FC236}">
                <a16:creationId xmlns:a16="http://schemas.microsoft.com/office/drawing/2014/main" id="{E4BECE54-DDA8-4D2C-8A02-4C8E3E1585E1}"/>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6" name="Slide Number Placeholder">
            <a:extLst>
              <a:ext uri="{FF2B5EF4-FFF2-40B4-BE49-F238E27FC236}">
                <a16:creationId xmlns:a16="http://schemas.microsoft.com/office/drawing/2014/main" id="{07B7E75B-80B4-49F8-AA70-A41C9D896853}"/>
              </a:ext>
            </a:extLst>
          </p:cNvPr>
          <p:cNvSpPr>
            <a:spLocks noGrp="1"/>
          </p:cNvSpPr>
          <p:nvPr>
            <p:ph type="sldNum" sz="quarter" idx="11"/>
          </p:nvPr>
        </p:nvSpPr>
        <p:spPr/>
        <p:txBody>
          <a:bodyPr/>
          <a:lstStyle/>
          <a:p>
            <a:r>
              <a:rPr lang="en-US" dirty="0"/>
              <a:t>Page </a:t>
            </a:r>
            <a:fld id="{15EBE321-CBB1-4E91-BD14-37C8D44326FB}" type="slidenum">
              <a:rPr lang="en-US" smtClean="0"/>
              <a:pPr/>
              <a:t>‹Nr.›</a:t>
            </a:fld>
            <a:endParaRPr lang="en-US" dirty="0"/>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110608322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3705" userDrawn="1">
          <p15:clr>
            <a:srgbClr val="65CEFF"/>
          </p15:clr>
        </p15:guide>
        <p15:guide id="5" pos="3978" userDrawn="1">
          <p15:clr>
            <a:srgbClr val="65CEFF"/>
          </p15:clr>
        </p15:guide>
        <p15:guide id="7" pos="4975" userDrawn="1">
          <p15:clr>
            <a:srgbClr val="65CEFF"/>
          </p15:clr>
        </p15:guide>
        <p15:guide id="8" pos="5157" userDrawn="1">
          <p15:clr>
            <a:srgbClr val="65CEFF"/>
          </p15:clr>
        </p15:guide>
        <p15:guide id="9" pos="6472" userDrawn="1">
          <p15:clr>
            <a:srgbClr val="65CEFF"/>
          </p15:clr>
        </p15:guide>
        <p15:guide id="10" pos="7425" userDrawn="1">
          <p15:clr>
            <a:srgbClr val="65CEFF"/>
          </p15:clr>
        </p15:guide>
        <p15:guide id="11" orient="horz" pos="302" userDrawn="1">
          <p15:clr>
            <a:srgbClr val="65CEFF"/>
          </p15:clr>
        </p15:guide>
        <p15:guide id="12" orient="horz" pos="663" userDrawn="1">
          <p15:clr>
            <a:srgbClr val="65CEFF"/>
          </p15:clr>
        </p15:guide>
        <p15:guide id="13" orient="horz" pos="891" userDrawn="1">
          <p15:clr>
            <a:srgbClr val="65CEFF"/>
          </p15:clr>
        </p15:guide>
        <p15:guide id="14" orient="horz" pos="2206" userDrawn="1">
          <p15:clr>
            <a:srgbClr val="65CEFF"/>
          </p15:clr>
        </p15:guide>
        <p15:guide id="15" orient="horz" pos="2343" userDrawn="1">
          <p15:clr>
            <a:srgbClr val="65CEFF"/>
          </p15:clr>
        </p15:guide>
        <p15:guide id="16" orient="horz" pos="3658"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One object (small)">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9C4633C1-8D3E-45A5-A522-817574663A85}"/>
              </a:ext>
            </a:extLst>
          </p:cNvPr>
          <p:cNvSpPr>
            <a:spLocks noGrp="1"/>
          </p:cNvSpPr>
          <p:nvPr>
            <p:ph type="title"/>
          </p:nvPr>
        </p:nvSpPr>
        <p:spPr/>
        <p:txBody>
          <a:bodyPr/>
          <a:lstStyle/>
          <a:p>
            <a:r>
              <a:rPr lang="en-US"/>
              <a:t>Click to edit Master title style</a:t>
            </a:r>
          </a:p>
        </p:txBody>
      </p:sp>
      <p:sp>
        <p:nvSpPr>
          <p:cNvPr id="3" name="Copy">
            <a:extLst>
              <a:ext uri="{FF2B5EF4-FFF2-40B4-BE49-F238E27FC236}">
                <a16:creationId xmlns:a16="http://schemas.microsoft.com/office/drawing/2014/main" id="{9CE7E2D8-94E8-4FE6-93A5-924CA3EC5315}"/>
              </a:ext>
            </a:extLst>
          </p:cNvPr>
          <p:cNvSpPr>
            <a:spLocks noGrp="1"/>
          </p:cNvSpPr>
          <p:nvPr>
            <p:ph idx="1"/>
          </p:nvPr>
        </p:nvSpPr>
        <p:spPr>
          <a:xfrm>
            <a:off x="411162" y="1414800"/>
            <a:ext cx="7199313"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5" name="Footer Placeholder">
            <a:extLst>
              <a:ext uri="{FF2B5EF4-FFF2-40B4-BE49-F238E27FC236}">
                <a16:creationId xmlns:a16="http://schemas.microsoft.com/office/drawing/2014/main" id="{E519D384-FA09-4D60-95A8-589F157A93F4}"/>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6" name="Slide Number Placeholder">
            <a:extLst>
              <a:ext uri="{FF2B5EF4-FFF2-40B4-BE49-F238E27FC236}">
                <a16:creationId xmlns:a16="http://schemas.microsoft.com/office/drawing/2014/main" id="{7B1666FD-2258-443A-846C-6C7533C61D5C}"/>
              </a:ext>
            </a:extLst>
          </p:cNvPr>
          <p:cNvSpPr>
            <a:spLocks noGrp="1"/>
          </p:cNvSpPr>
          <p:nvPr>
            <p:ph type="sldNum" sz="quarter" idx="11"/>
          </p:nvPr>
        </p:nvSpPr>
        <p:spPr/>
        <p:txBody>
          <a:bodyPr/>
          <a:lstStyle/>
          <a:p>
            <a:r>
              <a:rPr lang="en-US" dirty="0"/>
              <a:t>Page </a:t>
            </a:r>
            <a:fld id="{15EBE321-CBB1-4E91-BD14-37C8D44326FB}" type="slidenum">
              <a:rPr lang="en-US" smtClean="0"/>
              <a:pPr/>
              <a:t>‹Nr.›</a:t>
            </a:fld>
            <a:endParaRPr lang="en-US" dirty="0"/>
          </a:p>
        </p:txBody>
      </p:sp>
      <p:pic>
        <p:nvPicPr>
          <p:cNvPr id="8" name="Siemens Logo">
            <a:extLst>
              <a:ext uri="{FF2B5EF4-FFF2-40B4-BE49-F238E27FC236}">
                <a16:creationId xmlns:a16="http://schemas.microsoft.com/office/drawing/2014/main" id="{91EB517C-C8FD-4E2E-B744-DB952E96B47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1842942607"/>
      </p:ext>
    </p:extLst>
  </p:cSld>
  <p:clrMapOvr>
    <a:masterClrMapping/>
  </p:clrMapOvr>
  <p:extLst>
    <p:ext uri="{DCECCB84-F9BA-43D5-87BE-67443E8EF086}">
      <p15:sldGuideLst xmlns:p15="http://schemas.microsoft.com/office/powerpoint/2012/main">
        <p15:guide id="1" pos="259" userDrawn="1">
          <p15:clr>
            <a:srgbClr val="65CEFF"/>
          </p15:clr>
        </p15:guide>
        <p15:guide id="2" pos="4794" userDrawn="1">
          <p15:clr>
            <a:srgbClr val="65CEFF"/>
          </p15:clr>
        </p15:guide>
        <p15:guide id="3" pos="6472" userDrawn="1">
          <p15:clr>
            <a:srgbClr val="65CEFF"/>
          </p15:clr>
        </p15:guide>
        <p15:guide id="4" pos="7425" userDrawn="1">
          <p15:clr>
            <a:srgbClr val="65CEFF"/>
          </p15:clr>
        </p15:guide>
        <p15:guide id="5" orient="horz" pos="302" userDrawn="1">
          <p15:clr>
            <a:srgbClr val="65CEFF"/>
          </p15:clr>
        </p15:guide>
        <p15:guide id="6" orient="horz" pos="664" userDrawn="1">
          <p15:clr>
            <a:srgbClr val="65CEFF"/>
          </p15:clr>
        </p15:guide>
        <p15:guide id="7" orient="horz" pos="891" userDrawn="1">
          <p15:clr>
            <a:srgbClr val="65CEFF"/>
          </p15:clr>
        </p15:guide>
        <p15:guide id="8" orient="horz" pos="3658" userDrawn="1">
          <p15:clr>
            <a:srgbClr val="65CEFF"/>
          </p15:clr>
        </p15:guide>
        <p15:guide id="9" orient="horz" pos="3885" userDrawn="1">
          <p15:clr>
            <a:srgbClr val="65CEFF"/>
          </p15:clr>
        </p15:guide>
        <p15:guide id="10" orient="horz" pos="4157" userDrawn="1">
          <p15:clr>
            <a:srgbClr val="65CEF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One object (large)">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9C4633C1-8D3E-45A5-A522-817574663A85}"/>
              </a:ext>
            </a:extLst>
          </p:cNvPr>
          <p:cNvSpPr>
            <a:spLocks noGrp="1"/>
          </p:cNvSpPr>
          <p:nvPr>
            <p:ph type="title"/>
          </p:nvPr>
        </p:nvSpPr>
        <p:spPr/>
        <p:txBody>
          <a:bodyPr/>
          <a:lstStyle/>
          <a:p>
            <a:r>
              <a:rPr lang="en-US"/>
              <a:t>Click to edit Master title style</a:t>
            </a:r>
          </a:p>
        </p:txBody>
      </p:sp>
      <p:sp>
        <p:nvSpPr>
          <p:cNvPr id="3" name="Copy">
            <a:extLst>
              <a:ext uri="{FF2B5EF4-FFF2-40B4-BE49-F238E27FC236}">
                <a16:creationId xmlns:a16="http://schemas.microsoft.com/office/drawing/2014/main" id="{9CE7E2D8-94E8-4FE6-93A5-924CA3EC5315}"/>
              </a:ext>
            </a:extLst>
          </p:cNvPr>
          <p:cNvSpPr>
            <a:spLocks noGrp="1"/>
          </p:cNvSpPr>
          <p:nvPr>
            <p:ph idx="1"/>
          </p:nvPr>
        </p:nvSpPr>
        <p:spPr>
          <a:xfrm>
            <a:off x="411162" y="1414800"/>
            <a:ext cx="11376026"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5" name="Footer Placeholder">
            <a:extLst>
              <a:ext uri="{FF2B5EF4-FFF2-40B4-BE49-F238E27FC236}">
                <a16:creationId xmlns:a16="http://schemas.microsoft.com/office/drawing/2014/main" id="{7367E6C0-4D2C-4C5F-86D8-A2CFF0EB3D6A}"/>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6" name="Slide Number Placeholder">
            <a:extLst>
              <a:ext uri="{FF2B5EF4-FFF2-40B4-BE49-F238E27FC236}">
                <a16:creationId xmlns:a16="http://schemas.microsoft.com/office/drawing/2014/main" id="{6F746812-65E3-4C09-AC38-B0CFE93C8A95}"/>
              </a:ext>
            </a:extLst>
          </p:cNvPr>
          <p:cNvSpPr>
            <a:spLocks noGrp="1"/>
          </p:cNvSpPr>
          <p:nvPr>
            <p:ph type="sldNum" sz="quarter" idx="11"/>
          </p:nvPr>
        </p:nvSpPr>
        <p:spPr/>
        <p:txBody>
          <a:bodyPr/>
          <a:lstStyle/>
          <a:p>
            <a:r>
              <a:rPr lang="en-US" dirty="0"/>
              <a:t>Page </a:t>
            </a:r>
            <a:fld id="{15EBE321-CBB1-4E91-BD14-37C8D44326FB}" type="slidenum">
              <a:rPr lang="en-US" smtClean="0"/>
              <a:pPr/>
              <a:t>‹Nr.›</a:t>
            </a:fld>
            <a:endParaRPr lang="en-US" dirty="0"/>
          </a:p>
        </p:txBody>
      </p:sp>
      <p:pic>
        <p:nvPicPr>
          <p:cNvPr id="9" name="Siemens Logo">
            <a:extLst>
              <a:ext uri="{FF2B5EF4-FFF2-40B4-BE49-F238E27FC236}">
                <a16:creationId xmlns:a16="http://schemas.microsoft.com/office/drawing/2014/main" id="{2EA6CE5F-6FF7-4E0A-AEB2-1A7C43CE05C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1907654598"/>
      </p:ext>
    </p:extLst>
  </p:cSld>
  <p:clrMapOvr>
    <a:masterClrMapping/>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302" userDrawn="1">
          <p15:clr>
            <a:srgbClr val="65CEFF"/>
          </p15:clr>
        </p15:guide>
        <p15:guide id="5" orient="horz" pos="664" userDrawn="1">
          <p15:clr>
            <a:srgbClr val="65CEFF"/>
          </p15:clr>
        </p15:guide>
        <p15:guide id="6" orient="horz" pos="891" userDrawn="1">
          <p15:clr>
            <a:srgbClr val="65CEFF"/>
          </p15:clr>
        </p15:guide>
        <p15:guide id="7" orient="horz" pos="3658" userDrawn="1">
          <p15:clr>
            <a:srgbClr val="65CEFF"/>
          </p15:clr>
        </p15:guide>
        <p15:guide id="8" orient="horz" pos="3885" userDrawn="1">
          <p15:clr>
            <a:srgbClr val="65CEFF"/>
          </p15:clr>
        </p15:guide>
        <p15:guide id="9" orient="horz" pos="4157" userDrawn="1">
          <p15:clr>
            <a:srgbClr val="65CEFF"/>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p:txBody>
          <a:bodyPr/>
          <a:lstStyle/>
          <a:p>
            <a:r>
              <a:rPr lang="en-US"/>
              <a:t>Click to edit Master title style</a:t>
            </a:r>
          </a:p>
        </p:txBody>
      </p:sp>
      <p:sp>
        <p:nvSpPr>
          <p:cNvPr id="3" name="Copy 1">
            <a:extLst>
              <a:ext uri="{FF2B5EF4-FFF2-40B4-BE49-F238E27FC236}">
                <a16:creationId xmlns:a16="http://schemas.microsoft.com/office/drawing/2014/main" id="{A8B1D58A-DC84-4573-957E-9BEA9AAB308E}"/>
              </a:ext>
            </a:extLst>
          </p:cNvPr>
          <p:cNvSpPr>
            <a:spLocks noGrp="1"/>
          </p:cNvSpPr>
          <p:nvPr>
            <p:ph sz="half" idx="1"/>
          </p:nvPr>
        </p:nvSpPr>
        <p:spPr>
          <a:xfrm>
            <a:off x="411162" y="1414800"/>
            <a:ext cx="5470526"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Copy 2">
            <a:extLst>
              <a:ext uri="{FF2B5EF4-FFF2-40B4-BE49-F238E27FC236}">
                <a16:creationId xmlns:a16="http://schemas.microsoft.com/office/drawing/2014/main" id="{BF3FF41E-3844-4153-B955-A1F3E9EC1D30}"/>
              </a:ext>
            </a:extLst>
          </p:cNvPr>
          <p:cNvSpPr>
            <a:spLocks noGrp="1"/>
          </p:cNvSpPr>
          <p:nvPr>
            <p:ph sz="half" idx="2"/>
          </p:nvPr>
        </p:nvSpPr>
        <p:spPr>
          <a:xfrm>
            <a:off x="6315075" y="1414800"/>
            <a:ext cx="5465763"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Footer Placeholder">
            <a:extLst>
              <a:ext uri="{FF2B5EF4-FFF2-40B4-BE49-F238E27FC236}">
                <a16:creationId xmlns:a16="http://schemas.microsoft.com/office/drawing/2014/main" id="{33A503D1-D234-4258-9A03-D858B10BA46D}"/>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7" name="Slide Number Placeholder">
            <a:extLst>
              <a:ext uri="{FF2B5EF4-FFF2-40B4-BE49-F238E27FC236}">
                <a16:creationId xmlns:a16="http://schemas.microsoft.com/office/drawing/2014/main" id="{21AA656B-0BAF-4B75-90BE-93CAC5946C0B}"/>
              </a:ext>
            </a:extLst>
          </p:cNvPr>
          <p:cNvSpPr>
            <a:spLocks noGrp="1"/>
          </p:cNvSpPr>
          <p:nvPr>
            <p:ph type="sldNum" sz="quarter" idx="11"/>
          </p:nvPr>
        </p:nvSpPr>
        <p:spPr/>
        <p:txBody>
          <a:bodyPr/>
          <a:lstStyle/>
          <a:p>
            <a:r>
              <a:rPr lang="en-US" dirty="0"/>
              <a:t>Page </a:t>
            </a:r>
            <a:fld id="{15EBE321-CBB1-4E91-BD14-37C8D44326FB}" type="slidenum">
              <a:rPr lang="en-US" smtClean="0"/>
              <a:pPr/>
              <a:t>‹Nr.›</a:t>
            </a:fld>
            <a:endParaRPr lang="en-US" dirty="0"/>
          </a:p>
        </p:txBody>
      </p:sp>
      <p:pic>
        <p:nvPicPr>
          <p:cNvPr id="10" name="Siemens Logo">
            <a:extLst>
              <a:ext uri="{FF2B5EF4-FFF2-40B4-BE49-F238E27FC236}">
                <a16:creationId xmlns:a16="http://schemas.microsoft.com/office/drawing/2014/main" id="{6FCACBED-2537-4F3E-8D2C-E6014100536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951439580"/>
      </p:ext>
    </p:extLst>
  </p:cSld>
  <p:clrMapOvr>
    <a:masterClrMapping/>
  </p:clrMapOvr>
  <p:extLst>
    <p:ext uri="{DCECCB84-F9BA-43D5-87BE-67443E8EF086}">
      <p15:sldGuideLst xmlns:p15="http://schemas.microsoft.com/office/powerpoint/2012/main">
        <p15:guide id="1" pos="259" userDrawn="1">
          <p15:clr>
            <a:srgbClr val="65CEFF"/>
          </p15:clr>
        </p15:guide>
        <p15:guide id="2" pos="3705" userDrawn="1">
          <p15:clr>
            <a:srgbClr val="65CEFF"/>
          </p15:clr>
        </p15:guide>
        <p15:guide id="3" pos="3978" userDrawn="1">
          <p15:clr>
            <a:srgbClr val="65CEFF"/>
          </p15:clr>
        </p15:guide>
        <p15:guide id="4" pos="6472" userDrawn="1">
          <p15:clr>
            <a:srgbClr val="65CEFF"/>
          </p15:clr>
        </p15:guide>
        <p15:guide id="5" pos="7425" userDrawn="1">
          <p15:clr>
            <a:srgbClr val="65CEFF"/>
          </p15:clr>
        </p15:guide>
        <p15:guide id="6" orient="horz" pos="302" userDrawn="1">
          <p15:clr>
            <a:srgbClr val="65CEFF"/>
          </p15:clr>
        </p15:guide>
        <p15:guide id="7" orient="horz" pos="664" userDrawn="1">
          <p15:clr>
            <a:srgbClr val="65CEFF"/>
          </p15:clr>
        </p15:guide>
        <p15:guide id="8" orient="horz" pos="891" userDrawn="1">
          <p15:clr>
            <a:srgbClr val="65CEFF"/>
          </p15:clr>
        </p15:guide>
        <p15:guide id="9" orient="horz" pos="3658" userDrawn="1">
          <p15:clr>
            <a:srgbClr val="65CEFF"/>
          </p15:clr>
        </p15:guide>
        <p15:guide id="10" orient="horz" pos="3885" userDrawn="1">
          <p15:clr>
            <a:srgbClr val="65CEFF"/>
          </p15:clr>
        </p15:guide>
        <p15:guide id="11" orient="horz" pos="4157" userDrawn="1">
          <p15:clr>
            <a:srgbClr val="65CEF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p:txBody>
          <a:bodyPr/>
          <a:lstStyle/>
          <a:p>
            <a:r>
              <a:rPr lang="en-US"/>
              <a:t>Click to edit Master title style</a:t>
            </a:r>
          </a:p>
        </p:txBody>
      </p:sp>
      <p:sp>
        <p:nvSpPr>
          <p:cNvPr id="3" name="Copy 1">
            <a:extLst>
              <a:ext uri="{FF2B5EF4-FFF2-40B4-BE49-F238E27FC236}">
                <a16:creationId xmlns:a16="http://schemas.microsoft.com/office/drawing/2014/main" id="{A8B1D58A-DC84-4573-957E-9BEA9AAB308E}"/>
              </a:ext>
            </a:extLst>
          </p:cNvPr>
          <p:cNvSpPr>
            <a:spLocks noGrp="1"/>
          </p:cNvSpPr>
          <p:nvPr>
            <p:ph sz="half" idx="1"/>
          </p:nvPr>
        </p:nvSpPr>
        <p:spPr>
          <a:xfrm>
            <a:off x="411162" y="1414800"/>
            <a:ext cx="3600000"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Copy 2">
            <a:extLst>
              <a:ext uri="{FF2B5EF4-FFF2-40B4-BE49-F238E27FC236}">
                <a16:creationId xmlns:a16="http://schemas.microsoft.com/office/drawing/2014/main" id="{BF3FF41E-3844-4153-B955-A1F3E9EC1D30}"/>
              </a:ext>
            </a:extLst>
          </p:cNvPr>
          <p:cNvSpPr>
            <a:spLocks noGrp="1"/>
          </p:cNvSpPr>
          <p:nvPr>
            <p:ph sz="half" idx="2"/>
          </p:nvPr>
        </p:nvSpPr>
        <p:spPr>
          <a:xfrm>
            <a:off x="4298400" y="1414800"/>
            <a:ext cx="3600000"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9" name="Copy 3">
            <a:extLst>
              <a:ext uri="{FF2B5EF4-FFF2-40B4-BE49-F238E27FC236}">
                <a16:creationId xmlns:a16="http://schemas.microsoft.com/office/drawing/2014/main" id="{F020B491-E63A-4FB5-94ED-2BC31EB35C33}"/>
              </a:ext>
            </a:extLst>
          </p:cNvPr>
          <p:cNvSpPr>
            <a:spLocks noGrp="1"/>
          </p:cNvSpPr>
          <p:nvPr>
            <p:ph sz="half" idx="12"/>
          </p:nvPr>
        </p:nvSpPr>
        <p:spPr>
          <a:xfrm>
            <a:off x="8186400" y="1414800"/>
            <a:ext cx="3600000"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Footer Placeholder">
            <a:extLst>
              <a:ext uri="{FF2B5EF4-FFF2-40B4-BE49-F238E27FC236}">
                <a16:creationId xmlns:a16="http://schemas.microsoft.com/office/drawing/2014/main" id="{E613FA68-C74A-4621-9563-250388EBCC8B}"/>
              </a:ext>
            </a:extLst>
          </p:cNvPr>
          <p:cNvSpPr>
            <a:spLocks noGrp="1"/>
          </p:cNvSpPr>
          <p:nvPr>
            <p:ph type="ftr" sz="quarter" idx="13"/>
          </p:nvPr>
        </p:nvSpPr>
        <p:spPr/>
        <p:txBody>
          <a:bodyPr/>
          <a:lstStyle/>
          <a:p>
            <a:pPr>
              <a:lnSpc>
                <a:spcPct val="100000"/>
              </a:lnSpc>
            </a:pPr>
            <a:r>
              <a:rPr lang="en-US" dirty="0"/>
              <a:t>Restricted | © Siemens 20XX | Author | Department | YYYY-MM-DD</a:t>
            </a:r>
          </a:p>
        </p:txBody>
      </p:sp>
      <p:sp>
        <p:nvSpPr>
          <p:cNvPr id="7" name="Slide Number Placeholder">
            <a:extLst>
              <a:ext uri="{FF2B5EF4-FFF2-40B4-BE49-F238E27FC236}">
                <a16:creationId xmlns:a16="http://schemas.microsoft.com/office/drawing/2014/main" id="{F9117D9C-D502-472C-A3C8-FA9087A2EDCE}"/>
              </a:ext>
            </a:extLst>
          </p:cNvPr>
          <p:cNvSpPr>
            <a:spLocks noGrp="1"/>
          </p:cNvSpPr>
          <p:nvPr>
            <p:ph type="sldNum" sz="quarter" idx="14"/>
          </p:nvPr>
        </p:nvSpPr>
        <p:spPr/>
        <p:txBody>
          <a:bodyPr/>
          <a:lstStyle/>
          <a:p>
            <a:r>
              <a:rPr lang="en-US" dirty="0"/>
              <a:t>Page </a:t>
            </a:r>
            <a:fld id="{15EBE321-CBB1-4E91-BD14-37C8D44326FB}" type="slidenum">
              <a:rPr lang="en-US" smtClean="0"/>
              <a:pPr/>
              <a:t>‹Nr.›</a:t>
            </a:fld>
            <a:endParaRPr lang="en-US" dirty="0"/>
          </a:p>
        </p:txBody>
      </p:sp>
      <p:pic>
        <p:nvPicPr>
          <p:cNvPr id="10" name="Siemens Logo">
            <a:extLst>
              <a:ext uri="{FF2B5EF4-FFF2-40B4-BE49-F238E27FC236}">
                <a16:creationId xmlns:a16="http://schemas.microsoft.com/office/drawing/2014/main" id="{6FCACBED-2537-4F3E-8D2C-E6014100536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448910675"/>
      </p:ext>
    </p:extLst>
  </p:cSld>
  <p:clrMapOvr>
    <a:masterClrMapping/>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4975" userDrawn="1">
          <p15:clr>
            <a:srgbClr val="65CEFF"/>
          </p15:clr>
        </p15:guide>
        <p15:guide id="5" pos="5157" userDrawn="1">
          <p15:clr>
            <a:srgbClr val="65CEFF"/>
          </p15:clr>
        </p15:guide>
        <p15:guide id="6" pos="6472" userDrawn="1">
          <p15:clr>
            <a:srgbClr val="65CEFF"/>
          </p15:clr>
        </p15:guide>
        <p15:guide id="7" pos="7425" userDrawn="1">
          <p15:clr>
            <a:srgbClr val="65CEFF"/>
          </p15:clr>
        </p15:guide>
        <p15:guide id="8" orient="horz" pos="302" userDrawn="1">
          <p15:clr>
            <a:srgbClr val="65CEFF"/>
          </p15:clr>
        </p15:guide>
        <p15:guide id="9" orient="horz" pos="664" userDrawn="1">
          <p15:clr>
            <a:srgbClr val="65CEFF"/>
          </p15:clr>
        </p15:guide>
        <p15:guide id="10" orient="horz" pos="891" userDrawn="1">
          <p15:clr>
            <a:srgbClr val="65CEFF"/>
          </p15:clr>
        </p15:guide>
        <p15:guide id="11" orient="horz" pos="3658" userDrawn="1">
          <p15:clr>
            <a:srgbClr val="65CEFF"/>
          </p15:clr>
        </p15:guide>
        <p15:guide id="12" orient="horz" pos="3885" userDrawn="1">
          <p15:clr>
            <a:srgbClr val="65CEFF"/>
          </p15:clr>
        </p15:guide>
        <p15:guide id="13" orient="horz" pos="4157" userDrawn="1">
          <p15:clr>
            <a:srgbClr val="65CE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our objects">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p:txBody>
          <a:bodyPr/>
          <a:lstStyle/>
          <a:p>
            <a:r>
              <a:rPr lang="en-US"/>
              <a:t>Click to edit Master title style</a:t>
            </a:r>
          </a:p>
        </p:txBody>
      </p:sp>
      <p:sp>
        <p:nvSpPr>
          <p:cNvPr id="3" name="Copy 1">
            <a:extLst>
              <a:ext uri="{FF2B5EF4-FFF2-40B4-BE49-F238E27FC236}">
                <a16:creationId xmlns:a16="http://schemas.microsoft.com/office/drawing/2014/main" id="{A8B1D58A-DC84-4573-957E-9BEA9AAB308E}"/>
              </a:ext>
            </a:extLst>
          </p:cNvPr>
          <p:cNvSpPr>
            <a:spLocks noGrp="1"/>
          </p:cNvSpPr>
          <p:nvPr>
            <p:ph sz="half" idx="1"/>
          </p:nvPr>
        </p:nvSpPr>
        <p:spPr>
          <a:xfrm>
            <a:off x="411162" y="1414800"/>
            <a:ext cx="547052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9" name="Copy 2">
            <a:extLst>
              <a:ext uri="{FF2B5EF4-FFF2-40B4-BE49-F238E27FC236}">
                <a16:creationId xmlns:a16="http://schemas.microsoft.com/office/drawing/2014/main" id="{2871E7F7-6A93-4406-8617-80D9CFF396A8}"/>
              </a:ext>
            </a:extLst>
          </p:cNvPr>
          <p:cNvSpPr>
            <a:spLocks noGrp="1"/>
          </p:cNvSpPr>
          <p:nvPr>
            <p:ph sz="half" idx="12"/>
          </p:nvPr>
        </p:nvSpPr>
        <p:spPr>
          <a:xfrm>
            <a:off x="411162" y="3718800"/>
            <a:ext cx="547052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Copy 3">
            <a:extLst>
              <a:ext uri="{FF2B5EF4-FFF2-40B4-BE49-F238E27FC236}">
                <a16:creationId xmlns:a16="http://schemas.microsoft.com/office/drawing/2014/main" id="{BF3FF41E-3844-4153-B955-A1F3E9EC1D30}"/>
              </a:ext>
            </a:extLst>
          </p:cNvPr>
          <p:cNvSpPr>
            <a:spLocks noGrp="1"/>
          </p:cNvSpPr>
          <p:nvPr>
            <p:ph sz="half" idx="2"/>
          </p:nvPr>
        </p:nvSpPr>
        <p:spPr>
          <a:xfrm>
            <a:off x="6315075" y="1414800"/>
            <a:ext cx="5465763"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2" name="Copy 4">
            <a:extLst>
              <a:ext uri="{FF2B5EF4-FFF2-40B4-BE49-F238E27FC236}">
                <a16:creationId xmlns:a16="http://schemas.microsoft.com/office/drawing/2014/main" id="{7AD3B9B1-3210-46C8-8222-A0E11719EB88}"/>
              </a:ext>
            </a:extLst>
          </p:cNvPr>
          <p:cNvSpPr>
            <a:spLocks noGrp="1"/>
          </p:cNvSpPr>
          <p:nvPr>
            <p:ph sz="half" idx="13"/>
          </p:nvPr>
        </p:nvSpPr>
        <p:spPr>
          <a:xfrm>
            <a:off x="6315075" y="3718800"/>
            <a:ext cx="5465763"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Footer Placeholder">
            <a:extLst>
              <a:ext uri="{FF2B5EF4-FFF2-40B4-BE49-F238E27FC236}">
                <a16:creationId xmlns:a16="http://schemas.microsoft.com/office/drawing/2014/main" id="{1DF6F0C8-00D9-4034-B3CC-D376702BE1C8}"/>
              </a:ext>
            </a:extLst>
          </p:cNvPr>
          <p:cNvSpPr>
            <a:spLocks noGrp="1"/>
          </p:cNvSpPr>
          <p:nvPr>
            <p:ph type="ftr" sz="quarter" idx="14"/>
          </p:nvPr>
        </p:nvSpPr>
        <p:spPr/>
        <p:txBody>
          <a:bodyPr/>
          <a:lstStyle/>
          <a:p>
            <a:pPr>
              <a:lnSpc>
                <a:spcPct val="100000"/>
              </a:lnSpc>
            </a:pPr>
            <a:r>
              <a:rPr lang="en-US" dirty="0"/>
              <a:t>Restricted | © Siemens 20XX | Author | Department | YYYY-MM-DD</a:t>
            </a:r>
          </a:p>
        </p:txBody>
      </p:sp>
      <p:sp>
        <p:nvSpPr>
          <p:cNvPr id="7" name="Slide Number Placeholder">
            <a:extLst>
              <a:ext uri="{FF2B5EF4-FFF2-40B4-BE49-F238E27FC236}">
                <a16:creationId xmlns:a16="http://schemas.microsoft.com/office/drawing/2014/main" id="{53D55964-F7E8-48E3-84D5-FE4FE835C563}"/>
              </a:ext>
            </a:extLst>
          </p:cNvPr>
          <p:cNvSpPr>
            <a:spLocks noGrp="1"/>
          </p:cNvSpPr>
          <p:nvPr>
            <p:ph type="sldNum" sz="quarter" idx="15"/>
          </p:nvPr>
        </p:nvSpPr>
        <p:spPr/>
        <p:txBody>
          <a:bodyPr/>
          <a:lstStyle/>
          <a:p>
            <a:r>
              <a:rPr lang="en-US" dirty="0"/>
              <a:t>Page </a:t>
            </a:r>
            <a:fld id="{15EBE321-CBB1-4E91-BD14-37C8D44326FB}" type="slidenum">
              <a:rPr lang="en-US" smtClean="0"/>
              <a:pPr/>
              <a:t>‹Nr.›</a:t>
            </a:fld>
            <a:endParaRPr lang="en-US" dirty="0"/>
          </a:p>
        </p:txBody>
      </p:sp>
      <p:pic>
        <p:nvPicPr>
          <p:cNvPr id="10" name="Siemens Logo">
            <a:extLst>
              <a:ext uri="{FF2B5EF4-FFF2-40B4-BE49-F238E27FC236}">
                <a16:creationId xmlns:a16="http://schemas.microsoft.com/office/drawing/2014/main" id="{6FCACBED-2537-4F3E-8D2C-E6014100536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503860774"/>
      </p:ext>
    </p:extLst>
  </p:cSld>
  <p:clrMapOvr>
    <a:masterClrMapping/>
  </p:clrMapOvr>
  <p:extLst>
    <p:ext uri="{DCECCB84-F9BA-43D5-87BE-67443E8EF086}">
      <p15:sldGuideLst xmlns:p15="http://schemas.microsoft.com/office/powerpoint/2012/main">
        <p15:guide id="1" pos="259" userDrawn="1">
          <p15:clr>
            <a:srgbClr val="65CEFF"/>
          </p15:clr>
        </p15:guide>
        <p15:guide id="2" pos="3705" userDrawn="1">
          <p15:clr>
            <a:srgbClr val="65CEFF"/>
          </p15:clr>
        </p15:guide>
        <p15:guide id="3" pos="3978" userDrawn="1">
          <p15:clr>
            <a:srgbClr val="65CEFF"/>
          </p15:clr>
        </p15:guide>
        <p15:guide id="4" pos="6472" userDrawn="1">
          <p15:clr>
            <a:srgbClr val="65CEFF"/>
          </p15:clr>
        </p15:guide>
        <p15:guide id="5" pos="7425" userDrawn="1">
          <p15:clr>
            <a:srgbClr val="65CEFF"/>
          </p15:clr>
        </p15:guide>
        <p15:guide id="6" orient="horz" pos="302" userDrawn="1">
          <p15:clr>
            <a:srgbClr val="65CEFF"/>
          </p15:clr>
        </p15:guide>
        <p15:guide id="7" orient="horz" pos="664" userDrawn="1">
          <p15:clr>
            <a:srgbClr val="65CEFF"/>
          </p15:clr>
        </p15:guide>
        <p15:guide id="8" orient="horz" pos="891" userDrawn="1">
          <p15:clr>
            <a:srgbClr val="65CEFF"/>
          </p15:clr>
        </p15:guide>
        <p15:guide id="9" orient="horz" pos="2206" userDrawn="1">
          <p15:clr>
            <a:srgbClr val="65CEFF"/>
          </p15:clr>
        </p15:guide>
        <p15:guide id="10" orient="horz" pos="2343" userDrawn="1">
          <p15:clr>
            <a:srgbClr val="65CEFF"/>
          </p15:clr>
        </p15:guide>
        <p15:guide id="11" orient="horz" pos="3658" userDrawn="1">
          <p15:clr>
            <a:srgbClr val="65CEFF"/>
          </p15:clr>
        </p15:guide>
        <p15:guide id="12" orient="horz" pos="3885" userDrawn="1">
          <p15:clr>
            <a:srgbClr val="65CEFF"/>
          </p15:clr>
        </p15:guide>
        <p15:guide id="13" orient="horz" pos="4157" userDrawn="1">
          <p15:clr>
            <a:srgbClr val="65CEF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s (Spotl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568133C-15D2-4F33-802E-DF15E7891829}"/>
              </a:ext>
            </a:extLst>
          </p:cNvPr>
          <p:cNvSpPr>
            <a:spLocks noGrp="1"/>
          </p:cNvSpPr>
          <p:nvPr>
            <p:ph type="title"/>
          </p:nvPr>
        </p:nvSpPr>
        <p:spPr/>
        <p:txBody>
          <a:bodyPr/>
          <a:lstStyle/>
          <a:p>
            <a:r>
              <a:rPr lang="en-US"/>
              <a:t>Click to edit Master title style</a:t>
            </a:r>
          </a:p>
        </p:txBody>
      </p:sp>
      <p:sp>
        <p:nvSpPr>
          <p:cNvPr id="7" name="Picture Placeholder">
            <a:extLst>
              <a:ext uri="{FF2B5EF4-FFF2-40B4-BE49-F238E27FC236}">
                <a16:creationId xmlns:a16="http://schemas.microsoft.com/office/drawing/2014/main" id="{90866A30-329B-420B-B42B-2C69E0DE6D9B}"/>
              </a:ext>
            </a:extLst>
          </p:cNvPr>
          <p:cNvSpPr>
            <a:spLocks noGrp="1"/>
          </p:cNvSpPr>
          <p:nvPr>
            <p:ph type="pic" sz="quarter" idx="12"/>
          </p:nvPr>
        </p:nvSpPr>
        <p:spPr>
          <a:xfrm>
            <a:off x="411161" y="1414800"/>
            <a:ext cx="7199313" cy="4752000"/>
          </a:xfrm>
          <a:solidFill>
            <a:schemeClr val="bg2"/>
          </a:solidFill>
        </p:spPr>
        <p:txBody>
          <a:bodyPr>
            <a:noAutofit/>
          </a:bodyPr>
          <a:lstStyle/>
          <a:p>
            <a:endParaRPr lang="en-US" dirty="0"/>
          </a:p>
        </p:txBody>
      </p:sp>
      <p:sp>
        <p:nvSpPr>
          <p:cNvPr id="4" name="Copy">
            <a:extLst>
              <a:ext uri="{FF2B5EF4-FFF2-40B4-BE49-F238E27FC236}">
                <a16:creationId xmlns:a16="http://schemas.microsoft.com/office/drawing/2014/main" id="{BF3FF41E-3844-4153-B955-A1F3E9EC1D30}"/>
              </a:ext>
            </a:extLst>
          </p:cNvPr>
          <p:cNvSpPr>
            <a:spLocks noGrp="1"/>
          </p:cNvSpPr>
          <p:nvPr>
            <p:ph sz="half" idx="2"/>
          </p:nvPr>
        </p:nvSpPr>
        <p:spPr>
          <a:xfrm>
            <a:off x="8043189" y="1414800"/>
            <a:ext cx="3744000"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3" name="Footer Placeholder">
            <a:extLst>
              <a:ext uri="{FF2B5EF4-FFF2-40B4-BE49-F238E27FC236}">
                <a16:creationId xmlns:a16="http://schemas.microsoft.com/office/drawing/2014/main" id="{33756E69-CA2F-47EC-9D32-CB09C4CD83F1}"/>
              </a:ext>
            </a:extLst>
          </p:cNvPr>
          <p:cNvSpPr>
            <a:spLocks noGrp="1"/>
          </p:cNvSpPr>
          <p:nvPr>
            <p:ph type="ftr" sz="quarter" idx="13"/>
          </p:nvPr>
        </p:nvSpPr>
        <p:spPr/>
        <p:txBody>
          <a:bodyPr/>
          <a:lstStyle/>
          <a:p>
            <a:pPr>
              <a:lnSpc>
                <a:spcPct val="100000"/>
              </a:lnSpc>
            </a:pPr>
            <a:r>
              <a:rPr lang="en-US" dirty="0"/>
              <a:t>Restricted | © Siemens 20XX | Author | Department | YYYY-MM-DD</a:t>
            </a:r>
          </a:p>
        </p:txBody>
      </p:sp>
      <p:sp>
        <p:nvSpPr>
          <p:cNvPr id="5" name="Slide Number Placeholder">
            <a:extLst>
              <a:ext uri="{FF2B5EF4-FFF2-40B4-BE49-F238E27FC236}">
                <a16:creationId xmlns:a16="http://schemas.microsoft.com/office/drawing/2014/main" id="{95022CCB-0484-488B-8637-222C3919B0F7}"/>
              </a:ext>
            </a:extLst>
          </p:cNvPr>
          <p:cNvSpPr>
            <a:spLocks noGrp="1"/>
          </p:cNvSpPr>
          <p:nvPr>
            <p:ph type="sldNum" sz="quarter" idx="14"/>
          </p:nvPr>
        </p:nvSpPr>
        <p:spPr/>
        <p:txBody>
          <a:bodyPr/>
          <a:lstStyle/>
          <a:p>
            <a:r>
              <a:rPr lang="en-US" dirty="0"/>
              <a:t>Page </a:t>
            </a:r>
            <a:fld id="{15EBE321-CBB1-4E91-BD14-37C8D44326FB}" type="slidenum">
              <a:rPr lang="en-US" smtClean="0"/>
              <a:pPr/>
              <a:t>‹Nr.›</a:t>
            </a:fld>
            <a:endParaRPr lang="en-US" dirty="0"/>
          </a:p>
        </p:txBody>
      </p:sp>
      <p:pic>
        <p:nvPicPr>
          <p:cNvPr id="9" name="Siemens Logo">
            <a:extLst>
              <a:ext uri="{FF2B5EF4-FFF2-40B4-BE49-F238E27FC236}">
                <a16:creationId xmlns:a16="http://schemas.microsoft.com/office/drawing/2014/main" id="{F468BE17-5D03-45C2-9D37-CF354AAA9589}"/>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408848882"/>
      </p:ext>
    </p:extLst>
  </p:cSld>
  <p:clrMapOvr>
    <a:masterClrMapping/>
  </p:clrMapOvr>
  <p:extLst>
    <p:ext uri="{DCECCB84-F9BA-43D5-87BE-67443E8EF086}">
      <p15:sldGuideLst xmlns:p15="http://schemas.microsoft.com/office/powerpoint/2012/main">
        <p15:guide id="1" pos="259" userDrawn="1">
          <p15:clr>
            <a:srgbClr val="65CEFF"/>
          </p15:clr>
        </p15:guide>
        <p15:guide id="2" pos="4794" userDrawn="1">
          <p15:clr>
            <a:srgbClr val="65CEFF"/>
          </p15:clr>
        </p15:guide>
        <p15:guide id="3" pos="5066" userDrawn="1">
          <p15:clr>
            <a:srgbClr val="65CEFF"/>
          </p15:clr>
        </p15:guide>
        <p15:guide id="4" pos="6472" userDrawn="1">
          <p15:clr>
            <a:srgbClr val="65CEFF"/>
          </p15:clr>
        </p15:guide>
        <p15:guide id="5" pos="7425" userDrawn="1">
          <p15:clr>
            <a:srgbClr val="65CEFF"/>
          </p15:clr>
        </p15:guide>
        <p15:guide id="6" orient="horz" pos="302" userDrawn="1">
          <p15:clr>
            <a:srgbClr val="65CEFF"/>
          </p15:clr>
        </p15:guide>
        <p15:guide id="7" orient="horz" pos="664" userDrawn="1">
          <p15:clr>
            <a:srgbClr val="65CEFF"/>
          </p15:clr>
        </p15:guide>
        <p15:guide id="8" orient="horz" pos="891" userDrawn="1">
          <p15:clr>
            <a:srgbClr val="65CEFF"/>
          </p15:clr>
        </p15:guide>
        <p15:guide id="9" orient="horz" pos="3658" userDrawn="1">
          <p15:clr>
            <a:srgbClr val="65CEFF"/>
          </p15:clr>
        </p15:guide>
        <p15:guide id="10" orient="horz" pos="3885" userDrawn="1">
          <p15:clr>
            <a:srgbClr val="65CEFF"/>
          </p15:clr>
        </p15:guide>
        <p15:guide id="11" orient="horz" pos="4157" userDrawn="1">
          <p15:clr>
            <a:srgbClr val="65CEFF"/>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s without logo (Spotl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0C7B869-3095-4D4F-B832-8B6077991AA5}"/>
              </a:ext>
            </a:extLst>
          </p:cNvPr>
          <p:cNvSpPr>
            <a:spLocks noGrp="1"/>
          </p:cNvSpPr>
          <p:nvPr>
            <p:ph type="title"/>
          </p:nvPr>
        </p:nvSpPr>
        <p:spPr/>
        <p:txBody>
          <a:bodyPr/>
          <a:lstStyle/>
          <a:p>
            <a:r>
              <a:rPr lang="en-US"/>
              <a:t>Click to edit Master title style</a:t>
            </a:r>
          </a:p>
        </p:txBody>
      </p:sp>
      <p:sp>
        <p:nvSpPr>
          <p:cNvPr id="9" name="Picture Placeholder">
            <a:extLst>
              <a:ext uri="{FF2B5EF4-FFF2-40B4-BE49-F238E27FC236}">
                <a16:creationId xmlns:a16="http://schemas.microsoft.com/office/drawing/2014/main" id="{299C05E6-AE55-4C36-8543-1DA3751542EB}"/>
              </a:ext>
            </a:extLst>
          </p:cNvPr>
          <p:cNvSpPr>
            <a:spLocks noGrp="1"/>
          </p:cNvSpPr>
          <p:nvPr>
            <p:ph type="pic" sz="quarter" idx="12"/>
          </p:nvPr>
        </p:nvSpPr>
        <p:spPr>
          <a:xfrm>
            <a:off x="411163" y="1414800"/>
            <a:ext cx="7199311" cy="4752000"/>
          </a:xfrm>
          <a:solidFill>
            <a:schemeClr val="bg2"/>
          </a:solidFill>
        </p:spPr>
        <p:txBody>
          <a:bodyPr/>
          <a:lstStyle/>
          <a:p>
            <a:endParaRPr lang="en-US" dirty="0"/>
          </a:p>
        </p:txBody>
      </p:sp>
      <p:sp>
        <p:nvSpPr>
          <p:cNvPr id="4" name="Copy">
            <a:extLst>
              <a:ext uri="{FF2B5EF4-FFF2-40B4-BE49-F238E27FC236}">
                <a16:creationId xmlns:a16="http://schemas.microsoft.com/office/drawing/2014/main" id="{BF3FF41E-3844-4153-B955-A1F3E9EC1D30}"/>
              </a:ext>
            </a:extLst>
          </p:cNvPr>
          <p:cNvSpPr>
            <a:spLocks noGrp="1"/>
          </p:cNvSpPr>
          <p:nvPr>
            <p:ph sz="half" idx="2"/>
          </p:nvPr>
        </p:nvSpPr>
        <p:spPr>
          <a:xfrm>
            <a:off x="8043189" y="1414800"/>
            <a:ext cx="3744000"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5" name="Footer Placeholder">
            <a:extLst>
              <a:ext uri="{FF2B5EF4-FFF2-40B4-BE49-F238E27FC236}">
                <a16:creationId xmlns:a16="http://schemas.microsoft.com/office/drawing/2014/main" id="{2BA12055-C879-45E9-A105-2B26D233C9D4}"/>
              </a:ext>
            </a:extLst>
          </p:cNvPr>
          <p:cNvSpPr>
            <a:spLocks noGrp="1"/>
          </p:cNvSpPr>
          <p:nvPr>
            <p:ph type="ftr" sz="quarter" idx="13"/>
          </p:nvPr>
        </p:nvSpPr>
        <p:spPr/>
        <p:txBody>
          <a:bodyPr/>
          <a:lstStyle/>
          <a:p>
            <a:pPr>
              <a:lnSpc>
                <a:spcPct val="100000"/>
              </a:lnSpc>
            </a:pPr>
            <a:r>
              <a:rPr lang="en-US" dirty="0"/>
              <a:t>Restricted | © Siemens 20XX | Author | Department | YYYY-MM-DD</a:t>
            </a:r>
          </a:p>
        </p:txBody>
      </p:sp>
      <p:sp>
        <p:nvSpPr>
          <p:cNvPr id="7" name="Slide Number Placeholder">
            <a:extLst>
              <a:ext uri="{FF2B5EF4-FFF2-40B4-BE49-F238E27FC236}">
                <a16:creationId xmlns:a16="http://schemas.microsoft.com/office/drawing/2014/main" id="{9AD82E40-8759-4AAC-B9F2-63E0F2C4CC7C}"/>
              </a:ext>
            </a:extLst>
          </p:cNvPr>
          <p:cNvSpPr>
            <a:spLocks noGrp="1"/>
          </p:cNvSpPr>
          <p:nvPr>
            <p:ph type="sldNum" sz="quarter" idx="14"/>
          </p:nvPr>
        </p:nvSpPr>
        <p:spPr/>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3664610299"/>
      </p:ext>
    </p:extLst>
  </p:cSld>
  <p:clrMapOvr>
    <a:masterClrMapping/>
  </p:clrMapOvr>
  <p:extLst>
    <p:ext uri="{DCECCB84-F9BA-43D5-87BE-67443E8EF086}">
      <p15:sldGuideLst xmlns:p15="http://schemas.microsoft.com/office/powerpoint/2012/main">
        <p15:guide id="1" pos="259" userDrawn="1">
          <p15:clr>
            <a:srgbClr val="65CEFF"/>
          </p15:clr>
        </p15:guide>
        <p15:guide id="2" pos="4794" userDrawn="1">
          <p15:clr>
            <a:srgbClr val="65CEFF"/>
          </p15:clr>
        </p15:guide>
        <p15:guide id="3" pos="5066" userDrawn="1">
          <p15:clr>
            <a:srgbClr val="65CEFF"/>
          </p15:clr>
        </p15:guide>
        <p15:guide id="4" pos="6472" userDrawn="1">
          <p15:clr>
            <a:srgbClr val="65CEFF"/>
          </p15:clr>
        </p15:guide>
        <p15:guide id="5" pos="7425" userDrawn="1">
          <p15:clr>
            <a:srgbClr val="65CEFF"/>
          </p15:clr>
        </p15:guide>
        <p15:guide id="6" orient="horz" pos="302" userDrawn="1">
          <p15:clr>
            <a:srgbClr val="65CEFF"/>
          </p15:clr>
        </p15:guide>
        <p15:guide id="7" orient="horz" pos="664" userDrawn="1">
          <p15:clr>
            <a:srgbClr val="65CEFF"/>
          </p15:clr>
        </p15:guide>
        <p15:guide id="8" orient="horz" pos="891" userDrawn="1">
          <p15:clr>
            <a:srgbClr val="65CEFF"/>
          </p15:clr>
        </p15:guide>
        <p15:guide id="9" orient="horz" pos="3658" userDrawn="1">
          <p15:clr>
            <a:srgbClr val="65CEFF"/>
          </p15:clr>
        </p15:guide>
        <p15:guide id="10" orient="horz" pos="3885" userDrawn="1">
          <p15:clr>
            <a:srgbClr val="65CEFF"/>
          </p15:clr>
        </p15:guide>
        <p15:guide id="11" orient="horz" pos="4157" userDrawn="1">
          <p15:clr>
            <a:srgbClr val="65CEF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One table (large)">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9C4633C1-8D3E-45A5-A522-817574663A85}"/>
              </a:ext>
            </a:extLst>
          </p:cNvPr>
          <p:cNvSpPr>
            <a:spLocks noGrp="1"/>
          </p:cNvSpPr>
          <p:nvPr>
            <p:ph type="title"/>
          </p:nvPr>
        </p:nvSpPr>
        <p:spPr/>
        <p:txBody>
          <a:bodyPr/>
          <a:lstStyle>
            <a:lvl1pPr>
              <a:defRPr>
                <a:solidFill>
                  <a:schemeClr val="accent1"/>
                </a:solidFill>
              </a:defRPr>
            </a:lvl1pPr>
          </a:lstStyle>
          <a:p>
            <a:r>
              <a:rPr lang="en-US" dirty="0"/>
              <a:t>Click to edit Master title style</a:t>
            </a:r>
          </a:p>
        </p:txBody>
      </p:sp>
      <p:sp>
        <p:nvSpPr>
          <p:cNvPr id="6" name="Table Placeholder">
            <a:extLst>
              <a:ext uri="{FF2B5EF4-FFF2-40B4-BE49-F238E27FC236}">
                <a16:creationId xmlns:a16="http://schemas.microsoft.com/office/drawing/2014/main" id="{D41D1FE0-EDDA-47B8-BF1F-831D4733C32A}"/>
              </a:ext>
            </a:extLst>
          </p:cNvPr>
          <p:cNvSpPr>
            <a:spLocks noGrp="1"/>
          </p:cNvSpPr>
          <p:nvPr>
            <p:ph type="tbl" sz="quarter" idx="12"/>
          </p:nvPr>
        </p:nvSpPr>
        <p:spPr>
          <a:xfrm>
            <a:off x="404812" y="1414461"/>
            <a:ext cx="11376026" cy="4392000"/>
          </a:xfrm>
        </p:spPr>
        <p:txBody>
          <a:bodyPr/>
          <a:lstStyle/>
          <a:p>
            <a:endParaRPr lang="en-US" dirty="0"/>
          </a:p>
        </p:txBody>
      </p:sp>
      <p:sp>
        <p:nvSpPr>
          <p:cNvPr id="3" name="Footer Placeholder">
            <a:extLst>
              <a:ext uri="{FF2B5EF4-FFF2-40B4-BE49-F238E27FC236}">
                <a16:creationId xmlns:a16="http://schemas.microsoft.com/office/drawing/2014/main" id="{9CEA2FAD-1597-4F5C-878D-02CB854024F3}"/>
              </a:ext>
            </a:extLst>
          </p:cNvPr>
          <p:cNvSpPr>
            <a:spLocks noGrp="1"/>
          </p:cNvSpPr>
          <p:nvPr>
            <p:ph type="ftr" sz="quarter" idx="13"/>
          </p:nvPr>
        </p:nvSpPr>
        <p:spPr/>
        <p:txBody>
          <a:bodyPr/>
          <a:lstStyle/>
          <a:p>
            <a:pPr>
              <a:lnSpc>
                <a:spcPct val="100000"/>
              </a:lnSpc>
            </a:pPr>
            <a:r>
              <a:rPr lang="en-US" dirty="0"/>
              <a:t>Restricted | © Siemens 20XX | Author | Department | YYYY-MM-DD</a:t>
            </a:r>
          </a:p>
        </p:txBody>
      </p:sp>
      <p:sp>
        <p:nvSpPr>
          <p:cNvPr id="5" name="Slide Number Placeholder">
            <a:extLst>
              <a:ext uri="{FF2B5EF4-FFF2-40B4-BE49-F238E27FC236}">
                <a16:creationId xmlns:a16="http://schemas.microsoft.com/office/drawing/2014/main" id="{CE0A22CB-5E69-4817-B713-C02B97CF6B91}"/>
              </a:ext>
            </a:extLst>
          </p:cNvPr>
          <p:cNvSpPr>
            <a:spLocks noGrp="1"/>
          </p:cNvSpPr>
          <p:nvPr>
            <p:ph type="sldNum" sz="quarter" idx="14"/>
          </p:nvPr>
        </p:nvSpPr>
        <p:spPr/>
        <p:txBody>
          <a:bodyPr/>
          <a:lstStyle/>
          <a:p>
            <a:r>
              <a:rPr lang="en-US" dirty="0"/>
              <a:t>Page </a:t>
            </a:r>
            <a:fld id="{15EBE321-CBB1-4E91-BD14-37C8D44326FB}" type="slidenum">
              <a:rPr lang="en-US" smtClean="0"/>
              <a:pPr/>
              <a:t>‹Nr.›</a:t>
            </a:fld>
            <a:endParaRPr lang="en-US" dirty="0"/>
          </a:p>
        </p:txBody>
      </p:sp>
      <p:pic>
        <p:nvPicPr>
          <p:cNvPr id="9" name="Siemens Logo">
            <a:extLst>
              <a:ext uri="{FF2B5EF4-FFF2-40B4-BE49-F238E27FC236}">
                <a16:creationId xmlns:a16="http://schemas.microsoft.com/office/drawing/2014/main" id="{2EA6CE5F-6FF7-4E0A-AEB2-1A7C43CE05C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912428891"/>
      </p:ext>
    </p:extLst>
  </p:cSld>
  <p:clrMapOvr>
    <a:masterClrMapping/>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302" userDrawn="1">
          <p15:clr>
            <a:srgbClr val="65CEFF"/>
          </p15:clr>
        </p15:guide>
        <p15:guide id="5" orient="horz" pos="664" userDrawn="1">
          <p15:clr>
            <a:srgbClr val="65CEFF"/>
          </p15:clr>
        </p15:guide>
        <p15:guide id="6" orient="horz" pos="891" userDrawn="1">
          <p15:clr>
            <a:srgbClr val="65CEFF"/>
          </p15:clr>
        </p15:guide>
        <p15:guide id="7" orient="horz" pos="3658" userDrawn="1">
          <p15:clr>
            <a:srgbClr val="65CEFF"/>
          </p15:clr>
        </p15:guide>
        <p15:guide id="8" orient="horz" pos="3885" userDrawn="1">
          <p15:clr>
            <a:srgbClr val="65CEFF"/>
          </p15:clr>
        </p15:guide>
        <p15:guide id="9" orient="horz" pos="4157" userDrawn="1">
          <p15:clr>
            <a:srgbClr val="65CEF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rocess flow">
    <p:bg>
      <p:bgRef idx="1001">
        <a:schemeClr val="bg2"/>
      </p:bgRef>
    </p:bg>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9F2A455C-53B1-4792-8EA9-F00926C48E39}"/>
              </a:ext>
            </a:extLst>
          </p:cNvPr>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opy 1">
            <a:extLst>
              <a:ext uri="{FF2B5EF4-FFF2-40B4-BE49-F238E27FC236}">
                <a16:creationId xmlns:a16="http://schemas.microsoft.com/office/drawing/2014/main" id="{9CE7E2D8-94E8-4FE6-93A5-924CA3EC5315}"/>
              </a:ext>
            </a:extLst>
          </p:cNvPr>
          <p:cNvSpPr>
            <a:spLocks noGrp="1"/>
          </p:cNvSpPr>
          <p:nvPr>
            <p:ph idx="1"/>
          </p:nvPr>
        </p:nvSpPr>
        <p:spPr>
          <a:xfrm>
            <a:off x="411162" y="1414462"/>
            <a:ext cx="3600000" cy="4392000"/>
          </a:xfrm>
          <a:prstGeom prst="rect">
            <a:avLst/>
          </a:prstGeom>
          <a:ln w="19050">
            <a:solidFill>
              <a:schemeClr val="accent2"/>
            </a:solidFill>
          </a:ln>
        </p:spPr>
        <p:txBody>
          <a:bodyPr lIns="216000" tIns="144000" rIns="216000" bIns="144000">
            <a:noAutofit/>
          </a:bodyPr>
          <a:lstStyle>
            <a:lvl1pPr>
              <a:defRPr>
                <a:ln>
                  <a:noFill/>
                </a:ln>
              </a:defRPr>
            </a:lvl1pPr>
            <a:lvl2pPr>
              <a:buClr>
                <a:srgbClr val="00FFB9"/>
              </a:buClr>
              <a:defRPr>
                <a:ln>
                  <a:noFill/>
                </a:ln>
              </a:defRPr>
            </a:lvl2pPr>
            <a:lvl3pPr>
              <a:buClr>
                <a:srgbClr val="00FFB9"/>
              </a:buClr>
              <a:defRPr>
                <a:ln>
                  <a:noFill/>
                </a:ln>
              </a:defRPr>
            </a:lvl3pPr>
            <a:lvl4pPr>
              <a:buClr>
                <a:srgbClr val="00FFB9"/>
              </a:buClr>
              <a:defRPr>
                <a:ln>
                  <a:noFill/>
                </a:ln>
              </a:defRPr>
            </a:lvl4pPr>
            <a:lvl5pPr>
              <a:buClr>
                <a:srgbClr val="00FFB9"/>
              </a:buClr>
              <a:defRPr>
                <a:ln>
                  <a:noFill/>
                </a:ln>
              </a:defRPr>
            </a:lvl5pPr>
            <a:lvl6pPr>
              <a:buClr>
                <a:srgbClr val="00FFB9"/>
              </a:buClr>
              <a:defRPr>
                <a:ln>
                  <a:noFill/>
                </a:ln>
              </a:defRPr>
            </a:lvl6pPr>
            <a:lvl7pPr>
              <a:buClr>
                <a:srgbClr val="00FFB9"/>
              </a:buClr>
              <a:defRPr>
                <a:ln>
                  <a:noFill/>
                </a:ln>
              </a:defRPr>
            </a:lvl7pPr>
            <a:lvl8pPr>
              <a:buClr>
                <a:srgbClr val="00FFB9"/>
              </a:buClr>
              <a:defRPr>
                <a:ln>
                  <a:noFill/>
                </a:ln>
              </a:defRPr>
            </a:lvl8pPr>
            <a:lvl9pPr>
              <a:buClr>
                <a:srgbClr val="00FFB9"/>
              </a:buClr>
              <a:defRPr>
                <a:ln>
                  <a:noFill/>
                </a:ln>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1" name="Copy 2">
            <a:extLst>
              <a:ext uri="{FF2B5EF4-FFF2-40B4-BE49-F238E27FC236}">
                <a16:creationId xmlns:a16="http://schemas.microsoft.com/office/drawing/2014/main" id="{3AC3CE10-0C4B-4A11-BA76-8CAFED13661C}"/>
              </a:ext>
            </a:extLst>
          </p:cNvPr>
          <p:cNvSpPr>
            <a:spLocks noGrp="1"/>
          </p:cNvSpPr>
          <p:nvPr>
            <p:ph idx="13"/>
          </p:nvPr>
        </p:nvSpPr>
        <p:spPr>
          <a:xfrm>
            <a:off x="4299176" y="1414462"/>
            <a:ext cx="3600000" cy="4392000"/>
          </a:xfrm>
          <a:prstGeom prst="rect">
            <a:avLst/>
          </a:prstGeom>
          <a:ln w="19050">
            <a:solidFill>
              <a:schemeClr val="accent2"/>
            </a:solidFill>
          </a:ln>
        </p:spPr>
        <p:txBody>
          <a:bodyPr lIns="216000" tIns="144000" rIns="216000" bIns="144000">
            <a:noAutofit/>
          </a:bodyPr>
          <a:lstStyle>
            <a:lvl1pPr>
              <a:defRPr>
                <a:ln>
                  <a:noFill/>
                </a:ln>
              </a:defRPr>
            </a:lvl1pPr>
            <a:lvl2pPr>
              <a:buClr>
                <a:srgbClr val="00FFB9"/>
              </a:buClr>
              <a:defRPr>
                <a:ln>
                  <a:noFill/>
                </a:ln>
              </a:defRPr>
            </a:lvl2pPr>
            <a:lvl3pPr>
              <a:buClr>
                <a:srgbClr val="00FFB9"/>
              </a:buClr>
              <a:defRPr>
                <a:ln>
                  <a:noFill/>
                </a:ln>
              </a:defRPr>
            </a:lvl3pPr>
            <a:lvl4pPr>
              <a:buClr>
                <a:srgbClr val="00FFB9"/>
              </a:buClr>
              <a:defRPr>
                <a:ln>
                  <a:noFill/>
                </a:ln>
              </a:defRPr>
            </a:lvl4pPr>
            <a:lvl5pPr>
              <a:buClr>
                <a:srgbClr val="00FFB9"/>
              </a:buClr>
              <a:defRPr>
                <a:ln>
                  <a:noFill/>
                </a:ln>
              </a:defRPr>
            </a:lvl5pPr>
            <a:lvl6pPr>
              <a:buClr>
                <a:srgbClr val="00FFB9"/>
              </a:buClr>
              <a:defRPr>
                <a:ln>
                  <a:noFill/>
                </a:ln>
              </a:defRPr>
            </a:lvl6pPr>
            <a:lvl7pPr>
              <a:buClr>
                <a:srgbClr val="00FFB9"/>
              </a:buClr>
              <a:defRPr>
                <a:ln>
                  <a:noFill/>
                </a:ln>
              </a:defRPr>
            </a:lvl7pPr>
            <a:lvl8pPr>
              <a:buClr>
                <a:srgbClr val="00FFB9"/>
              </a:buClr>
              <a:defRPr>
                <a:ln>
                  <a:noFill/>
                </a:ln>
              </a:defRPr>
            </a:lvl8pPr>
            <a:lvl9pPr>
              <a:buClr>
                <a:srgbClr val="00FFB9"/>
              </a:buClr>
              <a:defRPr>
                <a:ln>
                  <a:noFill/>
                </a:ln>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0" name="Copy 3">
            <a:extLst>
              <a:ext uri="{FF2B5EF4-FFF2-40B4-BE49-F238E27FC236}">
                <a16:creationId xmlns:a16="http://schemas.microsoft.com/office/drawing/2014/main" id="{E840DCCC-8E77-40B8-B94B-A4D3A4D77826}"/>
              </a:ext>
            </a:extLst>
          </p:cNvPr>
          <p:cNvSpPr>
            <a:spLocks noGrp="1"/>
          </p:cNvSpPr>
          <p:nvPr>
            <p:ph idx="12"/>
          </p:nvPr>
        </p:nvSpPr>
        <p:spPr>
          <a:xfrm>
            <a:off x="8187189" y="1414462"/>
            <a:ext cx="3600000" cy="4392000"/>
          </a:xfrm>
          <a:prstGeom prst="rect">
            <a:avLst/>
          </a:prstGeom>
          <a:solidFill>
            <a:schemeClr val="tx2"/>
          </a:solidFill>
          <a:ln w="19050">
            <a:solidFill>
              <a:schemeClr val="tx1"/>
            </a:solidFill>
          </a:ln>
        </p:spPr>
        <p:txBody>
          <a:bodyPr lIns="216000" tIns="144000" rIns="216000" bIns="144000">
            <a:noAutofit/>
          </a:bodyPr>
          <a:lstStyle>
            <a:lvl1pPr>
              <a:defRPr>
                <a:solidFill>
                  <a:schemeClr val="bg1"/>
                </a:solidFill>
              </a:defRPr>
            </a:lvl1pPr>
            <a:lvl2pPr>
              <a:buClr>
                <a:schemeClr val="accent1"/>
              </a:buClr>
              <a:defRPr>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vl6pPr>
              <a:buClr>
                <a:schemeClr val="accent1"/>
              </a:buClr>
              <a:defRPr>
                <a:solidFill>
                  <a:schemeClr val="bg1"/>
                </a:solidFill>
              </a:defRPr>
            </a:lvl6pPr>
            <a:lvl7pPr>
              <a:buClr>
                <a:schemeClr val="accent1"/>
              </a:buClr>
              <a:defRPr>
                <a:solidFill>
                  <a:schemeClr val="bg1"/>
                </a:solidFill>
              </a:defRPr>
            </a:lvl7pPr>
            <a:lvl8pPr>
              <a:buClr>
                <a:schemeClr val="accent1"/>
              </a:buClr>
              <a:defRPr>
                <a:solidFill>
                  <a:schemeClr val="bg1"/>
                </a:solidFill>
              </a:defRPr>
            </a:lvl8pPr>
            <a:lvl9pPr>
              <a:buClr>
                <a:schemeClr val="accent1"/>
              </a:buCl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Footer Placeholder">
            <a:extLst>
              <a:ext uri="{FF2B5EF4-FFF2-40B4-BE49-F238E27FC236}">
                <a16:creationId xmlns:a16="http://schemas.microsoft.com/office/drawing/2014/main" id="{91FCCEDD-7521-4BD5-8A32-A62DA6246709}"/>
              </a:ext>
            </a:extLst>
          </p:cNvPr>
          <p:cNvSpPr>
            <a:spLocks noGrp="1"/>
          </p:cNvSpPr>
          <p:nvPr>
            <p:ph type="ftr" sz="quarter" idx="14"/>
          </p:nvPr>
        </p:nvSpPr>
        <p:spPr/>
        <p:txBody>
          <a:bodyPr/>
          <a:lstStyle/>
          <a:p>
            <a:pPr>
              <a:lnSpc>
                <a:spcPct val="100000"/>
              </a:lnSpc>
            </a:pPr>
            <a:r>
              <a:rPr lang="en-US" dirty="0"/>
              <a:t>Restricted | © Siemens 20XX | Author | Department | YYYY-MM-DD</a:t>
            </a:r>
          </a:p>
        </p:txBody>
      </p:sp>
      <p:sp>
        <p:nvSpPr>
          <p:cNvPr id="7" name="Slide Number Placeholder">
            <a:extLst>
              <a:ext uri="{FF2B5EF4-FFF2-40B4-BE49-F238E27FC236}">
                <a16:creationId xmlns:a16="http://schemas.microsoft.com/office/drawing/2014/main" id="{DC2AAE3E-7F56-4838-BCE7-6B966549F4DA}"/>
              </a:ext>
            </a:extLst>
          </p:cNvPr>
          <p:cNvSpPr>
            <a:spLocks noGrp="1"/>
          </p:cNvSpPr>
          <p:nvPr>
            <p:ph type="sldNum" sz="quarter" idx="15"/>
          </p:nvPr>
        </p:nvSpPr>
        <p:spPr/>
        <p:txBody>
          <a:bodyPr/>
          <a:lstStyle/>
          <a:p>
            <a:r>
              <a:rPr lang="en-US" dirty="0"/>
              <a:t>Page </a:t>
            </a:r>
            <a:fld id="{15EBE321-CBB1-4E91-BD14-37C8D44326FB}" type="slidenum">
              <a:rPr lang="en-US" smtClean="0"/>
              <a:pPr/>
              <a:t>‹Nr.›</a:t>
            </a:fld>
            <a:endParaRPr lang="en-US" dirty="0"/>
          </a:p>
        </p:txBody>
      </p:sp>
      <p:pic>
        <p:nvPicPr>
          <p:cNvPr id="9" name="Siemens Logo">
            <a:extLst>
              <a:ext uri="{FF2B5EF4-FFF2-40B4-BE49-F238E27FC236}">
                <a16:creationId xmlns:a16="http://schemas.microsoft.com/office/drawing/2014/main" id="{E5DDD55C-5C17-4BCD-A9BB-FE8A69DC48D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46015824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4975" userDrawn="1">
          <p15:clr>
            <a:srgbClr val="65CEFF"/>
          </p15:clr>
        </p15:guide>
        <p15:guide id="5" pos="5157" userDrawn="1">
          <p15:clr>
            <a:srgbClr val="65CEFF"/>
          </p15:clr>
        </p15:guide>
        <p15:guide id="6" pos="6472" userDrawn="1">
          <p15:clr>
            <a:srgbClr val="65CEFF"/>
          </p15:clr>
        </p15:guide>
        <p15:guide id="7" pos="7425" userDrawn="1">
          <p15:clr>
            <a:srgbClr val="65CEFF"/>
          </p15:clr>
        </p15:guide>
        <p15:guide id="8" orient="horz" pos="302" userDrawn="1">
          <p15:clr>
            <a:srgbClr val="65CEFF"/>
          </p15:clr>
        </p15:guide>
        <p15:guide id="9" orient="horz" pos="664" userDrawn="1">
          <p15:clr>
            <a:srgbClr val="65CEFF"/>
          </p15:clr>
        </p15:guide>
        <p15:guide id="10" orient="horz" pos="891" userDrawn="1">
          <p15:clr>
            <a:srgbClr val="65CEFF"/>
          </p15:clr>
        </p15:guide>
        <p15:guide id="11" orient="horz" pos="3658" userDrawn="1">
          <p15:clr>
            <a:srgbClr val="65CEFF"/>
          </p15:clr>
        </p15:guide>
        <p15:guide id="12" orient="horz" pos="3885" userDrawn="1">
          <p15:clr>
            <a:srgbClr val="65CEFF"/>
          </p15:clr>
        </p15:guide>
        <p15:guide id="13" orient="horz" pos="4157" userDrawn="1">
          <p15:clr>
            <a:srgbClr val="65CEF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Gradient DB–Petrol 60p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pic>
        <p:nvPicPr>
          <p:cNvPr id="6" name="Cognisphere" descr="Background pattern&#10;&#10;Description automatically generated">
            <a:extLst>
              <a:ext uri="{FF2B5EF4-FFF2-40B4-BE49-F238E27FC236}">
                <a16:creationId xmlns:a16="http://schemas.microsoft.com/office/drawing/2014/main" id="{DF3DAF0E-BB8A-4082-8CE7-1BBCE61C8CD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4"/>
            <a:ext cx="11376788" cy="2769989"/>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500"/>
            </a:stretch>
          </a:blipFill>
        </p:spPr>
        <p:txBody>
          <a:bodyPr rIns="0" bIns="0" anchor="t" anchorCtr="0">
            <a:spAutoFit/>
          </a:bodyPr>
          <a:lstStyle>
            <a:lvl1pPr marL="414000">
              <a:lnSpc>
                <a:spcPct val="100000"/>
              </a:lnSpc>
              <a:defRPr sz="6000">
                <a:solidFill>
                  <a:schemeClr val="tx1"/>
                </a:solidFill>
              </a:defRPr>
            </a:lvl1pPr>
          </a:lstStyle>
          <a:p>
            <a:r>
              <a:rPr lang="en-US" dirty="0"/>
              <a:t>Click to edit </a:t>
            </a:r>
            <a:br>
              <a:rPr lang="en-US" dirty="0"/>
            </a:br>
            <a:r>
              <a:rPr lang="en-US" dirty="0"/>
              <a:t>Master title style</a:t>
            </a:r>
            <a:br>
              <a:rPr lang="en-US" dirty="0"/>
            </a:br>
            <a:r>
              <a:rPr lang="en-US" dirty="0"/>
              <a:t>3 lines 6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4184453"/>
            <a:ext cx="9288000" cy="1622621"/>
          </a:xfrm>
          <a:prstGeom prst="rect">
            <a:avLst/>
          </a:prstGeom>
        </p:spPr>
        <p:txBody>
          <a:bodyPr lIns="0" tIns="3492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60 </a:t>
            </a:r>
            <a:r>
              <a:rPr lang="en-US" dirty="0" err="1"/>
              <a:t>pt</a:t>
            </a:r>
            <a:endParaRPr lang="en-US"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en-US" dirty="0"/>
              <a:t>Restricted | © Siemens 20XX | Author | Department | YYYY-MM-DD</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16542600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light">
    <p:spTree>
      <p:nvGrpSpPr>
        <p:cNvPr id="1" name=""/>
        <p:cNvGrpSpPr/>
        <p:nvPr/>
      </p:nvGrpSpPr>
      <p:grpSpPr>
        <a:xfrm>
          <a:off x="0" y="0"/>
          <a:ext cx="0" cy="0"/>
          <a:chOff x="0" y="0"/>
          <a:chExt cx="0" cy="0"/>
        </a:xfrm>
      </p:grpSpPr>
      <p:sp>
        <p:nvSpPr>
          <p:cNvPr id="7" name="Copy">
            <a:extLst>
              <a:ext uri="{FF2B5EF4-FFF2-40B4-BE49-F238E27FC236}">
                <a16:creationId xmlns:a16="http://schemas.microsoft.com/office/drawing/2014/main" id="{9E21D6DF-C9DB-4F02-863A-C5513347A27E}"/>
              </a:ext>
            </a:extLst>
          </p:cNvPr>
          <p:cNvSpPr>
            <a:spLocks noGrp="1"/>
          </p:cNvSpPr>
          <p:nvPr>
            <p:ph type="body" sz="quarter" idx="12" hasCustomPrompt="1"/>
          </p:nvPr>
        </p:nvSpPr>
        <p:spPr>
          <a:xfrm>
            <a:off x="1022400" y="1702799"/>
            <a:ext cx="9252760" cy="4104000"/>
          </a:xfrm>
        </p:spPr>
        <p:txBody>
          <a:bodyPr>
            <a:noAutofit/>
          </a:bodyPr>
          <a:lstStyle>
            <a:lvl1pPr marL="0">
              <a:lnSpc>
                <a:spcPct val="110000"/>
              </a:lnSpc>
              <a:spcAft>
                <a:spcPts val="0"/>
              </a:spcAft>
              <a:defRPr sz="4800" b="0">
                <a:solidFill>
                  <a:schemeClr val="tx2"/>
                </a:solidFill>
              </a:defRPr>
            </a:lvl1pPr>
            <a:lvl2pPr marL="36000" indent="0">
              <a:lnSpc>
                <a:spcPct val="110000"/>
              </a:lnSpc>
              <a:spcBef>
                <a:spcPts val="600"/>
              </a:spcBef>
              <a:spcAft>
                <a:spcPts val="0"/>
              </a:spcAft>
              <a:buNone/>
              <a:defRPr sz="1800">
                <a:solidFill>
                  <a:schemeClr val="tx1"/>
                </a:solidFill>
              </a:defRPr>
            </a:lvl2pPr>
            <a:lvl3pPr marL="36000" indent="0">
              <a:lnSpc>
                <a:spcPct val="110000"/>
              </a:lnSpc>
              <a:spcBef>
                <a:spcPts val="600"/>
              </a:spcBef>
              <a:spcAft>
                <a:spcPts val="0"/>
              </a:spcAft>
              <a:buNone/>
              <a:defRPr sz="1800">
                <a:solidFill>
                  <a:schemeClr val="accent1"/>
                </a:solidFill>
              </a:defRPr>
            </a:lvl3pPr>
            <a:lvl4pPr marL="0" indent="0">
              <a:lnSpc>
                <a:spcPct val="110000"/>
              </a:lnSpc>
              <a:spcAft>
                <a:spcPts val="0"/>
              </a:spcAft>
              <a:buNone/>
              <a:defRPr sz="4800"/>
            </a:lvl4pPr>
            <a:lvl5pPr marL="0" indent="0">
              <a:lnSpc>
                <a:spcPct val="110000"/>
              </a:lnSpc>
              <a:spcAft>
                <a:spcPts val="0"/>
              </a:spcAft>
              <a:buNone/>
              <a:defRPr sz="4800"/>
            </a:lvl5pPr>
          </a:lstStyle>
          <a:p>
            <a:pPr lvl="0"/>
            <a:r>
              <a:rPr lang="en-US" dirty="0"/>
              <a:t>Please insert quote here</a:t>
            </a:r>
          </a:p>
          <a:p>
            <a:pPr lvl="1"/>
            <a:r>
              <a:rPr lang="en-US" dirty="0"/>
              <a:t>Name, Author</a:t>
            </a:r>
          </a:p>
        </p:txBody>
      </p:sp>
      <p:sp>
        <p:nvSpPr>
          <p:cNvPr id="12" name="Quote marks">
            <a:extLst>
              <a:ext uri="{FF2B5EF4-FFF2-40B4-BE49-F238E27FC236}">
                <a16:creationId xmlns:a16="http://schemas.microsoft.com/office/drawing/2014/main" id="{58EF2AB0-A78A-44C9-9A7D-F20D9ED854E0}"/>
              </a:ext>
            </a:extLst>
          </p:cNvPr>
          <p:cNvSpPr/>
          <p:nvPr/>
        </p:nvSpPr>
        <p:spPr>
          <a:xfrm>
            <a:off x="1058400" y="766763"/>
            <a:ext cx="907891" cy="647700"/>
          </a:xfrm>
          <a:custGeom>
            <a:avLst/>
            <a:gdLst>
              <a:gd name="connsiteX0" fmla="*/ 0 w 2619164"/>
              <a:gd name="connsiteY0" fmla="*/ 1868543 h 1868542"/>
              <a:gd name="connsiteX1" fmla="*/ 742610 w 2619164"/>
              <a:gd name="connsiteY1" fmla="*/ 0 h 1868542"/>
              <a:gd name="connsiteX2" fmla="*/ 1318210 w 2619164"/>
              <a:gd name="connsiteY2" fmla="*/ 0 h 1868542"/>
              <a:gd name="connsiteX3" fmla="*/ 742610 w 2619164"/>
              <a:gd name="connsiteY3" fmla="*/ 1868543 h 1868542"/>
              <a:gd name="connsiteX4" fmla="*/ 0 w 2619164"/>
              <a:gd name="connsiteY4" fmla="*/ 1868543 h 1868542"/>
              <a:gd name="connsiteX5" fmla="*/ 1300954 w 2619164"/>
              <a:gd name="connsiteY5" fmla="*/ 1868543 h 1868542"/>
              <a:gd name="connsiteX6" fmla="*/ 2043564 w 2619164"/>
              <a:gd name="connsiteY6" fmla="*/ 0 h 1868542"/>
              <a:gd name="connsiteX7" fmla="*/ 2619164 w 2619164"/>
              <a:gd name="connsiteY7" fmla="*/ 0 h 1868542"/>
              <a:gd name="connsiteX8" fmla="*/ 2043564 w 2619164"/>
              <a:gd name="connsiteY8" fmla="*/ 1868543 h 1868542"/>
              <a:gd name="connsiteX9" fmla="*/ 1300954 w 2619164"/>
              <a:gd name="connsiteY9" fmla="*/ 1868543 h 18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164" h="1868542">
                <a:moveTo>
                  <a:pt x="0" y="1868543"/>
                </a:moveTo>
                <a:lnTo>
                  <a:pt x="742610" y="0"/>
                </a:lnTo>
                <a:lnTo>
                  <a:pt x="1318210" y="0"/>
                </a:lnTo>
                <a:lnTo>
                  <a:pt x="742610" y="1868543"/>
                </a:lnTo>
                <a:lnTo>
                  <a:pt x="0" y="1868543"/>
                </a:lnTo>
                <a:close/>
                <a:moveTo>
                  <a:pt x="1300954" y="1868543"/>
                </a:moveTo>
                <a:lnTo>
                  <a:pt x="2043564" y="0"/>
                </a:lnTo>
                <a:lnTo>
                  <a:pt x="2619164" y="0"/>
                </a:lnTo>
                <a:lnTo>
                  <a:pt x="2043564" y="1868543"/>
                </a:lnTo>
                <a:lnTo>
                  <a:pt x="1300954" y="1868543"/>
                </a:lnTo>
                <a:close/>
              </a:path>
            </a:pathLst>
          </a:custGeom>
          <a:gradFill>
            <a:gsLst>
              <a:gs pos="0">
                <a:srgbClr val="00FFB9"/>
              </a:gs>
              <a:gs pos="100000">
                <a:srgbClr val="00E6DC"/>
              </a:gs>
            </a:gsLst>
            <a:lin ang="5400000" scaled="1"/>
          </a:gradFill>
          <a:ln w="61580" cap="flat">
            <a:noFill/>
            <a:prstDash val="solid"/>
            <a:miter/>
          </a:ln>
        </p:spPr>
        <p:txBody>
          <a:bodyPr rtlCol="0" anchor="ctr"/>
          <a:lstStyle/>
          <a:p>
            <a:endParaRPr lang="en-US" dirty="0"/>
          </a:p>
        </p:txBody>
      </p:sp>
      <p:sp>
        <p:nvSpPr>
          <p:cNvPr id="2" name="Footer Placeholder">
            <a:extLst>
              <a:ext uri="{FF2B5EF4-FFF2-40B4-BE49-F238E27FC236}">
                <a16:creationId xmlns:a16="http://schemas.microsoft.com/office/drawing/2014/main" id="{6AEDD147-ACC0-4A9C-9043-90612765C0FA}"/>
              </a:ext>
            </a:extLst>
          </p:cNvPr>
          <p:cNvSpPr>
            <a:spLocks noGrp="1"/>
          </p:cNvSpPr>
          <p:nvPr>
            <p:ph type="ftr" sz="quarter" idx="13"/>
          </p:nvPr>
        </p:nvSpPr>
        <p:spPr/>
        <p:txBody>
          <a:bodyPr/>
          <a:lstStyle/>
          <a:p>
            <a:pPr>
              <a:lnSpc>
                <a:spcPct val="100000"/>
              </a:lnSpc>
            </a:pPr>
            <a:r>
              <a:rPr lang="en-US" dirty="0"/>
              <a:t>Restricted | © Siemens 20XX | Author | Department | YYYY-MM-DD</a:t>
            </a:r>
          </a:p>
        </p:txBody>
      </p:sp>
      <p:sp>
        <p:nvSpPr>
          <p:cNvPr id="3" name="Slide Number Placeholder">
            <a:extLst>
              <a:ext uri="{FF2B5EF4-FFF2-40B4-BE49-F238E27FC236}">
                <a16:creationId xmlns:a16="http://schemas.microsoft.com/office/drawing/2014/main" id="{4131F54F-C70B-4435-91E6-F995F83E6C69}"/>
              </a:ext>
            </a:extLst>
          </p:cNvPr>
          <p:cNvSpPr>
            <a:spLocks noGrp="1"/>
          </p:cNvSpPr>
          <p:nvPr>
            <p:ph type="sldNum" sz="quarter" idx="14"/>
          </p:nvPr>
        </p:nvSpPr>
        <p:spPr/>
        <p:txBody>
          <a:bodyPr/>
          <a:lstStyle/>
          <a:p>
            <a:r>
              <a:rPr lang="en-US" dirty="0"/>
              <a:t>Page </a:t>
            </a:r>
            <a:fld id="{15EBE321-CBB1-4E91-BD14-37C8D44326FB}" type="slidenum">
              <a:rPr lang="en-US" smtClean="0"/>
              <a:pPr/>
              <a:t>‹Nr.›</a:t>
            </a:fld>
            <a:endParaRPr lang="en-US" dirty="0"/>
          </a:p>
        </p:txBody>
      </p:sp>
      <p:pic>
        <p:nvPicPr>
          <p:cNvPr id="4" name="Siemens Logo">
            <a:extLst>
              <a:ext uri="{FF2B5EF4-FFF2-40B4-BE49-F238E27FC236}">
                <a16:creationId xmlns:a16="http://schemas.microsoft.com/office/drawing/2014/main" id="{F8D833B7-9866-4D2D-AEB7-012D6DDE2A3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263419937"/>
      </p:ext>
    </p:extLst>
  </p:cSld>
  <p:clrMapOvr>
    <a:masterClrMapping/>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891" userDrawn="1">
          <p15:clr>
            <a:srgbClr val="65CEFF"/>
          </p15:clr>
        </p15:guide>
        <p15:guide id="5" orient="horz" pos="1073" userDrawn="1">
          <p15:clr>
            <a:srgbClr val="65CEFF"/>
          </p15:clr>
        </p15:guide>
        <p15:guide id="6" orient="horz" pos="2206" userDrawn="1">
          <p15:clr>
            <a:srgbClr val="65CEFF"/>
          </p15:clr>
        </p15:guide>
        <p15:guide id="7" orient="horz" pos="2343" userDrawn="1">
          <p15:clr>
            <a:srgbClr val="65CEFF"/>
          </p15:clr>
        </p15:guide>
        <p15:guide id="8" orient="horz" pos="3658" userDrawn="1">
          <p15:clr>
            <a:srgbClr val="65CEFF"/>
          </p15:clr>
        </p15:guide>
        <p15:guide id="9" orient="horz" pos="3885" userDrawn="1">
          <p15:clr>
            <a:srgbClr val="65CEFF"/>
          </p15:clr>
        </p15:guide>
        <p15:guide id="10" orient="horz" pos="4157" userDrawn="1">
          <p15:clr>
            <a:srgbClr val="65CE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dark">
    <p:bg>
      <p:bgPr>
        <a:solidFill>
          <a:schemeClr val="bg2"/>
        </a:solidFill>
        <a:effectLst/>
      </p:bgPr>
    </p:bg>
    <p:spTree>
      <p:nvGrpSpPr>
        <p:cNvPr id="1" name=""/>
        <p:cNvGrpSpPr/>
        <p:nvPr/>
      </p:nvGrpSpPr>
      <p:grpSpPr>
        <a:xfrm>
          <a:off x="0" y="0"/>
          <a:ext cx="0" cy="0"/>
          <a:chOff x="0" y="0"/>
          <a:chExt cx="0" cy="0"/>
        </a:xfrm>
      </p:grpSpPr>
      <p:sp>
        <p:nvSpPr>
          <p:cNvPr id="7" name="Copy">
            <a:extLst>
              <a:ext uri="{FF2B5EF4-FFF2-40B4-BE49-F238E27FC236}">
                <a16:creationId xmlns:a16="http://schemas.microsoft.com/office/drawing/2014/main" id="{9E21D6DF-C9DB-4F02-863A-C5513347A27E}"/>
              </a:ext>
            </a:extLst>
          </p:cNvPr>
          <p:cNvSpPr>
            <a:spLocks noGrp="1"/>
          </p:cNvSpPr>
          <p:nvPr>
            <p:ph type="body" sz="quarter" idx="12" hasCustomPrompt="1"/>
          </p:nvPr>
        </p:nvSpPr>
        <p:spPr>
          <a:xfrm>
            <a:off x="1022400" y="1702799"/>
            <a:ext cx="9252000" cy="4104000"/>
          </a:xfrm>
        </p:spPr>
        <p:txBody>
          <a:bodyPr>
            <a:noAutofit/>
          </a:bodyPr>
          <a:lstStyle>
            <a:lvl1pPr marL="0">
              <a:lnSpc>
                <a:spcPct val="110000"/>
              </a:lnSpc>
              <a:spcAft>
                <a:spcPts val="0"/>
              </a:spcAft>
              <a:defRPr sz="4800" b="0">
                <a:solidFill>
                  <a:schemeClr val="tx1"/>
                </a:solidFill>
              </a:defRPr>
            </a:lvl1pPr>
            <a:lvl2pPr marL="36000" indent="0">
              <a:lnSpc>
                <a:spcPct val="110000"/>
              </a:lnSpc>
              <a:spcBef>
                <a:spcPts val="600"/>
              </a:spcBef>
              <a:spcAft>
                <a:spcPts val="0"/>
              </a:spcAft>
              <a:buNone/>
              <a:defRPr sz="1800"/>
            </a:lvl2pPr>
            <a:lvl3pPr marL="36000" indent="0">
              <a:lnSpc>
                <a:spcPct val="110000"/>
              </a:lnSpc>
              <a:spcBef>
                <a:spcPts val="600"/>
              </a:spcBef>
              <a:spcAft>
                <a:spcPts val="0"/>
              </a:spcAft>
              <a:buNone/>
              <a:defRPr sz="1800">
                <a:solidFill>
                  <a:schemeClr val="tx1"/>
                </a:solidFill>
              </a:defRPr>
            </a:lvl3pPr>
            <a:lvl4pPr marL="0" indent="0">
              <a:lnSpc>
                <a:spcPct val="110000"/>
              </a:lnSpc>
              <a:spcAft>
                <a:spcPts val="0"/>
              </a:spcAft>
              <a:buNone/>
              <a:defRPr sz="4800"/>
            </a:lvl4pPr>
            <a:lvl5pPr marL="0" indent="0">
              <a:lnSpc>
                <a:spcPct val="110000"/>
              </a:lnSpc>
              <a:spcAft>
                <a:spcPts val="0"/>
              </a:spcAft>
              <a:buNone/>
              <a:defRPr sz="4800"/>
            </a:lvl5pPr>
          </a:lstStyle>
          <a:p>
            <a:pPr lvl="0"/>
            <a:r>
              <a:rPr lang="en-US" dirty="0"/>
              <a:t>Please insert quote here</a:t>
            </a:r>
          </a:p>
          <a:p>
            <a:pPr lvl="1"/>
            <a:r>
              <a:rPr lang="en-US" dirty="0"/>
              <a:t>Name, Author</a:t>
            </a:r>
          </a:p>
        </p:txBody>
      </p:sp>
      <p:sp>
        <p:nvSpPr>
          <p:cNvPr id="11" name="Quote marks">
            <a:extLst>
              <a:ext uri="{FF2B5EF4-FFF2-40B4-BE49-F238E27FC236}">
                <a16:creationId xmlns:a16="http://schemas.microsoft.com/office/drawing/2014/main" id="{916E4245-F21C-4EAB-8B26-FEA21C26067F}"/>
              </a:ext>
            </a:extLst>
          </p:cNvPr>
          <p:cNvSpPr/>
          <p:nvPr userDrawn="1"/>
        </p:nvSpPr>
        <p:spPr>
          <a:xfrm>
            <a:off x="1058400" y="766763"/>
            <a:ext cx="907891" cy="647700"/>
          </a:xfrm>
          <a:custGeom>
            <a:avLst/>
            <a:gdLst>
              <a:gd name="connsiteX0" fmla="*/ 0 w 2619164"/>
              <a:gd name="connsiteY0" fmla="*/ 1868543 h 1868542"/>
              <a:gd name="connsiteX1" fmla="*/ 742610 w 2619164"/>
              <a:gd name="connsiteY1" fmla="*/ 0 h 1868542"/>
              <a:gd name="connsiteX2" fmla="*/ 1318210 w 2619164"/>
              <a:gd name="connsiteY2" fmla="*/ 0 h 1868542"/>
              <a:gd name="connsiteX3" fmla="*/ 742610 w 2619164"/>
              <a:gd name="connsiteY3" fmla="*/ 1868543 h 1868542"/>
              <a:gd name="connsiteX4" fmla="*/ 0 w 2619164"/>
              <a:gd name="connsiteY4" fmla="*/ 1868543 h 1868542"/>
              <a:gd name="connsiteX5" fmla="*/ 1300954 w 2619164"/>
              <a:gd name="connsiteY5" fmla="*/ 1868543 h 1868542"/>
              <a:gd name="connsiteX6" fmla="*/ 2043564 w 2619164"/>
              <a:gd name="connsiteY6" fmla="*/ 0 h 1868542"/>
              <a:gd name="connsiteX7" fmla="*/ 2619164 w 2619164"/>
              <a:gd name="connsiteY7" fmla="*/ 0 h 1868542"/>
              <a:gd name="connsiteX8" fmla="*/ 2043564 w 2619164"/>
              <a:gd name="connsiteY8" fmla="*/ 1868543 h 1868542"/>
              <a:gd name="connsiteX9" fmla="*/ 1300954 w 2619164"/>
              <a:gd name="connsiteY9" fmla="*/ 1868543 h 18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164" h="1868542">
                <a:moveTo>
                  <a:pt x="0" y="1868543"/>
                </a:moveTo>
                <a:lnTo>
                  <a:pt x="742610" y="0"/>
                </a:lnTo>
                <a:lnTo>
                  <a:pt x="1318210" y="0"/>
                </a:lnTo>
                <a:lnTo>
                  <a:pt x="742610" y="1868543"/>
                </a:lnTo>
                <a:lnTo>
                  <a:pt x="0" y="1868543"/>
                </a:lnTo>
                <a:close/>
                <a:moveTo>
                  <a:pt x="1300954" y="1868543"/>
                </a:moveTo>
                <a:lnTo>
                  <a:pt x="2043564" y="0"/>
                </a:lnTo>
                <a:lnTo>
                  <a:pt x="2619164" y="0"/>
                </a:lnTo>
                <a:lnTo>
                  <a:pt x="2043564" y="1868543"/>
                </a:lnTo>
                <a:lnTo>
                  <a:pt x="1300954" y="1868543"/>
                </a:lnTo>
                <a:close/>
              </a:path>
            </a:pathLst>
          </a:custGeom>
          <a:gradFill>
            <a:gsLst>
              <a:gs pos="0">
                <a:srgbClr val="00FFB9"/>
              </a:gs>
              <a:gs pos="100000">
                <a:srgbClr val="00E6DC"/>
              </a:gs>
            </a:gsLst>
            <a:lin ang="5400000" scaled="1"/>
          </a:gradFill>
          <a:ln w="61580" cap="flat">
            <a:noFill/>
            <a:prstDash val="solid"/>
            <a:miter/>
          </a:ln>
        </p:spPr>
        <p:txBody>
          <a:bodyPr rtlCol="0" anchor="ctr"/>
          <a:lstStyle/>
          <a:p>
            <a:endParaRPr lang="en-US" dirty="0"/>
          </a:p>
        </p:txBody>
      </p:sp>
      <p:sp>
        <p:nvSpPr>
          <p:cNvPr id="2" name="Footer Placeholder">
            <a:extLst>
              <a:ext uri="{FF2B5EF4-FFF2-40B4-BE49-F238E27FC236}">
                <a16:creationId xmlns:a16="http://schemas.microsoft.com/office/drawing/2014/main" id="{EC4F35EF-AC94-4800-9CB7-CA49CAFDD249}"/>
              </a:ext>
            </a:extLst>
          </p:cNvPr>
          <p:cNvSpPr>
            <a:spLocks noGrp="1"/>
          </p:cNvSpPr>
          <p:nvPr>
            <p:ph type="ftr" sz="quarter" idx="13"/>
          </p:nvPr>
        </p:nvSpPr>
        <p:spPr/>
        <p:txBody>
          <a:bodyPr/>
          <a:lstStyle/>
          <a:p>
            <a:pPr>
              <a:lnSpc>
                <a:spcPct val="100000"/>
              </a:lnSpc>
            </a:pPr>
            <a:r>
              <a:rPr lang="en-US" dirty="0"/>
              <a:t>Restricted | © Siemens 20XX | Author | Department | YYYY-MM-DD</a:t>
            </a:r>
          </a:p>
        </p:txBody>
      </p:sp>
      <p:sp>
        <p:nvSpPr>
          <p:cNvPr id="3" name="Slide Number Placeholder">
            <a:extLst>
              <a:ext uri="{FF2B5EF4-FFF2-40B4-BE49-F238E27FC236}">
                <a16:creationId xmlns:a16="http://schemas.microsoft.com/office/drawing/2014/main" id="{CCC7FBE7-01B9-4EC8-8BE1-F416F7C5B7AA}"/>
              </a:ext>
            </a:extLst>
          </p:cNvPr>
          <p:cNvSpPr>
            <a:spLocks noGrp="1"/>
          </p:cNvSpPr>
          <p:nvPr>
            <p:ph type="sldNum" sz="quarter" idx="14"/>
          </p:nvPr>
        </p:nvSpPr>
        <p:spPr/>
        <p:txBody>
          <a:bodyPr/>
          <a:lstStyle/>
          <a:p>
            <a:r>
              <a:rPr lang="en-US" dirty="0"/>
              <a:t>Page </a:t>
            </a:r>
            <a:fld id="{15EBE321-CBB1-4E91-BD14-37C8D44326FB}" type="slidenum">
              <a:rPr lang="en-US" smtClean="0"/>
              <a:pPr/>
              <a:t>‹Nr.›</a:t>
            </a:fld>
            <a:endParaRPr lang="en-US" dirty="0"/>
          </a:p>
        </p:txBody>
      </p:sp>
      <p:pic>
        <p:nvPicPr>
          <p:cNvPr id="8" name="Siemens Logo">
            <a:extLst>
              <a:ext uri="{FF2B5EF4-FFF2-40B4-BE49-F238E27FC236}">
                <a16:creationId xmlns:a16="http://schemas.microsoft.com/office/drawing/2014/main" id="{AF2E271F-5AF7-408E-9752-03D1D6448EA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246051214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891" userDrawn="1">
          <p15:clr>
            <a:srgbClr val="65CEFF"/>
          </p15:clr>
        </p15:guide>
        <p15:guide id="5" orient="horz" pos="1073" userDrawn="1">
          <p15:clr>
            <a:srgbClr val="65CEFF"/>
          </p15:clr>
        </p15:guide>
        <p15:guide id="6" orient="horz" pos="3658" userDrawn="1">
          <p15:clr>
            <a:srgbClr val="65CEFF"/>
          </p15:clr>
        </p15:guide>
        <p15:guide id="7" orient="horz" pos="3885" userDrawn="1">
          <p15:clr>
            <a:srgbClr val="65CEFF"/>
          </p15:clr>
        </p15:guide>
        <p15:guide id="8" orient="horz" pos="4157" userDrawn="1">
          <p15:clr>
            <a:srgbClr val="65CEF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tatement light">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a:xfrm>
            <a:off x="986400" y="1271538"/>
            <a:ext cx="10800000" cy="4536000"/>
          </a:xfrm>
        </p:spPr>
        <p:txBody>
          <a:bodyPr lIns="0" tIns="0" rIns="0" bIns="0" anchor="t">
            <a:noAutofit/>
          </a:bodyPr>
          <a:lstStyle>
            <a:lvl1pPr>
              <a:lnSpc>
                <a:spcPct val="90000"/>
              </a:lnSpc>
              <a:defRPr sz="8000">
                <a:gradFill>
                  <a:gsLst>
                    <a:gs pos="0">
                      <a:schemeClr val="accent2"/>
                    </a:gs>
                    <a:gs pos="100000">
                      <a:schemeClr val="accent3"/>
                    </a:gs>
                  </a:gsLst>
                  <a:lin ang="0" scaled="1"/>
                </a:gradFill>
              </a:defRPr>
            </a:lvl1pPr>
          </a:lstStyle>
          <a:p>
            <a:r>
              <a:rPr lang="en-US" dirty="0"/>
              <a:t>Click to edit Master title style</a:t>
            </a:r>
          </a:p>
        </p:txBody>
      </p:sp>
      <p:sp>
        <p:nvSpPr>
          <p:cNvPr id="2" name="Footer Placeholder">
            <a:extLst>
              <a:ext uri="{FF2B5EF4-FFF2-40B4-BE49-F238E27FC236}">
                <a16:creationId xmlns:a16="http://schemas.microsoft.com/office/drawing/2014/main" id="{39F9E844-3827-4B6C-9CB5-13C9A70DCD4D}"/>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3" name="Slide Number Placeholder">
            <a:extLst>
              <a:ext uri="{FF2B5EF4-FFF2-40B4-BE49-F238E27FC236}">
                <a16:creationId xmlns:a16="http://schemas.microsoft.com/office/drawing/2014/main" id="{D52C2AF7-8539-453F-BD56-35B696DB2073}"/>
              </a:ext>
            </a:extLst>
          </p:cNvPr>
          <p:cNvSpPr>
            <a:spLocks noGrp="1"/>
          </p:cNvSpPr>
          <p:nvPr>
            <p:ph type="sldNum" sz="quarter" idx="11"/>
          </p:nvPr>
        </p:nvSpPr>
        <p:spPr/>
        <p:txBody>
          <a:bodyPr/>
          <a:lstStyle/>
          <a:p>
            <a:r>
              <a:rPr lang="en-US" dirty="0"/>
              <a:t>Page </a:t>
            </a:r>
            <a:fld id="{15EBE321-CBB1-4E91-BD14-37C8D44326FB}" type="slidenum">
              <a:rPr lang="en-US" smtClean="0"/>
              <a:pPr/>
              <a:t>‹Nr.›</a:t>
            </a:fld>
            <a:endParaRPr lang="en-US" dirty="0"/>
          </a:p>
        </p:txBody>
      </p:sp>
      <p:pic>
        <p:nvPicPr>
          <p:cNvPr id="4" name="Siemens Logo">
            <a:extLst>
              <a:ext uri="{FF2B5EF4-FFF2-40B4-BE49-F238E27FC236}">
                <a16:creationId xmlns:a16="http://schemas.microsoft.com/office/drawing/2014/main" id="{F8D833B7-9866-4D2D-AEB7-012D6DDE2A3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71878887"/>
      </p:ext>
    </p:extLst>
  </p:cSld>
  <p:clrMapOvr>
    <a:masterClrMapping/>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801">
          <p15:clr>
            <a:srgbClr val="65CEFF"/>
          </p15:clr>
        </p15:guide>
        <p15:guide id="5" orient="horz" pos="3658">
          <p15:clr>
            <a:srgbClr val="65CEFF"/>
          </p15:clr>
        </p15:guide>
        <p15:guide id="6" orient="horz" pos="4157">
          <p15:clr>
            <a:srgbClr val="65CEF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tatement dark">
    <p:bg>
      <p:bgRef idx="1001">
        <a:schemeClr val="bg2"/>
      </p:bgRef>
    </p:bg>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a:xfrm>
            <a:off x="986400" y="1270799"/>
            <a:ext cx="10800000" cy="4536000"/>
          </a:xfrm>
        </p:spPr>
        <p:txBody>
          <a:bodyPr lIns="0" tIns="0" rIns="0" bIns="0" anchor="t">
            <a:noAutofit/>
          </a:bodyPr>
          <a:lstStyle>
            <a:lvl1pPr>
              <a:lnSpc>
                <a:spcPct val="90000"/>
              </a:lnSpc>
              <a:defRPr sz="8000">
                <a:gradFill>
                  <a:gsLst>
                    <a:gs pos="0">
                      <a:schemeClr val="accent2"/>
                    </a:gs>
                    <a:gs pos="100000">
                      <a:schemeClr val="accent3"/>
                    </a:gs>
                  </a:gsLst>
                  <a:lin ang="0" scaled="1"/>
                </a:gradFill>
              </a:defRPr>
            </a:lvl1pPr>
          </a:lstStyle>
          <a:p>
            <a:r>
              <a:rPr lang="en-US" dirty="0"/>
              <a:t>Click to edit Master title style</a:t>
            </a:r>
          </a:p>
        </p:txBody>
      </p:sp>
      <p:sp>
        <p:nvSpPr>
          <p:cNvPr id="2" name="Footer Placeholder">
            <a:extLst>
              <a:ext uri="{FF2B5EF4-FFF2-40B4-BE49-F238E27FC236}">
                <a16:creationId xmlns:a16="http://schemas.microsoft.com/office/drawing/2014/main" id="{09BD8BE5-BFF2-469D-8B93-9556FCC45CF1}"/>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3" name="Slide Number Placeholder">
            <a:extLst>
              <a:ext uri="{FF2B5EF4-FFF2-40B4-BE49-F238E27FC236}">
                <a16:creationId xmlns:a16="http://schemas.microsoft.com/office/drawing/2014/main" id="{F9372441-FA7E-4481-BBC2-24CB6D3017C8}"/>
              </a:ext>
            </a:extLst>
          </p:cNvPr>
          <p:cNvSpPr>
            <a:spLocks noGrp="1"/>
          </p:cNvSpPr>
          <p:nvPr>
            <p:ph type="sldNum" sz="quarter" idx="11"/>
          </p:nvPr>
        </p:nvSpPr>
        <p:spPr/>
        <p:txBody>
          <a:bodyPr/>
          <a:lstStyle/>
          <a:p>
            <a:r>
              <a:rPr lang="en-US" dirty="0"/>
              <a:t>Page </a:t>
            </a:r>
            <a:fld id="{15EBE321-CBB1-4E91-BD14-37C8D44326FB}" type="slidenum">
              <a:rPr lang="en-US" smtClean="0"/>
              <a:pPr/>
              <a:t>‹Nr.›</a:t>
            </a:fld>
            <a:endParaRPr lang="en-US" dirty="0"/>
          </a:p>
        </p:txBody>
      </p:sp>
      <p:pic>
        <p:nvPicPr>
          <p:cNvPr id="4" name="Siemens Logo">
            <a:extLst>
              <a:ext uri="{FF2B5EF4-FFF2-40B4-BE49-F238E27FC236}">
                <a16:creationId xmlns:a16="http://schemas.microsoft.com/office/drawing/2014/main" id="{0EF6BB07-4F4E-4859-9572-DA63E35B93A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131641668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801" userDrawn="1">
          <p15:clr>
            <a:srgbClr val="65CEFF"/>
          </p15:clr>
        </p15:guide>
        <p15:guide id="5" orient="horz" pos="3658" userDrawn="1">
          <p15:clr>
            <a:srgbClr val="65CEFF"/>
          </p15:clr>
        </p15:guide>
        <p15:guide id="6" orient="horz" pos="4157" userDrawn="1">
          <p15:clr>
            <a:srgbClr val="65CEF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act">
    <p:bg>
      <p:bgRef idx="1001">
        <a:schemeClr val="bg2"/>
      </p:bgRef>
    </p:bg>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B29E3DA4-014E-4F3D-8186-84366ADFCB03}"/>
              </a:ext>
            </a:extLst>
          </p:cNvPr>
          <p:cNvSpPr>
            <a:spLocks noGrp="1"/>
          </p:cNvSpPr>
          <p:nvPr>
            <p:ph type="title" hasCustomPrompt="1"/>
          </p:nvPr>
        </p:nvSpPr>
        <p:spPr>
          <a:xfrm>
            <a:off x="411163" y="1234800"/>
            <a:ext cx="9863237" cy="1162523"/>
          </a:xfrm>
          <a:blipFill dpi="0" rotWithShape="1">
            <a:blip r:embed="rId2">
              <a:extLst>
                <a:ext uri="{96DAC541-7B7A-43D3-8B79-37D633B846F1}">
                  <asvg:svgBlip xmlns:asvg="http://schemas.microsoft.com/office/drawing/2016/SVG/main" r:embed="rId3"/>
                </a:ext>
              </a:extLst>
            </a:blip>
            <a:srcRect/>
            <a:stretch>
              <a:fillRect/>
            </a:stretch>
          </a:blipFill>
        </p:spPr>
        <p:txBody>
          <a:bodyPr wrap="square" lIns="0" tIns="54000" rIns="0" bIns="0" anchor="t" anchorCtr="0">
            <a:spAutoFit/>
          </a:bodyPr>
          <a:lstStyle>
            <a:lvl1pPr marL="540000">
              <a:defRPr sz="8000">
                <a:solidFill>
                  <a:schemeClr val="tx1"/>
                </a:solidFill>
              </a:defRPr>
            </a:lvl1pPr>
          </a:lstStyle>
          <a:p>
            <a:r>
              <a:rPr lang="en-US" dirty="0"/>
              <a:t>Contact</a:t>
            </a:r>
          </a:p>
        </p:txBody>
      </p:sp>
      <p:sp>
        <p:nvSpPr>
          <p:cNvPr id="3" name="Copy">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1058400" y="2397324"/>
            <a:ext cx="9216000" cy="3409751"/>
          </a:xfrm>
          <a:prstGeom prst="rect">
            <a:avLst/>
          </a:prstGeom>
        </p:spPr>
        <p:txBody>
          <a:bodyPr tIns="108000">
            <a:noAutofit/>
          </a:bodyPr>
          <a:lstStyle>
            <a:lvl1pPr marL="0" indent="0" algn="l">
              <a:spcAft>
                <a:spcPts val="0"/>
              </a:spcAft>
              <a:buNone/>
              <a:defRPr sz="1400">
                <a:solidFill>
                  <a:schemeClr val="tx1"/>
                </a:solidFill>
              </a:defRPr>
            </a:lvl1pPr>
            <a:lvl2pPr marL="0" indent="0" algn="l">
              <a:spcBef>
                <a:spcPts val="600"/>
              </a:spcBef>
              <a:spcAft>
                <a:spcPts val="0"/>
              </a:spcAft>
              <a:buFont typeface="Arial" panose="020B0604020202020204" pitchFamily="34" charset="0"/>
              <a:buNone/>
              <a:defRPr sz="1400" b="1"/>
            </a:lvl2pPr>
            <a:lvl3pPr marL="180000" indent="-180000" algn="l">
              <a:spcAft>
                <a:spcPts val="0"/>
              </a:spcAft>
              <a:buFont typeface="Arial" panose="020B0604020202020204" pitchFamily="34" charset="0"/>
              <a:buChar char="•"/>
              <a:defRPr sz="1400" b="0"/>
            </a:lvl3pPr>
            <a:lvl4pPr marL="360000" indent="-180000" algn="l">
              <a:spcAft>
                <a:spcPts val="0"/>
              </a:spcAft>
              <a:buFont typeface="Arial" panose="020B0604020202020204" pitchFamily="34" charset="0"/>
              <a:buChar char="•"/>
              <a:defRPr sz="1400"/>
            </a:lvl4pPr>
            <a:lvl5pPr marL="360000" indent="-180000" algn="l">
              <a:spcAft>
                <a:spcPts val="0"/>
              </a:spcAft>
              <a:buFont typeface="Arial" panose="020B0604020202020204" pitchFamily="34" charset="0"/>
              <a:buChar char="•"/>
              <a:defRPr sz="1400" b="1"/>
            </a:lvl5pPr>
            <a:lvl6pPr marL="540000" indent="-180000" algn="l">
              <a:spcAft>
                <a:spcPts val="0"/>
              </a:spcAft>
              <a:buFont typeface="Arial" panose="020B0604020202020204" pitchFamily="34" charset="0"/>
              <a:buChar char="•"/>
              <a:defRPr sz="1400"/>
            </a:lvl6pPr>
            <a:lvl7pPr marL="540000" indent="-180000" algn="l">
              <a:spcAft>
                <a:spcPts val="0"/>
              </a:spcAft>
              <a:buFont typeface="Arial" panose="020B0604020202020204" pitchFamily="34" charset="0"/>
              <a:buChar char="•"/>
              <a:defRPr sz="1400" b="1"/>
            </a:lvl7pPr>
            <a:lvl8pPr marL="720000" indent="-180000" algn="l">
              <a:spcAft>
                <a:spcPts val="0"/>
              </a:spcAft>
              <a:buFont typeface="Arial" panose="020B0604020202020204" pitchFamily="34" charset="0"/>
              <a:buChar char="•"/>
              <a:defRPr sz="1400"/>
            </a:lvl8pPr>
            <a:lvl9pPr marL="720000" indent="-180000" algn="l">
              <a:spcAft>
                <a:spcPts val="0"/>
              </a:spcAft>
              <a:buFont typeface="Arial" panose="020B0604020202020204" pitchFamily="34" charset="0"/>
              <a:buChar char="•"/>
              <a:defRPr sz="1400" b="1"/>
            </a:lvl9pPr>
          </a:lstStyle>
          <a:p>
            <a:pPr lvl="0"/>
            <a:r>
              <a:rPr lang="en-US" dirty="0"/>
              <a:t>Click to edit the contact</a:t>
            </a:r>
          </a:p>
          <a:p>
            <a:pPr lvl="1"/>
            <a:r>
              <a:rPr lang="en-US" dirty="0"/>
              <a:t>Name etc.</a:t>
            </a:r>
          </a:p>
          <a:p>
            <a:pPr lvl="2"/>
            <a:r>
              <a:rPr lang="en-US" dirty="0"/>
              <a:t>Department etc.</a:t>
            </a:r>
          </a:p>
          <a:p>
            <a:pPr lvl="3"/>
            <a:r>
              <a:rPr lang="en-US" dirty="0"/>
              <a:t>subchapter</a:t>
            </a:r>
          </a:p>
          <a:p>
            <a:pPr lvl="4"/>
            <a:r>
              <a:rPr lang="en-US" dirty="0"/>
              <a:t>active subchapter</a:t>
            </a:r>
          </a:p>
        </p:txBody>
      </p:sp>
      <p:sp>
        <p:nvSpPr>
          <p:cNvPr id="8" name="Footer Placeholder">
            <a:extLst>
              <a:ext uri="{FF2B5EF4-FFF2-40B4-BE49-F238E27FC236}">
                <a16:creationId xmlns:a16="http://schemas.microsoft.com/office/drawing/2014/main" id="{3279A350-3BB2-4CA2-A422-8F5A951F6F64}"/>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9" name="Slide Number Placeholder">
            <a:extLst>
              <a:ext uri="{FF2B5EF4-FFF2-40B4-BE49-F238E27FC236}">
                <a16:creationId xmlns:a16="http://schemas.microsoft.com/office/drawing/2014/main" id="{CFF9630D-791D-45AE-8E5E-36F747F599E9}"/>
              </a:ext>
            </a:extLst>
          </p:cNvPr>
          <p:cNvSpPr>
            <a:spLocks noGrp="1"/>
          </p:cNvSpPr>
          <p:nvPr>
            <p:ph type="sldNum" sz="quarter" idx="11"/>
          </p:nvPr>
        </p:nvSpPr>
        <p:spPr/>
        <p:txBody>
          <a:bodyPr/>
          <a:lstStyle/>
          <a:p>
            <a:r>
              <a:rPr lang="en-US" dirty="0"/>
              <a:t>Page </a:t>
            </a:r>
            <a:fld id="{15EBE321-CBB1-4E91-BD14-37C8D44326FB}" type="slidenum">
              <a:rPr lang="en-US" smtClean="0"/>
              <a:pPr/>
              <a:t>‹Nr.›</a:t>
            </a:fld>
            <a:endParaRPr lang="en-US" dirty="0"/>
          </a:p>
        </p:txBody>
      </p:sp>
      <p:pic>
        <p:nvPicPr>
          <p:cNvPr id="10" name="Siemens Logo">
            <a:extLst>
              <a:ext uri="{FF2B5EF4-FFF2-40B4-BE49-F238E27FC236}">
                <a16:creationId xmlns:a16="http://schemas.microsoft.com/office/drawing/2014/main" id="{5FD2C39E-5D81-4A0E-9F45-909328900889}"/>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410079908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778" userDrawn="1">
          <p15:clr>
            <a:srgbClr val="65CEFF"/>
          </p15:clr>
        </p15:guide>
        <p15:guide id="5" orient="horz" pos="3658" userDrawn="1">
          <p15:clr>
            <a:srgbClr val="65CEFF"/>
          </p15:clr>
        </p15:guide>
        <p15:guide id="6" orient="horz" pos="4157" userDrawn="1">
          <p15:clr>
            <a:srgbClr val="65CEF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Gradient DB–Petrol 40p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pic>
        <p:nvPicPr>
          <p:cNvPr id="6" name="Cognisphere" descr="A picture containing background pattern&#10;&#10;Description automatically generated">
            <a:extLst>
              <a:ext uri="{FF2B5EF4-FFF2-40B4-BE49-F238E27FC236}">
                <a16:creationId xmlns:a16="http://schemas.microsoft.com/office/drawing/2014/main" id="{DE598EC2-770B-4F85-A209-57F0E77094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9288000" cy="2462213"/>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500"/>
            </a:stretch>
          </a:blipFill>
        </p:spPr>
        <p:txBody>
          <a:bodyPr wrap="square" rIns="0" bIns="0" anchor="t" anchorCtr="0">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a:t>
            </a:r>
            <a:br>
              <a:rPr lang="en-US" dirty="0"/>
            </a:br>
            <a:r>
              <a:rPr lang="en-US" dirty="0"/>
              <a:t>extra long headlines</a:t>
            </a:r>
            <a:br>
              <a:rPr lang="en-US" dirty="0"/>
            </a:br>
            <a:r>
              <a:rPr lang="en-US" dirty="0"/>
              <a:t>4 lines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5"/>
            <a:ext cx="9288000" cy="1930123"/>
          </a:xfrm>
          <a:prstGeom prst="rect">
            <a:avLst/>
          </a:prstGeom>
        </p:spPr>
        <p:txBody>
          <a:bodyPr lIns="0" tIns="3492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40 </a:t>
            </a:r>
            <a:r>
              <a:rPr lang="en-US" dirty="0" err="1"/>
              <a:t>pt</a:t>
            </a:r>
            <a:endParaRPr lang="en-US"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en-US" dirty="0"/>
              <a:t>Restricted | © Siemens 20XX | Author | Department | YYYY-MM-DD</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84553366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picture dark 48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dirty="0"/>
              <a:t>Click to edit </a:t>
            </a:r>
            <a:br>
              <a:rPr lang="en-US" dirty="0"/>
            </a:br>
            <a:r>
              <a:rPr lang="en-US" dirty="0"/>
              <a:t>Master title style 48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dirty="0"/>
              <a:t>Restricted | © Siemens 20XX | Author | Department | YYYY-MM-DD</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409907818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picture dark 40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dirty="0"/>
              <a:t>Restricted | © Siemens 20XX | Author | Department | YYYY-MM-DD</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21847510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picture dark 36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dirty="0"/>
              <a:t>Click to edit </a:t>
            </a:r>
            <a:br>
              <a:rPr lang="en-US" dirty="0"/>
            </a:br>
            <a:r>
              <a:rPr lang="en-US" dirty="0"/>
              <a:t>Master title style </a:t>
            </a:r>
            <a:br>
              <a:rPr lang="en-US" dirty="0"/>
            </a:br>
            <a:r>
              <a:rPr lang="en-US" dirty="0"/>
              <a:t>36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36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dirty="0"/>
              <a:t>Restricted | © Siemens 20XX | Author | Department | YYYY-MM-DD</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99942844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2500D031-E8B7-42AD-B616-57A243A31EFA}"/>
              </a:ext>
            </a:extLst>
          </p:cNvPr>
          <p:cNvSpPr>
            <a:spLocks noGrp="1"/>
          </p:cNvSpPr>
          <p:nvPr>
            <p:ph type="title"/>
          </p:nvPr>
        </p:nvSpPr>
        <p:spPr>
          <a:xfrm>
            <a:off x="410400" y="478800"/>
            <a:ext cx="9863997" cy="576000"/>
          </a:xfrm>
          <a:prstGeom prst="rect">
            <a:avLst/>
          </a:prstGeom>
        </p:spPr>
        <p:txBody>
          <a:bodyPr vert="horz" lIns="0" tIns="0" rIns="324000" bIns="14400" rtlCol="0" anchor="t" anchorCtr="0">
            <a:noAutofit/>
          </a:bodyPr>
          <a:lstStyle/>
          <a:p>
            <a:r>
              <a:rPr lang="en-US" dirty="0"/>
              <a:t>Click to edit Master title style</a:t>
            </a:r>
          </a:p>
        </p:txBody>
      </p:sp>
      <p:sp>
        <p:nvSpPr>
          <p:cNvPr id="3" name="Text Placeholder">
            <a:extLst>
              <a:ext uri="{FF2B5EF4-FFF2-40B4-BE49-F238E27FC236}">
                <a16:creationId xmlns:a16="http://schemas.microsoft.com/office/drawing/2014/main" id="{6750A408-ED0E-47CF-AC3A-5AD4A6E25CE3}"/>
              </a:ext>
            </a:extLst>
          </p:cNvPr>
          <p:cNvSpPr>
            <a:spLocks noGrp="1"/>
          </p:cNvSpPr>
          <p:nvPr>
            <p:ph type="body" idx="1"/>
          </p:nvPr>
        </p:nvSpPr>
        <p:spPr>
          <a:xfrm>
            <a:off x="411161" y="1414800"/>
            <a:ext cx="7200000" cy="45360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5" name="Footer Placeholder">
            <a:extLst>
              <a:ext uri="{FF2B5EF4-FFF2-40B4-BE49-F238E27FC236}">
                <a16:creationId xmlns:a16="http://schemas.microsoft.com/office/drawing/2014/main" id="{4F5CAFE5-0972-49AB-B42B-7C613C153AFE}"/>
              </a:ext>
            </a:extLst>
          </p:cNvPr>
          <p:cNvSpPr>
            <a:spLocks noGrp="1"/>
          </p:cNvSpPr>
          <p:nvPr>
            <p:ph type="ftr" sz="quarter" idx="3"/>
          </p:nvPr>
        </p:nvSpPr>
        <p:spPr>
          <a:xfrm>
            <a:off x="1059160" y="6310800"/>
            <a:ext cx="9216000" cy="547200"/>
          </a:xfrm>
          <a:prstGeom prst="rect">
            <a:avLst/>
          </a:prstGeom>
        </p:spPr>
        <p:txBody>
          <a:bodyPr vert="horz" lIns="0" tIns="0" rIns="0" bIns="61200" rtlCol="0" anchor="ctr" anchorCtr="0"/>
          <a:lstStyle>
            <a:lvl1pPr algn="l">
              <a:lnSpc>
                <a:spcPct val="100000"/>
              </a:lnSpc>
              <a:defRPr sz="900">
                <a:solidFill>
                  <a:schemeClr val="tx1"/>
                </a:solidFill>
              </a:defRPr>
            </a:lvl1pPr>
          </a:lstStyle>
          <a:p>
            <a:r>
              <a:rPr lang="en-US" dirty="0"/>
              <a:t>Restricted | © Siemens 20XX | Author | Department | YYYY-MM-DD</a:t>
            </a:r>
          </a:p>
        </p:txBody>
      </p:sp>
      <p:sp>
        <p:nvSpPr>
          <p:cNvPr id="6" name="Slide Number Placeholder">
            <a:extLst>
              <a:ext uri="{FF2B5EF4-FFF2-40B4-BE49-F238E27FC236}">
                <a16:creationId xmlns:a16="http://schemas.microsoft.com/office/drawing/2014/main" id="{1C051FD7-F65C-4306-9083-C9770A0AF2DF}"/>
              </a:ext>
            </a:extLst>
          </p:cNvPr>
          <p:cNvSpPr>
            <a:spLocks noGrp="1"/>
          </p:cNvSpPr>
          <p:nvPr>
            <p:ph type="sldNum" sz="quarter" idx="4"/>
          </p:nvPr>
        </p:nvSpPr>
        <p:spPr>
          <a:xfrm>
            <a:off x="411162" y="6310800"/>
            <a:ext cx="648000" cy="547200"/>
          </a:xfrm>
          <a:prstGeom prst="rect">
            <a:avLst/>
          </a:prstGeom>
        </p:spPr>
        <p:txBody>
          <a:bodyPr vert="horz" lIns="0" tIns="0" rIns="0" bIns="61200" rtlCol="0" anchor="ctr" anchorCtr="0"/>
          <a:lstStyle>
            <a:lvl1pPr algn="l">
              <a:lnSpc>
                <a:spcPct val="100000"/>
              </a:lnSpc>
              <a:defRPr sz="900" b="1">
                <a:solidFill>
                  <a:schemeClr val="tx1"/>
                </a:solidFill>
              </a:defRPr>
            </a:lvl1p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1698585145"/>
      </p:ext>
    </p:extLst>
  </p:cSld>
  <p:clrMap bg1="lt1" tx1="dk1" bg2="lt2" tx2="dk2" accent1="accent1" accent2="accent2" accent3="accent3" accent4="accent4" accent5="accent5" accent6="accent6" hlink="hlink" folHlink="folHlink"/>
  <p:sldLayoutIdLst>
    <p:sldLayoutId id="2147483717"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48" r:id="rId19"/>
    <p:sldLayoutId id="2147483749" r:id="rId20"/>
    <p:sldLayoutId id="2147483750" r:id="rId21"/>
    <p:sldLayoutId id="2147483745" r:id="rId22"/>
    <p:sldLayoutId id="2147483746" r:id="rId23"/>
    <p:sldLayoutId id="2147483747" r:id="rId24"/>
    <p:sldLayoutId id="2147483736" r:id="rId25"/>
    <p:sldLayoutId id="2147483737" r:id="rId26"/>
    <p:sldLayoutId id="2147483738" r:id="rId27"/>
    <p:sldLayoutId id="2147483739" r:id="rId28"/>
    <p:sldLayoutId id="2147483740" r:id="rId29"/>
    <p:sldLayoutId id="2147483741" r:id="rId30"/>
    <p:sldLayoutId id="2147483744" r:id="rId31"/>
    <p:sldLayoutId id="2147483708" r:id="rId32"/>
    <p:sldLayoutId id="2147483655" r:id="rId33"/>
    <p:sldLayoutId id="2147483742" r:id="rId34"/>
    <p:sldLayoutId id="2147483677" r:id="rId35"/>
    <p:sldLayoutId id="2147483709" r:id="rId36"/>
    <p:sldLayoutId id="2147483751" r:id="rId37"/>
    <p:sldLayoutId id="2147483691" r:id="rId38"/>
    <p:sldLayoutId id="2147483752" r:id="rId39"/>
    <p:sldLayoutId id="2147483692" r:id="rId40"/>
    <p:sldLayoutId id="2147483650" r:id="rId41"/>
    <p:sldLayoutId id="2147483665" r:id="rId42"/>
    <p:sldLayoutId id="2147483666" r:id="rId43"/>
    <p:sldLayoutId id="2147483697" r:id="rId44"/>
    <p:sldLayoutId id="2147483698" r:id="rId45"/>
    <p:sldLayoutId id="2147483652" r:id="rId46"/>
    <p:sldLayoutId id="2147483680" r:id="rId47"/>
    <p:sldLayoutId id="2147483694" r:id="rId48"/>
    <p:sldLayoutId id="2147483687" r:id="rId49"/>
    <p:sldLayoutId id="2147483681" r:id="rId50"/>
    <p:sldLayoutId id="2147483690" r:id="rId51"/>
    <p:sldLayoutId id="2147483711" r:id="rId52"/>
    <p:sldLayoutId id="2147483682" r:id="rId53"/>
    <p:sldLayoutId id="2147483678" r:id="rId54"/>
  </p:sldLayoutIdLst>
  <p:hf hdr="0" dt="0"/>
  <p:txStyles>
    <p:titleStyle>
      <a:lvl1pPr algn="l" defTabSz="914400" rtl="0" eaLnBrk="1" latinLnBrk="0" hangingPunct="1">
        <a:lnSpc>
          <a:spcPct val="90000"/>
        </a:lnSpc>
        <a:spcBef>
          <a:spcPct val="0"/>
        </a:spcBef>
        <a:buNone/>
        <a:defRPr sz="2000" b="1" kern="1200">
          <a:solidFill>
            <a:schemeClr val="accent1"/>
          </a:solidFill>
          <a:latin typeface="+mj-lt"/>
          <a:ea typeface="+mj-ea"/>
          <a:cs typeface="+mj-cs"/>
        </a:defRPr>
      </a:lvl1pPr>
    </p:titleStyle>
    <p:body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33.xml"/><Relationship Id="rId1" Type="http://schemas.openxmlformats.org/officeDocument/2006/relationships/tags" Target="../tags/tag3.xml"/><Relationship Id="rId4" Type="http://schemas.openxmlformats.org/officeDocument/2006/relationships/image" Target="../media/image40.emf"/></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3.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8.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3.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8.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3.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8.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3.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8.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38.xml"/><Relationship Id="rId1" Type="http://schemas.openxmlformats.org/officeDocument/2006/relationships/tags" Target="../tags/tag4.xml"/><Relationship Id="rId4" Type="http://schemas.openxmlformats.org/officeDocument/2006/relationships/image" Target="../media/image40.emf"/></Relationships>
</file>

<file path=ppt/slides/_rels/slide110.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33.xml"/><Relationship Id="rId1" Type="http://schemas.openxmlformats.org/officeDocument/2006/relationships/tags" Target="../tags/tag219.xml"/></Relationships>
</file>

<file path=ppt/slides/_rels/slide111.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38.xml"/><Relationship Id="rId1" Type="http://schemas.openxmlformats.org/officeDocument/2006/relationships/tags" Target="../tags/tag220.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3.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8.xml"/></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33.xml"/><Relationship Id="rId1" Type="http://schemas.openxmlformats.org/officeDocument/2006/relationships/tags" Target="../tags/tag221.xml"/><Relationship Id="rId4" Type="http://schemas.openxmlformats.org/officeDocument/2006/relationships/image" Target="../media/image40.emf"/></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38.xml"/><Relationship Id="rId1" Type="http://schemas.openxmlformats.org/officeDocument/2006/relationships/tags" Target="../tags/tag222.xml"/><Relationship Id="rId4" Type="http://schemas.openxmlformats.org/officeDocument/2006/relationships/image" Target="../media/image40.emf"/></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33.xml"/><Relationship Id="rId1" Type="http://schemas.openxmlformats.org/officeDocument/2006/relationships/tags" Target="../tags/tag223.xml"/><Relationship Id="rId4" Type="http://schemas.openxmlformats.org/officeDocument/2006/relationships/image" Target="../media/image40.emf"/></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38.xml"/><Relationship Id="rId1" Type="http://schemas.openxmlformats.org/officeDocument/2006/relationships/tags" Target="../tags/tag224.xml"/><Relationship Id="rId4" Type="http://schemas.openxmlformats.org/officeDocument/2006/relationships/image" Target="../media/image40.emf"/></Relationships>
</file>

<file path=ppt/slides/_rels/slide11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33.xml"/><Relationship Id="rId1" Type="http://schemas.openxmlformats.org/officeDocument/2006/relationships/tags" Target="../tags/tag225.xml"/><Relationship Id="rId4" Type="http://schemas.openxmlformats.org/officeDocument/2006/relationships/image" Target="../media/image40.emf"/></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38.xml"/><Relationship Id="rId1" Type="http://schemas.openxmlformats.org/officeDocument/2006/relationships/tags" Target="../tags/tag226.xml"/><Relationship Id="rId4" Type="http://schemas.openxmlformats.org/officeDocument/2006/relationships/image" Target="../media/image40.emf"/></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3.xml"/></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33.xml"/><Relationship Id="rId1" Type="http://schemas.openxmlformats.org/officeDocument/2006/relationships/tags" Target="../tags/tag227.xml"/><Relationship Id="rId4" Type="http://schemas.openxmlformats.org/officeDocument/2006/relationships/image" Target="../media/image40.emf"/></Relationships>
</file>

<file path=ppt/slides/_rels/slide12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38.xml"/><Relationship Id="rId1" Type="http://schemas.openxmlformats.org/officeDocument/2006/relationships/tags" Target="../tags/tag228.xml"/><Relationship Id="rId4" Type="http://schemas.openxmlformats.org/officeDocument/2006/relationships/image" Target="../media/image40.emf"/></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3.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8.xml"/></Relationships>
</file>

<file path=ppt/slides/_rels/slide124.xml.rels><?xml version="1.0" encoding="UTF-8" standalone="yes"?>
<Relationships xmlns="http://schemas.openxmlformats.org/package/2006/relationships"><Relationship Id="rId2" Type="http://schemas.openxmlformats.org/officeDocument/2006/relationships/slideLayout" Target="../slideLayouts/slideLayout33.xml"/><Relationship Id="rId1" Type="http://schemas.openxmlformats.org/officeDocument/2006/relationships/tags" Target="../tags/tag229.xml"/></Relationships>
</file>

<file path=ppt/slides/_rels/slide125.xml.rels><?xml version="1.0" encoding="UTF-8" standalone="yes"?>
<Relationships xmlns="http://schemas.openxmlformats.org/package/2006/relationships"><Relationship Id="rId2" Type="http://schemas.openxmlformats.org/officeDocument/2006/relationships/slideLayout" Target="../slideLayouts/slideLayout38.xml"/><Relationship Id="rId1" Type="http://schemas.openxmlformats.org/officeDocument/2006/relationships/tags" Target="../tags/tag230.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8.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38.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3.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3.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3.xml"/></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8.xml"/></Relationships>
</file>

<file path=ppt/slides/_rels/slide142.xml.rels><?xml version="1.0" encoding="UTF-8" standalone="yes"?>
<Relationships xmlns="http://schemas.openxmlformats.org/package/2006/relationships"><Relationship Id="rId3" Type="http://schemas.openxmlformats.org/officeDocument/2006/relationships/image" Target="../media/image42.svg"/><Relationship Id="rId7" Type="http://schemas.openxmlformats.org/officeDocument/2006/relationships/image" Target="../media/image46.svg"/><Relationship Id="rId2" Type="http://schemas.openxmlformats.org/officeDocument/2006/relationships/image" Target="../media/image41.png"/><Relationship Id="rId1" Type="http://schemas.openxmlformats.org/officeDocument/2006/relationships/slideLayout" Target="../slideLayouts/slideLayout33.xml"/><Relationship Id="rId6" Type="http://schemas.openxmlformats.org/officeDocument/2006/relationships/image" Target="../media/image45.png"/><Relationship Id="rId5" Type="http://schemas.openxmlformats.org/officeDocument/2006/relationships/image" Target="../media/image44.svg"/><Relationship Id="rId4" Type="http://schemas.openxmlformats.org/officeDocument/2006/relationships/image" Target="../media/image43.png"/></Relationships>
</file>

<file path=ppt/slides/_rels/slide143.xml.rels><?xml version="1.0" encoding="UTF-8" standalone="yes"?>
<Relationships xmlns="http://schemas.openxmlformats.org/package/2006/relationships"><Relationship Id="rId3" Type="http://schemas.openxmlformats.org/officeDocument/2006/relationships/image" Target="../media/image48.svg"/><Relationship Id="rId7" Type="http://schemas.openxmlformats.org/officeDocument/2006/relationships/image" Target="../media/image52.svg"/><Relationship Id="rId2" Type="http://schemas.openxmlformats.org/officeDocument/2006/relationships/image" Target="../media/image47.png"/><Relationship Id="rId1" Type="http://schemas.openxmlformats.org/officeDocument/2006/relationships/slideLayout" Target="../slideLayouts/slideLayout38.xml"/><Relationship Id="rId6" Type="http://schemas.openxmlformats.org/officeDocument/2006/relationships/image" Target="../media/image51.png"/><Relationship Id="rId5" Type="http://schemas.openxmlformats.org/officeDocument/2006/relationships/image" Target="../media/image50.svg"/><Relationship Id="rId4" Type="http://schemas.openxmlformats.org/officeDocument/2006/relationships/image" Target="../media/image49.png"/></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33.xml"/></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3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8.xml"/></Relationships>
</file>

<file path=ppt/slides/_rels/slide1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33.xml"/></Relationships>
</file>

<file path=ppt/slides/_rels/slide1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8.xml"/></Relationships>
</file>

<file path=ppt/slides/_rels/slide152.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33.xml"/><Relationship Id="rId1" Type="http://schemas.openxmlformats.org/officeDocument/2006/relationships/tags" Target="../tags/tag231.xml"/><Relationship Id="rId4" Type="http://schemas.openxmlformats.org/officeDocument/2006/relationships/chart" Target="../charts/chart1.xml"/></Relationships>
</file>

<file path=ppt/slides/_rels/slide153.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38.xml"/><Relationship Id="rId1" Type="http://schemas.openxmlformats.org/officeDocument/2006/relationships/tags" Target="../tags/tag232.xml"/><Relationship Id="rId4" Type="http://schemas.openxmlformats.org/officeDocument/2006/relationships/chart" Target="../charts/chart2.xml"/></Relationships>
</file>

<file path=ppt/slides/_rels/slide154.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54.xml"/><Relationship Id="rId7" Type="http://schemas.openxmlformats.org/officeDocument/2006/relationships/diagramColors" Target="../diagrams/colors1.xml"/><Relationship Id="rId2" Type="http://schemas.openxmlformats.org/officeDocument/2006/relationships/slideLayout" Target="../slideLayouts/slideLayout33.xml"/><Relationship Id="rId1" Type="http://schemas.openxmlformats.org/officeDocument/2006/relationships/tags" Target="../tags/tag233.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55.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notesSlide" Target="../notesSlides/notesSlide55.xml"/><Relationship Id="rId7" Type="http://schemas.openxmlformats.org/officeDocument/2006/relationships/diagramColors" Target="../diagrams/colors2.xml"/><Relationship Id="rId2" Type="http://schemas.openxmlformats.org/officeDocument/2006/relationships/slideLayout" Target="../slideLayouts/slideLayout38.xml"/><Relationship Id="rId1" Type="http://schemas.openxmlformats.org/officeDocument/2006/relationships/tags" Target="../tags/tag234.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156.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33.xml"/><Relationship Id="rId1" Type="http://schemas.openxmlformats.org/officeDocument/2006/relationships/tags" Target="../tags/tag235.xml"/><Relationship Id="rId4" Type="http://schemas.openxmlformats.org/officeDocument/2006/relationships/chart" Target="../charts/chart3.xml"/></Relationships>
</file>

<file path=ppt/slides/_rels/slide157.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38.xml"/><Relationship Id="rId1" Type="http://schemas.openxmlformats.org/officeDocument/2006/relationships/tags" Target="../tags/tag236.xml"/><Relationship Id="rId4" Type="http://schemas.openxmlformats.org/officeDocument/2006/relationships/chart" Target="../charts/chart4.xml"/></Relationships>
</file>

<file path=ppt/slides/_rels/slide15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58.xml"/><Relationship Id="rId1" Type="http://schemas.openxmlformats.org/officeDocument/2006/relationships/slideLayout" Target="../slideLayouts/slideLayout33.xml"/></Relationships>
</file>

<file path=ppt/slides/_rels/slide159.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59.xml"/><Relationship Id="rId1" Type="http://schemas.openxmlformats.org/officeDocument/2006/relationships/slideLayout" Target="../slideLayouts/slideLayout38.xml"/></Relationships>
</file>

<file path=ppt/slides/_rels/slide16.xml.rels><?xml version="1.0" encoding="UTF-8" standalone="yes"?>
<Relationships xmlns="http://schemas.openxmlformats.org/package/2006/relationships"><Relationship Id="rId8" Type="http://schemas.openxmlformats.org/officeDocument/2006/relationships/tags" Target="../tags/tag12.xml"/><Relationship Id="rId3" Type="http://schemas.openxmlformats.org/officeDocument/2006/relationships/tags" Target="../tags/tag7.xml"/><Relationship Id="rId7" Type="http://schemas.openxmlformats.org/officeDocument/2006/relationships/tags" Target="../tags/tag1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5" Type="http://schemas.openxmlformats.org/officeDocument/2006/relationships/tags" Target="../tags/tag9.xml"/><Relationship Id="rId10" Type="http://schemas.openxmlformats.org/officeDocument/2006/relationships/notesSlide" Target="../notesSlides/notesSlide8.xml"/><Relationship Id="rId4" Type="http://schemas.openxmlformats.org/officeDocument/2006/relationships/tags" Target="../tags/tag8.xml"/><Relationship Id="rId9" Type="http://schemas.openxmlformats.org/officeDocument/2006/relationships/slideLayout" Target="../slideLayouts/slideLayout33.xml"/></Relationships>
</file>

<file path=ppt/slides/_rels/slide160.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60.xml"/><Relationship Id="rId1" Type="http://schemas.openxmlformats.org/officeDocument/2006/relationships/slideLayout" Target="../slideLayouts/slideLayout33.xml"/></Relationships>
</file>

<file path=ppt/slides/_rels/slide161.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61.xml"/><Relationship Id="rId1" Type="http://schemas.openxmlformats.org/officeDocument/2006/relationships/slideLayout" Target="../slideLayouts/slideLayout38.xml"/></Relationships>
</file>

<file path=ppt/slides/_rels/slide162.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62.xml"/><Relationship Id="rId1" Type="http://schemas.openxmlformats.org/officeDocument/2006/relationships/slideLayout" Target="../slideLayouts/slideLayout33.xml"/></Relationships>
</file>

<file path=ppt/slides/_rels/slide163.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63.xml"/><Relationship Id="rId1" Type="http://schemas.openxmlformats.org/officeDocument/2006/relationships/slideLayout" Target="../slideLayouts/slideLayout38.xml"/></Relationships>
</file>

<file path=ppt/slides/_rels/slide164.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64.xml"/><Relationship Id="rId1" Type="http://schemas.openxmlformats.org/officeDocument/2006/relationships/slideLayout" Target="../slideLayouts/slideLayout33.xml"/></Relationships>
</file>

<file path=ppt/slides/_rels/slide165.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65.xml"/><Relationship Id="rId1" Type="http://schemas.openxmlformats.org/officeDocument/2006/relationships/slideLayout" Target="../slideLayouts/slideLayout38.xml"/></Relationships>
</file>

<file path=ppt/slides/_rels/slide166.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66.xml"/><Relationship Id="rId1" Type="http://schemas.openxmlformats.org/officeDocument/2006/relationships/slideLayout" Target="../slideLayouts/slideLayout33.xml"/></Relationships>
</file>

<file path=ppt/slides/_rels/slide167.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67.xml"/><Relationship Id="rId1" Type="http://schemas.openxmlformats.org/officeDocument/2006/relationships/slideLayout" Target="../slideLayouts/slideLayout38.xml"/></Relationships>
</file>

<file path=ppt/slides/_rels/slide168.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68.xml"/><Relationship Id="rId1" Type="http://schemas.openxmlformats.org/officeDocument/2006/relationships/slideLayout" Target="../slideLayouts/slideLayout33.xml"/></Relationships>
</file>

<file path=ppt/slides/_rels/slide169.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69.xml"/><Relationship Id="rId1" Type="http://schemas.openxmlformats.org/officeDocument/2006/relationships/slideLayout" Target="../slideLayouts/slideLayout38.xml"/></Relationships>
</file>

<file path=ppt/slides/_rels/slide17.xml.rels><?xml version="1.0" encoding="UTF-8" standalone="yes"?>
<Relationships xmlns="http://schemas.openxmlformats.org/package/2006/relationships"><Relationship Id="rId8" Type="http://schemas.openxmlformats.org/officeDocument/2006/relationships/tags" Target="../tags/tag20.xml"/><Relationship Id="rId3" Type="http://schemas.openxmlformats.org/officeDocument/2006/relationships/tags" Target="../tags/tag15.xml"/><Relationship Id="rId7" Type="http://schemas.openxmlformats.org/officeDocument/2006/relationships/tags" Target="../tags/tag19.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5" Type="http://schemas.openxmlformats.org/officeDocument/2006/relationships/tags" Target="../tags/tag17.xml"/><Relationship Id="rId10" Type="http://schemas.openxmlformats.org/officeDocument/2006/relationships/notesSlide" Target="../notesSlides/notesSlide9.xml"/><Relationship Id="rId4" Type="http://schemas.openxmlformats.org/officeDocument/2006/relationships/tags" Target="../tags/tag16.xml"/><Relationship Id="rId9" Type="http://schemas.openxmlformats.org/officeDocument/2006/relationships/slideLayout" Target="../slideLayouts/slideLayout38.xml"/></Relationships>
</file>

<file path=ppt/slides/_rels/slide170.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70.xml"/><Relationship Id="rId1" Type="http://schemas.openxmlformats.org/officeDocument/2006/relationships/slideLayout" Target="../slideLayouts/slideLayout33.xml"/><Relationship Id="rId5" Type="http://schemas.openxmlformats.org/officeDocument/2006/relationships/chart" Target="../charts/chart19.xml"/><Relationship Id="rId4" Type="http://schemas.openxmlformats.org/officeDocument/2006/relationships/chart" Target="../charts/chart18.xml"/></Relationships>
</file>

<file path=ppt/slides/_rels/slide171.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71.xml"/><Relationship Id="rId1" Type="http://schemas.openxmlformats.org/officeDocument/2006/relationships/slideLayout" Target="../slideLayouts/slideLayout38.xml"/><Relationship Id="rId5" Type="http://schemas.openxmlformats.org/officeDocument/2006/relationships/chart" Target="../charts/chart22.xml"/><Relationship Id="rId4" Type="http://schemas.openxmlformats.org/officeDocument/2006/relationships/chart" Target="../charts/chart21.xml"/></Relationships>
</file>

<file path=ppt/slides/_rels/slide172.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72.xml"/><Relationship Id="rId1" Type="http://schemas.openxmlformats.org/officeDocument/2006/relationships/slideLayout" Target="../slideLayouts/slideLayout33.xml"/></Relationships>
</file>

<file path=ppt/slides/_rels/slide173.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73.xml"/><Relationship Id="rId1" Type="http://schemas.openxmlformats.org/officeDocument/2006/relationships/slideLayout" Target="../slideLayouts/slideLayout38.xml"/></Relationships>
</file>

<file path=ppt/slides/_rels/slide174.xml.rels><?xml version="1.0" encoding="UTF-8" standalone="yes"?>
<Relationships xmlns="http://schemas.openxmlformats.org/package/2006/relationships"><Relationship Id="rId8" Type="http://schemas.openxmlformats.org/officeDocument/2006/relationships/tags" Target="../tags/tag244.xml"/><Relationship Id="rId13" Type="http://schemas.openxmlformats.org/officeDocument/2006/relationships/tags" Target="../tags/tag249.xml"/><Relationship Id="rId3" Type="http://schemas.openxmlformats.org/officeDocument/2006/relationships/tags" Target="../tags/tag239.xml"/><Relationship Id="rId7" Type="http://schemas.openxmlformats.org/officeDocument/2006/relationships/tags" Target="../tags/tag243.xml"/><Relationship Id="rId12" Type="http://schemas.openxmlformats.org/officeDocument/2006/relationships/tags" Target="../tags/tag248.xml"/><Relationship Id="rId2" Type="http://schemas.openxmlformats.org/officeDocument/2006/relationships/tags" Target="../tags/tag238.xml"/><Relationship Id="rId1" Type="http://schemas.openxmlformats.org/officeDocument/2006/relationships/tags" Target="../tags/tag237.xml"/><Relationship Id="rId6" Type="http://schemas.openxmlformats.org/officeDocument/2006/relationships/tags" Target="../tags/tag242.xml"/><Relationship Id="rId11" Type="http://schemas.openxmlformats.org/officeDocument/2006/relationships/tags" Target="../tags/tag247.xml"/><Relationship Id="rId5" Type="http://schemas.openxmlformats.org/officeDocument/2006/relationships/tags" Target="../tags/tag241.xml"/><Relationship Id="rId15" Type="http://schemas.openxmlformats.org/officeDocument/2006/relationships/chart" Target="../charts/chart25.xml"/><Relationship Id="rId10" Type="http://schemas.openxmlformats.org/officeDocument/2006/relationships/tags" Target="../tags/tag246.xml"/><Relationship Id="rId4" Type="http://schemas.openxmlformats.org/officeDocument/2006/relationships/tags" Target="../tags/tag240.xml"/><Relationship Id="rId9" Type="http://schemas.openxmlformats.org/officeDocument/2006/relationships/tags" Target="../tags/tag245.xml"/><Relationship Id="rId14" Type="http://schemas.openxmlformats.org/officeDocument/2006/relationships/slideLayout" Target="../slideLayouts/slideLayout33.xml"/></Relationships>
</file>

<file path=ppt/slides/_rels/slide175.xml.rels><?xml version="1.0" encoding="UTF-8" standalone="yes"?>
<Relationships xmlns="http://schemas.openxmlformats.org/package/2006/relationships"><Relationship Id="rId8" Type="http://schemas.openxmlformats.org/officeDocument/2006/relationships/tags" Target="../tags/tag257.xml"/><Relationship Id="rId13" Type="http://schemas.openxmlformats.org/officeDocument/2006/relationships/tags" Target="../tags/tag262.xml"/><Relationship Id="rId3" Type="http://schemas.openxmlformats.org/officeDocument/2006/relationships/tags" Target="../tags/tag252.xml"/><Relationship Id="rId7" Type="http://schemas.openxmlformats.org/officeDocument/2006/relationships/tags" Target="../tags/tag256.xml"/><Relationship Id="rId12" Type="http://schemas.openxmlformats.org/officeDocument/2006/relationships/tags" Target="../tags/tag261.xml"/><Relationship Id="rId2" Type="http://schemas.openxmlformats.org/officeDocument/2006/relationships/tags" Target="../tags/tag251.xml"/><Relationship Id="rId1" Type="http://schemas.openxmlformats.org/officeDocument/2006/relationships/tags" Target="../tags/tag250.xml"/><Relationship Id="rId6" Type="http://schemas.openxmlformats.org/officeDocument/2006/relationships/tags" Target="../tags/tag255.xml"/><Relationship Id="rId11" Type="http://schemas.openxmlformats.org/officeDocument/2006/relationships/tags" Target="../tags/tag260.xml"/><Relationship Id="rId5" Type="http://schemas.openxmlformats.org/officeDocument/2006/relationships/tags" Target="../tags/tag254.xml"/><Relationship Id="rId15" Type="http://schemas.openxmlformats.org/officeDocument/2006/relationships/chart" Target="../charts/chart26.xml"/><Relationship Id="rId10" Type="http://schemas.openxmlformats.org/officeDocument/2006/relationships/tags" Target="../tags/tag259.xml"/><Relationship Id="rId4" Type="http://schemas.openxmlformats.org/officeDocument/2006/relationships/tags" Target="../tags/tag253.xml"/><Relationship Id="rId9" Type="http://schemas.openxmlformats.org/officeDocument/2006/relationships/tags" Target="../tags/tag258.xml"/><Relationship Id="rId14" Type="http://schemas.openxmlformats.org/officeDocument/2006/relationships/slideLayout" Target="../slideLayouts/slideLayout38.xml"/></Relationships>
</file>

<file path=ppt/slides/_rels/slide176.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notesSlide" Target="../notesSlides/notesSlide74.xml"/><Relationship Id="rId1" Type="http://schemas.openxmlformats.org/officeDocument/2006/relationships/slideLayout" Target="../slideLayouts/slideLayout42.xml"/></Relationships>
</file>

<file path=ppt/slides/_rels/slide177.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notesSlide" Target="../notesSlides/notesSlide75.xml"/><Relationship Id="rId1" Type="http://schemas.openxmlformats.org/officeDocument/2006/relationships/slideLayout" Target="../slideLayouts/slideLayout38.xml"/></Relationships>
</file>

<file path=ppt/slides/_rels/slide178.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chart" Target="../charts/chart29.xml"/><Relationship Id="rId1" Type="http://schemas.openxmlformats.org/officeDocument/2006/relationships/slideLayout" Target="../slideLayouts/slideLayout33.xml"/><Relationship Id="rId5" Type="http://schemas.openxmlformats.org/officeDocument/2006/relationships/chart" Target="../charts/chart32.xml"/><Relationship Id="rId4" Type="http://schemas.openxmlformats.org/officeDocument/2006/relationships/chart" Target="../charts/chart31.xml"/></Relationships>
</file>

<file path=ppt/slides/_rels/slide179.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chart" Target="../charts/chart33.xml"/><Relationship Id="rId1" Type="http://schemas.openxmlformats.org/officeDocument/2006/relationships/slideLayout" Target="../slideLayouts/slideLayout38.xml"/><Relationship Id="rId5" Type="http://schemas.openxmlformats.org/officeDocument/2006/relationships/chart" Target="../charts/chart36.xml"/><Relationship Id="rId4" Type="http://schemas.openxmlformats.org/officeDocument/2006/relationships/chart" Target="../charts/chart3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3.xml"/></Relationships>
</file>

<file path=ppt/slides/_rels/slide180.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chart" Target="../charts/chart37.xml"/><Relationship Id="rId1" Type="http://schemas.openxmlformats.org/officeDocument/2006/relationships/slideLayout" Target="../slideLayouts/slideLayout33.xml"/><Relationship Id="rId4" Type="http://schemas.openxmlformats.org/officeDocument/2006/relationships/chart" Target="../charts/chart39.xml"/></Relationships>
</file>

<file path=ppt/slides/_rels/slide181.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chart" Target="../charts/chart40.xml"/><Relationship Id="rId1" Type="http://schemas.openxmlformats.org/officeDocument/2006/relationships/slideLayout" Target="../slideLayouts/slideLayout38.xml"/><Relationship Id="rId4" Type="http://schemas.openxmlformats.org/officeDocument/2006/relationships/chart" Target="../charts/chart42.xml"/></Relationships>
</file>

<file path=ppt/slides/_rels/slide182.xml.rels><?xml version="1.0" encoding="UTF-8" standalone="yes"?>
<Relationships xmlns="http://schemas.openxmlformats.org/package/2006/relationships"><Relationship Id="rId2" Type="http://schemas.openxmlformats.org/officeDocument/2006/relationships/chart" Target="../charts/chart43.xml"/><Relationship Id="rId1" Type="http://schemas.openxmlformats.org/officeDocument/2006/relationships/slideLayout" Target="../slideLayouts/slideLayout42.xml"/></Relationships>
</file>

<file path=ppt/slides/_rels/slide183.xml.rels><?xml version="1.0" encoding="UTF-8" standalone="yes"?>
<Relationships xmlns="http://schemas.openxmlformats.org/package/2006/relationships"><Relationship Id="rId2" Type="http://schemas.openxmlformats.org/officeDocument/2006/relationships/chart" Target="../charts/chart44.xml"/><Relationship Id="rId1" Type="http://schemas.openxmlformats.org/officeDocument/2006/relationships/slideLayout" Target="../slideLayouts/slideLayout38.xml"/></Relationships>
</file>

<file path=ppt/slides/_rels/slide184.xml.rels><?xml version="1.0" encoding="UTF-8" standalone="yes"?>
<Relationships xmlns="http://schemas.openxmlformats.org/package/2006/relationships"><Relationship Id="rId2" Type="http://schemas.openxmlformats.org/officeDocument/2006/relationships/chart" Target="../charts/chart45.xml"/><Relationship Id="rId1" Type="http://schemas.openxmlformats.org/officeDocument/2006/relationships/slideLayout" Target="../slideLayouts/slideLayout42.xml"/></Relationships>
</file>

<file path=ppt/slides/_rels/slide185.xml.rels><?xml version="1.0" encoding="UTF-8" standalone="yes"?>
<Relationships xmlns="http://schemas.openxmlformats.org/package/2006/relationships"><Relationship Id="rId2" Type="http://schemas.openxmlformats.org/officeDocument/2006/relationships/chart" Target="../charts/chart46.xml"/><Relationship Id="rId1" Type="http://schemas.openxmlformats.org/officeDocument/2006/relationships/slideLayout" Target="../slideLayouts/slideLayout38.xml"/></Relationships>
</file>

<file path=ppt/slides/_rels/slide186.xml.rels><?xml version="1.0" encoding="UTF-8" standalone="yes"?>
<Relationships xmlns="http://schemas.openxmlformats.org/package/2006/relationships"><Relationship Id="rId2" Type="http://schemas.openxmlformats.org/officeDocument/2006/relationships/chart" Target="../charts/chart47.xml"/><Relationship Id="rId1" Type="http://schemas.openxmlformats.org/officeDocument/2006/relationships/slideLayout" Target="../slideLayouts/slideLayout42.xml"/></Relationships>
</file>

<file path=ppt/slides/_rels/slide187.xml.rels><?xml version="1.0" encoding="UTF-8" standalone="yes"?>
<Relationships xmlns="http://schemas.openxmlformats.org/package/2006/relationships"><Relationship Id="rId2" Type="http://schemas.openxmlformats.org/officeDocument/2006/relationships/chart" Target="../charts/chart48.xml"/><Relationship Id="rId1" Type="http://schemas.openxmlformats.org/officeDocument/2006/relationships/slideLayout" Target="../slideLayouts/slideLayout38.xml"/></Relationships>
</file>

<file path=ppt/slides/_rels/slide188.xml.rels><?xml version="1.0" encoding="UTF-8" standalone="yes"?>
<Relationships xmlns="http://schemas.openxmlformats.org/package/2006/relationships"><Relationship Id="rId2" Type="http://schemas.openxmlformats.org/officeDocument/2006/relationships/chart" Target="../charts/chart49.xml"/><Relationship Id="rId1" Type="http://schemas.openxmlformats.org/officeDocument/2006/relationships/slideLayout" Target="../slideLayouts/slideLayout42.xml"/></Relationships>
</file>

<file path=ppt/slides/_rels/slide189.xml.rels><?xml version="1.0" encoding="UTF-8" standalone="yes"?>
<Relationships xmlns="http://schemas.openxmlformats.org/package/2006/relationships"><Relationship Id="rId2" Type="http://schemas.openxmlformats.org/officeDocument/2006/relationships/chart" Target="../charts/chart50.xml"/><Relationship Id="rId1" Type="http://schemas.openxmlformats.org/officeDocument/2006/relationships/slideLayout" Target="../slideLayouts/slideLayout3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8.xml"/></Relationships>
</file>

<file path=ppt/slides/_rels/slide190.xml.rels><?xml version="1.0" encoding="UTF-8" standalone="yes"?>
<Relationships xmlns="http://schemas.openxmlformats.org/package/2006/relationships"><Relationship Id="rId2" Type="http://schemas.openxmlformats.org/officeDocument/2006/relationships/chart" Target="../charts/chart51.xml"/><Relationship Id="rId1" Type="http://schemas.openxmlformats.org/officeDocument/2006/relationships/slideLayout" Target="../slideLayouts/slideLayout42.xml"/></Relationships>
</file>

<file path=ppt/slides/_rels/slide191.xml.rels><?xml version="1.0" encoding="UTF-8" standalone="yes"?>
<Relationships xmlns="http://schemas.openxmlformats.org/package/2006/relationships"><Relationship Id="rId2" Type="http://schemas.openxmlformats.org/officeDocument/2006/relationships/chart" Target="../charts/chart52.xml"/><Relationship Id="rId1" Type="http://schemas.openxmlformats.org/officeDocument/2006/relationships/slideLayout" Target="../slideLayouts/slideLayout38.xml"/></Relationships>
</file>

<file path=ppt/slides/_rels/slide192.xml.rels><?xml version="1.0" encoding="UTF-8" standalone="yes"?>
<Relationships xmlns="http://schemas.openxmlformats.org/package/2006/relationships"><Relationship Id="rId2" Type="http://schemas.openxmlformats.org/officeDocument/2006/relationships/chart" Target="../charts/chart53.xml"/><Relationship Id="rId1" Type="http://schemas.openxmlformats.org/officeDocument/2006/relationships/slideLayout" Target="../slideLayouts/slideLayout42.xml"/></Relationships>
</file>

<file path=ppt/slides/_rels/slide193.xml.rels><?xml version="1.0" encoding="UTF-8" standalone="yes"?>
<Relationships xmlns="http://schemas.openxmlformats.org/package/2006/relationships"><Relationship Id="rId2" Type="http://schemas.openxmlformats.org/officeDocument/2006/relationships/chart" Target="../charts/chart54.xml"/><Relationship Id="rId1" Type="http://schemas.openxmlformats.org/officeDocument/2006/relationships/slideLayout" Target="../slideLayouts/slideLayout38.xml"/></Relationships>
</file>

<file path=ppt/slides/_rels/slide194.xml.rels><?xml version="1.0" encoding="UTF-8" standalone="yes"?>
<Relationships xmlns="http://schemas.openxmlformats.org/package/2006/relationships"><Relationship Id="rId2" Type="http://schemas.openxmlformats.org/officeDocument/2006/relationships/chart" Target="../charts/chart55.xml"/><Relationship Id="rId1" Type="http://schemas.openxmlformats.org/officeDocument/2006/relationships/slideLayout" Target="../slideLayouts/slideLayout42.xml"/></Relationships>
</file>

<file path=ppt/slides/_rels/slide195.xml.rels><?xml version="1.0" encoding="UTF-8" standalone="yes"?>
<Relationships xmlns="http://schemas.openxmlformats.org/package/2006/relationships"><Relationship Id="rId2" Type="http://schemas.openxmlformats.org/officeDocument/2006/relationships/chart" Target="../charts/chart56.xml"/><Relationship Id="rId1" Type="http://schemas.openxmlformats.org/officeDocument/2006/relationships/slideLayout" Target="../slideLayouts/slideLayout38.xml"/></Relationships>
</file>

<file path=ppt/slides/_rels/slide196.xml.rels><?xml version="1.0" encoding="UTF-8" standalone="yes"?>
<Relationships xmlns="http://schemas.openxmlformats.org/package/2006/relationships"><Relationship Id="rId2" Type="http://schemas.openxmlformats.org/officeDocument/2006/relationships/chart" Target="../charts/chart57.xml"/><Relationship Id="rId1" Type="http://schemas.openxmlformats.org/officeDocument/2006/relationships/slideLayout" Target="../slideLayouts/slideLayout42.xml"/></Relationships>
</file>

<file path=ppt/slides/_rels/slide197.xml.rels><?xml version="1.0" encoding="UTF-8" standalone="yes"?>
<Relationships xmlns="http://schemas.openxmlformats.org/package/2006/relationships"><Relationship Id="rId2" Type="http://schemas.openxmlformats.org/officeDocument/2006/relationships/chart" Target="../charts/chart58.xml"/><Relationship Id="rId1" Type="http://schemas.openxmlformats.org/officeDocument/2006/relationships/slideLayout" Target="../slideLayouts/slideLayout38.xml"/></Relationships>
</file>

<file path=ppt/slides/_rels/slide19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3.xml"/><Relationship Id="rId1" Type="http://schemas.openxmlformats.org/officeDocument/2006/relationships/tags" Target="../tags/tag263.xml"/><Relationship Id="rId4" Type="http://schemas.openxmlformats.org/officeDocument/2006/relationships/image" Target="../media/image40.emf"/></Relationships>
</file>

<file path=ppt/slides/_rels/slide19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8.xml"/><Relationship Id="rId1" Type="http://schemas.openxmlformats.org/officeDocument/2006/relationships/tags" Target="../tags/tag264.xml"/><Relationship Id="rId4" Type="http://schemas.openxmlformats.org/officeDocument/2006/relationships/image" Target="../media/image40.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3.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3.xml"/><Relationship Id="rId1" Type="http://schemas.openxmlformats.org/officeDocument/2006/relationships/tags" Target="../tags/tag21.xml"/><Relationship Id="rId4" Type="http://schemas.openxmlformats.org/officeDocument/2006/relationships/image" Target="../media/image40.emf"/></Relationships>
</file>

<file path=ppt/slides/_rels/slide200.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37.xml"/><Relationship Id="rId1" Type="http://schemas.openxmlformats.org/officeDocument/2006/relationships/tags" Target="../tags/tag265.xml"/><Relationship Id="rId5" Type="http://schemas.openxmlformats.org/officeDocument/2006/relationships/image" Target="../media/image40.emf"/><Relationship Id="rId4" Type="http://schemas.openxmlformats.org/officeDocument/2006/relationships/oleObject" Target="../embeddings/oleObject15.bin"/></Relationships>
</file>

<file path=ppt/slides/_rels/slide201.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38.xml"/><Relationship Id="rId1" Type="http://schemas.openxmlformats.org/officeDocument/2006/relationships/tags" Target="../tags/tag266.xml"/><Relationship Id="rId5" Type="http://schemas.openxmlformats.org/officeDocument/2006/relationships/image" Target="../media/image40.emf"/><Relationship Id="rId4" Type="http://schemas.openxmlformats.org/officeDocument/2006/relationships/oleObject" Target="../embeddings/oleObject15.bin"/></Relationships>
</file>

<file path=ppt/slides/_rels/slide202.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38.xml"/><Relationship Id="rId1" Type="http://schemas.openxmlformats.org/officeDocument/2006/relationships/tags" Target="../tags/tag267.xml"/><Relationship Id="rId5" Type="http://schemas.openxmlformats.org/officeDocument/2006/relationships/image" Target="../media/image40.emf"/><Relationship Id="rId4" Type="http://schemas.openxmlformats.org/officeDocument/2006/relationships/oleObject" Target="../embeddings/oleObject15.bin"/></Relationships>
</file>

<file path=ppt/slides/_rels/slide203.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39.xml"/><Relationship Id="rId1" Type="http://schemas.openxmlformats.org/officeDocument/2006/relationships/tags" Target="../tags/tag268.xml"/><Relationship Id="rId5" Type="http://schemas.openxmlformats.org/officeDocument/2006/relationships/image" Target="../media/image40.emf"/><Relationship Id="rId4" Type="http://schemas.openxmlformats.org/officeDocument/2006/relationships/oleObject" Target="../embeddings/oleObject15.bin"/></Relationships>
</file>

<file path=ppt/slides/_rels/slide204.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33.xml"/><Relationship Id="rId1" Type="http://schemas.openxmlformats.org/officeDocument/2006/relationships/tags" Target="../tags/tag269.xml"/><Relationship Id="rId5" Type="http://schemas.openxmlformats.org/officeDocument/2006/relationships/image" Target="../media/image40.emf"/><Relationship Id="rId4" Type="http://schemas.openxmlformats.org/officeDocument/2006/relationships/oleObject" Target="../embeddings/oleObject15.bin"/></Relationships>
</file>

<file path=ppt/slides/_rels/slide205.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38.xml"/><Relationship Id="rId1" Type="http://schemas.openxmlformats.org/officeDocument/2006/relationships/tags" Target="../tags/tag270.xml"/><Relationship Id="rId5" Type="http://schemas.openxmlformats.org/officeDocument/2006/relationships/image" Target="../media/image40.emf"/><Relationship Id="rId4" Type="http://schemas.openxmlformats.org/officeDocument/2006/relationships/oleObject" Target="../embeddings/oleObject15.bin"/></Relationships>
</file>

<file path=ppt/slides/_rels/slide206.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33.xml"/><Relationship Id="rId1" Type="http://schemas.openxmlformats.org/officeDocument/2006/relationships/tags" Target="../tags/tag271.xml"/><Relationship Id="rId5" Type="http://schemas.openxmlformats.org/officeDocument/2006/relationships/image" Target="../media/image40.emf"/><Relationship Id="rId4" Type="http://schemas.openxmlformats.org/officeDocument/2006/relationships/oleObject" Target="../embeddings/oleObject15.bin"/></Relationships>
</file>

<file path=ppt/slides/_rels/slide207.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38.xml"/><Relationship Id="rId1" Type="http://schemas.openxmlformats.org/officeDocument/2006/relationships/tags" Target="../tags/tag272.xml"/><Relationship Id="rId5" Type="http://schemas.openxmlformats.org/officeDocument/2006/relationships/image" Target="../media/image40.emf"/><Relationship Id="rId4" Type="http://schemas.openxmlformats.org/officeDocument/2006/relationships/oleObject" Target="../embeddings/oleObject15.bin"/></Relationships>
</file>

<file path=ppt/slides/_rels/slide208.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33.xml"/><Relationship Id="rId1" Type="http://schemas.openxmlformats.org/officeDocument/2006/relationships/tags" Target="../tags/tag273.xml"/><Relationship Id="rId4" Type="http://schemas.openxmlformats.org/officeDocument/2006/relationships/image" Target="../media/image40.emf"/></Relationships>
</file>

<file path=ppt/slides/_rels/slide20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38.xml"/><Relationship Id="rId1" Type="http://schemas.openxmlformats.org/officeDocument/2006/relationships/tags" Target="../tags/tag274.xml"/><Relationship Id="rId4" Type="http://schemas.openxmlformats.org/officeDocument/2006/relationships/image" Target="../media/image40.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8.xml"/><Relationship Id="rId1" Type="http://schemas.openxmlformats.org/officeDocument/2006/relationships/tags" Target="../tags/tag22.xml"/><Relationship Id="rId4" Type="http://schemas.openxmlformats.org/officeDocument/2006/relationships/image" Target="../media/image40.emf"/></Relationships>
</file>

<file path=ppt/slides/_rels/slide21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33.xml"/><Relationship Id="rId1" Type="http://schemas.openxmlformats.org/officeDocument/2006/relationships/tags" Target="../tags/tag275.xml"/><Relationship Id="rId4" Type="http://schemas.openxmlformats.org/officeDocument/2006/relationships/image" Target="../media/image40.emf"/></Relationships>
</file>

<file path=ppt/slides/_rels/slide21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38.xml"/><Relationship Id="rId1" Type="http://schemas.openxmlformats.org/officeDocument/2006/relationships/tags" Target="../tags/tag276.xml"/><Relationship Id="rId4" Type="http://schemas.openxmlformats.org/officeDocument/2006/relationships/image" Target="../media/image40.emf"/></Relationships>
</file>

<file path=ppt/slides/_rels/slide21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13.xml.rels><?xml version="1.0" encoding="UTF-8" standalone="yes"?>
<Relationships xmlns="http://schemas.openxmlformats.org/package/2006/relationships"><Relationship Id="rId3" Type="http://schemas.openxmlformats.org/officeDocument/2006/relationships/hyperlink" Target="mailto:design-support.communications@siemens.com" TargetMode="External"/><Relationship Id="rId2" Type="http://schemas.openxmlformats.org/officeDocument/2006/relationships/hyperlink" Target="https://siemens.service-now.com/gbsportal?id=gbs_portal_sc_cat_item&amp;sys_id=01e453bd1be9011076c55245604bcb9d" TargetMode="External"/><Relationship Id="rId1" Type="http://schemas.openxmlformats.org/officeDocument/2006/relationships/slideLayout" Target="../slideLayouts/slideLayout54.xml"/><Relationship Id="rId4" Type="http://schemas.openxmlformats.org/officeDocument/2006/relationships/hyperlink" Target="https://web.yammer.com/main/groups/eyJfdHlwZSI6Ikdyb3VwIiwiaWQiOiI0MDYzNTY3MDUyOCJ9" TargetMode="Externa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3.xml"/><Relationship Id="rId1" Type="http://schemas.openxmlformats.org/officeDocument/2006/relationships/tags" Target="../tags/tag23.xml"/><Relationship Id="rId4" Type="http://schemas.openxmlformats.org/officeDocument/2006/relationships/image" Target="../media/image40.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8.xml"/><Relationship Id="rId1" Type="http://schemas.openxmlformats.org/officeDocument/2006/relationships/tags" Target="../tags/tag24.xml"/><Relationship Id="rId4" Type="http://schemas.openxmlformats.org/officeDocument/2006/relationships/image" Target="../media/image40.emf"/></Relationships>
</file>

<file path=ppt/slides/_rels/slide24.xml.rels><?xml version="1.0" encoding="UTF-8" standalone="yes"?>
<Relationships xmlns="http://schemas.openxmlformats.org/package/2006/relationships"><Relationship Id="rId8" Type="http://schemas.openxmlformats.org/officeDocument/2006/relationships/notesSlide" Target="../notesSlides/notesSlide12.xml"/><Relationship Id="rId3" Type="http://schemas.openxmlformats.org/officeDocument/2006/relationships/tags" Target="../tags/tag27.xml"/><Relationship Id="rId7" Type="http://schemas.openxmlformats.org/officeDocument/2006/relationships/slideLayout" Target="../slideLayouts/slideLayout33.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5" Type="http://schemas.openxmlformats.org/officeDocument/2006/relationships/tags" Target="../tags/tag29.xml"/><Relationship Id="rId4" Type="http://schemas.openxmlformats.org/officeDocument/2006/relationships/tags" Target="../tags/tag28.xml"/></Relationships>
</file>

<file path=ppt/slides/_rels/slide25.xml.rels><?xml version="1.0" encoding="UTF-8" standalone="yes"?>
<Relationships xmlns="http://schemas.openxmlformats.org/package/2006/relationships"><Relationship Id="rId8" Type="http://schemas.openxmlformats.org/officeDocument/2006/relationships/notesSlide" Target="../notesSlides/notesSlide13.xml"/><Relationship Id="rId3" Type="http://schemas.openxmlformats.org/officeDocument/2006/relationships/tags" Target="../tags/tag33.xml"/><Relationship Id="rId7" Type="http://schemas.openxmlformats.org/officeDocument/2006/relationships/slideLayout" Target="../slideLayouts/slideLayout38.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s>
</file>

<file path=ppt/slides/_rels/slide26.xml.rels><?xml version="1.0" encoding="UTF-8" standalone="yes"?>
<Relationships xmlns="http://schemas.openxmlformats.org/package/2006/relationships"><Relationship Id="rId8" Type="http://schemas.openxmlformats.org/officeDocument/2006/relationships/tags" Target="../tags/tag44.xml"/><Relationship Id="rId3" Type="http://schemas.openxmlformats.org/officeDocument/2006/relationships/tags" Target="../tags/tag39.xml"/><Relationship Id="rId7" Type="http://schemas.openxmlformats.org/officeDocument/2006/relationships/tags" Target="../tags/tag43.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tags" Target="../tags/tag42.xml"/><Relationship Id="rId5" Type="http://schemas.openxmlformats.org/officeDocument/2006/relationships/tags" Target="../tags/tag41.xml"/><Relationship Id="rId4" Type="http://schemas.openxmlformats.org/officeDocument/2006/relationships/tags" Target="../tags/tag40.xml"/><Relationship Id="rId9" Type="http://schemas.openxmlformats.org/officeDocument/2006/relationships/slideLayout" Target="../slideLayouts/slideLayout33.xml"/></Relationships>
</file>

<file path=ppt/slides/_rels/slide27.xml.rels><?xml version="1.0" encoding="UTF-8" standalone="yes"?>
<Relationships xmlns="http://schemas.openxmlformats.org/package/2006/relationships"><Relationship Id="rId8" Type="http://schemas.openxmlformats.org/officeDocument/2006/relationships/tags" Target="../tags/tag52.xml"/><Relationship Id="rId3" Type="http://schemas.openxmlformats.org/officeDocument/2006/relationships/tags" Target="../tags/tag47.xml"/><Relationship Id="rId7" Type="http://schemas.openxmlformats.org/officeDocument/2006/relationships/tags" Target="../tags/tag51.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5" Type="http://schemas.openxmlformats.org/officeDocument/2006/relationships/tags" Target="../tags/tag49.xml"/><Relationship Id="rId4" Type="http://schemas.openxmlformats.org/officeDocument/2006/relationships/tags" Target="../tags/tag48.xml"/><Relationship Id="rId9" Type="http://schemas.openxmlformats.org/officeDocument/2006/relationships/slideLayout" Target="../slideLayouts/slideLayout3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3.xml"/><Relationship Id="rId1" Type="http://schemas.openxmlformats.org/officeDocument/2006/relationships/tags" Target="../tags/tag53.xml"/><Relationship Id="rId4" Type="http://schemas.openxmlformats.org/officeDocument/2006/relationships/image" Target="../media/image40.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8.xml"/><Relationship Id="rId1" Type="http://schemas.openxmlformats.org/officeDocument/2006/relationships/tags" Target="../tags/tag54.xml"/><Relationship Id="rId4" Type="http://schemas.openxmlformats.org/officeDocument/2006/relationships/image" Target="../media/image40.emf"/></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3.xml"/><Relationship Id="rId1" Type="http://schemas.openxmlformats.org/officeDocument/2006/relationships/tags" Target="../tags/tag55.xml"/><Relationship Id="rId5" Type="http://schemas.openxmlformats.org/officeDocument/2006/relationships/image" Target="../media/image40.emf"/><Relationship Id="rId4" Type="http://schemas.openxmlformats.org/officeDocument/2006/relationships/oleObject" Target="../embeddings/oleObject5.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8.xml"/><Relationship Id="rId1" Type="http://schemas.openxmlformats.org/officeDocument/2006/relationships/tags" Target="../tags/tag56.xml"/><Relationship Id="rId5" Type="http://schemas.openxmlformats.org/officeDocument/2006/relationships/image" Target="../media/image40.emf"/><Relationship Id="rId4" Type="http://schemas.openxmlformats.org/officeDocument/2006/relationships/oleObject" Target="../embeddings/oleObject5.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3.xml"/><Relationship Id="rId1" Type="http://schemas.openxmlformats.org/officeDocument/2006/relationships/tags" Target="../tags/tag57.xml"/><Relationship Id="rId5" Type="http://schemas.openxmlformats.org/officeDocument/2006/relationships/image" Target="../media/image40.emf"/><Relationship Id="rId4" Type="http://schemas.openxmlformats.org/officeDocument/2006/relationships/oleObject" Target="../embeddings/oleObject5.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8.xml"/><Relationship Id="rId1" Type="http://schemas.openxmlformats.org/officeDocument/2006/relationships/tags" Target="../tags/tag58.xml"/><Relationship Id="rId5" Type="http://schemas.openxmlformats.org/officeDocument/2006/relationships/image" Target="../media/image40.emf"/><Relationship Id="rId4" Type="http://schemas.openxmlformats.org/officeDocument/2006/relationships/oleObject" Target="../embeddings/oleObject5.bin"/></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3.xml"/><Relationship Id="rId1" Type="http://schemas.openxmlformats.org/officeDocument/2006/relationships/tags" Target="../tags/tag59.xml"/><Relationship Id="rId4" Type="http://schemas.openxmlformats.org/officeDocument/2006/relationships/image" Target="../media/image40.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8.xml"/><Relationship Id="rId1" Type="http://schemas.openxmlformats.org/officeDocument/2006/relationships/tags" Target="../tags/tag60.xml"/><Relationship Id="rId4" Type="http://schemas.openxmlformats.org/officeDocument/2006/relationships/image" Target="../media/image40.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8.xml"/></Relationships>
</file>

<file path=ppt/slides/_rels/slide42.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slideLayout" Target="../slideLayouts/slideLayout33.xml"/><Relationship Id="rId4" Type="http://schemas.openxmlformats.org/officeDocument/2006/relationships/tags" Target="../tags/tag64.xml"/></Relationships>
</file>

<file path=ppt/slides/_rels/slide43.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slideLayout" Target="../slideLayouts/slideLayout38.xml"/><Relationship Id="rId4" Type="http://schemas.openxmlformats.org/officeDocument/2006/relationships/tags" Target="../tags/tag68.xml"/></Relationships>
</file>

<file path=ppt/slides/_rels/slide44.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slideLayout" Target="../slideLayouts/slideLayout33.xml"/><Relationship Id="rId4" Type="http://schemas.openxmlformats.org/officeDocument/2006/relationships/tags" Target="../tags/tag72.xml"/></Relationships>
</file>

<file path=ppt/slides/_rels/slide45.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tags" Target="../tags/tag73.xml"/><Relationship Id="rId5" Type="http://schemas.openxmlformats.org/officeDocument/2006/relationships/slideLayout" Target="../slideLayouts/slideLayout38.xml"/><Relationship Id="rId4" Type="http://schemas.openxmlformats.org/officeDocument/2006/relationships/tags" Target="../tags/tag76.xml"/></Relationships>
</file>

<file path=ppt/slides/_rels/slide46.xml.rels><?xml version="1.0" encoding="UTF-8" standalone="yes"?>
<Relationships xmlns="http://schemas.openxmlformats.org/package/2006/relationships"><Relationship Id="rId8" Type="http://schemas.openxmlformats.org/officeDocument/2006/relationships/tags" Target="../tags/tag84.xml"/><Relationship Id="rId13" Type="http://schemas.openxmlformats.org/officeDocument/2006/relationships/slideLayout" Target="../slideLayouts/slideLayout33.xml"/><Relationship Id="rId3" Type="http://schemas.openxmlformats.org/officeDocument/2006/relationships/tags" Target="../tags/tag79.xml"/><Relationship Id="rId7" Type="http://schemas.openxmlformats.org/officeDocument/2006/relationships/tags" Target="../tags/tag83.xml"/><Relationship Id="rId12" Type="http://schemas.openxmlformats.org/officeDocument/2006/relationships/tags" Target="../tags/tag88.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tags" Target="../tags/tag82.xml"/><Relationship Id="rId11" Type="http://schemas.openxmlformats.org/officeDocument/2006/relationships/tags" Target="../tags/tag87.xml"/><Relationship Id="rId5" Type="http://schemas.openxmlformats.org/officeDocument/2006/relationships/tags" Target="../tags/tag81.xml"/><Relationship Id="rId15" Type="http://schemas.openxmlformats.org/officeDocument/2006/relationships/image" Target="../media/image40.emf"/><Relationship Id="rId10" Type="http://schemas.openxmlformats.org/officeDocument/2006/relationships/tags" Target="../tags/tag86.xml"/><Relationship Id="rId4" Type="http://schemas.openxmlformats.org/officeDocument/2006/relationships/tags" Target="../tags/tag80.xml"/><Relationship Id="rId9" Type="http://schemas.openxmlformats.org/officeDocument/2006/relationships/tags" Target="../tags/tag85.xml"/><Relationship Id="rId14" Type="http://schemas.openxmlformats.org/officeDocument/2006/relationships/oleObject" Target="../embeddings/oleObject7.bin"/></Relationships>
</file>

<file path=ppt/slides/_rels/slide47.xml.rels><?xml version="1.0" encoding="UTF-8" standalone="yes"?>
<Relationships xmlns="http://schemas.openxmlformats.org/package/2006/relationships"><Relationship Id="rId8" Type="http://schemas.openxmlformats.org/officeDocument/2006/relationships/tags" Target="../tags/tag96.xml"/><Relationship Id="rId13" Type="http://schemas.openxmlformats.org/officeDocument/2006/relationships/slideLayout" Target="../slideLayouts/slideLayout38.xml"/><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tags" Target="../tags/tag100.xm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tags" Target="../tags/tag94.xml"/><Relationship Id="rId11" Type="http://schemas.openxmlformats.org/officeDocument/2006/relationships/tags" Target="../tags/tag99.xml"/><Relationship Id="rId5" Type="http://schemas.openxmlformats.org/officeDocument/2006/relationships/tags" Target="../tags/tag93.xml"/><Relationship Id="rId15" Type="http://schemas.openxmlformats.org/officeDocument/2006/relationships/image" Target="../media/image40.emf"/><Relationship Id="rId10" Type="http://schemas.openxmlformats.org/officeDocument/2006/relationships/tags" Target="../tags/tag98.xml"/><Relationship Id="rId4" Type="http://schemas.openxmlformats.org/officeDocument/2006/relationships/tags" Target="../tags/tag92.xml"/><Relationship Id="rId9" Type="http://schemas.openxmlformats.org/officeDocument/2006/relationships/tags" Target="../tags/tag97.xml"/><Relationship Id="rId14" Type="http://schemas.openxmlformats.org/officeDocument/2006/relationships/oleObject" Target="../embeddings/oleObject7.bin"/></Relationships>
</file>

<file path=ppt/slides/_rels/slide48.xml.rels><?xml version="1.0" encoding="UTF-8" standalone="yes"?>
<Relationships xmlns="http://schemas.openxmlformats.org/package/2006/relationships"><Relationship Id="rId8" Type="http://schemas.openxmlformats.org/officeDocument/2006/relationships/tags" Target="../tags/tag108.xml"/><Relationship Id="rId13" Type="http://schemas.openxmlformats.org/officeDocument/2006/relationships/tags" Target="../tags/tag113.xml"/><Relationship Id="rId18" Type="http://schemas.openxmlformats.org/officeDocument/2006/relationships/slideLayout" Target="../slideLayouts/slideLayout33.xml"/><Relationship Id="rId3" Type="http://schemas.openxmlformats.org/officeDocument/2006/relationships/tags" Target="../tags/tag103.xml"/><Relationship Id="rId7" Type="http://schemas.openxmlformats.org/officeDocument/2006/relationships/tags" Target="../tags/tag107.xml"/><Relationship Id="rId12" Type="http://schemas.openxmlformats.org/officeDocument/2006/relationships/tags" Target="../tags/tag112.xml"/><Relationship Id="rId17" Type="http://schemas.openxmlformats.org/officeDocument/2006/relationships/tags" Target="../tags/tag117.xml"/><Relationship Id="rId2" Type="http://schemas.openxmlformats.org/officeDocument/2006/relationships/tags" Target="../tags/tag102.xml"/><Relationship Id="rId16" Type="http://schemas.openxmlformats.org/officeDocument/2006/relationships/tags" Target="../tags/tag116.xml"/><Relationship Id="rId20" Type="http://schemas.openxmlformats.org/officeDocument/2006/relationships/oleObject" Target="../embeddings/oleObject8.bin"/><Relationship Id="rId1" Type="http://schemas.openxmlformats.org/officeDocument/2006/relationships/tags" Target="../tags/tag101.xml"/><Relationship Id="rId6" Type="http://schemas.openxmlformats.org/officeDocument/2006/relationships/tags" Target="../tags/tag106.xml"/><Relationship Id="rId11" Type="http://schemas.openxmlformats.org/officeDocument/2006/relationships/tags" Target="../tags/tag111.xml"/><Relationship Id="rId5" Type="http://schemas.openxmlformats.org/officeDocument/2006/relationships/tags" Target="../tags/tag105.xml"/><Relationship Id="rId15" Type="http://schemas.openxmlformats.org/officeDocument/2006/relationships/tags" Target="../tags/tag115.xml"/><Relationship Id="rId10" Type="http://schemas.openxmlformats.org/officeDocument/2006/relationships/tags" Target="../tags/tag110.xml"/><Relationship Id="rId19" Type="http://schemas.openxmlformats.org/officeDocument/2006/relationships/notesSlide" Target="../notesSlides/notesSlide20.xml"/><Relationship Id="rId4" Type="http://schemas.openxmlformats.org/officeDocument/2006/relationships/tags" Target="../tags/tag104.xml"/><Relationship Id="rId9" Type="http://schemas.openxmlformats.org/officeDocument/2006/relationships/tags" Target="../tags/tag109.xml"/><Relationship Id="rId14" Type="http://schemas.openxmlformats.org/officeDocument/2006/relationships/tags" Target="../tags/tag114.xml"/></Relationships>
</file>

<file path=ppt/slides/_rels/slide49.xml.rels><?xml version="1.0" encoding="UTF-8" standalone="yes"?>
<Relationships xmlns="http://schemas.openxmlformats.org/package/2006/relationships"><Relationship Id="rId8" Type="http://schemas.openxmlformats.org/officeDocument/2006/relationships/tags" Target="../tags/tag125.xml"/><Relationship Id="rId13" Type="http://schemas.openxmlformats.org/officeDocument/2006/relationships/tags" Target="../tags/tag130.xml"/><Relationship Id="rId18" Type="http://schemas.openxmlformats.org/officeDocument/2006/relationships/slideLayout" Target="../slideLayouts/slideLayout38.xml"/><Relationship Id="rId3" Type="http://schemas.openxmlformats.org/officeDocument/2006/relationships/tags" Target="../tags/tag120.xml"/><Relationship Id="rId7" Type="http://schemas.openxmlformats.org/officeDocument/2006/relationships/tags" Target="../tags/tag124.xml"/><Relationship Id="rId12" Type="http://schemas.openxmlformats.org/officeDocument/2006/relationships/tags" Target="../tags/tag129.xml"/><Relationship Id="rId17" Type="http://schemas.openxmlformats.org/officeDocument/2006/relationships/tags" Target="../tags/tag134.xml"/><Relationship Id="rId2" Type="http://schemas.openxmlformats.org/officeDocument/2006/relationships/tags" Target="../tags/tag119.xml"/><Relationship Id="rId16" Type="http://schemas.openxmlformats.org/officeDocument/2006/relationships/tags" Target="../tags/tag133.xml"/><Relationship Id="rId20" Type="http://schemas.openxmlformats.org/officeDocument/2006/relationships/oleObject" Target="../embeddings/oleObject8.bin"/><Relationship Id="rId1" Type="http://schemas.openxmlformats.org/officeDocument/2006/relationships/tags" Target="../tags/tag118.xml"/><Relationship Id="rId6" Type="http://schemas.openxmlformats.org/officeDocument/2006/relationships/tags" Target="../tags/tag123.xml"/><Relationship Id="rId11" Type="http://schemas.openxmlformats.org/officeDocument/2006/relationships/tags" Target="../tags/tag128.xml"/><Relationship Id="rId5" Type="http://schemas.openxmlformats.org/officeDocument/2006/relationships/tags" Target="../tags/tag122.xml"/><Relationship Id="rId15" Type="http://schemas.openxmlformats.org/officeDocument/2006/relationships/tags" Target="../tags/tag132.xml"/><Relationship Id="rId10" Type="http://schemas.openxmlformats.org/officeDocument/2006/relationships/tags" Target="../tags/tag127.xml"/><Relationship Id="rId19" Type="http://schemas.openxmlformats.org/officeDocument/2006/relationships/notesSlide" Target="../notesSlides/notesSlide21.xml"/><Relationship Id="rId4" Type="http://schemas.openxmlformats.org/officeDocument/2006/relationships/tags" Target="../tags/tag121.xml"/><Relationship Id="rId9" Type="http://schemas.openxmlformats.org/officeDocument/2006/relationships/tags" Target="../tags/tag126.xml"/><Relationship Id="rId14" Type="http://schemas.openxmlformats.org/officeDocument/2006/relationships/tags" Target="../tags/tag13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3.xml"/></Relationships>
</file>

<file path=ppt/slides/_rels/slide50.xml.rels><?xml version="1.0" encoding="UTF-8" standalone="yes"?>
<Relationships xmlns="http://schemas.openxmlformats.org/package/2006/relationships"><Relationship Id="rId8" Type="http://schemas.openxmlformats.org/officeDocument/2006/relationships/tags" Target="../tags/tag142.xml"/><Relationship Id="rId13" Type="http://schemas.openxmlformats.org/officeDocument/2006/relationships/notesSlide" Target="../notesSlides/notesSlide22.xml"/><Relationship Id="rId3" Type="http://schemas.openxmlformats.org/officeDocument/2006/relationships/tags" Target="../tags/tag137.xml"/><Relationship Id="rId7" Type="http://schemas.openxmlformats.org/officeDocument/2006/relationships/tags" Target="../tags/tag141.xml"/><Relationship Id="rId12" Type="http://schemas.openxmlformats.org/officeDocument/2006/relationships/slideLayout" Target="../slideLayouts/slideLayout33.xml"/><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tags" Target="../tags/tag140.xml"/><Relationship Id="rId11" Type="http://schemas.openxmlformats.org/officeDocument/2006/relationships/tags" Target="../tags/tag145.xml"/><Relationship Id="rId5" Type="http://schemas.openxmlformats.org/officeDocument/2006/relationships/tags" Target="../tags/tag139.xml"/><Relationship Id="rId10" Type="http://schemas.openxmlformats.org/officeDocument/2006/relationships/tags" Target="../tags/tag144.xml"/><Relationship Id="rId4" Type="http://schemas.openxmlformats.org/officeDocument/2006/relationships/tags" Target="../tags/tag138.xml"/><Relationship Id="rId9" Type="http://schemas.openxmlformats.org/officeDocument/2006/relationships/tags" Target="../tags/tag143.xml"/></Relationships>
</file>

<file path=ppt/slides/_rels/slide51.xml.rels><?xml version="1.0" encoding="UTF-8" standalone="yes"?>
<Relationships xmlns="http://schemas.openxmlformats.org/package/2006/relationships"><Relationship Id="rId8" Type="http://schemas.openxmlformats.org/officeDocument/2006/relationships/tags" Target="../tags/tag153.xml"/><Relationship Id="rId13" Type="http://schemas.openxmlformats.org/officeDocument/2006/relationships/notesSlide" Target="../notesSlides/notesSlide23.xml"/><Relationship Id="rId3" Type="http://schemas.openxmlformats.org/officeDocument/2006/relationships/tags" Target="../tags/tag148.xml"/><Relationship Id="rId7" Type="http://schemas.openxmlformats.org/officeDocument/2006/relationships/tags" Target="../tags/tag152.xml"/><Relationship Id="rId12" Type="http://schemas.openxmlformats.org/officeDocument/2006/relationships/slideLayout" Target="../slideLayouts/slideLayout38.xml"/><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tags" Target="../tags/tag151.xml"/><Relationship Id="rId11" Type="http://schemas.openxmlformats.org/officeDocument/2006/relationships/tags" Target="../tags/tag156.xml"/><Relationship Id="rId5" Type="http://schemas.openxmlformats.org/officeDocument/2006/relationships/tags" Target="../tags/tag150.xml"/><Relationship Id="rId10" Type="http://schemas.openxmlformats.org/officeDocument/2006/relationships/tags" Target="../tags/tag155.xml"/><Relationship Id="rId4" Type="http://schemas.openxmlformats.org/officeDocument/2006/relationships/tags" Target="../tags/tag149.xml"/><Relationship Id="rId9" Type="http://schemas.openxmlformats.org/officeDocument/2006/relationships/tags" Target="../tags/tag154.xml"/></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3.xml"/><Relationship Id="rId1" Type="http://schemas.openxmlformats.org/officeDocument/2006/relationships/tags" Target="../tags/tag157.xml"/><Relationship Id="rId4" Type="http://schemas.openxmlformats.org/officeDocument/2006/relationships/image" Target="../media/image40.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8.xml"/><Relationship Id="rId1" Type="http://schemas.openxmlformats.org/officeDocument/2006/relationships/tags" Target="../tags/tag158.xml"/><Relationship Id="rId4" Type="http://schemas.openxmlformats.org/officeDocument/2006/relationships/image" Target="../media/image40.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3.xml"/><Relationship Id="rId1" Type="http://schemas.openxmlformats.org/officeDocument/2006/relationships/tags" Target="../tags/tag159.xml"/><Relationship Id="rId4" Type="http://schemas.openxmlformats.org/officeDocument/2006/relationships/image" Target="../media/image40.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8.xml"/><Relationship Id="rId1" Type="http://schemas.openxmlformats.org/officeDocument/2006/relationships/tags" Target="../tags/tag160.xml"/><Relationship Id="rId4" Type="http://schemas.openxmlformats.org/officeDocument/2006/relationships/image" Target="../media/image40.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3.xml"/><Relationship Id="rId1" Type="http://schemas.openxmlformats.org/officeDocument/2006/relationships/tags" Target="../tags/tag161.xml"/><Relationship Id="rId4" Type="http://schemas.openxmlformats.org/officeDocument/2006/relationships/image" Target="../media/image40.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8.xml"/><Relationship Id="rId1" Type="http://schemas.openxmlformats.org/officeDocument/2006/relationships/tags" Target="../tags/tag162.xml"/><Relationship Id="rId4" Type="http://schemas.openxmlformats.org/officeDocument/2006/relationships/image" Target="../media/image40.emf"/></Relationships>
</file>

<file path=ppt/slides/_rels/slide58.xml.rels><?xml version="1.0" encoding="UTF-8" standalone="yes"?>
<Relationships xmlns="http://schemas.openxmlformats.org/package/2006/relationships"><Relationship Id="rId8" Type="http://schemas.openxmlformats.org/officeDocument/2006/relationships/image" Target="../media/image40.emf"/><Relationship Id="rId3" Type="http://schemas.openxmlformats.org/officeDocument/2006/relationships/tags" Target="../tags/tag165.xml"/><Relationship Id="rId7" Type="http://schemas.openxmlformats.org/officeDocument/2006/relationships/oleObject" Target="../embeddings/oleObject3.bin"/><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slideLayout" Target="../slideLayouts/slideLayout33.xml"/><Relationship Id="rId5" Type="http://schemas.openxmlformats.org/officeDocument/2006/relationships/tags" Target="../tags/tag167.xml"/><Relationship Id="rId4" Type="http://schemas.openxmlformats.org/officeDocument/2006/relationships/tags" Target="../tags/tag166.xml"/></Relationships>
</file>

<file path=ppt/slides/_rels/slide59.xml.rels><?xml version="1.0" encoding="UTF-8" standalone="yes"?>
<Relationships xmlns="http://schemas.openxmlformats.org/package/2006/relationships"><Relationship Id="rId8" Type="http://schemas.openxmlformats.org/officeDocument/2006/relationships/image" Target="../media/image40.emf"/><Relationship Id="rId3" Type="http://schemas.openxmlformats.org/officeDocument/2006/relationships/tags" Target="../tags/tag170.xml"/><Relationship Id="rId7" Type="http://schemas.openxmlformats.org/officeDocument/2006/relationships/oleObject" Target="../embeddings/oleObject3.bin"/><Relationship Id="rId2" Type="http://schemas.openxmlformats.org/officeDocument/2006/relationships/tags" Target="../tags/tag169.xml"/><Relationship Id="rId1" Type="http://schemas.openxmlformats.org/officeDocument/2006/relationships/tags" Target="../tags/tag168.xml"/><Relationship Id="rId6" Type="http://schemas.openxmlformats.org/officeDocument/2006/relationships/slideLayout" Target="../slideLayouts/slideLayout38.xml"/><Relationship Id="rId5" Type="http://schemas.openxmlformats.org/officeDocument/2006/relationships/tags" Target="../tags/tag172.xml"/><Relationship Id="rId4" Type="http://schemas.openxmlformats.org/officeDocument/2006/relationships/tags" Target="../tags/tag17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8.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3.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8.xml"/></Relationships>
</file>

<file path=ppt/slides/_rels/slide66.xml.rels><?xml version="1.0" encoding="UTF-8" standalone="yes"?>
<Relationships xmlns="http://schemas.openxmlformats.org/package/2006/relationships"><Relationship Id="rId3" Type="http://schemas.openxmlformats.org/officeDocument/2006/relationships/tags" Target="../tags/tag175.xml"/><Relationship Id="rId2" Type="http://schemas.openxmlformats.org/officeDocument/2006/relationships/tags" Target="../tags/tag174.xml"/><Relationship Id="rId1" Type="http://schemas.openxmlformats.org/officeDocument/2006/relationships/tags" Target="../tags/tag173.xml"/><Relationship Id="rId4" Type="http://schemas.openxmlformats.org/officeDocument/2006/relationships/slideLayout" Target="../slideLayouts/slideLayout33.xml"/></Relationships>
</file>

<file path=ppt/slides/_rels/slide67.xml.rels><?xml version="1.0" encoding="UTF-8" standalone="yes"?>
<Relationships xmlns="http://schemas.openxmlformats.org/package/2006/relationships"><Relationship Id="rId3" Type="http://schemas.openxmlformats.org/officeDocument/2006/relationships/tags" Target="../tags/tag178.xml"/><Relationship Id="rId2" Type="http://schemas.openxmlformats.org/officeDocument/2006/relationships/tags" Target="../tags/tag177.xml"/><Relationship Id="rId1" Type="http://schemas.openxmlformats.org/officeDocument/2006/relationships/tags" Target="../tags/tag176.xml"/><Relationship Id="rId4" Type="http://schemas.openxmlformats.org/officeDocument/2006/relationships/slideLayout" Target="../slideLayouts/slideLayout38.xml"/></Relationships>
</file>

<file path=ppt/slides/_rels/slide68.xml.rels><?xml version="1.0" encoding="UTF-8" standalone="yes"?>
<Relationships xmlns="http://schemas.openxmlformats.org/package/2006/relationships"><Relationship Id="rId3" Type="http://schemas.openxmlformats.org/officeDocument/2006/relationships/tags" Target="../tags/tag181.xml"/><Relationship Id="rId2" Type="http://schemas.openxmlformats.org/officeDocument/2006/relationships/tags" Target="../tags/tag180.xml"/><Relationship Id="rId1" Type="http://schemas.openxmlformats.org/officeDocument/2006/relationships/tags" Target="../tags/tag179.xml"/><Relationship Id="rId4" Type="http://schemas.openxmlformats.org/officeDocument/2006/relationships/slideLayout" Target="../slideLayouts/slideLayout33.xml"/></Relationships>
</file>

<file path=ppt/slides/_rels/slide69.xml.rels><?xml version="1.0" encoding="UTF-8" standalone="yes"?>
<Relationships xmlns="http://schemas.openxmlformats.org/package/2006/relationships"><Relationship Id="rId3" Type="http://schemas.openxmlformats.org/officeDocument/2006/relationships/tags" Target="../tags/tag184.xml"/><Relationship Id="rId2" Type="http://schemas.openxmlformats.org/officeDocument/2006/relationships/tags" Target="../tags/tag183.xml"/><Relationship Id="rId1" Type="http://schemas.openxmlformats.org/officeDocument/2006/relationships/tags" Target="../tags/tag182.xml"/><Relationship Id="rId4" Type="http://schemas.openxmlformats.org/officeDocument/2006/relationships/slideLayout" Target="../slideLayouts/slideLayout38.xml"/></Relationships>
</file>

<file path=ppt/slides/_rels/slide7.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slide" Target="slide5.xml"/><Relationship Id="rId18" Type="http://schemas.openxmlformats.org/officeDocument/2006/relationships/slide" Target="slide102.xml"/><Relationship Id="rId3" Type="http://schemas.openxmlformats.org/officeDocument/2006/relationships/image" Target="../media/image31.png"/><Relationship Id="rId21" Type="http://schemas.openxmlformats.org/officeDocument/2006/relationships/slide" Target="slide212.xml"/><Relationship Id="rId7" Type="http://schemas.openxmlformats.org/officeDocument/2006/relationships/image" Target="../media/image35.png"/><Relationship Id="rId12" Type="http://schemas.openxmlformats.org/officeDocument/2006/relationships/slide" Target="slide1.xml"/><Relationship Id="rId17" Type="http://schemas.openxmlformats.org/officeDocument/2006/relationships/slide" Target="slide66.xml"/><Relationship Id="rId2" Type="http://schemas.openxmlformats.org/officeDocument/2006/relationships/image" Target="../media/image30.png"/><Relationship Id="rId16" Type="http://schemas.openxmlformats.org/officeDocument/2006/relationships/slide" Target="slide46.xml"/><Relationship Id="rId20" Type="http://schemas.openxmlformats.org/officeDocument/2006/relationships/slide" Target="slide200.xml"/><Relationship Id="rId1" Type="http://schemas.openxmlformats.org/officeDocument/2006/relationships/slideLayout" Target="../slideLayouts/slideLayout32.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5" Type="http://schemas.openxmlformats.org/officeDocument/2006/relationships/slide" Target="slide28.xml"/><Relationship Id="rId10" Type="http://schemas.openxmlformats.org/officeDocument/2006/relationships/image" Target="../media/image38.png"/><Relationship Id="rId19" Type="http://schemas.openxmlformats.org/officeDocument/2006/relationships/slide" Target="slide154.xml"/><Relationship Id="rId4" Type="http://schemas.openxmlformats.org/officeDocument/2006/relationships/image" Target="../media/image32.png"/><Relationship Id="rId9" Type="http://schemas.openxmlformats.org/officeDocument/2006/relationships/image" Target="../media/image37.png"/><Relationship Id="rId14" Type="http://schemas.openxmlformats.org/officeDocument/2006/relationships/slide" Target="slide12.xml"/></Relationships>
</file>

<file path=ppt/slides/_rels/slide70.xml.rels><?xml version="1.0" encoding="UTF-8" standalone="yes"?>
<Relationships xmlns="http://schemas.openxmlformats.org/package/2006/relationships"><Relationship Id="rId3" Type="http://schemas.openxmlformats.org/officeDocument/2006/relationships/tags" Target="../tags/tag187.xml"/><Relationship Id="rId2" Type="http://schemas.openxmlformats.org/officeDocument/2006/relationships/tags" Target="../tags/tag186.xml"/><Relationship Id="rId1" Type="http://schemas.openxmlformats.org/officeDocument/2006/relationships/tags" Target="../tags/tag185.xml"/><Relationship Id="rId4" Type="http://schemas.openxmlformats.org/officeDocument/2006/relationships/slideLayout" Target="../slideLayouts/slideLayout33.xml"/></Relationships>
</file>

<file path=ppt/slides/_rels/slide71.xml.rels><?xml version="1.0" encoding="UTF-8" standalone="yes"?>
<Relationships xmlns="http://schemas.openxmlformats.org/package/2006/relationships"><Relationship Id="rId3" Type="http://schemas.openxmlformats.org/officeDocument/2006/relationships/tags" Target="../tags/tag190.xml"/><Relationship Id="rId2" Type="http://schemas.openxmlformats.org/officeDocument/2006/relationships/tags" Target="../tags/tag189.xml"/><Relationship Id="rId1" Type="http://schemas.openxmlformats.org/officeDocument/2006/relationships/tags" Target="../tags/tag188.xml"/><Relationship Id="rId4" Type="http://schemas.openxmlformats.org/officeDocument/2006/relationships/slideLayout" Target="../slideLayouts/slideLayout38.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3.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78.xml.rels><?xml version="1.0" encoding="UTF-8" standalone="yes"?>
<Relationships xmlns="http://schemas.openxmlformats.org/package/2006/relationships"><Relationship Id="rId3" Type="http://schemas.openxmlformats.org/officeDocument/2006/relationships/tags" Target="../tags/tag193.xml"/><Relationship Id="rId2" Type="http://schemas.openxmlformats.org/officeDocument/2006/relationships/tags" Target="../tags/tag192.xml"/><Relationship Id="rId1" Type="http://schemas.openxmlformats.org/officeDocument/2006/relationships/tags" Target="../tags/tag191.xml"/><Relationship Id="rId5" Type="http://schemas.openxmlformats.org/officeDocument/2006/relationships/slideLayout" Target="../slideLayouts/slideLayout33.xml"/><Relationship Id="rId4" Type="http://schemas.openxmlformats.org/officeDocument/2006/relationships/tags" Target="../tags/tag194.xml"/></Relationships>
</file>

<file path=ppt/slides/_rels/slide79.xml.rels><?xml version="1.0" encoding="UTF-8" standalone="yes"?>
<Relationships xmlns="http://schemas.openxmlformats.org/package/2006/relationships"><Relationship Id="rId3" Type="http://schemas.openxmlformats.org/officeDocument/2006/relationships/tags" Target="../tags/tag197.xml"/><Relationship Id="rId2" Type="http://schemas.openxmlformats.org/officeDocument/2006/relationships/tags" Target="../tags/tag196.xml"/><Relationship Id="rId1" Type="http://schemas.openxmlformats.org/officeDocument/2006/relationships/tags" Target="../tags/tag195.xml"/><Relationship Id="rId5" Type="http://schemas.openxmlformats.org/officeDocument/2006/relationships/slideLayout" Target="../slideLayouts/slideLayout38.xml"/><Relationship Id="rId4" Type="http://schemas.openxmlformats.org/officeDocument/2006/relationships/tags" Target="../tags/tag198.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33.xml"/><Relationship Id="rId1" Type="http://schemas.openxmlformats.org/officeDocument/2006/relationships/tags" Target="../tags/tag1.xml"/><Relationship Id="rId4" Type="http://schemas.openxmlformats.org/officeDocument/2006/relationships/image" Target="../media/image40.emf"/></Relationships>
</file>

<file path=ppt/slides/_rels/slide80.xml.rels><?xml version="1.0" encoding="UTF-8" standalone="yes"?>
<Relationships xmlns="http://schemas.openxmlformats.org/package/2006/relationships"><Relationship Id="rId3" Type="http://schemas.openxmlformats.org/officeDocument/2006/relationships/tags" Target="../tags/tag201.xml"/><Relationship Id="rId7" Type="http://schemas.openxmlformats.org/officeDocument/2006/relationships/slideLayout" Target="../slideLayouts/slideLayout33.xml"/><Relationship Id="rId2" Type="http://schemas.openxmlformats.org/officeDocument/2006/relationships/tags" Target="../tags/tag200.xml"/><Relationship Id="rId1" Type="http://schemas.openxmlformats.org/officeDocument/2006/relationships/tags" Target="../tags/tag199.xml"/><Relationship Id="rId6" Type="http://schemas.openxmlformats.org/officeDocument/2006/relationships/tags" Target="../tags/tag204.xml"/><Relationship Id="rId5" Type="http://schemas.openxmlformats.org/officeDocument/2006/relationships/tags" Target="../tags/tag203.xml"/><Relationship Id="rId4" Type="http://schemas.openxmlformats.org/officeDocument/2006/relationships/tags" Target="../tags/tag202.xml"/></Relationships>
</file>

<file path=ppt/slides/_rels/slide81.xml.rels><?xml version="1.0" encoding="UTF-8" standalone="yes"?>
<Relationships xmlns="http://schemas.openxmlformats.org/package/2006/relationships"><Relationship Id="rId3" Type="http://schemas.openxmlformats.org/officeDocument/2006/relationships/tags" Target="../tags/tag207.xml"/><Relationship Id="rId7" Type="http://schemas.openxmlformats.org/officeDocument/2006/relationships/slideLayout" Target="../slideLayouts/slideLayout38.xml"/><Relationship Id="rId2" Type="http://schemas.openxmlformats.org/officeDocument/2006/relationships/tags" Target="../tags/tag206.xml"/><Relationship Id="rId1" Type="http://schemas.openxmlformats.org/officeDocument/2006/relationships/tags" Target="../tags/tag205.xml"/><Relationship Id="rId6" Type="http://schemas.openxmlformats.org/officeDocument/2006/relationships/tags" Target="../tags/tag210.xml"/><Relationship Id="rId5" Type="http://schemas.openxmlformats.org/officeDocument/2006/relationships/tags" Target="../tags/tag209.xml"/><Relationship Id="rId4" Type="http://schemas.openxmlformats.org/officeDocument/2006/relationships/tags" Target="../tags/tag208.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3.xml"/><Relationship Id="rId1" Type="http://schemas.openxmlformats.org/officeDocument/2006/relationships/tags" Target="../tags/tag211.xml"/><Relationship Id="rId4" Type="http://schemas.openxmlformats.org/officeDocument/2006/relationships/image" Target="../media/image40.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8.xml"/><Relationship Id="rId1" Type="http://schemas.openxmlformats.org/officeDocument/2006/relationships/tags" Target="../tags/tag212.xml"/><Relationship Id="rId4" Type="http://schemas.openxmlformats.org/officeDocument/2006/relationships/image" Target="../media/image40.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3.xml"/><Relationship Id="rId1" Type="http://schemas.openxmlformats.org/officeDocument/2006/relationships/tags" Target="../tags/tag213.xml"/><Relationship Id="rId4" Type="http://schemas.openxmlformats.org/officeDocument/2006/relationships/image" Target="../media/image40.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8.xml"/><Relationship Id="rId1" Type="http://schemas.openxmlformats.org/officeDocument/2006/relationships/tags" Target="../tags/tag214.xml"/><Relationship Id="rId4" Type="http://schemas.openxmlformats.org/officeDocument/2006/relationships/image" Target="../media/image40.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3.xml"/><Relationship Id="rId1" Type="http://schemas.openxmlformats.org/officeDocument/2006/relationships/tags" Target="../tags/tag215.xml"/><Relationship Id="rId4" Type="http://schemas.openxmlformats.org/officeDocument/2006/relationships/image" Target="../media/image40.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8.xml"/><Relationship Id="rId1" Type="http://schemas.openxmlformats.org/officeDocument/2006/relationships/tags" Target="../tags/tag216.xml"/><Relationship Id="rId4" Type="http://schemas.openxmlformats.org/officeDocument/2006/relationships/image" Target="../media/image40.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38.xml"/><Relationship Id="rId1" Type="http://schemas.openxmlformats.org/officeDocument/2006/relationships/tags" Target="../tags/tag2.xml"/><Relationship Id="rId4" Type="http://schemas.openxmlformats.org/officeDocument/2006/relationships/image" Target="../media/image40.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3.xml"/><Relationship Id="rId1" Type="http://schemas.openxmlformats.org/officeDocument/2006/relationships/tags" Target="../tags/tag217.xml"/><Relationship Id="rId4" Type="http://schemas.openxmlformats.org/officeDocument/2006/relationships/image" Target="../media/image40.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8.xml"/><Relationship Id="rId1" Type="http://schemas.openxmlformats.org/officeDocument/2006/relationships/tags" Target="../tags/tag218.xml"/><Relationship Id="rId4" Type="http://schemas.openxmlformats.org/officeDocument/2006/relationships/image" Target="../media/image40.emf"/></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3.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40AE2C3-D63C-9943-87C0-37E37F9085E8}"/>
              </a:ext>
            </a:extLst>
          </p:cNvPr>
          <p:cNvSpPr>
            <a:spLocks noGrp="1"/>
          </p:cNvSpPr>
          <p:nvPr>
            <p:ph type="title"/>
          </p:nvPr>
        </p:nvSpPr>
        <p:spPr/>
        <p:txBody>
          <a:bodyPr/>
          <a:lstStyle/>
          <a:p>
            <a:r>
              <a:rPr lang="en-US" dirty="0"/>
              <a:t>Business graphic</a:t>
            </a:r>
            <a:br>
              <a:rPr lang="en-US" dirty="0"/>
            </a:br>
            <a:r>
              <a:rPr lang="en-US" dirty="0"/>
              <a:t>collection</a:t>
            </a:r>
          </a:p>
        </p:txBody>
      </p:sp>
      <p:sp>
        <p:nvSpPr>
          <p:cNvPr id="13" name="Subtitle 12">
            <a:extLst>
              <a:ext uri="{FF2B5EF4-FFF2-40B4-BE49-F238E27FC236}">
                <a16:creationId xmlns:a16="http://schemas.microsoft.com/office/drawing/2014/main" id="{13998B5D-EC75-4827-B5FC-D9147D768947}"/>
              </a:ext>
            </a:extLst>
          </p:cNvPr>
          <p:cNvSpPr>
            <a:spLocks noGrp="1"/>
          </p:cNvSpPr>
          <p:nvPr>
            <p:ph type="subTitle" idx="1"/>
          </p:nvPr>
        </p:nvSpPr>
        <p:spPr/>
        <p:txBody>
          <a:bodyPr/>
          <a:lstStyle/>
          <a:p>
            <a:r>
              <a:rPr lang="en-US" dirty="0"/>
              <a:t>State of April 2022, Version 3.0.3</a:t>
            </a:r>
          </a:p>
        </p:txBody>
      </p:sp>
      <p:sp>
        <p:nvSpPr>
          <p:cNvPr id="4" name="Fußzeilenplatzhalter 3">
            <a:extLst>
              <a:ext uri="{FF2B5EF4-FFF2-40B4-BE49-F238E27FC236}">
                <a16:creationId xmlns:a16="http://schemas.microsoft.com/office/drawing/2014/main" id="{6548BD60-B498-D847-8B8B-C6934C7472E6}"/>
              </a:ext>
            </a:extLst>
          </p:cNvPr>
          <p:cNvSpPr>
            <a:spLocks noGrp="1"/>
          </p:cNvSpPr>
          <p:nvPr>
            <p:ph type="ftr" sz="quarter" idx="12"/>
          </p:nvPr>
        </p:nvSpPr>
        <p:spPr/>
        <p:txBody>
          <a:bodyPr/>
          <a:lstStyle/>
          <a:p>
            <a:r>
              <a:rPr lang="en-US" dirty="0"/>
              <a:t>Restricted | © Siemens 20XX | Author | Department | YYYY-MM-DD</a:t>
            </a:r>
          </a:p>
        </p:txBody>
      </p:sp>
    </p:spTree>
    <p:extLst>
      <p:ext uri="{BB962C8B-B14F-4D97-AF65-F5344CB8AC3E}">
        <p14:creationId xmlns:p14="http://schemas.microsoft.com/office/powerpoint/2010/main" val="30110419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 name="Objekt 55"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3" imgW="360" imgH="360" progId="">
                  <p:embed/>
                </p:oleObj>
              </mc:Choice>
              <mc:Fallback>
                <p:oleObj name="think-cell Folie" r:id="rId3" imgW="360" imgH="360" progId="">
                  <p:embed/>
                  <p:pic>
                    <p:nvPicPr>
                      <p:cNvPr id="56" name="Objekt 5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55" name="Tabelle 54"/>
          <p:cNvGraphicFramePr>
            <a:graphicFrameLocks noGrp="1"/>
          </p:cNvGraphicFramePr>
          <p:nvPr>
            <p:extLst>
              <p:ext uri="{D42A27DB-BD31-4B8C-83A1-F6EECF244321}">
                <p14:modId xmlns:p14="http://schemas.microsoft.com/office/powerpoint/2010/main" val="142231632"/>
              </p:ext>
            </p:extLst>
          </p:nvPr>
        </p:nvGraphicFramePr>
        <p:xfrm>
          <a:off x="411163" y="1415849"/>
          <a:ext cx="11373189" cy="4371723"/>
        </p:xfrm>
        <a:graphic>
          <a:graphicData uri="http://schemas.openxmlformats.org/drawingml/2006/table">
            <a:tbl>
              <a:tblPr firstRow="1">
                <a:tableStyleId>{0E3FDE45-AF77-4B5C-9715-49D594BDF05E}</a:tableStyleId>
              </a:tblPr>
              <a:tblGrid>
                <a:gridCol w="2878501">
                  <a:extLst>
                    <a:ext uri="{9D8B030D-6E8A-4147-A177-3AD203B41FA5}">
                      <a16:colId xmlns:a16="http://schemas.microsoft.com/office/drawing/2014/main" val="20001"/>
                    </a:ext>
                  </a:extLst>
                </a:gridCol>
                <a:gridCol w="2518688">
                  <a:extLst>
                    <a:ext uri="{9D8B030D-6E8A-4147-A177-3AD203B41FA5}">
                      <a16:colId xmlns:a16="http://schemas.microsoft.com/office/drawing/2014/main" val="20002"/>
                    </a:ext>
                  </a:extLst>
                </a:gridCol>
                <a:gridCol w="4464000">
                  <a:extLst>
                    <a:ext uri="{9D8B030D-6E8A-4147-A177-3AD203B41FA5}">
                      <a16:colId xmlns:a16="http://schemas.microsoft.com/office/drawing/2014/main" val="20003"/>
                    </a:ext>
                  </a:extLst>
                </a:gridCol>
                <a:gridCol w="1512000">
                  <a:extLst>
                    <a:ext uri="{9D8B030D-6E8A-4147-A177-3AD203B41FA5}">
                      <a16:colId xmlns:a16="http://schemas.microsoft.com/office/drawing/2014/main" val="1372321047"/>
                    </a:ext>
                  </a:extLst>
                </a:gridCol>
              </a:tblGrid>
              <a:tr h="485747">
                <a:tc>
                  <a:txBody>
                    <a:bodyPr/>
                    <a:lstStyle/>
                    <a:p>
                      <a:pPr>
                        <a:spcBef>
                          <a:spcPct val="0"/>
                        </a:spcBef>
                        <a:buFont typeface="Wingdings" charset="0"/>
                        <a:buNone/>
                      </a:pPr>
                      <a:r>
                        <a:rPr lang="en-US" sz="1800" noProof="0" dirty="0">
                          <a:solidFill>
                            <a:srgbClr val="66667E"/>
                          </a:solidFill>
                        </a:rPr>
                        <a:t>Topic</a:t>
                      </a:r>
                      <a:endParaRPr lang="en-US" sz="1800" b="1" noProof="0" dirty="0">
                        <a:solidFill>
                          <a:srgbClr val="66667E"/>
                        </a:solidFill>
                        <a:latin typeface="+mn-lt"/>
                        <a:ea typeface="Arial Unicode MS"/>
                      </a:endParaRPr>
                    </a:p>
                  </a:txBody>
                  <a:tcPr marL="0" marR="143925" marT="71963" marB="71963" anchor="ctr">
                    <a:lnB w="28575"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noProof="0" dirty="0">
                          <a:solidFill>
                            <a:srgbClr val="66667E"/>
                          </a:solidFill>
                        </a:rPr>
                        <a:t>Presenter</a:t>
                      </a:r>
                      <a:endParaRPr lang="en-US" sz="1800" b="1" noProof="0" dirty="0">
                        <a:solidFill>
                          <a:srgbClr val="66667E"/>
                        </a:solidFill>
                        <a:latin typeface="+mn-lt"/>
                        <a:ea typeface="Arial Unicode MS"/>
                      </a:endParaRPr>
                    </a:p>
                  </a:txBody>
                  <a:tcPr marL="143925" marR="143925" marT="71963" marB="71963" anchor="ctr">
                    <a:lnB w="28575"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noProof="0" dirty="0">
                          <a:solidFill>
                            <a:srgbClr val="66667E"/>
                          </a:solidFill>
                        </a:rPr>
                        <a:t>Information / decision / action time</a:t>
                      </a:r>
                      <a:endParaRPr lang="en-US" sz="1800" b="1" noProof="0" dirty="0">
                        <a:solidFill>
                          <a:srgbClr val="66667E"/>
                        </a:solidFill>
                        <a:latin typeface="+mn-lt"/>
                        <a:ea typeface="Arial Unicode MS"/>
                      </a:endParaRPr>
                    </a:p>
                  </a:txBody>
                  <a:tcPr marL="143925" marR="143925" marT="71963" marB="71963" anchor="ctr">
                    <a:lnB w="28575" cap="flat" cmpd="sng" algn="ctr">
                      <a:solidFill>
                        <a:srgbClr val="66667E"/>
                      </a:solidFill>
                      <a:prstDash val="solid"/>
                      <a:round/>
                      <a:headEnd type="none" w="med" len="med"/>
                      <a:tailEnd type="none" w="med" len="med"/>
                    </a:lnB>
                  </a:tcPr>
                </a:tc>
                <a:tc>
                  <a:txBody>
                    <a:bodyPr/>
                    <a:lstStyle/>
                    <a:p>
                      <a:pPr>
                        <a:spcBef>
                          <a:spcPct val="0"/>
                        </a:spcBef>
                        <a:buFont typeface="Wingdings" charset="0"/>
                        <a:buNone/>
                      </a:pPr>
                      <a:r>
                        <a:rPr lang="en-US" sz="1800" noProof="0" dirty="0">
                          <a:solidFill>
                            <a:srgbClr val="66667E"/>
                          </a:solidFill>
                        </a:rPr>
                        <a:t>Action time</a:t>
                      </a:r>
                      <a:endParaRPr lang="en-US" sz="1800" b="1" noProof="0" dirty="0">
                        <a:solidFill>
                          <a:srgbClr val="66667E"/>
                        </a:solidFill>
                        <a:latin typeface="+mn-lt"/>
                        <a:ea typeface="Arial Unicode MS"/>
                      </a:endParaRPr>
                    </a:p>
                  </a:txBody>
                  <a:tcPr marL="143925" marR="0" marT="71963" marB="71963" anchor="ctr">
                    <a:lnB w="28575"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0"/>
                  </a:ext>
                </a:extLst>
              </a:tr>
              <a:tr h="48574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66667E"/>
                          </a:solidFill>
                        </a:rPr>
                        <a:t>Eos et accusam</a:t>
                      </a:r>
                      <a:endParaRPr lang="en-US" sz="1800" dirty="0">
                        <a:solidFill>
                          <a:srgbClr val="66667E"/>
                        </a:solidFill>
                        <a:latin typeface="+mn-lt"/>
                        <a:ea typeface="Arial Unicode MS"/>
                      </a:endParaRPr>
                    </a:p>
                  </a:txBody>
                  <a:tcPr marL="0" marR="107944" marT="71963" marB="71963" anchor="ct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66667E"/>
                          </a:solidFill>
                        </a:rPr>
                        <a:t>Vero Accusam</a:t>
                      </a:r>
                      <a:endParaRPr lang="en-US" sz="1800" b="1" dirty="0">
                        <a:solidFill>
                          <a:srgbClr val="66667E"/>
                        </a:solidFill>
                        <a:latin typeface="+mn-lt"/>
                        <a:ea typeface="Arial Unicode MS"/>
                      </a:endParaRPr>
                    </a:p>
                  </a:txBody>
                  <a:tcPr marL="143925" marR="143925" marT="71963" marB="71963" anchor="ct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66667E"/>
                          </a:solidFill>
                          <a:effectLst/>
                          <a:uLnTx/>
                          <a:uFillTx/>
                        </a:rPr>
                        <a:t>At vero eos et accusam</a:t>
                      </a:r>
                      <a:endParaRPr lang="en-US" sz="1800" noProof="0" dirty="0">
                        <a:solidFill>
                          <a:srgbClr val="66667E"/>
                        </a:solidFill>
                        <a:latin typeface="+mn-lt"/>
                        <a:ea typeface="Arial Unicode MS"/>
                      </a:endParaRPr>
                    </a:p>
                  </a:txBody>
                  <a:tcPr marL="143925" marR="143925" marT="71963" marB="71963" anchor="ct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noProof="0" dirty="0">
                          <a:solidFill>
                            <a:srgbClr val="66667E"/>
                          </a:solidFill>
                        </a:rPr>
                        <a:t>5′</a:t>
                      </a:r>
                      <a:endParaRPr lang="en-US" sz="1800" noProof="0" dirty="0">
                        <a:solidFill>
                          <a:srgbClr val="66667E"/>
                        </a:solidFill>
                        <a:latin typeface="+mn-lt"/>
                        <a:ea typeface="Arial Unicode MS"/>
                      </a:endParaRPr>
                    </a:p>
                  </a:txBody>
                  <a:tcPr marL="143925" marR="0" marT="71963" marB="71963" anchor="ct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1"/>
                  </a:ext>
                </a:extLst>
              </a:tr>
              <a:tr h="48574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66667E"/>
                          </a:solidFill>
                        </a:rPr>
                        <a:t>Sadipscing elitr </a:t>
                      </a:r>
                      <a:endParaRPr lang="en-US" sz="1800" dirty="0">
                        <a:solidFill>
                          <a:srgbClr val="66667E"/>
                        </a:solidFill>
                        <a:latin typeface="+mn-lt"/>
                        <a:ea typeface="Arial Unicode MS"/>
                      </a:endParaRPr>
                    </a:p>
                  </a:txBody>
                  <a:tcPr marL="0"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66667E"/>
                          </a:solidFill>
                        </a:rPr>
                        <a:t>Duis Tortor</a:t>
                      </a:r>
                      <a:endParaRPr lang="en-US" sz="1800" b="1" dirty="0">
                        <a:solidFill>
                          <a:srgbClr val="66667E"/>
                        </a:solidFill>
                        <a:latin typeface="+mn-lt"/>
                        <a:ea typeface="Arial Unicode MS"/>
                      </a:endParaRPr>
                    </a:p>
                  </a:txBody>
                  <a:tcPr marL="143925" marR="143925"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s-ES" sz="1800" u="none" strike="noStrike" kern="1200" cap="none" spc="0" normalizeH="0" baseline="0" noProof="0" dirty="0">
                          <a:ln>
                            <a:noFill/>
                          </a:ln>
                          <a:solidFill>
                            <a:srgbClr val="66667E"/>
                          </a:solidFill>
                          <a:effectLst/>
                          <a:uLnTx/>
                          <a:uFillTx/>
                        </a:rPr>
                        <a:t>Duis arcu tortor, suscipit eget</a:t>
                      </a:r>
                      <a:endParaRPr lang="en-US" sz="1800" noProof="0" dirty="0">
                        <a:solidFill>
                          <a:srgbClr val="66667E"/>
                        </a:solidFill>
                        <a:latin typeface="+mn-lt"/>
                        <a:ea typeface="Arial Unicode MS"/>
                      </a:endParaRPr>
                    </a:p>
                  </a:txBody>
                  <a:tcPr marL="143925" marR="143925"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66667E"/>
                          </a:solidFill>
                          <a:effectLst/>
                          <a:uLnTx/>
                          <a:uFillTx/>
                        </a:rPr>
                        <a:t>10</a:t>
                      </a:r>
                      <a:r>
                        <a:rPr lang="en-US" sz="1800" noProof="0" dirty="0">
                          <a:solidFill>
                            <a:srgbClr val="66667E"/>
                          </a:solidFill>
                        </a:rPr>
                        <a:t>′</a:t>
                      </a:r>
                      <a:endParaRPr kumimoji="0" lang="en-US" sz="1800" b="0" i="0" u="none" strike="noStrike" kern="1200" cap="none" spc="0" normalizeH="0" baseline="0" noProof="0" dirty="0">
                        <a:ln>
                          <a:noFill/>
                        </a:ln>
                        <a:solidFill>
                          <a:srgbClr val="66667E"/>
                        </a:solidFill>
                        <a:effectLst/>
                        <a:uLnTx/>
                        <a:uFillTx/>
                        <a:latin typeface="Arial"/>
                        <a:ea typeface="Arial Unicode MS"/>
                        <a:cs typeface="+mn-cs"/>
                      </a:endParaRPr>
                    </a:p>
                  </a:txBody>
                  <a:tcPr marL="143925" marR="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2"/>
                  </a:ext>
                </a:extLst>
              </a:tr>
              <a:tr h="48574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66667E"/>
                          </a:solidFill>
                        </a:rPr>
                        <a:t>Accusam</a:t>
                      </a:r>
                      <a:endParaRPr lang="en-US" sz="1800" dirty="0">
                        <a:solidFill>
                          <a:srgbClr val="66667E"/>
                        </a:solidFill>
                        <a:latin typeface="+mn-lt"/>
                        <a:ea typeface="Arial Unicode MS"/>
                      </a:endParaRPr>
                    </a:p>
                  </a:txBody>
                  <a:tcPr marL="0"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66667E"/>
                          </a:solidFill>
                        </a:rPr>
                        <a:t>Phasellus Necsem</a:t>
                      </a:r>
                      <a:endParaRPr lang="en-US" sz="1800" b="1" dirty="0">
                        <a:solidFill>
                          <a:srgbClr val="66667E"/>
                        </a:solidFill>
                        <a:latin typeface="+mn-lt"/>
                        <a:ea typeface="Arial Unicode MS"/>
                      </a:endParaRPr>
                    </a:p>
                  </a:txBody>
                  <a:tcPr marL="143925" marR="143925"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66667E"/>
                          </a:solidFill>
                          <a:effectLst/>
                          <a:uLnTx/>
                          <a:uFillTx/>
                        </a:rPr>
                        <a:t>Phasellus nec sem</a:t>
                      </a:r>
                      <a:endParaRPr lang="en-US" sz="1800" noProof="0" dirty="0">
                        <a:solidFill>
                          <a:srgbClr val="66667E"/>
                        </a:solidFill>
                        <a:latin typeface="+mn-lt"/>
                        <a:ea typeface="Arial Unicode MS"/>
                      </a:endParaRPr>
                    </a:p>
                  </a:txBody>
                  <a:tcPr marL="143925" marR="143925"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66667E"/>
                          </a:solidFill>
                          <a:effectLst/>
                          <a:uLnTx/>
                          <a:uFillTx/>
                        </a:rPr>
                        <a:t>10</a:t>
                      </a:r>
                      <a:r>
                        <a:rPr lang="en-US" sz="1800" noProof="0" dirty="0">
                          <a:solidFill>
                            <a:srgbClr val="66667E"/>
                          </a:solidFill>
                        </a:rPr>
                        <a:t>′</a:t>
                      </a:r>
                      <a:endParaRPr kumimoji="0" lang="en-US" sz="1800" b="0" i="0" u="none" strike="noStrike" kern="1200" cap="none" spc="0" normalizeH="0" baseline="0" noProof="0" dirty="0">
                        <a:ln>
                          <a:noFill/>
                        </a:ln>
                        <a:solidFill>
                          <a:srgbClr val="66667E"/>
                        </a:solidFill>
                        <a:effectLst/>
                        <a:uLnTx/>
                        <a:uFillTx/>
                        <a:latin typeface="+mn-lt"/>
                        <a:ea typeface="Arial Unicode MS"/>
                        <a:cs typeface="+mn-cs"/>
                      </a:endParaRPr>
                    </a:p>
                  </a:txBody>
                  <a:tcPr marL="143925" marR="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3"/>
                  </a:ext>
                </a:extLst>
              </a:tr>
              <a:tr h="48574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66667E"/>
                          </a:solidFill>
                        </a:rPr>
                        <a:t>Duis arcu tortor</a:t>
                      </a:r>
                      <a:endParaRPr lang="en-US" sz="1800" dirty="0">
                        <a:solidFill>
                          <a:srgbClr val="66667E"/>
                        </a:solidFill>
                        <a:latin typeface="+mn-lt"/>
                        <a:ea typeface="Arial Unicode MS"/>
                      </a:endParaRPr>
                    </a:p>
                  </a:txBody>
                  <a:tcPr marL="0"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66667E"/>
                          </a:solidFill>
                        </a:rPr>
                        <a:t>Odio Maecenas</a:t>
                      </a:r>
                      <a:endParaRPr lang="en-US" sz="1800" b="1" dirty="0">
                        <a:solidFill>
                          <a:srgbClr val="66667E"/>
                        </a:solidFill>
                        <a:latin typeface="+mn-lt"/>
                        <a:ea typeface="Arial Unicode MS"/>
                      </a:endParaRPr>
                    </a:p>
                  </a:txBody>
                  <a:tcPr marL="143925" marR="143925"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66667E"/>
                          </a:solidFill>
                          <a:effectLst/>
                          <a:uLnTx/>
                          <a:uFillTx/>
                        </a:rPr>
                        <a:t>At vero eos et accusam</a:t>
                      </a:r>
                      <a:endParaRPr lang="en-US" sz="1800" noProof="0" dirty="0">
                        <a:solidFill>
                          <a:srgbClr val="66667E"/>
                        </a:solidFill>
                        <a:latin typeface="+mn-lt"/>
                        <a:ea typeface="Arial Unicode MS"/>
                      </a:endParaRPr>
                    </a:p>
                  </a:txBody>
                  <a:tcPr marL="143925" marR="143925"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66667E"/>
                          </a:solidFill>
                          <a:effectLst/>
                          <a:uLnTx/>
                          <a:uFillTx/>
                        </a:rPr>
                        <a:t>30</a:t>
                      </a:r>
                      <a:r>
                        <a:rPr lang="en-US" sz="1800" noProof="0" dirty="0">
                          <a:solidFill>
                            <a:srgbClr val="66667E"/>
                          </a:solidFill>
                        </a:rPr>
                        <a:t>′</a:t>
                      </a:r>
                      <a:endParaRPr kumimoji="0" lang="en-US" sz="1800" b="0" i="0" u="none" strike="noStrike" kern="1200" cap="none" spc="0" normalizeH="0" baseline="0" noProof="0" dirty="0">
                        <a:ln>
                          <a:noFill/>
                        </a:ln>
                        <a:solidFill>
                          <a:srgbClr val="66667E"/>
                        </a:solidFill>
                        <a:effectLst/>
                        <a:uLnTx/>
                        <a:uFillTx/>
                        <a:latin typeface="+mn-lt"/>
                        <a:ea typeface="Arial Unicode MS"/>
                        <a:cs typeface="+mn-cs"/>
                      </a:endParaRPr>
                    </a:p>
                  </a:txBody>
                  <a:tcPr marL="143925" marR="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4"/>
                  </a:ext>
                </a:extLst>
              </a:tr>
              <a:tr h="48574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66667E"/>
                          </a:solidFill>
                        </a:rPr>
                        <a:t>Accusam</a:t>
                      </a:r>
                      <a:endParaRPr lang="en-US" sz="1800" dirty="0">
                        <a:solidFill>
                          <a:srgbClr val="66667E"/>
                        </a:solidFill>
                        <a:latin typeface="+mn-lt"/>
                        <a:ea typeface="Arial Unicode MS"/>
                      </a:endParaRPr>
                    </a:p>
                  </a:txBody>
                  <a:tcPr marL="0"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66667E"/>
                          </a:solidFill>
                        </a:rPr>
                        <a:t>Eos Laccusam</a:t>
                      </a:r>
                      <a:endParaRPr lang="en-US" sz="1800" b="1" dirty="0">
                        <a:solidFill>
                          <a:srgbClr val="66667E"/>
                        </a:solidFill>
                        <a:latin typeface="+mn-lt"/>
                        <a:ea typeface="Arial Unicode MS"/>
                      </a:endParaRPr>
                    </a:p>
                  </a:txBody>
                  <a:tcPr marL="143925" marR="143925"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66667E"/>
                          </a:solidFill>
                          <a:effectLst/>
                          <a:uLnTx/>
                          <a:uFillTx/>
                        </a:rPr>
                        <a:t>At vero eos et accusam</a:t>
                      </a:r>
                      <a:endParaRPr lang="en-US" sz="1800" noProof="0" dirty="0">
                        <a:solidFill>
                          <a:srgbClr val="66667E"/>
                        </a:solidFill>
                        <a:latin typeface="+mn-lt"/>
                        <a:ea typeface="Arial Unicode MS"/>
                      </a:endParaRPr>
                    </a:p>
                  </a:txBody>
                  <a:tcPr marL="143925" marR="143925"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66667E"/>
                          </a:solidFill>
                          <a:effectLst/>
                          <a:uLnTx/>
                          <a:uFillTx/>
                        </a:rPr>
                        <a:t>10</a:t>
                      </a:r>
                      <a:r>
                        <a:rPr lang="en-US" sz="1800" noProof="0" dirty="0">
                          <a:solidFill>
                            <a:srgbClr val="66667E"/>
                          </a:solidFill>
                        </a:rPr>
                        <a:t>′</a:t>
                      </a:r>
                      <a:endParaRPr kumimoji="0" lang="en-US" sz="1800" b="0" i="0" u="none" strike="noStrike" kern="1200" cap="none" spc="0" normalizeH="0" baseline="0" noProof="0" dirty="0">
                        <a:ln>
                          <a:noFill/>
                        </a:ln>
                        <a:solidFill>
                          <a:srgbClr val="66667E"/>
                        </a:solidFill>
                        <a:effectLst/>
                        <a:uLnTx/>
                        <a:uFillTx/>
                        <a:latin typeface="+mn-lt"/>
                        <a:ea typeface="Arial Unicode MS"/>
                        <a:cs typeface="+mn-cs"/>
                      </a:endParaRPr>
                    </a:p>
                  </a:txBody>
                  <a:tcPr marL="143925" marR="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6"/>
                  </a:ext>
                </a:extLst>
              </a:tr>
              <a:tr h="48574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66667E"/>
                          </a:solidFill>
                        </a:rPr>
                        <a:t>Consetetur sadipscing</a:t>
                      </a:r>
                      <a:endParaRPr lang="en-US" sz="1800" dirty="0">
                        <a:solidFill>
                          <a:srgbClr val="66667E"/>
                        </a:solidFill>
                        <a:latin typeface="+mn-lt"/>
                        <a:ea typeface="Arial Unicode MS"/>
                      </a:endParaRPr>
                    </a:p>
                  </a:txBody>
                  <a:tcPr marL="0"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66667E"/>
                          </a:solidFill>
                        </a:rPr>
                        <a:t>Duis Larcutortor</a:t>
                      </a:r>
                      <a:endParaRPr lang="en-US" sz="1800" b="1" dirty="0">
                        <a:solidFill>
                          <a:srgbClr val="66667E"/>
                        </a:solidFill>
                        <a:latin typeface="+mn-lt"/>
                        <a:ea typeface="Arial Unicode MS"/>
                      </a:endParaRPr>
                    </a:p>
                  </a:txBody>
                  <a:tcPr marL="143925" marR="143925"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66667E"/>
                          </a:solidFill>
                          <a:effectLst/>
                          <a:uLnTx/>
                          <a:uFillTx/>
                        </a:rPr>
                        <a:t>Duis arcu tortor</a:t>
                      </a:r>
                      <a:endParaRPr lang="en-US" sz="1800" noProof="0" dirty="0">
                        <a:solidFill>
                          <a:srgbClr val="66667E"/>
                        </a:solidFill>
                        <a:latin typeface="+mn-lt"/>
                        <a:ea typeface="Arial Unicode MS"/>
                      </a:endParaRPr>
                    </a:p>
                  </a:txBody>
                  <a:tcPr marL="143925" marR="143925"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66667E"/>
                          </a:solidFill>
                          <a:effectLst/>
                          <a:uLnTx/>
                          <a:uFillTx/>
                        </a:rPr>
                        <a:t>30</a:t>
                      </a:r>
                      <a:r>
                        <a:rPr lang="en-US" sz="1800" noProof="0" dirty="0">
                          <a:solidFill>
                            <a:srgbClr val="66667E"/>
                          </a:solidFill>
                        </a:rPr>
                        <a:t>′</a:t>
                      </a:r>
                      <a:endParaRPr kumimoji="0" lang="en-US" sz="1800" b="0" i="0" u="none" strike="noStrike" kern="1200" cap="none" spc="0" normalizeH="0" baseline="0" noProof="0" dirty="0">
                        <a:ln>
                          <a:noFill/>
                        </a:ln>
                        <a:solidFill>
                          <a:srgbClr val="66667E"/>
                        </a:solidFill>
                        <a:effectLst/>
                        <a:uLnTx/>
                        <a:uFillTx/>
                        <a:latin typeface="Arial"/>
                        <a:ea typeface="Arial Unicode MS"/>
                        <a:cs typeface="+mn-cs"/>
                      </a:endParaRPr>
                    </a:p>
                  </a:txBody>
                  <a:tcPr marL="143925" marR="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130106050"/>
                  </a:ext>
                </a:extLst>
              </a:tr>
              <a:tr h="4857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u="none" strike="noStrike" kern="1200" cap="none" spc="0" normalizeH="0" baseline="0" noProof="0" dirty="0">
                          <a:ln>
                            <a:noFill/>
                          </a:ln>
                          <a:solidFill>
                            <a:srgbClr val="66667E"/>
                          </a:solidFill>
                          <a:effectLst/>
                          <a:uLnTx/>
                          <a:uFillTx/>
                        </a:rPr>
                        <a:t>Maecenas dolor</a:t>
                      </a:r>
                      <a:endParaRPr kumimoji="0" lang="de-DE" sz="1800" b="0" i="0" u="none" strike="noStrike" kern="1200" cap="none" spc="0" normalizeH="0" baseline="0" noProof="0" dirty="0">
                        <a:ln>
                          <a:noFill/>
                        </a:ln>
                        <a:solidFill>
                          <a:srgbClr val="66667E"/>
                        </a:solidFill>
                        <a:effectLst/>
                        <a:uLnTx/>
                        <a:uFillTx/>
                        <a:latin typeface="+mn-lt"/>
                        <a:ea typeface="+mn-ea"/>
                        <a:cs typeface="+mn-cs"/>
                      </a:endParaRPr>
                    </a:p>
                  </a:txBody>
                  <a:tcPr marL="0"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66667E"/>
                          </a:solidFill>
                        </a:rPr>
                        <a:t>Vero Accusam</a:t>
                      </a:r>
                      <a:endParaRPr lang="en-US" sz="1800" b="1" dirty="0">
                        <a:solidFill>
                          <a:srgbClr val="66667E"/>
                        </a:solidFill>
                        <a:latin typeface="+mn-lt"/>
                        <a:ea typeface="Arial Unicode MS"/>
                      </a:endParaRPr>
                    </a:p>
                  </a:txBody>
                  <a:tcPr marL="143925" marR="143925"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s-ES" sz="1800" u="none" strike="noStrike" kern="1200" cap="none" spc="0" normalizeH="0" baseline="0" noProof="0" dirty="0">
                          <a:ln>
                            <a:noFill/>
                          </a:ln>
                          <a:solidFill>
                            <a:srgbClr val="66667E"/>
                          </a:solidFill>
                          <a:effectLst/>
                          <a:uLnTx/>
                          <a:uFillTx/>
                        </a:rPr>
                        <a:t>Duis arcu tortor, suscipit eget</a:t>
                      </a:r>
                      <a:endParaRPr lang="en-US" sz="1800" noProof="0" dirty="0">
                        <a:solidFill>
                          <a:srgbClr val="66667E"/>
                        </a:solidFill>
                        <a:latin typeface="+mn-lt"/>
                        <a:ea typeface="Arial Unicode MS"/>
                      </a:endParaRPr>
                    </a:p>
                  </a:txBody>
                  <a:tcPr marL="143925" marR="143925"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66667E"/>
                          </a:solidFill>
                          <a:effectLst/>
                          <a:uLnTx/>
                          <a:uFillTx/>
                        </a:rPr>
                        <a:t>5</a:t>
                      </a:r>
                      <a:r>
                        <a:rPr lang="en-US" sz="1800" noProof="0" dirty="0">
                          <a:solidFill>
                            <a:srgbClr val="66667E"/>
                          </a:solidFill>
                        </a:rPr>
                        <a:t>′</a:t>
                      </a:r>
                      <a:endParaRPr kumimoji="0" lang="en-US" sz="1800" b="0" i="0" u="none" strike="noStrike" kern="1200" cap="none" spc="0" normalizeH="0" baseline="0" noProof="0" dirty="0">
                        <a:ln>
                          <a:noFill/>
                        </a:ln>
                        <a:solidFill>
                          <a:srgbClr val="66667E"/>
                        </a:solidFill>
                        <a:effectLst/>
                        <a:uLnTx/>
                        <a:uFillTx/>
                        <a:latin typeface="+mn-lt"/>
                        <a:ea typeface="Arial Unicode MS"/>
                        <a:cs typeface="+mn-cs"/>
                      </a:endParaRPr>
                    </a:p>
                  </a:txBody>
                  <a:tcPr marL="143925" marR="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2514599482"/>
                  </a:ext>
                </a:extLst>
              </a:tr>
              <a:tr h="48574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800" dirty="0">
                          <a:solidFill>
                            <a:srgbClr val="66667E"/>
                          </a:solidFill>
                        </a:rPr>
                        <a:t>Esta conquera</a:t>
                      </a:r>
                    </a:p>
                  </a:txBody>
                  <a:tcPr marL="0"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66667E"/>
                          </a:solidFill>
                        </a:rPr>
                        <a:t>Duis Tortor</a:t>
                      </a:r>
                      <a:endParaRPr lang="en-US" sz="1800" b="1" dirty="0">
                        <a:solidFill>
                          <a:srgbClr val="66667E"/>
                        </a:solidFill>
                        <a:latin typeface="+mn-lt"/>
                        <a:ea typeface="Arial Unicode MS"/>
                      </a:endParaRPr>
                    </a:p>
                  </a:txBody>
                  <a:tcPr marL="143925" marR="143925"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66667E"/>
                          </a:solidFill>
                          <a:effectLst/>
                          <a:uLnTx/>
                          <a:uFillTx/>
                        </a:rPr>
                        <a:t>Phasellus nec sem</a:t>
                      </a:r>
                      <a:endParaRPr lang="en-US" sz="1800" noProof="0" dirty="0">
                        <a:solidFill>
                          <a:srgbClr val="66667E"/>
                        </a:solidFill>
                        <a:latin typeface="+mn-lt"/>
                        <a:ea typeface="Arial Unicode MS"/>
                      </a:endParaRPr>
                    </a:p>
                  </a:txBody>
                  <a:tcPr marL="143925" marR="143925"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66667E"/>
                          </a:solidFill>
                          <a:effectLst/>
                          <a:uLnTx/>
                          <a:uFillTx/>
                        </a:rPr>
                        <a:t>15</a:t>
                      </a:r>
                      <a:r>
                        <a:rPr lang="en-US" sz="1800" noProof="0" dirty="0">
                          <a:solidFill>
                            <a:srgbClr val="66667E"/>
                          </a:solidFill>
                        </a:rPr>
                        <a:t>′</a:t>
                      </a:r>
                      <a:endParaRPr kumimoji="0" lang="en-US" sz="1800" b="0" i="0" u="none" strike="noStrike" kern="1200" cap="none" spc="0" normalizeH="0" baseline="0" noProof="0" dirty="0">
                        <a:ln>
                          <a:noFill/>
                        </a:ln>
                        <a:solidFill>
                          <a:srgbClr val="66667E"/>
                        </a:solidFill>
                        <a:effectLst/>
                        <a:uLnTx/>
                        <a:uFillTx/>
                        <a:latin typeface="+mn-lt"/>
                        <a:ea typeface="Arial Unicode MS"/>
                        <a:cs typeface="+mn-cs"/>
                      </a:endParaRPr>
                    </a:p>
                  </a:txBody>
                  <a:tcPr marL="143925" marR="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237210138"/>
                  </a:ext>
                </a:extLst>
              </a:tr>
            </a:tbl>
          </a:graphicData>
        </a:graphic>
      </p:graphicFrame>
      <p:sp>
        <p:nvSpPr>
          <p:cNvPr id="5" name="Titel 4"/>
          <p:cNvSpPr>
            <a:spLocks noGrp="1"/>
          </p:cNvSpPr>
          <p:nvPr>
            <p:ph type="title"/>
          </p:nvPr>
        </p:nvSpPr>
        <p:spPr/>
        <p:txBody>
          <a:bodyPr/>
          <a:lstStyle/>
          <a:p>
            <a:r>
              <a:rPr lang="en-US" noProof="0" dirty="0"/>
              <a:t>Meeting minutes</a:t>
            </a:r>
          </a:p>
        </p:txBody>
      </p:sp>
      <p:sp>
        <p:nvSpPr>
          <p:cNvPr id="2" name="Footer Placeholder 1">
            <a:extLst>
              <a:ext uri="{FF2B5EF4-FFF2-40B4-BE49-F238E27FC236}">
                <a16:creationId xmlns:a16="http://schemas.microsoft.com/office/drawing/2014/main" id="{04834D27-10FC-4C28-8371-46326C6977B4}"/>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3" name="Slide Number Placeholder 2">
            <a:extLst>
              <a:ext uri="{FF2B5EF4-FFF2-40B4-BE49-F238E27FC236}">
                <a16:creationId xmlns:a16="http://schemas.microsoft.com/office/drawing/2014/main" id="{F39994BF-1379-466B-A0BA-01D4EFD8D3D4}"/>
              </a:ext>
            </a:extLst>
          </p:cNvPr>
          <p:cNvSpPr>
            <a:spLocks noGrp="1"/>
          </p:cNvSpPr>
          <p:nvPr>
            <p:ph type="sldNum" sz="quarter" idx="11"/>
          </p:nvPr>
        </p:nvSpPr>
        <p:spPr/>
        <p:txBody>
          <a:bodyPr/>
          <a:lstStyle/>
          <a:p>
            <a:r>
              <a:rPr lang="en-US" dirty="0"/>
              <a:t>Page </a:t>
            </a:r>
            <a:fld id="{15EBE321-CBB1-4E91-BD14-37C8D44326FB}" type="slidenum">
              <a:rPr lang="en-US" smtClean="0"/>
              <a:pPr/>
              <a:t>10</a:t>
            </a:fld>
            <a:endParaRPr lang="en-US" dirty="0"/>
          </a:p>
        </p:txBody>
      </p:sp>
    </p:spTree>
    <p:extLst>
      <p:ext uri="{BB962C8B-B14F-4D97-AF65-F5344CB8AC3E}">
        <p14:creationId xmlns:p14="http://schemas.microsoft.com/office/powerpoint/2010/main" val="237563165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410400" y="478800"/>
            <a:ext cx="9863997" cy="576000"/>
          </a:xfrm>
        </p:spPr>
        <p:txBody>
          <a:bodyPr/>
          <a:lstStyle/>
          <a:p>
            <a:r>
              <a:rPr lang="en-US" dirty="0"/>
              <a:t>Influence – alternative level sequence</a:t>
            </a:r>
          </a:p>
        </p:txBody>
      </p:sp>
      <p:sp>
        <p:nvSpPr>
          <p:cNvPr id="28" name="AutoShape 54">
            <a:extLst>
              <a:ext uri="{FF2B5EF4-FFF2-40B4-BE49-F238E27FC236}">
                <a16:creationId xmlns:a16="http://schemas.microsoft.com/office/drawing/2014/main" id="{ADC429C4-F2A9-452E-8F33-CC2E672DF41A}"/>
              </a:ext>
            </a:extLst>
          </p:cNvPr>
          <p:cNvSpPr>
            <a:spLocks noChangeArrowheads="1"/>
          </p:cNvSpPr>
          <p:nvPr/>
        </p:nvSpPr>
        <p:spPr bwMode="auto">
          <a:xfrm>
            <a:off x="410400" y="2135474"/>
            <a:ext cx="5110064" cy="823213"/>
          </a:xfrm>
          <a:prstGeom prst="homePlate">
            <a:avLst>
              <a:gd name="adj" fmla="val 34254"/>
            </a:avLst>
          </a:prstGeom>
          <a:solidFill>
            <a:srgbClr val="E5E5E9"/>
          </a:solidFill>
          <a:ln w="0">
            <a:noFill/>
          </a:ln>
          <a:effectLst/>
        </p:spPr>
        <p:txBody>
          <a:bodyPr lIns="143925" tIns="71963" rIns="1799063" bIns="71963" anchor="t" anchorCtr="0"/>
          <a:lstStyle/>
          <a:p>
            <a:pPr>
              <a:tabLst>
                <a:tab pos="0" algn="l"/>
              </a:tabLst>
            </a:pPr>
            <a:r>
              <a:rPr lang="en-US" sz="1399" b="1" dirty="0">
                <a:solidFill>
                  <a:schemeClr val="accent1"/>
                </a:solidFill>
                <a:ea typeface="Arial Unicode MS"/>
              </a:rPr>
              <a:t>Crasmi eu ultricies</a:t>
            </a:r>
          </a:p>
          <a:p>
            <a:pPr>
              <a:spcBef>
                <a:spcPts val="300"/>
              </a:spcBef>
              <a:tabLst>
                <a:tab pos="0" algn="l"/>
              </a:tabLst>
            </a:pPr>
            <a:r>
              <a:rPr lang="en-US" sz="1399" dirty="0">
                <a:solidFill>
                  <a:srgbClr val="333353"/>
                </a:solidFill>
                <a:ea typeface="Arial Unicode MS"/>
              </a:rPr>
              <a:t>At vero eos clita gubergren dolore rerum, no sea takimata sanctus est</a:t>
            </a:r>
          </a:p>
        </p:txBody>
      </p:sp>
      <p:sp>
        <p:nvSpPr>
          <p:cNvPr id="32" name="AutoShape 54">
            <a:extLst>
              <a:ext uri="{FF2B5EF4-FFF2-40B4-BE49-F238E27FC236}">
                <a16:creationId xmlns:a16="http://schemas.microsoft.com/office/drawing/2014/main" id="{E7FB415A-240B-4073-BCE3-4947BE9ABDF4}"/>
              </a:ext>
            </a:extLst>
          </p:cNvPr>
          <p:cNvSpPr>
            <a:spLocks noChangeArrowheads="1"/>
          </p:cNvSpPr>
          <p:nvPr/>
        </p:nvSpPr>
        <p:spPr bwMode="auto">
          <a:xfrm>
            <a:off x="410400" y="4618181"/>
            <a:ext cx="5110064" cy="823213"/>
          </a:xfrm>
          <a:prstGeom prst="homePlate">
            <a:avLst>
              <a:gd name="adj" fmla="val 36431"/>
            </a:avLst>
          </a:prstGeom>
          <a:solidFill>
            <a:srgbClr val="E5E5E9"/>
          </a:solidFill>
          <a:ln w="0">
            <a:noFill/>
          </a:ln>
          <a:effectLst/>
        </p:spPr>
        <p:txBody>
          <a:bodyPr lIns="143925" tIns="71963" rIns="1799063" bIns="71963" anchor="t" anchorCtr="0"/>
          <a:lstStyle/>
          <a:p>
            <a:pPr>
              <a:tabLst>
                <a:tab pos="0" algn="l"/>
              </a:tabLst>
            </a:pPr>
            <a:r>
              <a:rPr lang="en-US" sz="1399" b="1" dirty="0">
                <a:solidFill>
                  <a:schemeClr val="accent1"/>
                </a:solidFill>
                <a:ea typeface="Arial Unicode MS"/>
              </a:rPr>
              <a:t>Crasmi clita kasd guber eu ultricies</a:t>
            </a:r>
          </a:p>
          <a:p>
            <a:pPr>
              <a:spcBef>
                <a:spcPts val="300"/>
              </a:spcBef>
              <a:tabLst>
                <a:tab pos="0" algn="l"/>
              </a:tabLst>
            </a:pPr>
            <a:r>
              <a:rPr lang="en-US" sz="1399" dirty="0">
                <a:solidFill>
                  <a:srgbClr val="333353"/>
                </a:solidFill>
                <a:ea typeface="Arial Unicode MS"/>
              </a:rPr>
              <a:t>At takimata dolore sanctus est maecenas nec vero eos</a:t>
            </a:r>
          </a:p>
        </p:txBody>
      </p:sp>
      <p:sp>
        <p:nvSpPr>
          <p:cNvPr id="33" name="AutoShape 54">
            <a:extLst>
              <a:ext uri="{FF2B5EF4-FFF2-40B4-BE49-F238E27FC236}">
                <a16:creationId xmlns:a16="http://schemas.microsoft.com/office/drawing/2014/main" id="{666A20FA-BD97-4050-88C8-0932D7932180}"/>
              </a:ext>
            </a:extLst>
          </p:cNvPr>
          <p:cNvSpPr>
            <a:spLocks noChangeArrowheads="1"/>
          </p:cNvSpPr>
          <p:nvPr/>
        </p:nvSpPr>
        <p:spPr bwMode="auto">
          <a:xfrm>
            <a:off x="410400" y="3376827"/>
            <a:ext cx="4173826" cy="823213"/>
          </a:xfrm>
          <a:prstGeom prst="homePlate">
            <a:avLst>
              <a:gd name="adj" fmla="val 36431"/>
            </a:avLst>
          </a:prstGeom>
          <a:solidFill>
            <a:srgbClr val="E5E5E9"/>
          </a:solidFill>
          <a:ln w="0">
            <a:noFill/>
          </a:ln>
          <a:effectLst/>
        </p:spPr>
        <p:txBody>
          <a:bodyPr lIns="143925" tIns="71963" rIns="1079438" bIns="71963" anchor="t" anchorCtr="0"/>
          <a:lstStyle/>
          <a:p>
            <a:pPr>
              <a:tabLst>
                <a:tab pos="0" algn="l"/>
              </a:tabLst>
            </a:pPr>
            <a:r>
              <a:rPr lang="en-US" sz="1399" b="1" dirty="0">
                <a:solidFill>
                  <a:schemeClr val="accent1"/>
                </a:solidFill>
                <a:ea typeface="Arial Unicode MS"/>
              </a:rPr>
              <a:t>Duis arcu tortor, suscipit eget</a:t>
            </a:r>
          </a:p>
          <a:p>
            <a:pPr>
              <a:spcBef>
                <a:spcPts val="300"/>
              </a:spcBef>
              <a:tabLst>
                <a:tab pos="0" algn="l"/>
              </a:tabLst>
            </a:pPr>
            <a:r>
              <a:rPr lang="en-US" sz="1399" dirty="0">
                <a:solidFill>
                  <a:srgbClr val="333353"/>
                </a:solidFill>
                <a:ea typeface="Arial Unicode MS"/>
              </a:rPr>
              <a:t>Stet clita kasd gubergren, </a:t>
            </a:r>
            <a:br>
              <a:rPr lang="en-US" sz="1399" dirty="0">
                <a:solidFill>
                  <a:srgbClr val="333353"/>
                </a:solidFill>
                <a:ea typeface="Arial Unicode MS"/>
              </a:rPr>
            </a:br>
            <a:r>
              <a:rPr lang="en-US" sz="1399" dirty="0">
                <a:solidFill>
                  <a:srgbClr val="333353"/>
                </a:solidFill>
                <a:ea typeface="Arial Unicode MS"/>
              </a:rPr>
              <a:t>no sea takimata sanctus est</a:t>
            </a:r>
          </a:p>
        </p:txBody>
      </p:sp>
      <p:sp>
        <p:nvSpPr>
          <p:cNvPr id="34" name="AutoShape 54">
            <a:extLst>
              <a:ext uri="{FF2B5EF4-FFF2-40B4-BE49-F238E27FC236}">
                <a16:creationId xmlns:a16="http://schemas.microsoft.com/office/drawing/2014/main" id="{9EEA8D0F-6CB5-44B7-A11B-54E2A3B4B9A0}"/>
              </a:ext>
            </a:extLst>
          </p:cNvPr>
          <p:cNvSpPr>
            <a:spLocks noChangeArrowheads="1"/>
          </p:cNvSpPr>
          <p:nvPr/>
        </p:nvSpPr>
        <p:spPr bwMode="auto">
          <a:xfrm rot="10800000" flipV="1">
            <a:off x="6674400" y="2135473"/>
            <a:ext cx="5110064" cy="823213"/>
          </a:xfrm>
          <a:prstGeom prst="homePlate">
            <a:avLst>
              <a:gd name="adj" fmla="val 35342"/>
            </a:avLst>
          </a:prstGeom>
          <a:solidFill>
            <a:srgbClr val="E5E5E9"/>
          </a:solidFill>
          <a:ln w="0">
            <a:noFill/>
          </a:ln>
          <a:effectLst/>
        </p:spPr>
        <p:txBody>
          <a:bodyPr lIns="1799063" tIns="71963" rIns="143925" bIns="71963" anchor="t" anchorCtr="0"/>
          <a:lstStyle/>
          <a:p>
            <a:pPr algn="r">
              <a:tabLst>
                <a:tab pos="0" algn="l"/>
              </a:tabLst>
            </a:pPr>
            <a:r>
              <a:rPr lang="en-US" sz="1399" b="1" dirty="0">
                <a:solidFill>
                  <a:schemeClr val="accent1"/>
                </a:solidFill>
                <a:ea typeface="Arial Unicode MS"/>
              </a:rPr>
              <a:t>Duis arcu tortor, suscipit eget</a:t>
            </a:r>
          </a:p>
          <a:p>
            <a:pPr algn="r">
              <a:spcBef>
                <a:spcPts val="300"/>
              </a:spcBef>
              <a:tabLst>
                <a:tab pos="0" algn="l"/>
              </a:tabLst>
            </a:pPr>
            <a:r>
              <a:rPr lang="en-US" sz="1399" dirty="0">
                <a:solidFill>
                  <a:srgbClr val="333353"/>
                </a:solidFill>
                <a:ea typeface="Arial Unicode MS"/>
              </a:rPr>
              <a:t>Stet clita kasd gubergren, </a:t>
            </a:r>
            <a:br>
              <a:rPr lang="en-US" sz="1399" dirty="0">
                <a:solidFill>
                  <a:srgbClr val="333353"/>
                </a:solidFill>
                <a:ea typeface="Arial Unicode MS"/>
              </a:rPr>
            </a:br>
            <a:r>
              <a:rPr lang="en-US" sz="1399" dirty="0">
                <a:solidFill>
                  <a:srgbClr val="333353"/>
                </a:solidFill>
                <a:ea typeface="Arial Unicode MS"/>
              </a:rPr>
              <a:t>no sea takimata sanctus est</a:t>
            </a:r>
          </a:p>
        </p:txBody>
      </p:sp>
      <p:sp>
        <p:nvSpPr>
          <p:cNvPr id="35" name="AutoShape 54">
            <a:extLst>
              <a:ext uri="{FF2B5EF4-FFF2-40B4-BE49-F238E27FC236}">
                <a16:creationId xmlns:a16="http://schemas.microsoft.com/office/drawing/2014/main" id="{4413647A-FE12-4489-99B9-1D735C77E619}"/>
              </a:ext>
            </a:extLst>
          </p:cNvPr>
          <p:cNvSpPr>
            <a:spLocks noChangeArrowheads="1"/>
          </p:cNvSpPr>
          <p:nvPr/>
        </p:nvSpPr>
        <p:spPr bwMode="auto">
          <a:xfrm flipH="1">
            <a:off x="6674400" y="4618181"/>
            <a:ext cx="5110064" cy="823213"/>
          </a:xfrm>
          <a:prstGeom prst="homePlate">
            <a:avLst>
              <a:gd name="adj" fmla="val 36431"/>
            </a:avLst>
          </a:prstGeom>
          <a:solidFill>
            <a:srgbClr val="E5E5E9"/>
          </a:solidFill>
          <a:ln w="0">
            <a:noFill/>
          </a:ln>
          <a:effectLst/>
        </p:spPr>
        <p:txBody>
          <a:bodyPr lIns="1799063" tIns="71963" rIns="143925" bIns="71963" anchor="t" anchorCtr="0"/>
          <a:lstStyle/>
          <a:p>
            <a:pPr algn="r">
              <a:tabLst>
                <a:tab pos="0" algn="l"/>
              </a:tabLst>
            </a:pPr>
            <a:r>
              <a:rPr lang="en-US" sz="1399" b="1" dirty="0">
                <a:solidFill>
                  <a:schemeClr val="accent1"/>
                </a:solidFill>
                <a:ea typeface="Arial Unicode MS"/>
              </a:rPr>
              <a:t>Stet clita kasd gubergren</a:t>
            </a:r>
          </a:p>
          <a:p>
            <a:pPr algn="r">
              <a:spcBef>
                <a:spcPts val="300"/>
              </a:spcBef>
              <a:tabLst>
                <a:tab pos="0" algn="l"/>
              </a:tabLst>
            </a:pPr>
            <a:r>
              <a:rPr lang="en-US" sz="1399" dirty="0">
                <a:solidFill>
                  <a:srgbClr val="333353"/>
                </a:solidFill>
                <a:ea typeface="Arial Unicode MS"/>
              </a:rPr>
              <a:t>Sea takimata sanctus est </a:t>
            </a:r>
            <a:br>
              <a:rPr lang="en-US" sz="1399" dirty="0">
                <a:solidFill>
                  <a:srgbClr val="333353"/>
                </a:solidFill>
                <a:ea typeface="Arial Unicode MS"/>
              </a:rPr>
            </a:br>
            <a:r>
              <a:rPr lang="en-US" sz="1399" dirty="0">
                <a:solidFill>
                  <a:srgbClr val="333353"/>
                </a:solidFill>
                <a:ea typeface="Arial Unicode MS"/>
              </a:rPr>
              <a:t>maecenas nec odio dolor sit amet</a:t>
            </a:r>
          </a:p>
        </p:txBody>
      </p:sp>
      <p:sp>
        <p:nvSpPr>
          <p:cNvPr id="36" name="AutoShape 54">
            <a:extLst>
              <a:ext uri="{FF2B5EF4-FFF2-40B4-BE49-F238E27FC236}">
                <a16:creationId xmlns:a16="http://schemas.microsoft.com/office/drawing/2014/main" id="{B1D3CB6A-84D7-4F84-8FBF-081AFCBE1367}"/>
              </a:ext>
            </a:extLst>
          </p:cNvPr>
          <p:cNvSpPr>
            <a:spLocks noChangeArrowheads="1"/>
          </p:cNvSpPr>
          <p:nvPr/>
        </p:nvSpPr>
        <p:spPr bwMode="auto">
          <a:xfrm flipH="1">
            <a:off x="7610638" y="3376827"/>
            <a:ext cx="4173826" cy="823213"/>
          </a:xfrm>
          <a:prstGeom prst="homePlate">
            <a:avLst>
              <a:gd name="adj" fmla="val 36430"/>
            </a:avLst>
          </a:prstGeom>
          <a:solidFill>
            <a:srgbClr val="E5E5E9"/>
          </a:solidFill>
          <a:ln w="0">
            <a:noFill/>
          </a:ln>
          <a:effectLst/>
        </p:spPr>
        <p:txBody>
          <a:bodyPr lIns="1079438" tIns="71963" rIns="143925" bIns="71963" anchor="t" anchorCtr="0"/>
          <a:lstStyle/>
          <a:p>
            <a:pPr algn="r">
              <a:tabLst>
                <a:tab pos="0" algn="l"/>
              </a:tabLst>
            </a:pPr>
            <a:r>
              <a:rPr lang="en-US" sz="1399" b="1" dirty="0">
                <a:solidFill>
                  <a:schemeClr val="accent1"/>
                </a:solidFill>
                <a:ea typeface="Arial Unicode MS"/>
              </a:rPr>
              <a:t>Crasmi eutestor suscipit ultricies</a:t>
            </a:r>
          </a:p>
          <a:p>
            <a:pPr algn="r">
              <a:spcBef>
                <a:spcPts val="300"/>
              </a:spcBef>
              <a:tabLst>
                <a:tab pos="0" algn="l"/>
              </a:tabLst>
            </a:pPr>
            <a:r>
              <a:rPr lang="en-US" sz="1399" dirty="0">
                <a:solidFill>
                  <a:srgbClr val="333353"/>
                </a:solidFill>
                <a:ea typeface="Arial Unicode MS"/>
              </a:rPr>
              <a:t>At kasd gubergren, no sea </a:t>
            </a:r>
            <a:br>
              <a:rPr lang="en-US" sz="1399" dirty="0">
                <a:solidFill>
                  <a:srgbClr val="333353"/>
                </a:solidFill>
                <a:ea typeface="Arial Unicode MS"/>
              </a:rPr>
            </a:br>
            <a:r>
              <a:rPr lang="en-US" sz="1399" dirty="0">
                <a:solidFill>
                  <a:srgbClr val="333353"/>
                </a:solidFill>
                <a:ea typeface="Arial Unicode MS"/>
              </a:rPr>
              <a:t>takimata sanctus vero eos</a:t>
            </a:r>
          </a:p>
        </p:txBody>
      </p:sp>
      <p:sp>
        <p:nvSpPr>
          <p:cNvPr id="2" name="Footer Placeholder 1">
            <a:extLst>
              <a:ext uri="{FF2B5EF4-FFF2-40B4-BE49-F238E27FC236}">
                <a16:creationId xmlns:a16="http://schemas.microsoft.com/office/drawing/2014/main" id="{11ECCFEF-C6B8-4A50-A5DE-64BBD1F252D7}"/>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B466BEB6-777D-46B2-AE33-60D2A4F779CF}"/>
              </a:ext>
            </a:extLst>
          </p:cNvPr>
          <p:cNvSpPr>
            <a:spLocks noGrp="1"/>
          </p:cNvSpPr>
          <p:nvPr>
            <p:ph type="sldNum" sz="quarter" idx="11"/>
          </p:nvPr>
        </p:nvSpPr>
        <p:spPr/>
        <p:txBody>
          <a:bodyPr/>
          <a:lstStyle/>
          <a:p>
            <a:r>
              <a:rPr lang="en-US" dirty="0"/>
              <a:t>Page </a:t>
            </a:r>
            <a:fld id="{15EBE321-CBB1-4E91-BD14-37C8D44326FB}" type="slidenum">
              <a:rPr lang="en-US" smtClean="0"/>
              <a:pPr/>
              <a:t>100</a:t>
            </a:fld>
            <a:endParaRPr lang="en-US" dirty="0"/>
          </a:p>
        </p:txBody>
      </p:sp>
      <p:sp>
        <p:nvSpPr>
          <p:cNvPr id="13" name="Freeform: Shape 12">
            <a:extLst>
              <a:ext uri="{FF2B5EF4-FFF2-40B4-BE49-F238E27FC236}">
                <a16:creationId xmlns:a16="http://schemas.microsoft.com/office/drawing/2014/main" id="{39F6071C-9B97-40EF-8779-CFFDB232C8AC}"/>
              </a:ext>
            </a:extLst>
          </p:cNvPr>
          <p:cNvSpPr/>
          <p:nvPr/>
        </p:nvSpPr>
        <p:spPr bwMode="gray">
          <a:xfrm>
            <a:off x="3722081" y="1414463"/>
            <a:ext cx="4752000" cy="4752000"/>
          </a:xfrm>
          <a:custGeom>
            <a:avLst/>
            <a:gdLst>
              <a:gd name="connsiteX0" fmla="*/ 2376000 w 4752000"/>
              <a:gd name="connsiteY0" fmla="*/ 288000 h 4752000"/>
              <a:gd name="connsiteX1" fmla="*/ 288000 w 4752000"/>
              <a:gd name="connsiteY1" fmla="*/ 2376000 h 4752000"/>
              <a:gd name="connsiteX2" fmla="*/ 2376000 w 4752000"/>
              <a:gd name="connsiteY2" fmla="*/ 4464000 h 4752000"/>
              <a:gd name="connsiteX3" fmla="*/ 4464000 w 4752000"/>
              <a:gd name="connsiteY3" fmla="*/ 2376000 h 4752000"/>
              <a:gd name="connsiteX4" fmla="*/ 2376000 w 4752000"/>
              <a:gd name="connsiteY4" fmla="*/ 288000 h 4752000"/>
              <a:gd name="connsiteX5" fmla="*/ 2376000 w 4752000"/>
              <a:gd name="connsiteY5" fmla="*/ 0 h 4752000"/>
              <a:gd name="connsiteX6" fmla="*/ 4752000 w 4752000"/>
              <a:gd name="connsiteY6" fmla="*/ 2376000 h 4752000"/>
              <a:gd name="connsiteX7" fmla="*/ 2376000 w 4752000"/>
              <a:gd name="connsiteY7" fmla="*/ 4752000 h 4752000"/>
              <a:gd name="connsiteX8" fmla="*/ 0 w 4752000"/>
              <a:gd name="connsiteY8" fmla="*/ 2376000 h 4752000"/>
              <a:gd name="connsiteX9" fmla="*/ 2376000 w 4752000"/>
              <a:gd name="connsiteY9" fmla="*/ 0 h 47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52000" h="4752000">
                <a:moveTo>
                  <a:pt x="2376000" y="288000"/>
                </a:moveTo>
                <a:cubicBezTo>
                  <a:pt x="1222829" y="288000"/>
                  <a:pt x="288000" y="1222830"/>
                  <a:pt x="288000" y="2376000"/>
                </a:cubicBezTo>
                <a:cubicBezTo>
                  <a:pt x="288000" y="3529170"/>
                  <a:pt x="1222829" y="4464000"/>
                  <a:pt x="2376000" y="4464000"/>
                </a:cubicBezTo>
                <a:cubicBezTo>
                  <a:pt x="3529171" y="4464000"/>
                  <a:pt x="4464000" y="3529170"/>
                  <a:pt x="4464000" y="2376000"/>
                </a:cubicBezTo>
                <a:cubicBezTo>
                  <a:pt x="4464000" y="1222830"/>
                  <a:pt x="3529171" y="288000"/>
                  <a:pt x="2376000" y="288000"/>
                </a:cubicBezTo>
                <a:close/>
                <a:moveTo>
                  <a:pt x="2376000" y="0"/>
                </a:moveTo>
                <a:cubicBezTo>
                  <a:pt x="3688229" y="0"/>
                  <a:pt x="4752000" y="1063772"/>
                  <a:pt x="4752000" y="2376000"/>
                </a:cubicBezTo>
                <a:cubicBezTo>
                  <a:pt x="4752000" y="3688228"/>
                  <a:pt x="3688229" y="4752000"/>
                  <a:pt x="2376000" y="4752000"/>
                </a:cubicBezTo>
                <a:cubicBezTo>
                  <a:pt x="1063771" y="4752000"/>
                  <a:pt x="0" y="3688228"/>
                  <a:pt x="0" y="2376000"/>
                </a:cubicBezTo>
                <a:cubicBezTo>
                  <a:pt x="0" y="1063772"/>
                  <a:pt x="1063771" y="0"/>
                  <a:pt x="2376000" y="0"/>
                </a:cubicBezTo>
                <a:close/>
              </a:path>
            </a:pathLst>
          </a:custGeom>
          <a:gradFill>
            <a:gsLst>
              <a:gs pos="0">
                <a:srgbClr val="00FFB9"/>
              </a:gs>
              <a:gs pos="100000">
                <a:srgbClr val="00E6DC"/>
              </a:gs>
            </a:gsLst>
            <a:lin ang="0" scaled="0"/>
          </a:gradFill>
          <a:ln>
            <a:noFill/>
          </a:ln>
          <a:effectLst/>
        </p:spPr>
        <p:txBody>
          <a:bodyPr wrap="square" lIns="683644" tIns="143925" rIns="683644" bIns="143925" numCol="1" spcCol="72000" rtlCol="0" anchor="ctr">
            <a:noAutofit/>
          </a:bodyPr>
          <a:lstStyle/>
          <a:p>
            <a:pPr algn="ctr">
              <a:lnSpc>
                <a:spcPct val="110000"/>
              </a:lnSpc>
              <a:spcBef>
                <a:spcPct val="0"/>
              </a:spcBef>
            </a:pPr>
            <a:r>
              <a:rPr lang="en-US" sz="1799" b="1" dirty="0">
                <a:solidFill>
                  <a:srgbClr val="66667E"/>
                </a:solidFill>
              </a:rPr>
              <a:t>At vero eos et </a:t>
            </a:r>
            <a:br>
              <a:rPr lang="en-US" sz="1799" b="1" dirty="0">
                <a:solidFill>
                  <a:srgbClr val="66667E"/>
                </a:solidFill>
              </a:rPr>
            </a:br>
            <a:r>
              <a:rPr lang="en-US" sz="1799" b="1" dirty="0">
                <a:solidFill>
                  <a:srgbClr val="66667E"/>
                </a:solidFill>
              </a:rPr>
              <a:t>accusam</a:t>
            </a:r>
          </a:p>
        </p:txBody>
      </p:sp>
    </p:spTree>
    <p:extLst>
      <p:ext uri="{BB962C8B-B14F-4D97-AF65-F5344CB8AC3E}">
        <p14:creationId xmlns:p14="http://schemas.microsoft.com/office/powerpoint/2010/main" val="361915280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a:t>Influence – alternative level sequence</a:t>
            </a:r>
          </a:p>
        </p:txBody>
      </p:sp>
      <p:sp>
        <p:nvSpPr>
          <p:cNvPr id="28" name="AutoShape 54">
            <a:extLst>
              <a:ext uri="{FF2B5EF4-FFF2-40B4-BE49-F238E27FC236}">
                <a16:creationId xmlns:a16="http://schemas.microsoft.com/office/drawing/2014/main" id="{ADC429C4-F2A9-452E-8F33-CC2E672DF41A}"/>
              </a:ext>
            </a:extLst>
          </p:cNvPr>
          <p:cNvSpPr>
            <a:spLocks noChangeArrowheads="1"/>
          </p:cNvSpPr>
          <p:nvPr/>
        </p:nvSpPr>
        <p:spPr bwMode="auto">
          <a:xfrm>
            <a:off x="410400" y="2135474"/>
            <a:ext cx="5110064" cy="823213"/>
          </a:xfrm>
          <a:prstGeom prst="homePlate">
            <a:avLst>
              <a:gd name="adj" fmla="val 34254"/>
            </a:avLst>
          </a:prstGeom>
          <a:solidFill>
            <a:srgbClr val="333353"/>
          </a:solidFill>
          <a:ln w="0">
            <a:noFill/>
          </a:ln>
          <a:effectLst/>
        </p:spPr>
        <p:txBody>
          <a:bodyPr lIns="143925" tIns="71963" rIns="1799063" bIns="71963" anchor="t" anchorCtr="0"/>
          <a:lstStyle/>
          <a:p>
            <a:pPr>
              <a:tabLst>
                <a:tab pos="0" algn="l"/>
              </a:tabLst>
            </a:pPr>
            <a:r>
              <a:rPr lang="en-US" sz="1399" b="1" dirty="0">
                <a:solidFill>
                  <a:srgbClr val="00FFB9"/>
                </a:solidFill>
                <a:ea typeface="Arial Unicode MS"/>
              </a:rPr>
              <a:t>Crasmi eu ultricies</a:t>
            </a:r>
          </a:p>
          <a:p>
            <a:pPr>
              <a:spcBef>
                <a:spcPts val="300"/>
              </a:spcBef>
              <a:tabLst>
                <a:tab pos="0" algn="l"/>
              </a:tabLst>
            </a:pPr>
            <a:r>
              <a:rPr lang="en-US" sz="1399" dirty="0">
                <a:solidFill>
                  <a:schemeClr val="tx2"/>
                </a:solidFill>
                <a:ea typeface="Arial Unicode MS"/>
              </a:rPr>
              <a:t>At vero eos clita gubergren dolore rerum, no sea takimata sanctus est</a:t>
            </a:r>
          </a:p>
        </p:txBody>
      </p:sp>
      <p:sp>
        <p:nvSpPr>
          <p:cNvPr id="32" name="AutoShape 54">
            <a:extLst>
              <a:ext uri="{FF2B5EF4-FFF2-40B4-BE49-F238E27FC236}">
                <a16:creationId xmlns:a16="http://schemas.microsoft.com/office/drawing/2014/main" id="{E7FB415A-240B-4073-BCE3-4947BE9ABDF4}"/>
              </a:ext>
            </a:extLst>
          </p:cNvPr>
          <p:cNvSpPr>
            <a:spLocks noChangeArrowheads="1"/>
          </p:cNvSpPr>
          <p:nvPr/>
        </p:nvSpPr>
        <p:spPr bwMode="auto">
          <a:xfrm>
            <a:off x="410400" y="4618181"/>
            <a:ext cx="5110064" cy="823213"/>
          </a:xfrm>
          <a:prstGeom prst="homePlate">
            <a:avLst>
              <a:gd name="adj" fmla="val 36431"/>
            </a:avLst>
          </a:prstGeom>
          <a:solidFill>
            <a:srgbClr val="333353"/>
          </a:solidFill>
          <a:ln w="0">
            <a:noFill/>
          </a:ln>
          <a:effectLst/>
        </p:spPr>
        <p:txBody>
          <a:bodyPr lIns="143925" tIns="71963" rIns="1799063" bIns="71963" anchor="t" anchorCtr="0"/>
          <a:lstStyle/>
          <a:p>
            <a:pPr>
              <a:tabLst>
                <a:tab pos="0" algn="l"/>
              </a:tabLst>
            </a:pPr>
            <a:r>
              <a:rPr lang="en-US" sz="1399" b="1" dirty="0">
                <a:solidFill>
                  <a:srgbClr val="00FFB9"/>
                </a:solidFill>
                <a:ea typeface="Arial Unicode MS"/>
              </a:rPr>
              <a:t>Crasmi clita kasd guber eu ultricies</a:t>
            </a:r>
          </a:p>
          <a:p>
            <a:pPr>
              <a:spcBef>
                <a:spcPts val="300"/>
              </a:spcBef>
              <a:tabLst>
                <a:tab pos="0" algn="l"/>
              </a:tabLst>
            </a:pPr>
            <a:r>
              <a:rPr lang="en-US" sz="1399" dirty="0">
                <a:solidFill>
                  <a:schemeClr val="tx2"/>
                </a:solidFill>
                <a:ea typeface="Arial Unicode MS"/>
              </a:rPr>
              <a:t>At takimata dolore sanctus est maecenas nec vero eos</a:t>
            </a:r>
          </a:p>
        </p:txBody>
      </p:sp>
      <p:sp>
        <p:nvSpPr>
          <p:cNvPr id="33" name="AutoShape 54">
            <a:extLst>
              <a:ext uri="{FF2B5EF4-FFF2-40B4-BE49-F238E27FC236}">
                <a16:creationId xmlns:a16="http://schemas.microsoft.com/office/drawing/2014/main" id="{666A20FA-BD97-4050-88C8-0932D7932180}"/>
              </a:ext>
            </a:extLst>
          </p:cNvPr>
          <p:cNvSpPr>
            <a:spLocks noChangeArrowheads="1"/>
          </p:cNvSpPr>
          <p:nvPr/>
        </p:nvSpPr>
        <p:spPr bwMode="auto">
          <a:xfrm>
            <a:off x="410400" y="3376827"/>
            <a:ext cx="4173826" cy="823213"/>
          </a:xfrm>
          <a:prstGeom prst="homePlate">
            <a:avLst>
              <a:gd name="adj" fmla="val 36431"/>
            </a:avLst>
          </a:prstGeom>
          <a:solidFill>
            <a:srgbClr val="333353"/>
          </a:solidFill>
          <a:ln w="0">
            <a:noFill/>
          </a:ln>
          <a:effectLst/>
        </p:spPr>
        <p:txBody>
          <a:bodyPr lIns="143925" tIns="71963" rIns="1079438" bIns="71963" anchor="t" anchorCtr="0"/>
          <a:lstStyle/>
          <a:p>
            <a:pPr>
              <a:tabLst>
                <a:tab pos="0" algn="l"/>
              </a:tabLst>
            </a:pPr>
            <a:r>
              <a:rPr lang="en-US" sz="1399" b="1" dirty="0">
                <a:solidFill>
                  <a:srgbClr val="00FFB9"/>
                </a:solidFill>
                <a:ea typeface="Arial Unicode MS"/>
              </a:rPr>
              <a:t>Duis arcu tortor, suscipit eget</a:t>
            </a:r>
          </a:p>
          <a:p>
            <a:pPr>
              <a:spcBef>
                <a:spcPts val="300"/>
              </a:spcBef>
              <a:tabLst>
                <a:tab pos="0" algn="l"/>
              </a:tabLst>
            </a:pPr>
            <a:r>
              <a:rPr lang="en-US" sz="1399" dirty="0">
                <a:solidFill>
                  <a:schemeClr val="tx2"/>
                </a:solidFill>
                <a:ea typeface="Arial Unicode MS"/>
              </a:rPr>
              <a:t>Stet clita kasd gubergren, </a:t>
            </a:r>
            <a:br>
              <a:rPr lang="en-US" sz="1399" dirty="0">
                <a:solidFill>
                  <a:schemeClr val="tx2"/>
                </a:solidFill>
                <a:ea typeface="Arial Unicode MS"/>
              </a:rPr>
            </a:br>
            <a:r>
              <a:rPr lang="en-US" sz="1399" dirty="0">
                <a:solidFill>
                  <a:schemeClr val="tx2"/>
                </a:solidFill>
                <a:ea typeface="Arial Unicode MS"/>
              </a:rPr>
              <a:t>no sea takimata sanctus est</a:t>
            </a:r>
          </a:p>
        </p:txBody>
      </p:sp>
      <p:sp>
        <p:nvSpPr>
          <p:cNvPr id="34" name="AutoShape 54">
            <a:extLst>
              <a:ext uri="{FF2B5EF4-FFF2-40B4-BE49-F238E27FC236}">
                <a16:creationId xmlns:a16="http://schemas.microsoft.com/office/drawing/2014/main" id="{9EEA8D0F-6CB5-44B7-A11B-54E2A3B4B9A0}"/>
              </a:ext>
            </a:extLst>
          </p:cNvPr>
          <p:cNvSpPr>
            <a:spLocks noChangeArrowheads="1"/>
          </p:cNvSpPr>
          <p:nvPr/>
        </p:nvSpPr>
        <p:spPr bwMode="auto">
          <a:xfrm rot="10800000" flipV="1">
            <a:off x="6674400" y="2135473"/>
            <a:ext cx="5110064" cy="823213"/>
          </a:xfrm>
          <a:prstGeom prst="homePlate">
            <a:avLst>
              <a:gd name="adj" fmla="val 35342"/>
            </a:avLst>
          </a:prstGeom>
          <a:solidFill>
            <a:srgbClr val="333353"/>
          </a:solidFill>
          <a:ln w="0">
            <a:noFill/>
          </a:ln>
          <a:effectLst/>
        </p:spPr>
        <p:txBody>
          <a:bodyPr lIns="1799063" tIns="71963" rIns="143925" bIns="71963" anchor="t" anchorCtr="0"/>
          <a:lstStyle/>
          <a:p>
            <a:pPr algn="r">
              <a:tabLst>
                <a:tab pos="0" algn="l"/>
              </a:tabLst>
            </a:pPr>
            <a:r>
              <a:rPr lang="en-US" sz="1399" b="1" dirty="0">
                <a:solidFill>
                  <a:srgbClr val="00FFB9"/>
                </a:solidFill>
                <a:ea typeface="Arial Unicode MS"/>
              </a:rPr>
              <a:t>Duis arcu tortor, suscipit eget</a:t>
            </a:r>
          </a:p>
          <a:p>
            <a:pPr algn="r">
              <a:spcBef>
                <a:spcPts val="300"/>
              </a:spcBef>
              <a:tabLst>
                <a:tab pos="0" algn="l"/>
              </a:tabLst>
            </a:pPr>
            <a:r>
              <a:rPr lang="en-US" sz="1399" dirty="0">
                <a:solidFill>
                  <a:schemeClr val="tx2"/>
                </a:solidFill>
                <a:ea typeface="Arial Unicode MS"/>
              </a:rPr>
              <a:t>Stet clita kasd gubergren, </a:t>
            </a:r>
            <a:br>
              <a:rPr lang="en-US" sz="1399" dirty="0">
                <a:solidFill>
                  <a:schemeClr val="tx2"/>
                </a:solidFill>
                <a:ea typeface="Arial Unicode MS"/>
              </a:rPr>
            </a:br>
            <a:r>
              <a:rPr lang="en-US" sz="1399" dirty="0">
                <a:solidFill>
                  <a:schemeClr val="tx2"/>
                </a:solidFill>
                <a:ea typeface="Arial Unicode MS"/>
              </a:rPr>
              <a:t>no sea takimata sanctus est</a:t>
            </a:r>
          </a:p>
        </p:txBody>
      </p:sp>
      <p:sp>
        <p:nvSpPr>
          <p:cNvPr id="35" name="AutoShape 54">
            <a:extLst>
              <a:ext uri="{FF2B5EF4-FFF2-40B4-BE49-F238E27FC236}">
                <a16:creationId xmlns:a16="http://schemas.microsoft.com/office/drawing/2014/main" id="{4413647A-FE12-4489-99B9-1D735C77E619}"/>
              </a:ext>
            </a:extLst>
          </p:cNvPr>
          <p:cNvSpPr>
            <a:spLocks noChangeArrowheads="1"/>
          </p:cNvSpPr>
          <p:nvPr/>
        </p:nvSpPr>
        <p:spPr bwMode="auto">
          <a:xfrm flipH="1">
            <a:off x="6674400" y="4618181"/>
            <a:ext cx="5110064" cy="823213"/>
          </a:xfrm>
          <a:prstGeom prst="homePlate">
            <a:avLst>
              <a:gd name="adj" fmla="val 36431"/>
            </a:avLst>
          </a:prstGeom>
          <a:solidFill>
            <a:srgbClr val="333353"/>
          </a:solidFill>
          <a:ln w="0">
            <a:noFill/>
          </a:ln>
          <a:effectLst/>
        </p:spPr>
        <p:txBody>
          <a:bodyPr lIns="1799063" tIns="71963" rIns="143925" bIns="71963" anchor="t" anchorCtr="0"/>
          <a:lstStyle/>
          <a:p>
            <a:pPr algn="r">
              <a:tabLst>
                <a:tab pos="0" algn="l"/>
              </a:tabLst>
            </a:pPr>
            <a:r>
              <a:rPr lang="en-US" sz="1399" b="1" dirty="0">
                <a:solidFill>
                  <a:srgbClr val="00FFB9"/>
                </a:solidFill>
                <a:ea typeface="Arial Unicode MS"/>
              </a:rPr>
              <a:t>Stet clita kasd gubergren</a:t>
            </a:r>
          </a:p>
          <a:p>
            <a:pPr algn="r">
              <a:spcBef>
                <a:spcPts val="300"/>
              </a:spcBef>
              <a:tabLst>
                <a:tab pos="0" algn="l"/>
              </a:tabLst>
            </a:pPr>
            <a:r>
              <a:rPr lang="en-US" sz="1399" dirty="0">
                <a:solidFill>
                  <a:schemeClr val="tx2"/>
                </a:solidFill>
                <a:ea typeface="Arial Unicode MS"/>
              </a:rPr>
              <a:t>Sea takimata sanctus est </a:t>
            </a:r>
            <a:br>
              <a:rPr lang="en-US" sz="1399" dirty="0">
                <a:solidFill>
                  <a:schemeClr val="tx2"/>
                </a:solidFill>
                <a:ea typeface="Arial Unicode MS"/>
              </a:rPr>
            </a:br>
            <a:r>
              <a:rPr lang="en-US" sz="1399" dirty="0">
                <a:solidFill>
                  <a:schemeClr val="tx2"/>
                </a:solidFill>
                <a:ea typeface="Arial Unicode MS"/>
              </a:rPr>
              <a:t>maecenas nec odio dolor sit amet</a:t>
            </a:r>
          </a:p>
        </p:txBody>
      </p:sp>
      <p:sp>
        <p:nvSpPr>
          <p:cNvPr id="36" name="AutoShape 54">
            <a:extLst>
              <a:ext uri="{FF2B5EF4-FFF2-40B4-BE49-F238E27FC236}">
                <a16:creationId xmlns:a16="http://schemas.microsoft.com/office/drawing/2014/main" id="{B1D3CB6A-84D7-4F84-8FBF-081AFCBE1367}"/>
              </a:ext>
            </a:extLst>
          </p:cNvPr>
          <p:cNvSpPr>
            <a:spLocks noChangeArrowheads="1"/>
          </p:cNvSpPr>
          <p:nvPr/>
        </p:nvSpPr>
        <p:spPr bwMode="auto">
          <a:xfrm flipH="1">
            <a:off x="7610638" y="3376827"/>
            <a:ext cx="4173826" cy="823213"/>
          </a:xfrm>
          <a:prstGeom prst="homePlate">
            <a:avLst>
              <a:gd name="adj" fmla="val 36430"/>
            </a:avLst>
          </a:prstGeom>
          <a:solidFill>
            <a:srgbClr val="333353"/>
          </a:solidFill>
          <a:ln w="0">
            <a:noFill/>
          </a:ln>
          <a:effectLst/>
        </p:spPr>
        <p:txBody>
          <a:bodyPr lIns="1079438" tIns="71963" rIns="143925" bIns="71963" anchor="t" anchorCtr="0"/>
          <a:lstStyle/>
          <a:p>
            <a:pPr algn="r">
              <a:tabLst>
                <a:tab pos="0" algn="l"/>
              </a:tabLst>
            </a:pPr>
            <a:r>
              <a:rPr lang="en-US" sz="1399" b="1" dirty="0">
                <a:solidFill>
                  <a:srgbClr val="00FFB9"/>
                </a:solidFill>
                <a:ea typeface="Arial Unicode MS"/>
              </a:rPr>
              <a:t>Crasmi eutestor suscipit ultricies</a:t>
            </a:r>
          </a:p>
          <a:p>
            <a:pPr algn="r">
              <a:spcBef>
                <a:spcPts val="300"/>
              </a:spcBef>
              <a:tabLst>
                <a:tab pos="0" algn="l"/>
              </a:tabLst>
            </a:pPr>
            <a:r>
              <a:rPr lang="en-US" sz="1399" dirty="0">
                <a:solidFill>
                  <a:schemeClr val="tx2"/>
                </a:solidFill>
                <a:ea typeface="Arial Unicode MS"/>
              </a:rPr>
              <a:t>At kasd gubergren, no sea </a:t>
            </a:r>
            <a:br>
              <a:rPr lang="en-US" sz="1399" dirty="0">
                <a:solidFill>
                  <a:schemeClr val="tx2"/>
                </a:solidFill>
                <a:ea typeface="Arial Unicode MS"/>
              </a:rPr>
            </a:br>
            <a:r>
              <a:rPr lang="en-US" sz="1399" dirty="0">
                <a:solidFill>
                  <a:schemeClr val="tx2"/>
                </a:solidFill>
                <a:ea typeface="Arial Unicode MS"/>
              </a:rPr>
              <a:t>takimata sanctus vero eos</a:t>
            </a:r>
          </a:p>
        </p:txBody>
      </p:sp>
      <p:sp>
        <p:nvSpPr>
          <p:cNvPr id="2" name="Footer Placeholder 1">
            <a:extLst>
              <a:ext uri="{FF2B5EF4-FFF2-40B4-BE49-F238E27FC236}">
                <a16:creationId xmlns:a16="http://schemas.microsoft.com/office/drawing/2014/main" id="{F4755918-265F-4916-A5F9-32F64C7E697A}"/>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423F30A4-E55E-4836-8EC8-92D3CEF97B26}"/>
              </a:ext>
            </a:extLst>
          </p:cNvPr>
          <p:cNvSpPr>
            <a:spLocks noGrp="1"/>
          </p:cNvSpPr>
          <p:nvPr>
            <p:ph type="sldNum" sz="quarter" idx="11"/>
          </p:nvPr>
        </p:nvSpPr>
        <p:spPr/>
        <p:txBody>
          <a:bodyPr/>
          <a:lstStyle/>
          <a:p>
            <a:r>
              <a:rPr lang="en-US" dirty="0"/>
              <a:t>Page </a:t>
            </a:r>
            <a:fld id="{15EBE321-CBB1-4E91-BD14-37C8D44326FB}" type="slidenum">
              <a:rPr lang="en-US" smtClean="0"/>
              <a:pPr/>
              <a:t>101</a:t>
            </a:fld>
            <a:endParaRPr lang="en-US" dirty="0"/>
          </a:p>
        </p:txBody>
      </p:sp>
      <p:sp>
        <p:nvSpPr>
          <p:cNvPr id="12" name="Freeform: Shape 11">
            <a:extLst>
              <a:ext uri="{FF2B5EF4-FFF2-40B4-BE49-F238E27FC236}">
                <a16:creationId xmlns:a16="http://schemas.microsoft.com/office/drawing/2014/main" id="{AA823415-15D4-4B69-AB29-433DF129D105}"/>
              </a:ext>
            </a:extLst>
          </p:cNvPr>
          <p:cNvSpPr/>
          <p:nvPr/>
        </p:nvSpPr>
        <p:spPr bwMode="gray">
          <a:xfrm>
            <a:off x="3722081" y="1414463"/>
            <a:ext cx="4752000" cy="4752000"/>
          </a:xfrm>
          <a:custGeom>
            <a:avLst/>
            <a:gdLst>
              <a:gd name="connsiteX0" fmla="*/ 2376000 w 4752000"/>
              <a:gd name="connsiteY0" fmla="*/ 288000 h 4752000"/>
              <a:gd name="connsiteX1" fmla="*/ 288000 w 4752000"/>
              <a:gd name="connsiteY1" fmla="*/ 2376000 h 4752000"/>
              <a:gd name="connsiteX2" fmla="*/ 2376000 w 4752000"/>
              <a:gd name="connsiteY2" fmla="*/ 4464000 h 4752000"/>
              <a:gd name="connsiteX3" fmla="*/ 4464000 w 4752000"/>
              <a:gd name="connsiteY3" fmla="*/ 2376000 h 4752000"/>
              <a:gd name="connsiteX4" fmla="*/ 2376000 w 4752000"/>
              <a:gd name="connsiteY4" fmla="*/ 288000 h 4752000"/>
              <a:gd name="connsiteX5" fmla="*/ 2376000 w 4752000"/>
              <a:gd name="connsiteY5" fmla="*/ 0 h 4752000"/>
              <a:gd name="connsiteX6" fmla="*/ 4752000 w 4752000"/>
              <a:gd name="connsiteY6" fmla="*/ 2376000 h 4752000"/>
              <a:gd name="connsiteX7" fmla="*/ 2376000 w 4752000"/>
              <a:gd name="connsiteY7" fmla="*/ 4752000 h 4752000"/>
              <a:gd name="connsiteX8" fmla="*/ 0 w 4752000"/>
              <a:gd name="connsiteY8" fmla="*/ 2376000 h 4752000"/>
              <a:gd name="connsiteX9" fmla="*/ 2376000 w 4752000"/>
              <a:gd name="connsiteY9" fmla="*/ 0 h 47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52000" h="4752000">
                <a:moveTo>
                  <a:pt x="2376000" y="288000"/>
                </a:moveTo>
                <a:cubicBezTo>
                  <a:pt x="1222829" y="288000"/>
                  <a:pt x="288000" y="1222830"/>
                  <a:pt x="288000" y="2376000"/>
                </a:cubicBezTo>
                <a:cubicBezTo>
                  <a:pt x="288000" y="3529170"/>
                  <a:pt x="1222829" y="4464000"/>
                  <a:pt x="2376000" y="4464000"/>
                </a:cubicBezTo>
                <a:cubicBezTo>
                  <a:pt x="3529171" y="4464000"/>
                  <a:pt x="4464000" y="3529170"/>
                  <a:pt x="4464000" y="2376000"/>
                </a:cubicBezTo>
                <a:cubicBezTo>
                  <a:pt x="4464000" y="1222830"/>
                  <a:pt x="3529171" y="288000"/>
                  <a:pt x="2376000" y="288000"/>
                </a:cubicBezTo>
                <a:close/>
                <a:moveTo>
                  <a:pt x="2376000" y="0"/>
                </a:moveTo>
                <a:cubicBezTo>
                  <a:pt x="3688229" y="0"/>
                  <a:pt x="4752000" y="1063772"/>
                  <a:pt x="4752000" y="2376000"/>
                </a:cubicBezTo>
                <a:cubicBezTo>
                  <a:pt x="4752000" y="3688228"/>
                  <a:pt x="3688229" y="4752000"/>
                  <a:pt x="2376000" y="4752000"/>
                </a:cubicBezTo>
                <a:cubicBezTo>
                  <a:pt x="1063771" y="4752000"/>
                  <a:pt x="0" y="3688228"/>
                  <a:pt x="0" y="2376000"/>
                </a:cubicBezTo>
                <a:cubicBezTo>
                  <a:pt x="0" y="1063772"/>
                  <a:pt x="1063771" y="0"/>
                  <a:pt x="2376000" y="0"/>
                </a:cubicBezTo>
                <a:close/>
              </a:path>
            </a:pathLst>
          </a:custGeom>
          <a:gradFill>
            <a:gsLst>
              <a:gs pos="0">
                <a:srgbClr val="00FFB9"/>
              </a:gs>
              <a:gs pos="100000">
                <a:srgbClr val="00E6DC"/>
              </a:gs>
            </a:gsLst>
            <a:lin ang="0" scaled="0"/>
          </a:gradFill>
          <a:ln>
            <a:noFill/>
          </a:ln>
          <a:effectLst/>
        </p:spPr>
        <p:txBody>
          <a:bodyPr wrap="square" lIns="683644" tIns="143925" rIns="683644" bIns="143925" numCol="1" spcCol="72000" rtlCol="0" anchor="ctr">
            <a:noAutofit/>
          </a:bodyPr>
          <a:lstStyle/>
          <a:p>
            <a:pPr algn="ctr">
              <a:lnSpc>
                <a:spcPct val="110000"/>
              </a:lnSpc>
              <a:spcBef>
                <a:spcPct val="0"/>
              </a:spcBef>
            </a:pPr>
            <a:r>
              <a:rPr lang="en-US" sz="1799" b="1" dirty="0">
                <a:solidFill>
                  <a:srgbClr val="9999A9"/>
                </a:solidFill>
              </a:rPr>
              <a:t>At vero eos et </a:t>
            </a:r>
            <a:br>
              <a:rPr lang="en-US" sz="1799" b="1" dirty="0">
                <a:solidFill>
                  <a:srgbClr val="9999A9"/>
                </a:solidFill>
              </a:rPr>
            </a:br>
            <a:r>
              <a:rPr lang="en-US" sz="1799" b="1" dirty="0">
                <a:solidFill>
                  <a:srgbClr val="9999A9"/>
                </a:solidFill>
              </a:rPr>
              <a:t>accusam</a:t>
            </a:r>
          </a:p>
        </p:txBody>
      </p:sp>
    </p:spTree>
    <p:extLst>
      <p:ext uri="{BB962C8B-B14F-4D97-AF65-F5344CB8AC3E}">
        <p14:creationId xmlns:p14="http://schemas.microsoft.com/office/powerpoint/2010/main" val="2421015190"/>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Arc 25">
            <a:extLst>
              <a:ext uri="{FF2B5EF4-FFF2-40B4-BE49-F238E27FC236}">
                <a16:creationId xmlns:a16="http://schemas.microsoft.com/office/drawing/2014/main" id="{5597043D-AC90-B943-8A4A-95376BC57353}"/>
              </a:ext>
            </a:extLst>
          </p:cNvPr>
          <p:cNvSpPr/>
          <p:nvPr/>
        </p:nvSpPr>
        <p:spPr bwMode="auto">
          <a:xfrm>
            <a:off x="4803175" y="2426942"/>
            <a:ext cx="2592000" cy="2592000"/>
          </a:xfrm>
          <a:prstGeom prst="arc">
            <a:avLst>
              <a:gd name="adj1" fmla="val 21569410"/>
              <a:gd name="adj2" fmla="val 10843973"/>
            </a:avLst>
          </a:prstGeom>
          <a:noFill/>
          <a:ln w="12700" cap="flat" cmpd="sng" algn="ctr">
            <a:solidFill>
              <a:srgbClr val="66667E"/>
            </a:solidFill>
            <a:prstDash val="dash"/>
            <a:round/>
            <a:headEnd type="none" w="lg" len="lg"/>
            <a:tailEnd type="none" w="lg" len="lg"/>
          </a:ln>
          <a:effectLst/>
        </p:spPr>
        <p:txBody>
          <a:bodyPr rtlCol="0" anchor="ctr"/>
          <a:lstStyle/>
          <a:p>
            <a:pPr algn="ctr"/>
            <a:endParaRPr lang="en-US" dirty="0"/>
          </a:p>
        </p:txBody>
      </p:sp>
      <p:sp>
        <p:nvSpPr>
          <p:cNvPr id="54" name="Arc 21">
            <a:extLst>
              <a:ext uri="{FF2B5EF4-FFF2-40B4-BE49-F238E27FC236}">
                <a16:creationId xmlns:a16="http://schemas.microsoft.com/office/drawing/2014/main" id="{B449CAB5-073A-DD4E-9A57-0C4234E1F8B4}"/>
              </a:ext>
            </a:extLst>
          </p:cNvPr>
          <p:cNvSpPr/>
          <p:nvPr/>
        </p:nvSpPr>
        <p:spPr bwMode="auto">
          <a:xfrm>
            <a:off x="7395175" y="2426942"/>
            <a:ext cx="2592000" cy="2592000"/>
          </a:xfrm>
          <a:prstGeom prst="arc">
            <a:avLst>
              <a:gd name="adj1" fmla="val 10812740"/>
              <a:gd name="adj2" fmla="val 0"/>
            </a:avLst>
          </a:prstGeom>
          <a:noFill/>
          <a:ln w="12700" cap="flat" cmpd="sng" algn="ctr">
            <a:solidFill>
              <a:srgbClr val="66667E"/>
            </a:solidFill>
            <a:prstDash val="dash"/>
            <a:round/>
            <a:headEnd type="none" w="lg" len="lg"/>
            <a:tailEnd type="none" w="lg" len="lg"/>
          </a:ln>
          <a:effectLst/>
        </p:spPr>
        <p:txBody>
          <a:bodyPr rtlCol="0" anchor="ctr"/>
          <a:lstStyle/>
          <a:p>
            <a:pPr algn="ctr"/>
            <a:endParaRPr lang="en-US" dirty="0"/>
          </a:p>
        </p:txBody>
      </p:sp>
      <p:sp>
        <p:nvSpPr>
          <p:cNvPr id="61" name="Arc 26">
            <a:extLst>
              <a:ext uri="{FF2B5EF4-FFF2-40B4-BE49-F238E27FC236}">
                <a16:creationId xmlns:a16="http://schemas.microsoft.com/office/drawing/2014/main" id="{2592B0AC-DAC7-6644-AAB0-B2FFD350DF26}"/>
              </a:ext>
            </a:extLst>
          </p:cNvPr>
          <p:cNvSpPr/>
          <p:nvPr/>
        </p:nvSpPr>
        <p:spPr bwMode="auto">
          <a:xfrm>
            <a:off x="2211175" y="2426942"/>
            <a:ext cx="2592000" cy="2592000"/>
          </a:xfrm>
          <a:prstGeom prst="arc">
            <a:avLst>
              <a:gd name="adj1" fmla="val 10837662"/>
              <a:gd name="adj2" fmla="val 21537656"/>
            </a:avLst>
          </a:prstGeom>
          <a:noFill/>
          <a:ln w="12700" cap="flat" cmpd="sng" algn="ctr">
            <a:solidFill>
              <a:srgbClr val="66667E"/>
            </a:solidFill>
            <a:prstDash val="dash"/>
            <a:round/>
            <a:headEnd type="none" w="lg" len="lg"/>
            <a:tailEnd type="none" w="lg" len="lg"/>
          </a:ln>
          <a:effectLst/>
        </p:spPr>
        <p:txBody>
          <a:bodyPr rtlCol="0" anchor="ctr"/>
          <a:lstStyle/>
          <a:p>
            <a:pPr algn="ctr"/>
            <a:endParaRPr lang="en-US" dirty="0"/>
          </a:p>
        </p:txBody>
      </p:sp>
      <p:sp>
        <p:nvSpPr>
          <p:cNvPr id="9" name="Titel 8">
            <a:extLst>
              <a:ext uri="{FF2B5EF4-FFF2-40B4-BE49-F238E27FC236}">
                <a16:creationId xmlns:a16="http://schemas.microsoft.com/office/drawing/2014/main" id="{30916218-0FE7-DA40-850A-7231E8C46B1B}"/>
              </a:ext>
            </a:extLst>
          </p:cNvPr>
          <p:cNvSpPr>
            <a:spLocks noGrp="1"/>
          </p:cNvSpPr>
          <p:nvPr>
            <p:ph type="title"/>
          </p:nvPr>
        </p:nvSpPr>
        <p:spPr/>
        <p:txBody>
          <a:bodyPr/>
          <a:lstStyle/>
          <a:p>
            <a:r>
              <a:rPr lang="en-US" dirty="0"/>
              <a:t>Agile process</a:t>
            </a:r>
            <a:endParaRPr lang="de-DE" dirty="0"/>
          </a:p>
        </p:txBody>
      </p:sp>
      <p:sp>
        <p:nvSpPr>
          <p:cNvPr id="2" name="Fußzeilenplatzhalter 1">
            <a:extLst>
              <a:ext uri="{FF2B5EF4-FFF2-40B4-BE49-F238E27FC236}">
                <a16:creationId xmlns:a16="http://schemas.microsoft.com/office/drawing/2014/main" id="{1CE325B1-8125-E44D-A27F-737867CA9DBA}"/>
              </a:ext>
            </a:extLst>
          </p:cNvPr>
          <p:cNvSpPr>
            <a:spLocks noGrp="1"/>
          </p:cNvSpPr>
          <p:nvPr>
            <p:ph type="ftr" sz="quarter" idx="10"/>
          </p:nvPr>
        </p:nvSpPr>
        <p:spPr/>
        <p:txBody>
          <a:bodyPr/>
          <a:lstStyle/>
          <a:p>
            <a:r>
              <a:rPr lang="en-US" dirty="0"/>
              <a:t>Restricted | © Siemens 20XX | Author | Department | YYYY-MM-DD</a:t>
            </a:r>
          </a:p>
        </p:txBody>
      </p:sp>
      <p:sp>
        <p:nvSpPr>
          <p:cNvPr id="3" name="Foliennummernplatzhalter 2">
            <a:extLst>
              <a:ext uri="{FF2B5EF4-FFF2-40B4-BE49-F238E27FC236}">
                <a16:creationId xmlns:a16="http://schemas.microsoft.com/office/drawing/2014/main" id="{2A126A37-16BB-3C4F-8277-8EA97E2C6DC3}"/>
              </a:ext>
            </a:extLst>
          </p:cNvPr>
          <p:cNvSpPr>
            <a:spLocks noGrp="1"/>
          </p:cNvSpPr>
          <p:nvPr>
            <p:ph type="sldNum" sz="quarter" idx="11"/>
          </p:nvPr>
        </p:nvSpPr>
        <p:spPr/>
        <p:txBody>
          <a:bodyPr/>
          <a:lstStyle/>
          <a:p>
            <a:r>
              <a:rPr lang="en-US" dirty="0"/>
              <a:t>Page </a:t>
            </a:r>
            <a:fld id="{15EBE321-CBB1-4E91-BD14-37C8D44326FB}" type="slidenum">
              <a:rPr lang="en-US" smtClean="0"/>
              <a:pPr/>
              <a:t>102</a:t>
            </a:fld>
            <a:endParaRPr lang="en-US" dirty="0"/>
          </a:p>
        </p:txBody>
      </p:sp>
      <p:sp>
        <p:nvSpPr>
          <p:cNvPr id="55" name="Freeform 48">
            <a:extLst>
              <a:ext uri="{FF2B5EF4-FFF2-40B4-BE49-F238E27FC236}">
                <a16:creationId xmlns:a16="http://schemas.microsoft.com/office/drawing/2014/main" id="{71CF7DD7-983D-6843-A5A3-B20EE1215DDD}"/>
              </a:ext>
            </a:extLst>
          </p:cNvPr>
          <p:cNvSpPr>
            <a:spLocks/>
          </p:cNvSpPr>
          <p:nvPr/>
        </p:nvSpPr>
        <p:spPr bwMode="auto">
          <a:xfrm>
            <a:off x="2787175" y="3002942"/>
            <a:ext cx="1440000" cy="1440000"/>
          </a:xfrm>
          <a:prstGeom prst="ellipse">
            <a:avLst/>
          </a:prstGeom>
          <a:solidFill>
            <a:srgbClr val="E5E5E9"/>
          </a:solidFill>
          <a:ln>
            <a:noFill/>
          </a:ln>
        </p:spPr>
        <p:txBody>
          <a:bodyPr vert="horz" wrap="square" lIns="0" tIns="0" rIns="0" bIns="0" numCol="1" anchor="ctr" anchorCtr="0" compatLnSpc="1">
            <a:prstTxWarp prst="textNoShape">
              <a:avLst/>
            </a:prstTxWarp>
          </a:bodyPr>
          <a:lstStyle/>
          <a:p>
            <a:pPr algn="ctr">
              <a:spcBef>
                <a:spcPts val="0"/>
              </a:spcBef>
            </a:pPr>
            <a:r>
              <a:rPr lang="en-US" sz="1600" b="1" dirty="0">
                <a:solidFill>
                  <a:srgbClr val="333353"/>
                </a:solidFill>
              </a:rPr>
              <a:t>Discover</a:t>
            </a:r>
          </a:p>
        </p:txBody>
      </p:sp>
      <p:sp>
        <p:nvSpPr>
          <p:cNvPr id="56" name="Freeform 48">
            <a:extLst>
              <a:ext uri="{FF2B5EF4-FFF2-40B4-BE49-F238E27FC236}">
                <a16:creationId xmlns:a16="http://schemas.microsoft.com/office/drawing/2014/main" id="{FEC88866-2A6D-6F4C-AA32-C5F246771F18}"/>
              </a:ext>
            </a:extLst>
          </p:cNvPr>
          <p:cNvSpPr>
            <a:spLocks/>
          </p:cNvSpPr>
          <p:nvPr/>
        </p:nvSpPr>
        <p:spPr bwMode="auto">
          <a:xfrm>
            <a:off x="5379175" y="3002942"/>
            <a:ext cx="1440000" cy="1440000"/>
          </a:xfrm>
          <a:prstGeom prst="ellipse">
            <a:avLst/>
          </a:prstGeom>
          <a:solidFill>
            <a:srgbClr val="E5E5E9"/>
          </a:solidFill>
          <a:ln>
            <a:noFill/>
          </a:ln>
        </p:spPr>
        <p:txBody>
          <a:bodyPr vert="horz" wrap="square" lIns="0" tIns="0" rIns="0" bIns="0" numCol="1" anchor="ctr" anchorCtr="0" compatLnSpc="1">
            <a:prstTxWarp prst="textNoShape">
              <a:avLst/>
            </a:prstTxWarp>
          </a:bodyPr>
          <a:lstStyle/>
          <a:p>
            <a:pPr algn="ctr">
              <a:spcBef>
                <a:spcPts val="0"/>
              </a:spcBef>
            </a:pPr>
            <a:r>
              <a:rPr lang="en-US" sz="1600" b="1" dirty="0">
                <a:solidFill>
                  <a:srgbClr val="333353"/>
                </a:solidFill>
              </a:rPr>
              <a:t>Design</a:t>
            </a:r>
          </a:p>
        </p:txBody>
      </p:sp>
      <p:sp>
        <p:nvSpPr>
          <p:cNvPr id="57" name="Freeform 48">
            <a:extLst>
              <a:ext uri="{FF2B5EF4-FFF2-40B4-BE49-F238E27FC236}">
                <a16:creationId xmlns:a16="http://schemas.microsoft.com/office/drawing/2014/main" id="{38E7FB6F-78F8-3C41-B5F8-51B7087A8F4B}"/>
              </a:ext>
            </a:extLst>
          </p:cNvPr>
          <p:cNvSpPr>
            <a:spLocks/>
          </p:cNvSpPr>
          <p:nvPr/>
        </p:nvSpPr>
        <p:spPr bwMode="auto">
          <a:xfrm>
            <a:off x="7971175" y="3002942"/>
            <a:ext cx="1440000" cy="1440000"/>
          </a:xfrm>
          <a:prstGeom prst="ellipse">
            <a:avLst/>
          </a:prstGeom>
          <a:solidFill>
            <a:srgbClr val="E5E5E9"/>
          </a:solidFill>
          <a:ln>
            <a:noFill/>
          </a:ln>
        </p:spPr>
        <p:txBody>
          <a:bodyPr vert="horz" wrap="square" lIns="0" tIns="0" rIns="0" bIns="0" numCol="1" anchor="ctr" anchorCtr="0" compatLnSpc="1">
            <a:prstTxWarp prst="textNoShape">
              <a:avLst/>
            </a:prstTxWarp>
          </a:bodyPr>
          <a:lstStyle/>
          <a:p>
            <a:pPr algn="ctr">
              <a:spcBef>
                <a:spcPts val="0"/>
              </a:spcBef>
            </a:pPr>
            <a:r>
              <a:rPr lang="en-US" sz="1600" b="1" dirty="0">
                <a:solidFill>
                  <a:srgbClr val="333353"/>
                </a:solidFill>
              </a:rPr>
              <a:t>Deliver</a:t>
            </a:r>
          </a:p>
        </p:txBody>
      </p:sp>
      <p:sp>
        <p:nvSpPr>
          <p:cNvPr id="58" name="Arc 1">
            <a:extLst>
              <a:ext uri="{FF2B5EF4-FFF2-40B4-BE49-F238E27FC236}">
                <a16:creationId xmlns:a16="http://schemas.microsoft.com/office/drawing/2014/main" id="{976400EB-8628-974E-9954-90FF27204618}"/>
              </a:ext>
            </a:extLst>
          </p:cNvPr>
          <p:cNvSpPr/>
          <p:nvPr/>
        </p:nvSpPr>
        <p:spPr bwMode="auto">
          <a:xfrm>
            <a:off x="2211175" y="2426942"/>
            <a:ext cx="2592000" cy="2592000"/>
          </a:xfrm>
          <a:prstGeom prst="arc">
            <a:avLst>
              <a:gd name="adj1" fmla="val 21494256"/>
              <a:gd name="adj2" fmla="val 10832512"/>
            </a:avLst>
          </a:prstGeom>
          <a:noFill/>
          <a:ln w="38100" cap="flat" cmpd="sng" algn="ctr">
            <a:gradFill flip="none" rotWithShape="1">
              <a:gsLst>
                <a:gs pos="0">
                  <a:srgbClr val="00FFB9"/>
                </a:gs>
                <a:gs pos="100000">
                  <a:srgbClr val="00E6DC"/>
                </a:gs>
              </a:gsLst>
              <a:lin ang="0" scaled="1"/>
              <a:tileRect/>
            </a:gradFill>
            <a:prstDash val="solid"/>
            <a:round/>
            <a:headEnd type="triangle" w="lg" len="lg"/>
            <a:tailEnd type="none" w="lg" len="lg"/>
          </a:ln>
          <a:effectLst/>
        </p:spPr>
        <p:txBody>
          <a:bodyPr rtlCol="0" anchor="ctr"/>
          <a:lstStyle/>
          <a:p>
            <a:pPr algn="ctr"/>
            <a:endParaRPr lang="en-US" dirty="0"/>
          </a:p>
        </p:txBody>
      </p:sp>
      <p:sp>
        <p:nvSpPr>
          <p:cNvPr id="59" name="Arc 18">
            <a:extLst>
              <a:ext uri="{FF2B5EF4-FFF2-40B4-BE49-F238E27FC236}">
                <a16:creationId xmlns:a16="http://schemas.microsoft.com/office/drawing/2014/main" id="{1C1FFF6A-18A9-EE47-8CA5-1AFC21E8D51A}"/>
              </a:ext>
            </a:extLst>
          </p:cNvPr>
          <p:cNvSpPr/>
          <p:nvPr/>
        </p:nvSpPr>
        <p:spPr bwMode="auto">
          <a:xfrm>
            <a:off x="4803175" y="2426942"/>
            <a:ext cx="2592000" cy="2592000"/>
          </a:xfrm>
          <a:prstGeom prst="arc">
            <a:avLst>
              <a:gd name="adj1" fmla="val 10765294"/>
              <a:gd name="adj2" fmla="val 81960"/>
            </a:avLst>
          </a:prstGeom>
          <a:noFill/>
          <a:ln w="38100" cap="flat" cmpd="sng" algn="ctr">
            <a:gradFill flip="none" rotWithShape="1">
              <a:gsLst>
                <a:gs pos="0">
                  <a:srgbClr val="00FFB9"/>
                </a:gs>
                <a:gs pos="100000">
                  <a:srgbClr val="00E6DC"/>
                </a:gs>
              </a:gsLst>
              <a:lin ang="10800000" scaled="1"/>
              <a:tileRect/>
            </a:gradFill>
            <a:prstDash val="solid"/>
            <a:round/>
            <a:headEnd type="none" w="lg" len="lg"/>
            <a:tailEnd type="triangle" w="lg" len="lg"/>
          </a:ln>
          <a:effectLst/>
        </p:spPr>
        <p:txBody>
          <a:bodyPr rtlCol="0" anchor="ctr"/>
          <a:lstStyle/>
          <a:p>
            <a:pPr algn="ctr"/>
            <a:endParaRPr lang="en-US" dirty="0"/>
          </a:p>
        </p:txBody>
      </p:sp>
      <p:sp>
        <p:nvSpPr>
          <p:cNvPr id="60" name="Arc 24">
            <a:extLst>
              <a:ext uri="{FF2B5EF4-FFF2-40B4-BE49-F238E27FC236}">
                <a16:creationId xmlns:a16="http://schemas.microsoft.com/office/drawing/2014/main" id="{3AA13932-4E1E-314C-BAFF-5CC1817665CD}"/>
              </a:ext>
            </a:extLst>
          </p:cNvPr>
          <p:cNvSpPr/>
          <p:nvPr/>
        </p:nvSpPr>
        <p:spPr bwMode="auto">
          <a:xfrm>
            <a:off x="7395175" y="2426942"/>
            <a:ext cx="2592000" cy="2592000"/>
          </a:xfrm>
          <a:prstGeom prst="arc">
            <a:avLst>
              <a:gd name="adj1" fmla="val 21565218"/>
              <a:gd name="adj2" fmla="val 10915299"/>
            </a:avLst>
          </a:prstGeom>
          <a:noFill/>
          <a:ln w="38100" cap="flat" cmpd="sng" algn="ctr">
            <a:gradFill flip="none" rotWithShape="1">
              <a:gsLst>
                <a:gs pos="0">
                  <a:srgbClr val="00E6DC"/>
                </a:gs>
                <a:gs pos="100000">
                  <a:srgbClr val="00FFB9"/>
                </a:gs>
              </a:gsLst>
              <a:lin ang="10800000" scaled="1"/>
              <a:tileRect/>
            </a:gradFill>
            <a:prstDash val="solid"/>
            <a:round/>
            <a:headEnd type="triangle" w="lg" len="lg"/>
            <a:tailEnd type="none" w="lg" len="lg"/>
          </a:ln>
          <a:effectLst/>
        </p:spPr>
        <p:txBody>
          <a:bodyPr rtlCol="0" anchor="ctr"/>
          <a:lstStyle/>
          <a:p>
            <a:pPr algn="ctr"/>
            <a:endParaRPr lang="en-US" dirty="0"/>
          </a:p>
        </p:txBody>
      </p:sp>
      <p:sp>
        <p:nvSpPr>
          <p:cNvPr id="68" name="Textfeld 30">
            <a:extLst>
              <a:ext uri="{FF2B5EF4-FFF2-40B4-BE49-F238E27FC236}">
                <a16:creationId xmlns:a16="http://schemas.microsoft.com/office/drawing/2014/main" id="{75A3B940-C6C4-B749-808F-AA7421E00E53}"/>
              </a:ext>
            </a:extLst>
          </p:cNvPr>
          <p:cNvSpPr txBox="1">
            <a:spLocks/>
          </p:cNvSpPr>
          <p:nvPr/>
        </p:nvSpPr>
        <p:spPr bwMode="gray">
          <a:xfrm>
            <a:off x="411163" y="5305813"/>
            <a:ext cx="2016012" cy="860987"/>
          </a:xfrm>
          <a:prstGeom prst="rect">
            <a:avLst/>
          </a:prstGeom>
          <a:noFill/>
          <a:ln>
            <a:noFill/>
          </a:ln>
          <a:scene3d>
            <a:camera prst="orthographicFront">
              <a:rot lat="0" lon="0" rev="0"/>
            </a:camera>
            <a:lightRig rig="threePt" dir="t"/>
          </a:scene3d>
        </p:spPr>
        <p:txBody>
          <a:bodyPr wrap="square" lIns="144000" tIns="72000" rIns="144000" bIns="72000" rtlCol="0" anchor="b" anchorCtr="0">
            <a:spAutoFit/>
          </a:bodyPr>
          <a:lstStyle/>
          <a:p>
            <a:pPr algn="r">
              <a:spcBef>
                <a:spcPts val="0"/>
              </a:spcBef>
              <a:tabLst>
                <a:tab pos="1255713" algn="r"/>
              </a:tabLst>
              <a:defRPr/>
            </a:pPr>
            <a:r>
              <a:rPr lang="en-US" altLang="de-DE" sz="1600" b="1" dirty="0">
                <a:solidFill>
                  <a:schemeClr val="accent1"/>
                </a:solidFill>
                <a:ea typeface="Arial Unicode MS"/>
              </a:rPr>
              <a:t>Phasellus </a:t>
            </a:r>
            <a:br>
              <a:rPr lang="en-US" altLang="de-DE" sz="1600" b="1" dirty="0">
                <a:solidFill>
                  <a:schemeClr val="accent1"/>
                </a:solidFill>
                <a:ea typeface="Arial Unicode MS"/>
              </a:rPr>
            </a:br>
            <a:r>
              <a:rPr lang="en-US" altLang="de-DE" sz="1600" b="1" dirty="0">
                <a:solidFill>
                  <a:schemeClr val="accent1"/>
                </a:solidFill>
                <a:ea typeface="Arial Unicode MS"/>
              </a:rPr>
              <a:t>nec sem</a:t>
            </a:r>
            <a:endParaRPr lang="en-US" altLang="de-DE" sz="1400" dirty="0">
              <a:solidFill>
                <a:schemeClr val="accent1"/>
              </a:solidFill>
              <a:ea typeface="Arial Unicode MS"/>
              <a:cs typeface="Arial" pitchFamily="34" charset="0"/>
            </a:endParaRPr>
          </a:p>
          <a:p>
            <a:pPr marL="0" lvl="1" algn="r">
              <a:spcBef>
                <a:spcPts val="300"/>
              </a:spcBef>
              <a:buClr>
                <a:srgbClr val="3C464B"/>
              </a:buClr>
              <a:defRPr/>
            </a:pPr>
            <a:r>
              <a:rPr lang="en-US" altLang="de-DE" sz="1200" dirty="0">
                <a:solidFill>
                  <a:srgbClr val="66667E"/>
                </a:solidFill>
                <a:ea typeface="Arial Unicode MS"/>
                <a:cs typeface="Arial" pitchFamily="34" charset="0"/>
              </a:rPr>
              <a:t>At vero eos et accusam</a:t>
            </a:r>
          </a:p>
        </p:txBody>
      </p:sp>
      <p:sp>
        <p:nvSpPr>
          <p:cNvPr id="69" name="Textfeld 30">
            <a:extLst>
              <a:ext uri="{FF2B5EF4-FFF2-40B4-BE49-F238E27FC236}">
                <a16:creationId xmlns:a16="http://schemas.microsoft.com/office/drawing/2014/main" id="{129D1E3F-0880-AB45-84E4-D24021B388C0}"/>
              </a:ext>
            </a:extLst>
          </p:cNvPr>
          <p:cNvSpPr txBox="1">
            <a:spLocks/>
          </p:cNvSpPr>
          <p:nvPr/>
        </p:nvSpPr>
        <p:spPr bwMode="gray">
          <a:xfrm>
            <a:off x="2764800" y="5367369"/>
            <a:ext cx="1800000" cy="799431"/>
          </a:xfrm>
          <a:prstGeom prst="rect">
            <a:avLst/>
          </a:prstGeom>
          <a:noFill/>
          <a:ln>
            <a:noFill/>
          </a:ln>
          <a:scene3d>
            <a:camera prst="orthographicFront">
              <a:rot lat="0" lon="0" rev="0"/>
            </a:camera>
            <a:lightRig rig="threePt" dir="t"/>
          </a:scene3d>
        </p:spPr>
        <p:txBody>
          <a:bodyPr wrap="square" lIns="144000" tIns="72000" rIns="144000" bIns="72000" rtlCol="0" anchor="b" anchorCtr="0">
            <a:spAutoFit/>
          </a:bodyPr>
          <a:lstStyle/>
          <a:p>
            <a:pPr algn="r">
              <a:spcBef>
                <a:spcPts val="0"/>
              </a:spcBef>
              <a:tabLst>
                <a:tab pos="1255713" algn="r"/>
              </a:tabLst>
              <a:defRPr/>
            </a:pPr>
            <a:r>
              <a:rPr lang="en-US" altLang="de-DE" sz="1600" b="1" dirty="0">
                <a:solidFill>
                  <a:schemeClr val="accent1"/>
                </a:solidFill>
                <a:ea typeface="Arial Unicode MS"/>
              </a:rPr>
              <a:t>Maeces dio</a:t>
            </a:r>
            <a:endParaRPr lang="en-US" altLang="de-DE" sz="1400" dirty="0">
              <a:solidFill>
                <a:schemeClr val="accent1"/>
              </a:solidFill>
              <a:ea typeface="Arial Unicode MS"/>
              <a:cs typeface="Arial" pitchFamily="34" charset="0"/>
            </a:endParaRPr>
          </a:p>
          <a:p>
            <a:pPr marL="0" lvl="1" algn="r">
              <a:spcBef>
                <a:spcPts val="300"/>
              </a:spcBef>
              <a:buClr>
                <a:srgbClr val="3C464B"/>
              </a:buClr>
              <a:defRPr/>
            </a:pPr>
            <a:r>
              <a:rPr lang="en-US" altLang="de-DE" sz="1200" dirty="0">
                <a:solidFill>
                  <a:srgbClr val="66667E"/>
                </a:solidFill>
                <a:ea typeface="Arial Unicode MS"/>
                <a:cs typeface="Arial" pitchFamily="34" charset="0"/>
              </a:rPr>
              <a:t>Consetetur sadipscing elitr, seddiam nonumy</a:t>
            </a:r>
          </a:p>
        </p:txBody>
      </p:sp>
      <p:sp>
        <p:nvSpPr>
          <p:cNvPr id="70" name="Textfeld 30">
            <a:extLst>
              <a:ext uri="{FF2B5EF4-FFF2-40B4-BE49-F238E27FC236}">
                <a16:creationId xmlns:a16="http://schemas.microsoft.com/office/drawing/2014/main" id="{C1851516-78E8-E141-966C-9AC7D34A4158}"/>
              </a:ext>
            </a:extLst>
          </p:cNvPr>
          <p:cNvSpPr txBox="1">
            <a:spLocks/>
          </p:cNvSpPr>
          <p:nvPr/>
        </p:nvSpPr>
        <p:spPr bwMode="gray">
          <a:xfrm>
            <a:off x="7611895" y="5367369"/>
            <a:ext cx="1800000" cy="799431"/>
          </a:xfrm>
          <a:prstGeom prst="rect">
            <a:avLst/>
          </a:prstGeom>
          <a:noFill/>
          <a:ln>
            <a:noFill/>
          </a:ln>
          <a:scene3d>
            <a:camera prst="orthographicFront">
              <a:rot lat="0" lon="0" rev="0"/>
            </a:camera>
            <a:lightRig rig="threePt" dir="t"/>
          </a:scene3d>
        </p:spPr>
        <p:txBody>
          <a:bodyPr wrap="square" lIns="144000" tIns="72000" rIns="144000" bIns="72000" rtlCol="0" anchor="b" anchorCtr="0">
            <a:spAutoFit/>
          </a:bodyPr>
          <a:lstStyle/>
          <a:p>
            <a:pPr>
              <a:spcBef>
                <a:spcPts val="0"/>
              </a:spcBef>
              <a:tabLst>
                <a:tab pos="1255713" algn="r"/>
              </a:tabLst>
              <a:defRPr/>
            </a:pPr>
            <a:r>
              <a:rPr lang="en-US" altLang="de-DE" sz="1600" b="1" dirty="0">
                <a:solidFill>
                  <a:schemeClr val="accent1"/>
                </a:solidFill>
                <a:ea typeface="Arial Unicode MS"/>
              </a:rPr>
              <a:t>Cras ultricies</a:t>
            </a:r>
            <a:endParaRPr lang="en-US" altLang="de-DE" sz="1400" dirty="0">
              <a:solidFill>
                <a:schemeClr val="accent1"/>
              </a:solidFill>
              <a:ea typeface="Arial Unicode MS"/>
              <a:cs typeface="Arial" pitchFamily="34" charset="0"/>
            </a:endParaRPr>
          </a:p>
          <a:p>
            <a:pPr marL="0" lvl="1">
              <a:spcBef>
                <a:spcPts val="300"/>
              </a:spcBef>
              <a:buClr>
                <a:srgbClr val="3C464B"/>
              </a:buClr>
              <a:defRPr/>
            </a:pPr>
            <a:r>
              <a:rPr lang="en-US" altLang="de-DE" sz="1200" dirty="0">
                <a:solidFill>
                  <a:srgbClr val="66667E"/>
                </a:solidFill>
                <a:ea typeface="Arial Unicode MS"/>
                <a:cs typeface="Arial" pitchFamily="34" charset="0"/>
              </a:rPr>
              <a:t>At vero eos et accusam</a:t>
            </a:r>
          </a:p>
        </p:txBody>
      </p:sp>
      <p:sp>
        <p:nvSpPr>
          <p:cNvPr id="71" name="Textfeld 30">
            <a:extLst>
              <a:ext uri="{FF2B5EF4-FFF2-40B4-BE49-F238E27FC236}">
                <a16:creationId xmlns:a16="http://schemas.microsoft.com/office/drawing/2014/main" id="{00A388A4-0067-9742-9022-D1FD6B36A277}"/>
              </a:ext>
            </a:extLst>
          </p:cNvPr>
          <p:cNvSpPr txBox="1">
            <a:spLocks/>
          </p:cNvSpPr>
          <p:nvPr/>
        </p:nvSpPr>
        <p:spPr bwMode="gray">
          <a:xfrm>
            <a:off x="9772195" y="5305813"/>
            <a:ext cx="2016000" cy="860987"/>
          </a:xfrm>
          <a:prstGeom prst="rect">
            <a:avLst/>
          </a:prstGeom>
          <a:noFill/>
          <a:ln>
            <a:noFill/>
          </a:ln>
          <a:scene3d>
            <a:camera prst="orthographicFront">
              <a:rot lat="0" lon="0" rev="0"/>
            </a:camera>
            <a:lightRig rig="threePt" dir="t"/>
          </a:scene3d>
        </p:spPr>
        <p:txBody>
          <a:bodyPr wrap="square" lIns="144000" tIns="72000" rIns="144000" bIns="72000" rtlCol="0" anchor="b" anchorCtr="0">
            <a:spAutoFit/>
          </a:bodyPr>
          <a:lstStyle/>
          <a:p>
            <a:pPr>
              <a:spcBef>
                <a:spcPts val="0"/>
              </a:spcBef>
              <a:tabLst>
                <a:tab pos="1255713" algn="r"/>
              </a:tabLst>
              <a:defRPr/>
            </a:pPr>
            <a:r>
              <a:rPr lang="en-US" altLang="de-DE" sz="1600" b="1" dirty="0">
                <a:solidFill>
                  <a:schemeClr val="accent1"/>
                </a:solidFill>
                <a:ea typeface="Arial Unicode MS"/>
              </a:rPr>
              <a:t>Tortor acto, suscipit eget</a:t>
            </a:r>
          </a:p>
          <a:p>
            <a:pPr marL="0" lvl="1">
              <a:spcBef>
                <a:spcPts val="300"/>
              </a:spcBef>
              <a:buClr>
                <a:srgbClr val="3C464B"/>
              </a:buClr>
              <a:defRPr/>
            </a:pPr>
            <a:r>
              <a:rPr lang="en-US" altLang="de-DE" sz="1200" dirty="0">
                <a:solidFill>
                  <a:srgbClr val="66667E"/>
                </a:solidFill>
                <a:ea typeface="Arial Unicode MS"/>
                <a:cs typeface="Arial" pitchFamily="34" charset="0"/>
              </a:rPr>
              <a:t>Duis arcu tortor</a:t>
            </a:r>
          </a:p>
        </p:txBody>
      </p:sp>
      <p:sp>
        <p:nvSpPr>
          <p:cNvPr id="72" name="Textfeld 30">
            <a:extLst>
              <a:ext uri="{FF2B5EF4-FFF2-40B4-BE49-F238E27FC236}">
                <a16:creationId xmlns:a16="http://schemas.microsoft.com/office/drawing/2014/main" id="{6E6ED239-4206-B74F-9FC3-9956820B950E}"/>
              </a:ext>
            </a:extLst>
          </p:cNvPr>
          <p:cNvSpPr txBox="1">
            <a:spLocks/>
          </p:cNvSpPr>
          <p:nvPr/>
        </p:nvSpPr>
        <p:spPr bwMode="gray">
          <a:xfrm>
            <a:off x="3676313" y="1414800"/>
            <a:ext cx="1800000" cy="1008000"/>
          </a:xfrm>
          <a:prstGeom prst="rect">
            <a:avLst/>
          </a:prstGeom>
          <a:noFill/>
          <a:ln>
            <a:noFill/>
          </a:ln>
          <a:scene3d>
            <a:camera prst="orthographicFront">
              <a:rot lat="0" lon="0" rev="0"/>
            </a:camera>
            <a:lightRig rig="threePt" dir="t"/>
          </a:scene3d>
        </p:spPr>
        <p:txBody>
          <a:bodyPr wrap="square" lIns="144000" tIns="72000" rIns="144000" bIns="72000" rtlCol="0" anchor="t" anchorCtr="0">
            <a:noAutofit/>
          </a:bodyPr>
          <a:lstStyle/>
          <a:p>
            <a:pPr algn="r">
              <a:spcBef>
                <a:spcPts val="0"/>
              </a:spcBef>
              <a:tabLst>
                <a:tab pos="1255713" algn="r"/>
              </a:tabLst>
              <a:defRPr/>
            </a:pPr>
            <a:r>
              <a:rPr lang="en-US" altLang="de-DE" sz="1600" b="1" dirty="0">
                <a:solidFill>
                  <a:schemeClr val="accent1"/>
                </a:solidFill>
                <a:ea typeface="Arial Unicode MS"/>
              </a:rPr>
              <a:t>Donec magna</a:t>
            </a:r>
            <a:endParaRPr lang="en-US" altLang="de-DE" sz="1400" dirty="0">
              <a:solidFill>
                <a:schemeClr val="accent1"/>
              </a:solidFill>
              <a:ea typeface="Arial Unicode MS"/>
              <a:cs typeface="Arial" pitchFamily="34" charset="0"/>
            </a:endParaRPr>
          </a:p>
          <a:p>
            <a:pPr marL="0" lvl="1" algn="r">
              <a:spcBef>
                <a:spcPts val="300"/>
              </a:spcBef>
              <a:buClr>
                <a:srgbClr val="3C464B"/>
              </a:buClr>
              <a:defRPr/>
            </a:pPr>
            <a:r>
              <a:rPr lang="en-US" altLang="de-DE" sz="1200" dirty="0">
                <a:solidFill>
                  <a:srgbClr val="66667E"/>
                </a:solidFill>
                <a:ea typeface="Arial Unicode MS"/>
                <a:cs typeface="Arial" pitchFamily="34" charset="0"/>
              </a:rPr>
              <a:t>Duis arcu tortor, suscipit eget</a:t>
            </a:r>
          </a:p>
        </p:txBody>
      </p:sp>
      <p:sp>
        <p:nvSpPr>
          <p:cNvPr id="73" name="Textfeld 30">
            <a:extLst>
              <a:ext uri="{FF2B5EF4-FFF2-40B4-BE49-F238E27FC236}">
                <a16:creationId xmlns:a16="http://schemas.microsoft.com/office/drawing/2014/main" id="{18EDCA0B-1C81-084E-9151-B55377747F9A}"/>
              </a:ext>
            </a:extLst>
          </p:cNvPr>
          <p:cNvSpPr txBox="1">
            <a:spLocks/>
          </p:cNvSpPr>
          <p:nvPr/>
        </p:nvSpPr>
        <p:spPr bwMode="gray">
          <a:xfrm>
            <a:off x="6727414" y="1414800"/>
            <a:ext cx="1800000" cy="1008000"/>
          </a:xfrm>
          <a:prstGeom prst="rect">
            <a:avLst/>
          </a:prstGeom>
          <a:noFill/>
          <a:ln>
            <a:noFill/>
          </a:ln>
          <a:scene3d>
            <a:camera prst="orthographicFront">
              <a:rot lat="0" lon="0" rev="0"/>
            </a:camera>
            <a:lightRig rig="threePt" dir="t"/>
          </a:scene3d>
        </p:spPr>
        <p:txBody>
          <a:bodyPr wrap="square" lIns="144000" tIns="72000" rIns="144000" bIns="72000" rtlCol="0" anchor="t" anchorCtr="0">
            <a:noAutofit/>
          </a:bodyPr>
          <a:lstStyle/>
          <a:p>
            <a:pPr>
              <a:spcBef>
                <a:spcPts val="0"/>
              </a:spcBef>
              <a:tabLst>
                <a:tab pos="1255713" algn="r"/>
              </a:tabLst>
              <a:defRPr/>
            </a:pPr>
            <a:r>
              <a:rPr lang="en-US" altLang="de-DE" sz="1600" b="1" dirty="0">
                <a:solidFill>
                  <a:schemeClr val="accent1"/>
                </a:solidFill>
                <a:ea typeface="Arial Unicode MS"/>
              </a:rPr>
              <a:t>Loram ypsum</a:t>
            </a:r>
            <a:endParaRPr lang="en-US" altLang="de-DE" sz="1400" dirty="0">
              <a:solidFill>
                <a:schemeClr val="accent1"/>
              </a:solidFill>
              <a:ea typeface="Arial Unicode MS"/>
              <a:cs typeface="Arial" pitchFamily="34" charset="0"/>
            </a:endParaRPr>
          </a:p>
          <a:p>
            <a:pPr marL="0" lvl="1">
              <a:spcBef>
                <a:spcPts val="300"/>
              </a:spcBef>
              <a:buClr>
                <a:srgbClr val="3C464B"/>
              </a:buClr>
              <a:defRPr/>
            </a:pPr>
            <a:r>
              <a:rPr lang="en-US" altLang="de-DE" sz="1200" dirty="0">
                <a:solidFill>
                  <a:srgbClr val="66667E"/>
                </a:solidFill>
                <a:ea typeface="Arial Unicode MS"/>
                <a:cs typeface="Arial" pitchFamily="34" charset="0"/>
              </a:rPr>
              <a:t>Stet clita kasd gubergren, no sea takimata sanctus</a:t>
            </a:r>
          </a:p>
        </p:txBody>
      </p:sp>
      <p:sp>
        <p:nvSpPr>
          <p:cNvPr id="74" name="Oval 73">
            <a:extLst>
              <a:ext uri="{FF2B5EF4-FFF2-40B4-BE49-F238E27FC236}">
                <a16:creationId xmlns:a16="http://schemas.microsoft.com/office/drawing/2014/main" id="{A719EF01-4E47-1D46-9FFB-4F48379BD5CB}"/>
              </a:ext>
            </a:extLst>
          </p:cNvPr>
          <p:cNvSpPr/>
          <p:nvPr/>
        </p:nvSpPr>
        <p:spPr bwMode="auto">
          <a:xfrm>
            <a:off x="2322215" y="4338492"/>
            <a:ext cx="208900" cy="208900"/>
          </a:xfrm>
          <a:prstGeom prst="ellipse">
            <a:avLst/>
          </a:prstGeom>
          <a:solidFill>
            <a:srgbClr val="FFFFFF"/>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75" name="Oval 74">
            <a:extLst>
              <a:ext uri="{FF2B5EF4-FFF2-40B4-BE49-F238E27FC236}">
                <a16:creationId xmlns:a16="http://schemas.microsoft.com/office/drawing/2014/main" id="{B88DFC7D-4709-F64D-AB4F-03A57571D8D5}"/>
              </a:ext>
            </a:extLst>
          </p:cNvPr>
          <p:cNvSpPr/>
          <p:nvPr/>
        </p:nvSpPr>
        <p:spPr bwMode="auto">
          <a:xfrm>
            <a:off x="4462370" y="4338492"/>
            <a:ext cx="208900" cy="208900"/>
          </a:xfrm>
          <a:prstGeom prst="ellipse">
            <a:avLst/>
          </a:prstGeom>
          <a:solidFill>
            <a:srgbClr val="FFFFFF"/>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76" name="Oval 75">
            <a:extLst>
              <a:ext uri="{FF2B5EF4-FFF2-40B4-BE49-F238E27FC236}">
                <a16:creationId xmlns:a16="http://schemas.microsoft.com/office/drawing/2014/main" id="{A652ECF1-203F-F442-A0EC-06F31D14F477}"/>
              </a:ext>
            </a:extLst>
          </p:cNvPr>
          <p:cNvSpPr/>
          <p:nvPr/>
        </p:nvSpPr>
        <p:spPr bwMode="auto">
          <a:xfrm>
            <a:off x="7507445" y="4338492"/>
            <a:ext cx="208900" cy="208900"/>
          </a:xfrm>
          <a:prstGeom prst="ellipse">
            <a:avLst/>
          </a:prstGeom>
          <a:solidFill>
            <a:srgbClr val="FFFFFF"/>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77" name="Oval 76">
            <a:extLst>
              <a:ext uri="{FF2B5EF4-FFF2-40B4-BE49-F238E27FC236}">
                <a16:creationId xmlns:a16="http://schemas.microsoft.com/office/drawing/2014/main" id="{4EA1F6A6-1124-3E46-9E98-CBC3A1C89606}"/>
              </a:ext>
            </a:extLst>
          </p:cNvPr>
          <p:cNvSpPr/>
          <p:nvPr/>
        </p:nvSpPr>
        <p:spPr bwMode="auto">
          <a:xfrm>
            <a:off x="9666005" y="4338492"/>
            <a:ext cx="208900" cy="208900"/>
          </a:xfrm>
          <a:prstGeom prst="ellipse">
            <a:avLst/>
          </a:prstGeom>
          <a:solidFill>
            <a:srgbClr val="FFFFFF"/>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cxnSp>
        <p:nvCxnSpPr>
          <p:cNvPr id="78" name="Straight Connector 39">
            <a:extLst>
              <a:ext uri="{FF2B5EF4-FFF2-40B4-BE49-F238E27FC236}">
                <a16:creationId xmlns:a16="http://schemas.microsoft.com/office/drawing/2014/main" id="{C2673E54-3178-A84E-84E3-B1CFBD32FB2E}"/>
              </a:ext>
            </a:extLst>
          </p:cNvPr>
          <p:cNvCxnSpPr/>
          <p:nvPr/>
        </p:nvCxnSpPr>
        <p:spPr bwMode="auto">
          <a:xfrm>
            <a:off x="2426665" y="4442942"/>
            <a:ext cx="0" cy="1723858"/>
          </a:xfrm>
          <a:prstGeom prst="line">
            <a:avLst/>
          </a:prstGeom>
          <a:solidFill>
            <a:schemeClr val="tx2"/>
          </a:solidFill>
          <a:ln w="12700" cap="flat" cmpd="sng" algn="ctr">
            <a:solidFill>
              <a:srgbClr val="66667E"/>
            </a:solidFill>
            <a:prstDash val="solid"/>
            <a:round/>
            <a:headEnd type="oval"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Straight Connector 31">
            <a:extLst>
              <a:ext uri="{FF2B5EF4-FFF2-40B4-BE49-F238E27FC236}">
                <a16:creationId xmlns:a16="http://schemas.microsoft.com/office/drawing/2014/main" id="{9F707093-7E21-0844-978A-CB61D76A7292}"/>
              </a:ext>
            </a:extLst>
          </p:cNvPr>
          <p:cNvCxnSpPr/>
          <p:nvPr/>
        </p:nvCxnSpPr>
        <p:spPr bwMode="auto">
          <a:xfrm>
            <a:off x="4565449" y="4442942"/>
            <a:ext cx="0" cy="1724496"/>
          </a:xfrm>
          <a:prstGeom prst="line">
            <a:avLst/>
          </a:prstGeom>
          <a:solidFill>
            <a:schemeClr val="tx2"/>
          </a:solidFill>
          <a:ln w="12700" cap="flat" cmpd="sng" algn="ctr">
            <a:solidFill>
              <a:srgbClr val="66667E"/>
            </a:solidFill>
            <a:prstDash val="solid"/>
            <a:round/>
            <a:headEnd type="oval"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Straight Connector 33">
            <a:extLst>
              <a:ext uri="{FF2B5EF4-FFF2-40B4-BE49-F238E27FC236}">
                <a16:creationId xmlns:a16="http://schemas.microsoft.com/office/drawing/2014/main" id="{A4CB7EBC-5ECB-E747-A1F7-697C1F6C98E2}"/>
              </a:ext>
            </a:extLst>
          </p:cNvPr>
          <p:cNvCxnSpPr/>
          <p:nvPr/>
        </p:nvCxnSpPr>
        <p:spPr bwMode="auto">
          <a:xfrm>
            <a:off x="7611385" y="4442942"/>
            <a:ext cx="0" cy="1724496"/>
          </a:xfrm>
          <a:prstGeom prst="line">
            <a:avLst/>
          </a:prstGeom>
          <a:solidFill>
            <a:schemeClr val="tx2"/>
          </a:solidFill>
          <a:ln w="12700" cap="flat" cmpd="sng" algn="ctr">
            <a:solidFill>
              <a:srgbClr val="66667E"/>
            </a:solidFill>
            <a:prstDash val="solid"/>
            <a:round/>
            <a:headEnd type="oval"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1" name="Straight Connector 37">
            <a:extLst>
              <a:ext uri="{FF2B5EF4-FFF2-40B4-BE49-F238E27FC236}">
                <a16:creationId xmlns:a16="http://schemas.microsoft.com/office/drawing/2014/main" id="{2DF82D1F-4601-6D4B-B446-5BAC94A77A90}"/>
              </a:ext>
            </a:extLst>
          </p:cNvPr>
          <p:cNvCxnSpPr/>
          <p:nvPr/>
        </p:nvCxnSpPr>
        <p:spPr bwMode="auto">
          <a:xfrm>
            <a:off x="9771685" y="4442942"/>
            <a:ext cx="0" cy="1723858"/>
          </a:xfrm>
          <a:prstGeom prst="line">
            <a:avLst/>
          </a:prstGeom>
          <a:solidFill>
            <a:schemeClr val="tx2"/>
          </a:solidFill>
          <a:ln w="12700" cap="flat" cmpd="sng" algn="ctr">
            <a:solidFill>
              <a:srgbClr val="66667E"/>
            </a:solidFill>
            <a:prstDash val="solid"/>
            <a:round/>
            <a:headEnd type="oval"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82" name="Oval 81">
            <a:extLst>
              <a:ext uri="{FF2B5EF4-FFF2-40B4-BE49-F238E27FC236}">
                <a16:creationId xmlns:a16="http://schemas.microsoft.com/office/drawing/2014/main" id="{B0BDB86F-16FE-1846-BDAC-244971FC6D24}"/>
              </a:ext>
            </a:extLst>
          </p:cNvPr>
          <p:cNvSpPr/>
          <p:nvPr/>
        </p:nvSpPr>
        <p:spPr bwMode="auto">
          <a:xfrm>
            <a:off x="6622964" y="2487077"/>
            <a:ext cx="208900" cy="208900"/>
          </a:xfrm>
          <a:prstGeom prst="ellipse">
            <a:avLst/>
          </a:prstGeom>
          <a:solidFill>
            <a:srgbClr val="FFFFFF"/>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83" name="Oval 82">
            <a:extLst>
              <a:ext uri="{FF2B5EF4-FFF2-40B4-BE49-F238E27FC236}">
                <a16:creationId xmlns:a16="http://schemas.microsoft.com/office/drawing/2014/main" id="{182BD37A-23BA-514A-B70D-7169B43AEC56}"/>
              </a:ext>
            </a:extLst>
          </p:cNvPr>
          <p:cNvSpPr/>
          <p:nvPr/>
        </p:nvSpPr>
        <p:spPr bwMode="auto">
          <a:xfrm>
            <a:off x="5371353" y="2487077"/>
            <a:ext cx="208900" cy="208900"/>
          </a:xfrm>
          <a:prstGeom prst="ellipse">
            <a:avLst/>
          </a:prstGeom>
          <a:solidFill>
            <a:srgbClr val="FFFFFF"/>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cxnSp>
        <p:nvCxnSpPr>
          <p:cNvPr id="84" name="Straight Connector 44">
            <a:extLst>
              <a:ext uri="{FF2B5EF4-FFF2-40B4-BE49-F238E27FC236}">
                <a16:creationId xmlns:a16="http://schemas.microsoft.com/office/drawing/2014/main" id="{99615094-3087-7342-B5F1-F9683F061294}"/>
              </a:ext>
            </a:extLst>
          </p:cNvPr>
          <p:cNvCxnSpPr/>
          <p:nvPr/>
        </p:nvCxnSpPr>
        <p:spPr bwMode="auto">
          <a:xfrm>
            <a:off x="5475803" y="1414463"/>
            <a:ext cx="0" cy="1166737"/>
          </a:xfrm>
          <a:prstGeom prst="line">
            <a:avLst/>
          </a:prstGeom>
          <a:solidFill>
            <a:schemeClr val="tx2"/>
          </a:solidFill>
          <a:ln w="12700" cap="flat" cmpd="sng" algn="ctr">
            <a:solidFill>
              <a:srgbClr val="66667E"/>
            </a:solidFill>
            <a:prstDash val="solid"/>
            <a:round/>
            <a:headEnd type="none" w="lg" len="lg"/>
            <a:tailEnd type="oval"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Straight Connector 46">
            <a:extLst>
              <a:ext uri="{FF2B5EF4-FFF2-40B4-BE49-F238E27FC236}">
                <a16:creationId xmlns:a16="http://schemas.microsoft.com/office/drawing/2014/main" id="{2C7367AD-61A4-A542-8AA8-FC3F491507EA}"/>
              </a:ext>
            </a:extLst>
          </p:cNvPr>
          <p:cNvCxnSpPr/>
          <p:nvPr/>
        </p:nvCxnSpPr>
        <p:spPr bwMode="auto">
          <a:xfrm>
            <a:off x="6727414" y="1414800"/>
            <a:ext cx="0" cy="1166400"/>
          </a:xfrm>
          <a:prstGeom prst="line">
            <a:avLst/>
          </a:prstGeom>
          <a:solidFill>
            <a:schemeClr val="tx2"/>
          </a:solidFill>
          <a:ln w="12700" cap="flat" cmpd="sng" algn="ctr">
            <a:solidFill>
              <a:srgbClr val="66667E"/>
            </a:solidFill>
            <a:prstDash val="solid"/>
            <a:round/>
            <a:headEnd type="none" w="lg" len="lg"/>
            <a:tailEnd type="oval"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290453144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Arc 25">
            <a:extLst>
              <a:ext uri="{FF2B5EF4-FFF2-40B4-BE49-F238E27FC236}">
                <a16:creationId xmlns:a16="http://schemas.microsoft.com/office/drawing/2014/main" id="{5597043D-AC90-B943-8A4A-95376BC57353}"/>
              </a:ext>
            </a:extLst>
          </p:cNvPr>
          <p:cNvSpPr/>
          <p:nvPr/>
        </p:nvSpPr>
        <p:spPr bwMode="auto">
          <a:xfrm>
            <a:off x="4803175" y="2426942"/>
            <a:ext cx="2592000" cy="2592000"/>
          </a:xfrm>
          <a:prstGeom prst="arc">
            <a:avLst>
              <a:gd name="adj1" fmla="val 21569410"/>
              <a:gd name="adj2" fmla="val 10843973"/>
            </a:avLst>
          </a:prstGeom>
          <a:noFill/>
          <a:ln w="12700" cap="flat" cmpd="sng" algn="ctr">
            <a:solidFill>
              <a:srgbClr val="9999A9"/>
            </a:solidFill>
            <a:prstDash val="dash"/>
            <a:round/>
            <a:headEnd type="none" w="lg" len="lg"/>
            <a:tailEnd type="none" w="lg" len="lg"/>
          </a:ln>
          <a:effectLst/>
        </p:spPr>
        <p:txBody>
          <a:bodyPr rtlCol="0" anchor="ctr"/>
          <a:lstStyle/>
          <a:p>
            <a:pPr algn="ctr"/>
            <a:endParaRPr lang="en-US" dirty="0"/>
          </a:p>
        </p:txBody>
      </p:sp>
      <p:sp>
        <p:nvSpPr>
          <p:cNvPr id="54" name="Arc 21">
            <a:extLst>
              <a:ext uri="{FF2B5EF4-FFF2-40B4-BE49-F238E27FC236}">
                <a16:creationId xmlns:a16="http://schemas.microsoft.com/office/drawing/2014/main" id="{B449CAB5-073A-DD4E-9A57-0C4234E1F8B4}"/>
              </a:ext>
            </a:extLst>
          </p:cNvPr>
          <p:cNvSpPr/>
          <p:nvPr/>
        </p:nvSpPr>
        <p:spPr bwMode="auto">
          <a:xfrm>
            <a:off x="7395175" y="2426942"/>
            <a:ext cx="2592000" cy="2592000"/>
          </a:xfrm>
          <a:prstGeom prst="arc">
            <a:avLst>
              <a:gd name="adj1" fmla="val 10812740"/>
              <a:gd name="adj2" fmla="val 0"/>
            </a:avLst>
          </a:prstGeom>
          <a:noFill/>
          <a:ln w="12700" cap="flat" cmpd="sng" algn="ctr">
            <a:solidFill>
              <a:srgbClr val="9999A9"/>
            </a:solidFill>
            <a:prstDash val="dash"/>
            <a:round/>
            <a:headEnd type="none" w="lg" len="lg"/>
            <a:tailEnd type="none" w="lg" len="lg"/>
          </a:ln>
          <a:effectLst/>
        </p:spPr>
        <p:txBody>
          <a:bodyPr rtlCol="0" anchor="ctr"/>
          <a:lstStyle/>
          <a:p>
            <a:pPr algn="ctr"/>
            <a:endParaRPr lang="en-US" dirty="0"/>
          </a:p>
        </p:txBody>
      </p:sp>
      <p:sp>
        <p:nvSpPr>
          <p:cNvPr id="61" name="Arc 26">
            <a:extLst>
              <a:ext uri="{FF2B5EF4-FFF2-40B4-BE49-F238E27FC236}">
                <a16:creationId xmlns:a16="http://schemas.microsoft.com/office/drawing/2014/main" id="{2592B0AC-DAC7-6644-AAB0-B2FFD350DF26}"/>
              </a:ext>
            </a:extLst>
          </p:cNvPr>
          <p:cNvSpPr/>
          <p:nvPr/>
        </p:nvSpPr>
        <p:spPr bwMode="auto">
          <a:xfrm>
            <a:off x="2211175" y="2426942"/>
            <a:ext cx="2592000" cy="2592000"/>
          </a:xfrm>
          <a:prstGeom prst="arc">
            <a:avLst>
              <a:gd name="adj1" fmla="val 10837662"/>
              <a:gd name="adj2" fmla="val 21537656"/>
            </a:avLst>
          </a:prstGeom>
          <a:noFill/>
          <a:ln w="12700" cap="flat" cmpd="sng" algn="ctr">
            <a:solidFill>
              <a:srgbClr val="9999A9"/>
            </a:solidFill>
            <a:prstDash val="dash"/>
            <a:round/>
            <a:headEnd type="none" w="lg" len="lg"/>
            <a:tailEnd type="none" w="lg" len="lg"/>
          </a:ln>
          <a:effectLst/>
        </p:spPr>
        <p:txBody>
          <a:bodyPr rtlCol="0" anchor="ctr"/>
          <a:lstStyle/>
          <a:p>
            <a:pPr algn="ctr"/>
            <a:endParaRPr lang="en-US" dirty="0"/>
          </a:p>
        </p:txBody>
      </p:sp>
      <p:sp>
        <p:nvSpPr>
          <p:cNvPr id="9" name="Titel 8">
            <a:extLst>
              <a:ext uri="{FF2B5EF4-FFF2-40B4-BE49-F238E27FC236}">
                <a16:creationId xmlns:a16="http://schemas.microsoft.com/office/drawing/2014/main" id="{30916218-0FE7-DA40-850A-7231E8C46B1B}"/>
              </a:ext>
            </a:extLst>
          </p:cNvPr>
          <p:cNvSpPr>
            <a:spLocks noGrp="1"/>
          </p:cNvSpPr>
          <p:nvPr>
            <p:ph type="title"/>
          </p:nvPr>
        </p:nvSpPr>
        <p:spPr/>
        <p:txBody>
          <a:bodyPr/>
          <a:lstStyle/>
          <a:p>
            <a:r>
              <a:rPr lang="en-US" dirty="0"/>
              <a:t>Agile process</a:t>
            </a:r>
            <a:endParaRPr lang="de-DE" dirty="0"/>
          </a:p>
        </p:txBody>
      </p:sp>
      <p:sp>
        <p:nvSpPr>
          <p:cNvPr id="2" name="Fußzeilenplatzhalter 1">
            <a:extLst>
              <a:ext uri="{FF2B5EF4-FFF2-40B4-BE49-F238E27FC236}">
                <a16:creationId xmlns:a16="http://schemas.microsoft.com/office/drawing/2014/main" id="{1CE325B1-8125-E44D-A27F-737867CA9DBA}"/>
              </a:ext>
            </a:extLst>
          </p:cNvPr>
          <p:cNvSpPr>
            <a:spLocks noGrp="1"/>
          </p:cNvSpPr>
          <p:nvPr>
            <p:ph type="ftr" sz="quarter" idx="10"/>
          </p:nvPr>
        </p:nvSpPr>
        <p:spPr/>
        <p:txBody>
          <a:bodyPr/>
          <a:lstStyle/>
          <a:p>
            <a:r>
              <a:rPr lang="en-US" dirty="0"/>
              <a:t>Restricted | © Siemens 20XX | Author | Department | YYYY-MM-DD</a:t>
            </a:r>
          </a:p>
        </p:txBody>
      </p:sp>
      <p:sp>
        <p:nvSpPr>
          <p:cNvPr id="3" name="Foliennummernplatzhalter 2">
            <a:extLst>
              <a:ext uri="{FF2B5EF4-FFF2-40B4-BE49-F238E27FC236}">
                <a16:creationId xmlns:a16="http://schemas.microsoft.com/office/drawing/2014/main" id="{2A126A37-16BB-3C4F-8277-8EA97E2C6DC3}"/>
              </a:ext>
            </a:extLst>
          </p:cNvPr>
          <p:cNvSpPr>
            <a:spLocks noGrp="1"/>
          </p:cNvSpPr>
          <p:nvPr>
            <p:ph type="sldNum" sz="quarter" idx="11"/>
          </p:nvPr>
        </p:nvSpPr>
        <p:spPr/>
        <p:txBody>
          <a:bodyPr/>
          <a:lstStyle/>
          <a:p>
            <a:r>
              <a:rPr lang="en-US" dirty="0"/>
              <a:t>Page </a:t>
            </a:r>
            <a:fld id="{15EBE321-CBB1-4E91-BD14-37C8D44326FB}" type="slidenum">
              <a:rPr lang="en-US" smtClean="0"/>
              <a:pPr/>
              <a:t>103</a:t>
            </a:fld>
            <a:endParaRPr lang="en-US" dirty="0"/>
          </a:p>
        </p:txBody>
      </p:sp>
      <p:sp>
        <p:nvSpPr>
          <p:cNvPr id="55" name="Freeform 48">
            <a:extLst>
              <a:ext uri="{FF2B5EF4-FFF2-40B4-BE49-F238E27FC236}">
                <a16:creationId xmlns:a16="http://schemas.microsoft.com/office/drawing/2014/main" id="{71CF7DD7-983D-6843-A5A3-B20EE1215DDD}"/>
              </a:ext>
            </a:extLst>
          </p:cNvPr>
          <p:cNvSpPr>
            <a:spLocks/>
          </p:cNvSpPr>
          <p:nvPr/>
        </p:nvSpPr>
        <p:spPr bwMode="auto">
          <a:xfrm>
            <a:off x="2787175" y="3002942"/>
            <a:ext cx="1440000" cy="1440000"/>
          </a:xfrm>
          <a:prstGeom prst="ellipse">
            <a:avLst/>
          </a:prstGeom>
          <a:solidFill>
            <a:srgbClr val="333353"/>
          </a:solidFill>
          <a:ln>
            <a:noFill/>
          </a:ln>
        </p:spPr>
        <p:txBody>
          <a:bodyPr vert="horz" wrap="square" lIns="0" tIns="0" rIns="0" bIns="0" numCol="1" anchor="ctr" anchorCtr="0" compatLnSpc="1">
            <a:prstTxWarp prst="textNoShape">
              <a:avLst/>
            </a:prstTxWarp>
          </a:bodyPr>
          <a:lstStyle/>
          <a:p>
            <a:pPr algn="ctr">
              <a:spcBef>
                <a:spcPts val="0"/>
              </a:spcBef>
            </a:pPr>
            <a:r>
              <a:rPr lang="en-US" sz="1600" b="1" dirty="0"/>
              <a:t>Discover</a:t>
            </a:r>
          </a:p>
        </p:txBody>
      </p:sp>
      <p:sp>
        <p:nvSpPr>
          <p:cNvPr id="56" name="Freeform 48">
            <a:extLst>
              <a:ext uri="{FF2B5EF4-FFF2-40B4-BE49-F238E27FC236}">
                <a16:creationId xmlns:a16="http://schemas.microsoft.com/office/drawing/2014/main" id="{FEC88866-2A6D-6F4C-AA32-C5F246771F18}"/>
              </a:ext>
            </a:extLst>
          </p:cNvPr>
          <p:cNvSpPr>
            <a:spLocks/>
          </p:cNvSpPr>
          <p:nvPr/>
        </p:nvSpPr>
        <p:spPr bwMode="auto">
          <a:xfrm>
            <a:off x="5379175" y="3002942"/>
            <a:ext cx="1440000" cy="1440000"/>
          </a:xfrm>
          <a:prstGeom prst="ellipse">
            <a:avLst/>
          </a:prstGeom>
          <a:solidFill>
            <a:srgbClr val="333353"/>
          </a:solidFill>
          <a:ln>
            <a:noFill/>
          </a:ln>
        </p:spPr>
        <p:txBody>
          <a:bodyPr vert="horz" wrap="square" lIns="0" tIns="0" rIns="0" bIns="0" numCol="1" anchor="ctr" anchorCtr="0" compatLnSpc="1">
            <a:prstTxWarp prst="textNoShape">
              <a:avLst/>
            </a:prstTxWarp>
          </a:bodyPr>
          <a:lstStyle/>
          <a:p>
            <a:pPr algn="ctr">
              <a:spcBef>
                <a:spcPts val="0"/>
              </a:spcBef>
            </a:pPr>
            <a:r>
              <a:rPr lang="en-US" sz="1600" b="1" dirty="0"/>
              <a:t>Design</a:t>
            </a:r>
          </a:p>
        </p:txBody>
      </p:sp>
      <p:sp>
        <p:nvSpPr>
          <p:cNvPr id="57" name="Freeform 48">
            <a:extLst>
              <a:ext uri="{FF2B5EF4-FFF2-40B4-BE49-F238E27FC236}">
                <a16:creationId xmlns:a16="http://schemas.microsoft.com/office/drawing/2014/main" id="{38E7FB6F-78F8-3C41-B5F8-51B7087A8F4B}"/>
              </a:ext>
            </a:extLst>
          </p:cNvPr>
          <p:cNvSpPr>
            <a:spLocks/>
          </p:cNvSpPr>
          <p:nvPr/>
        </p:nvSpPr>
        <p:spPr bwMode="auto">
          <a:xfrm>
            <a:off x="7971175" y="3002942"/>
            <a:ext cx="1440000" cy="1440000"/>
          </a:xfrm>
          <a:prstGeom prst="ellipse">
            <a:avLst/>
          </a:prstGeom>
          <a:solidFill>
            <a:srgbClr val="333353"/>
          </a:solidFill>
          <a:ln>
            <a:noFill/>
          </a:ln>
        </p:spPr>
        <p:txBody>
          <a:bodyPr vert="horz" wrap="square" lIns="0" tIns="0" rIns="0" bIns="0" numCol="1" anchor="ctr" anchorCtr="0" compatLnSpc="1">
            <a:prstTxWarp prst="textNoShape">
              <a:avLst/>
            </a:prstTxWarp>
          </a:bodyPr>
          <a:lstStyle/>
          <a:p>
            <a:pPr algn="ctr">
              <a:spcBef>
                <a:spcPts val="0"/>
              </a:spcBef>
            </a:pPr>
            <a:r>
              <a:rPr lang="en-US" sz="1600" b="1" dirty="0"/>
              <a:t>Deliver</a:t>
            </a:r>
          </a:p>
        </p:txBody>
      </p:sp>
      <p:sp>
        <p:nvSpPr>
          <p:cNvPr id="58" name="Arc 1">
            <a:extLst>
              <a:ext uri="{FF2B5EF4-FFF2-40B4-BE49-F238E27FC236}">
                <a16:creationId xmlns:a16="http://schemas.microsoft.com/office/drawing/2014/main" id="{976400EB-8628-974E-9954-90FF27204618}"/>
              </a:ext>
            </a:extLst>
          </p:cNvPr>
          <p:cNvSpPr/>
          <p:nvPr/>
        </p:nvSpPr>
        <p:spPr bwMode="auto">
          <a:xfrm>
            <a:off x="2211175" y="2426942"/>
            <a:ext cx="2592000" cy="2592000"/>
          </a:xfrm>
          <a:prstGeom prst="arc">
            <a:avLst>
              <a:gd name="adj1" fmla="val 21494256"/>
              <a:gd name="adj2" fmla="val 10832512"/>
            </a:avLst>
          </a:prstGeom>
          <a:noFill/>
          <a:ln w="38100" cap="flat" cmpd="sng" algn="ctr">
            <a:gradFill>
              <a:gsLst>
                <a:gs pos="0">
                  <a:srgbClr val="00FFB9"/>
                </a:gs>
                <a:gs pos="100000">
                  <a:srgbClr val="00E6DC"/>
                </a:gs>
              </a:gsLst>
              <a:lin ang="5400000" scaled="1"/>
            </a:gradFill>
            <a:prstDash val="solid"/>
            <a:round/>
            <a:headEnd type="triangle" w="lg" len="lg"/>
            <a:tailEnd type="none" w="lg" len="lg"/>
          </a:ln>
          <a:effectLst/>
        </p:spPr>
        <p:txBody>
          <a:bodyPr rtlCol="0" anchor="ctr"/>
          <a:lstStyle/>
          <a:p>
            <a:pPr algn="ctr"/>
            <a:endParaRPr lang="en-US" dirty="0"/>
          </a:p>
        </p:txBody>
      </p:sp>
      <p:sp>
        <p:nvSpPr>
          <p:cNvPr id="59" name="Arc 18">
            <a:extLst>
              <a:ext uri="{FF2B5EF4-FFF2-40B4-BE49-F238E27FC236}">
                <a16:creationId xmlns:a16="http://schemas.microsoft.com/office/drawing/2014/main" id="{1C1FFF6A-18A9-EE47-8CA5-1AFC21E8D51A}"/>
              </a:ext>
            </a:extLst>
          </p:cNvPr>
          <p:cNvSpPr/>
          <p:nvPr/>
        </p:nvSpPr>
        <p:spPr bwMode="auto">
          <a:xfrm>
            <a:off x="4803175" y="2426942"/>
            <a:ext cx="2592000" cy="2592000"/>
          </a:xfrm>
          <a:prstGeom prst="arc">
            <a:avLst>
              <a:gd name="adj1" fmla="val 10765294"/>
              <a:gd name="adj2" fmla="val 81960"/>
            </a:avLst>
          </a:prstGeom>
          <a:noFill/>
          <a:ln w="38100" cap="flat" cmpd="sng" algn="ctr">
            <a:gradFill>
              <a:gsLst>
                <a:gs pos="0">
                  <a:srgbClr val="00E6DC"/>
                </a:gs>
                <a:gs pos="100000">
                  <a:srgbClr val="00FFB9"/>
                </a:gs>
              </a:gsLst>
              <a:lin ang="5400000" scaled="1"/>
            </a:gradFill>
            <a:prstDash val="solid"/>
            <a:round/>
            <a:headEnd type="none" w="lg" len="lg"/>
            <a:tailEnd type="triangle" w="lg" len="lg"/>
          </a:ln>
          <a:effectLst/>
        </p:spPr>
        <p:txBody>
          <a:bodyPr rtlCol="0" anchor="ctr"/>
          <a:lstStyle/>
          <a:p>
            <a:pPr algn="ctr"/>
            <a:endParaRPr lang="en-US" dirty="0"/>
          </a:p>
        </p:txBody>
      </p:sp>
      <p:sp>
        <p:nvSpPr>
          <p:cNvPr id="60" name="Arc 24">
            <a:extLst>
              <a:ext uri="{FF2B5EF4-FFF2-40B4-BE49-F238E27FC236}">
                <a16:creationId xmlns:a16="http://schemas.microsoft.com/office/drawing/2014/main" id="{3AA13932-4E1E-314C-BAFF-5CC1817665CD}"/>
              </a:ext>
            </a:extLst>
          </p:cNvPr>
          <p:cNvSpPr/>
          <p:nvPr/>
        </p:nvSpPr>
        <p:spPr bwMode="auto">
          <a:xfrm>
            <a:off x="7395175" y="2426942"/>
            <a:ext cx="2592000" cy="2592000"/>
          </a:xfrm>
          <a:prstGeom prst="arc">
            <a:avLst>
              <a:gd name="adj1" fmla="val 21565218"/>
              <a:gd name="adj2" fmla="val 10915299"/>
            </a:avLst>
          </a:prstGeom>
          <a:noFill/>
          <a:ln w="38100" cap="flat" cmpd="sng" algn="ctr">
            <a:gradFill>
              <a:gsLst>
                <a:gs pos="0">
                  <a:srgbClr val="00FFB9"/>
                </a:gs>
                <a:gs pos="100000">
                  <a:srgbClr val="00E6DC"/>
                </a:gs>
              </a:gsLst>
              <a:lin ang="5400000" scaled="1"/>
            </a:gradFill>
            <a:prstDash val="solid"/>
            <a:round/>
            <a:headEnd type="triangle" w="lg" len="lg"/>
            <a:tailEnd type="none" w="lg" len="lg"/>
          </a:ln>
          <a:effectLst/>
        </p:spPr>
        <p:txBody>
          <a:bodyPr rtlCol="0" anchor="ctr"/>
          <a:lstStyle/>
          <a:p>
            <a:pPr algn="ctr"/>
            <a:endParaRPr lang="en-US" dirty="0"/>
          </a:p>
        </p:txBody>
      </p:sp>
      <p:sp>
        <p:nvSpPr>
          <p:cNvPr id="68" name="Textfeld 30">
            <a:extLst>
              <a:ext uri="{FF2B5EF4-FFF2-40B4-BE49-F238E27FC236}">
                <a16:creationId xmlns:a16="http://schemas.microsoft.com/office/drawing/2014/main" id="{75A3B940-C6C4-B749-808F-AA7421E00E53}"/>
              </a:ext>
            </a:extLst>
          </p:cNvPr>
          <p:cNvSpPr txBox="1">
            <a:spLocks/>
          </p:cNvSpPr>
          <p:nvPr/>
        </p:nvSpPr>
        <p:spPr bwMode="gray">
          <a:xfrm>
            <a:off x="411163" y="5305813"/>
            <a:ext cx="2016012" cy="860987"/>
          </a:xfrm>
          <a:prstGeom prst="rect">
            <a:avLst/>
          </a:prstGeom>
          <a:noFill/>
          <a:ln>
            <a:noFill/>
          </a:ln>
          <a:scene3d>
            <a:camera prst="orthographicFront">
              <a:rot lat="0" lon="0" rev="0"/>
            </a:camera>
            <a:lightRig rig="threePt" dir="t"/>
          </a:scene3d>
        </p:spPr>
        <p:txBody>
          <a:bodyPr wrap="square" lIns="144000" tIns="72000" rIns="144000" bIns="72000" rtlCol="0" anchor="b" anchorCtr="0">
            <a:spAutoFit/>
          </a:bodyPr>
          <a:lstStyle/>
          <a:p>
            <a:pPr algn="r">
              <a:spcBef>
                <a:spcPts val="0"/>
              </a:spcBef>
              <a:tabLst>
                <a:tab pos="1255713" algn="r"/>
              </a:tabLst>
              <a:defRPr/>
            </a:pPr>
            <a:r>
              <a:rPr lang="en-US" altLang="de-DE" sz="1600" b="1" dirty="0">
                <a:solidFill>
                  <a:srgbClr val="00FFB9"/>
                </a:solidFill>
                <a:ea typeface="Arial Unicode MS"/>
              </a:rPr>
              <a:t>Phasellus </a:t>
            </a:r>
            <a:br>
              <a:rPr lang="en-US" altLang="de-DE" sz="1600" b="1" dirty="0">
                <a:solidFill>
                  <a:srgbClr val="00FFB9"/>
                </a:solidFill>
                <a:ea typeface="Arial Unicode MS"/>
              </a:rPr>
            </a:br>
            <a:r>
              <a:rPr lang="en-US" altLang="de-DE" sz="1600" b="1" dirty="0">
                <a:solidFill>
                  <a:srgbClr val="00FFB9"/>
                </a:solidFill>
                <a:ea typeface="Arial Unicode MS"/>
              </a:rPr>
              <a:t>nec sem</a:t>
            </a:r>
            <a:endParaRPr lang="en-US" altLang="de-DE" sz="1400" dirty="0">
              <a:solidFill>
                <a:srgbClr val="00FFB9"/>
              </a:solidFill>
              <a:ea typeface="Arial Unicode MS"/>
              <a:cs typeface="Arial" pitchFamily="34" charset="0"/>
            </a:endParaRPr>
          </a:p>
          <a:p>
            <a:pPr marL="0" lvl="1" algn="r">
              <a:spcBef>
                <a:spcPts val="300"/>
              </a:spcBef>
              <a:buClr>
                <a:srgbClr val="3C464B"/>
              </a:buClr>
              <a:defRPr/>
            </a:pPr>
            <a:r>
              <a:rPr lang="en-US" altLang="de-DE" sz="1200" dirty="0">
                <a:solidFill>
                  <a:srgbClr val="9999A9"/>
                </a:solidFill>
                <a:ea typeface="Arial Unicode MS"/>
                <a:cs typeface="Arial" pitchFamily="34" charset="0"/>
              </a:rPr>
              <a:t>At vero eos et accusam</a:t>
            </a:r>
          </a:p>
        </p:txBody>
      </p:sp>
      <p:sp>
        <p:nvSpPr>
          <p:cNvPr id="69" name="Textfeld 30">
            <a:extLst>
              <a:ext uri="{FF2B5EF4-FFF2-40B4-BE49-F238E27FC236}">
                <a16:creationId xmlns:a16="http://schemas.microsoft.com/office/drawing/2014/main" id="{129D1E3F-0880-AB45-84E4-D24021B388C0}"/>
              </a:ext>
            </a:extLst>
          </p:cNvPr>
          <p:cNvSpPr txBox="1">
            <a:spLocks/>
          </p:cNvSpPr>
          <p:nvPr/>
        </p:nvSpPr>
        <p:spPr bwMode="gray">
          <a:xfrm>
            <a:off x="2764800" y="5367369"/>
            <a:ext cx="1800000" cy="799431"/>
          </a:xfrm>
          <a:prstGeom prst="rect">
            <a:avLst/>
          </a:prstGeom>
          <a:noFill/>
          <a:ln>
            <a:noFill/>
          </a:ln>
          <a:scene3d>
            <a:camera prst="orthographicFront">
              <a:rot lat="0" lon="0" rev="0"/>
            </a:camera>
            <a:lightRig rig="threePt" dir="t"/>
          </a:scene3d>
        </p:spPr>
        <p:txBody>
          <a:bodyPr wrap="square" lIns="144000" tIns="72000" rIns="144000" bIns="72000" rtlCol="0" anchor="b" anchorCtr="0">
            <a:spAutoFit/>
          </a:bodyPr>
          <a:lstStyle/>
          <a:p>
            <a:pPr algn="r">
              <a:spcBef>
                <a:spcPts val="0"/>
              </a:spcBef>
              <a:tabLst>
                <a:tab pos="1255713" algn="r"/>
              </a:tabLst>
              <a:defRPr/>
            </a:pPr>
            <a:r>
              <a:rPr lang="en-US" altLang="de-DE" sz="1600" b="1" dirty="0">
                <a:solidFill>
                  <a:srgbClr val="00FFB9"/>
                </a:solidFill>
                <a:ea typeface="Arial Unicode MS"/>
              </a:rPr>
              <a:t>Maeces dio</a:t>
            </a:r>
            <a:endParaRPr lang="en-US" altLang="de-DE" sz="1400" dirty="0">
              <a:solidFill>
                <a:srgbClr val="00FFB9"/>
              </a:solidFill>
              <a:ea typeface="Arial Unicode MS"/>
              <a:cs typeface="Arial" pitchFamily="34" charset="0"/>
            </a:endParaRPr>
          </a:p>
          <a:p>
            <a:pPr marL="0" lvl="1" algn="r">
              <a:spcBef>
                <a:spcPts val="300"/>
              </a:spcBef>
              <a:buClr>
                <a:srgbClr val="3C464B"/>
              </a:buClr>
              <a:defRPr/>
            </a:pPr>
            <a:r>
              <a:rPr lang="en-US" altLang="de-DE" sz="1200" dirty="0">
                <a:solidFill>
                  <a:srgbClr val="9999A9"/>
                </a:solidFill>
                <a:ea typeface="Arial Unicode MS"/>
                <a:cs typeface="Arial" pitchFamily="34" charset="0"/>
              </a:rPr>
              <a:t>Consetetur sadipscing elitr, seddiam nonumy</a:t>
            </a:r>
          </a:p>
        </p:txBody>
      </p:sp>
      <p:sp>
        <p:nvSpPr>
          <p:cNvPr id="70" name="Textfeld 30">
            <a:extLst>
              <a:ext uri="{FF2B5EF4-FFF2-40B4-BE49-F238E27FC236}">
                <a16:creationId xmlns:a16="http://schemas.microsoft.com/office/drawing/2014/main" id="{C1851516-78E8-E141-966C-9AC7D34A4158}"/>
              </a:ext>
            </a:extLst>
          </p:cNvPr>
          <p:cNvSpPr txBox="1">
            <a:spLocks/>
          </p:cNvSpPr>
          <p:nvPr/>
        </p:nvSpPr>
        <p:spPr bwMode="gray">
          <a:xfrm>
            <a:off x="7611895" y="5367369"/>
            <a:ext cx="1800000" cy="799431"/>
          </a:xfrm>
          <a:prstGeom prst="rect">
            <a:avLst/>
          </a:prstGeom>
          <a:noFill/>
          <a:ln>
            <a:noFill/>
          </a:ln>
          <a:scene3d>
            <a:camera prst="orthographicFront">
              <a:rot lat="0" lon="0" rev="0"/>
            </a:camera>
            <a:lightRig rig="threePt" dir="t"/>
          </a:scene3d>
        </p:spPr>
        <p:txBody>
          <a:bodyPr wrap="square" lIns="144000" tIns="72000" rIns="144000" bIns="72000" rtlCol="0" anchor="b" anchorCtr="0">
            <a:spAutoFit/>
          </a:bodyPr>
          <a:lstStyle/>
          <a:p>
            <a:pPr>
              <a:spcBef>
                <a:spcPts val="0"/>
              </a:spcBef>
              <a:tabLst>
                <a:tab pos="1255713" algn="r"/>
              </a:tabLst>
              <a:defRPr/>
            </a:pPr>
            <a:r>
              <a:rPr lang="en-US" altLang="de-DE" sz="1600" b="1" dirty="0">
                <a:solidFill>
                  <a:srgbClr val="00FFB9"/>
                </a:solidFill>
                <a:ea typeface="Arial Unicode MS"/>
              </a:rPr>
              <a:t>Cras ultricies</a:t>
            </a:r>
            <a:endParaRPr lang="en-US" altLang="de-DE" sz="1400" dirty="0">
              <a:solidFill>
                <a:srgbClr val="00FFB9"/>
              </a:solidFill>
              <a:ea typeface="Arial Unicode MS"/>
              <a:cs typeface="Arial" pitchFamily="34" charset="0"/>
            </a:endParaRPr>
          </a:p>
          <a:p>
            <a:pPr marL="0" lvl="1">
              <a:spcBef>
                <a:spcPts val="300"/>
              </a:spcBef>
              <a:buClr>
                <a:srgbClr val="3C464B"/>
              </a:buClr>
              <a:defRPr/>
            </a:pPr>
            <a:r>
              <a:rPr lang="en-US" altLang="de-DE" sz="1200" dirty="0">
                <a:solidFill>
                  <a:srgbClr val="9999A9"/>
                </a:solidFill>
                <a:ea typeface="Arial Unicode MS"/>
                <a:cs typeface="Arial" pitchFamily="34" charset="0"/>
              </a:rPr>
              <a:t>At vero eos et accusam</a:t>
            </a:r>
          </a:p>
        </p:txBody>
      </p:sp>
      <p:sp>
        <p:nvSpPr>
          <p:cNvPr id="71" name="Textfeld 30">
            <a:extLst>
              <a:ext uri="{FF2B5EF4-FFF2-40B4-BE49-F238E27FC236}">
                <a16:creationId xmlns:a16="http://schemas.microsoft.com/office/drawing/2014/main" id="{00A388A4-0067-9742-9022-D1FD6B36A277}"/>
              </a:ext>
            </a:extLst>
          </p:cNvPr>
          <p:cNvSpPr txBox="1">
            <a:spLocks/>
          </p:cNvSpPr>
          <p:nvPr/>
        </p:nvSpPr>
        <p:spPr bwMode="gray">
          <a:xfrm>
            <a:off x="9772195" y="5305813"/>
            <a:ext cx="2016000" cy="860987"/>
          </a:xfrm>
          <a:prstGeom prst="rect">
            <a:avLst/>
          </a:prstGeom>
          <a:noFill/>
          <a:ln>
            <a:noFill/>
          </a:ln>
          <a:scene3d>
            <a:camera prst="orthographicFront">
              <a:rot lat="0" lon="0" rev="0"/>
            </a:camera>
            <a:lightRig rig="threePt" dir="t"/>
          </a:scene3d>
        </p:spPr>
        <p:txBody>
          <a:bodyPr wrap="square" lIns="144000" tIns="72000" rIns="144000" bIns="72000" rtlCol="0" anchor="b" anchorCtr="0">
            <a:spAutoFit/>
          </a:bodyPr>
          <a:lstStyle/>
          <a:p>
            <a:pPr>
              <a:spcBef>
                <a:spcPts val="0"/>
              </a:spcBef>
              <a:tabLst>
                <a:tab pos="1255713" algn="r"/>
              </a:tabLst>
              <a:defRPr/>
            </a:pPr>
            <a:r>
              <a:rPr lang="en-US" altLang="de-DE" sz="1600" b="1" dirty="0">
                <a:solidFill>
                  <a:srgbClr val="00FFB9"/>
                </a:solidFill>
                <a:ea typeface="Arial Unicode MS"/>
              </a:rPr>
              <a:t>Tortor acto, suscipit eget</a:t>
            </a:r>
            <a:endParaRPr lang="en-US" altLang="de-DE" sz="1400" dirty="0">
              <a:solidFill>
                <a:srgbClr val="00FFB9"/>
              </a:solidFill>
              <a:ea typeface="Arial Unicode MS"/>
              <a:cs typeface="Arial" pitchFamily="34" charset="0"/>
            </a:endParaRPr>
          </a:p>
          <a:p>
            <a:pPr marL="0" lvl="1">
              <a:spcBef>
                <a:spcPts val="300"/>
              </a:spcBef>
              <a:buClr>
                <a:srgbClr val="3C464B"/>
              </a:buClr>
              <a:defRPr/>
            </a:pPr>
            <a:r>
              <a:rPr lang="en-US" altLang="de-DE" sz="1200" dirty="0">
                <a:solidFill>
                  <a:srgbClr val="9999A9"/>
                </a:solidFill>
                <a:ea typeface="Arial Unicode MS"/>
                <a:cs typeface="Arial" pitchFamily="34" charset="0"/>
              </a:rPr>
              <a:t>Duis arcu tortor</a:t>
            </a:r>
          </a:p>
        </p:txBody>
      </p:sp>
      <p:sp>
        <p:nvSpPr>
          <p:cNvPr id="72" name="Textfeld 30">
            <a:extLst>
              <a:ext uri="{FF2B5EF4-FFF2-40B4-BE49-F238E27FC236}">
                <a16:creationId xmlns:a16="http://schemas.microsoft.com/office/drawing/2014/main" id="{6E6ED239-4206-B74F-9FC3-9956820B950E}"/>
              </a:ext>
            </a:extLst>
          </p:cNvPr>
          <p:cNvSpPr txBox="1">
            <a:spLocks/>
          </p:cNvSpPr>
          <p:nvPr/>
        </p:nvSpPr>
        <p:spPr bwMode="gray">
          <a:xfrm>
            <a:off x="3676313" y="1414800"/>
            <a:ext cx="1800000" cy="1008000"/>
          </a:xfrm>
          <a:prstGeom prst="rect">
            <a:avLst/>
          </a:prstGeom>
          <a:noFill/>
          <a:ln>
            <a:noFill/>
          </a:ln>
          <a:scene3d>
            <a:camera prst="orthographicFront">
              <a:rot lat="0" lon="0" rev="0"/>
            </a:camera>
            <a:lightRig rig="threePt" dir="t"/>
          </a:scene3d>
        </p:spPr>
        <p:txBody>
          <a:bodyPr wrap="square" lIns="144000" tIns="72000" rIns="144000" bIns="72000" rtlCol="0" anchor="t" anchorCtr="0">
            <a:noAutofit/>
          </a:bodyPr>
          <a:lstStyle/>
          <a:p>
            <a:pPr algn="r">
              <a:spcBef>
                <a:spcPts val="0"/>
              </a:spcBef>
              <a:tabLst>
                <a:tab pos="1255713" algn="r"/>
              </a:tabLst>
              <a:defRPr/>
            </a:pPr>
            <a:r>
              <a:rPr lang="en-US" altLang="de-DE" sz="1600" b="1" dirty="0">
                <a:solidFill>
                  <a:srgbClr val="00FFB9"/>
                </a:solidFill>
                <a:ea typeface="Arial Unicode MS"/>
              </a:rPr>
              <a:t>Donec magna</a:t>
            </a:r>
            <a:endParaRPr lang="en-US" altLang="de-DE" sz="1400" dirty="0">
              <a:solidFill>
                <a:srgbClr val="00FFB9"/>
              </a:solidFill>
              <a:ea typeface="Arial Unicode MS"/>
              <a:cs typeface="Arial" pitchFamily="34" charset="0"/>
            </a:endParaRPr>
          </a:p>
          <a:p>
            <a:pPr marL="0" lvl="1" algn="r">
              <a:spcBef>
                <a:spcPts val="300"/>
              </a:spcBef>
              <a:buClr>
                <a:srgbClr val="3C464B"/>
              </a:buClr>
              <a:defRPr/>
            </a:pPr>
            <a:r>
              <a:rPr lang="en-US" altLang="de-DE" sz="1200" dirty="0">
                <a:solidFill>
                  <a:srgbClr val="9999A9"/>
                </a:solidFill>
                <a:ea typeface="Arial Unicode MS"/>
                <a:cs typeface="Arial" pitchFamily="34" charset="0"/>
              </a:rPr>
              <a:t>Duis arcu tortor, suscipit eget</a:t>
            </a:r>
          </a:p>
        </p:txBody>
      </p:sp>
      <p:sp>
        <p:nvSpPr>
          <p:cNvPr id="73" name="Textfeld 30">
            <a:extLst>
              <a:ext uri="{FF2B5EF4-FFF2-40B4-BE49-F238E27FC236}">
                <a16:creationId xmlns:a16="http://schemas.microsoft.com/office/drawing/2014/main" id="{18EDCA0B-1C81-084E-9151-B55377747F9A}"/>
              </a:ext>
            </a:extLst>
          </p:cNvPr>
          <p:cNvSpPr txBox="1">
            <a:spLocks/>
          </p:cNvSpPr>
          <p:nvPr/>
        </p:nvSpPr>
        <p:spPr bwMode="gray">
          <a:xfrm>
            <a:off x="6727414" y="1414800"/>
            <a:ext cx="1800000" cy="1008000"/>
          </a:xfrm>
          <a:prstGeom prst="rect">
            <a:avLst/>
          </a:prstGeom>
          <a:noFill/>
          <a:ln>
            <a:noFill/>
          </a:ln>
          <a:scene3d>
            <a:camera prst="orthographicFront">
              <a:rot lat="0" lon="0" rev="0"/>
            </a:camera>
            <a:lightRig rig="threePt" dir="t"/>
          </a:scene3d>
        </p:spPr>
        <p:txBody>
          <a:bodyPr wrap="square" lIns="144000" tIns="72000" rIns="144000" bIns="72000" rtlCol="0" anchor="t" anchorCtr="0">
            <a:noAutofit/>
          </a:bodyPr>
          <a:lstStyle/>
          <a:p>
            <a:pPr>
              <a:spcBef>
                <a:spcPts val="0"/>
              </a:spcBef>
              <a:tabLst>
                <a:tab pos="1255713" algn="r"/>
              </a:tabLst>
              <a:defRPr/>
            </a:pPr>
            <a:r>
              <a:rPr lang="en-US" altLang="de-DE" sz="1600" b="1" dirty="0">
                <a:solidFill>
                  <a:srgbClr val="00FFB9"/>
                </a:solidFill>
                <a:ea typeface="Arial Unicode MS"/>
              </a:rPr>
              <a:t>Loram ypsum</a:t>
            </a:r>
            <a:endParaRPr lang="en-US" altLang="de-DE" sz="1400" dirty="0">
              <a:solidFill>
                <a:srgbClr val="00FFB9"/>
              </a:solidFill>
              <a:ea typeface="Arial Unicode MS"/>
              <a:cs typeface="Arial" pitchFamily="34" charset="0"/>
            </a:endParaRPr>
          </a:p>
          <a:p>
            <a:pPr marL="0" lvl="1">
              <a:spcBef>
                <a:spcPts val="300"/>
              </a:spcBef>
              <a:buClr>
                <a:srgbClr val="3C464B"/>
              </a:buClr>
              <a:defRPr/>
            </a:pPr>
            <a:r>
              <a:rPr lang="en-US" altLang="de-DE" sz="1200" dirty="0">
                <a:solidFill>
                  <a:srgbClr val="9999A9"/>
                </a:solidFill>
                <a:ea typeface="Arial Unicode MS"/>
                <a:cs typeface="Arial" pitchFamily="34" charset="0"/>
              </a:rPr>
              <a:t>Stet clita kasd gubergren, no sea takimata sanctus</a:t>
            </a:r>
          </a:p>
        </p:txBody>
      </p:sp>
      <p:sp>
        <p:nvSpPr>
          <p:cNvPr id="74" name="Oval 73">
            <a:extLst>
              <a:ext uri="{FF2B5EF4-FFF2-40B4-BE49-F238E27FC236}">
                <a16:creationId xmlns:a16="http://schemas.microsoft.com/office/drawing/2014/main" id="{A719EF01-4E47-1D46-9FFB-4F48379BD5CB}"/>
              </a:ext>
            </a:extLst>
          </p:cNvPr>
          <p:cNvSpPr/>
          <p:nvPr/>
        </p:nvSpPr>
        <p:spPr bwMode="auto">
          <a:xfrm>
            <a:off x="2322215" y="4338492"/>
            <a:ext cx="208900" cy="208900"/>
          </a:xfrm>
          <a:prstGeom prst="ellipse">
            <a:avLst/>
          </a:prstGeom>
          <a:solidFill>
            <a:schemeClr val="bg2"/>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75" name="Oval 74">
            <a:extLst>
              <a:ext uri="{FF2B5EF4-FFF2-40B4-BE49-F238E27FC236}">
                <a16:creationId xmlns:a16="http://schemas.microsoft.com/office/drawing/2014/main" id="{B88DFC7D-4709-F64D-AB4F-03A57571D8D5}"/>
              </a:ext>
            </a:extLst>
          </p:cNvPr>
          <p:cNvSpPr/>
          <p:nvPr/>
        </p:nvSpPr>
        <p:spPr bwMode="auto">
          <a:xfrm>
            <a:off x="4462370" y="4338492"/>
            <a:ext cx="208900" cy="208900"/>
          </a:xfrm>
          <a:prstGeom prst="ellipse">
            <a:avLst/>
          </a:prstGeom>
          <a:solidFill>
            <a:schemeClr val="bg2"/>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76" name="Oval 75">
            <a:extLst>
              <a:ext uri="{FF2B5EF4-FFF2-40B4-BE49-F238E27FC236}">
                <a16:creationId xmlns:a16="http://schemas.microsoft.com/office/drawing/2014/main" id="{A652ECF1-203F-F442-A0EC-06F31D14F477}"/>
              </a:ext>
            </a:extLst>
          </p:cNvPr>
          <p:cNvSpPr/>
          <p:nvPr/>
        </p:nvSpPr>
        <p:spPr bwMode="auto">
          <a:xfrm>
            <a:off x="7507445" y="4338492"/>
            <a:ext cx="208900" cy="208900"/>
          </a:xfrm>
          <a:prstGeom prst="ellipse">
            <a:avLst/>
          </a:prstGeom>
          <a:solidFill>
            <a:schemeClr val="bg2"/>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77" name="Oval 76">
            <a:extLst>
              <a:ext uri="{FF2B5EF4-FFF2-40B4-BE49-F238E27FC236}">
                <a16:creationId xmlns:a16="http://schemas.microsoft.com/office/drawing/2014/main" id="{4EA1F6A6-1124-3E46-9E98-CBC3A1C89606}"/>
              </a:ext>
            </a:extLst>
          </p:cNvPr>
          <p:cNvSpPr/>
          <p:nvPr/>
        </p:nvSpPr>
        <p:spPr bwMode="auto">
          <a:xfrm>
            <a:off x="9666005" y="4338492"/>
            <a:ext cx="208900" cy="208900"/>
          </a:xfrm>
          <a:prstGeom prst="ellipse">
            <a:avLst/>
          </a:prstGeom>
          <a:solidFill>
            <a:schemeClr val="bg2"/>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cxnSp>
        <p:nvCxnSpPr>
          <p:cNvPr id="78" name="Straight Connector 39">
            <a:extLst>
              <a:ext uri="{FF2B5EF4-FFF2-40B4-BE49-F238E27FC236}">
                <a16:creationId xmlns:a16="http://schemas.microsoft.com/office/drawing/2014/main" id="{C2673E54-3178-A84E-84E3-B1CFBD32FB2E}"/>
              </a:ext>
            </a:extLst>
          </p:cNvPr>
          <p:cNvCxnSpPr/>
          <p:nvPr/>
        </p:nvCxnSpPr>
        <p:spPr bwMode="auto">
          <a:xfrm>
            <a:off x="2426665" y="4442942"/>
            <a:ext cx="0" cy="1723858"/>
          </a:xfrm>
          <a:prstGeom prst="line">
            <a:avLst/>
          </a:prstGeom>
          <a:solidFill>
            <a:schemeClr val="tx2"/>
          </a:solidFill>
          <a:ln w="12700" cap="flat" cmpd="sng" algn="ctr">
            <a:solidFill>
              <a:srgbClr val="9999A9"/>
            </a:solidFill>
            <a:prstDash val="solid"/>
            <a:round/>
            <a:headEnd type="oval"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Straight Connector 31">
            <a:extLst>
              <a:ext uri="{FF2B5EF4-FFF2-40B4-BE49-F238E27FC236}">
                <a16:creationId xmlns:a16="http://schemas.microsoft.com/office/drawing/2014/main" id="{9F707093-7E21-0844-978A-CB61D76A7292}"/>
              </a:ext>
            </a:extLst>
          </p:cNvPr>
          <p:cNvCxnSpPr/>
          <p:nvPr/>
        </p:nvCxnSpPr>
        <p:spPr bwMode="auto">
          <a:xfrm>
            <a:off x="4565449" y="4442942"/>
            <a:ext cx="0" cy="1724496"/>
          </a:xfrm>
          <a:prstGeom prst="line">
            <a:avLst/>
          </a:prstGeom>
          <a:solidFill>
            <a:schemeClr val="tx2"/>
          </a:solidFill>
          <a:ln w="12700" cap="flat" cmpd="sng" algn="ctr">
            <a:solidFill>
              <a:srgbClr val="9999A9"/>
            </a:solidFill>
            <a:prstDash val="solid"/>
            <a:round/>
            <a:headEnd type="oval"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Straight Connector 33">
            <a:extLst>
              <a:ext uri="{FF2B5EF4-FFF2-40B4-BE49-F238E27FC236}">
                <a16:creationId xmlns:a16="http://schemas.microsoft.com/office/drawing/2014/main" id="{A4CB7EBC-5ECB-E747-A1F7-697C1F6C98E2}"/>
              </a:ext>
            </a:extLst>
          </p:cNvPr>
          <p:cNvCxnSpPr/>
          <p:nvPr/>
        </p:nvCxnSpPr>
        <p:spPr bwMode="auto">
          <a:xfrm>
            <a:off x="7611385" y="4442942"/>
            <a:ext cx="0" cy="1724496"/>
          </a:xfrm>
          <a:prstGeom prst="line">
            <a:avLst/>
          </a:prstGeom>
          <a:solidFill>
            <a:schemeClr val="tx2"/>
          </a:solidFill>
          <a:ln w="12700" cap="flat" cmpd="sng" algn="ctr">
            <a:solidFill>
              <a:srgbClr val="9999A9"/>
            </a:solidFill>
            <a:prstDash val="solid"/>
            <a:round/>
            <a:headEnd type="oval"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1" name="Straight Connector 37">
            <a:extLst>
              <a:ext uri="{FF2B5EF4-FFF2-40B4-BE49-F238E27FC236}">
                <a16:creationId xmlns:a16="http://schemas.microsoft.com/office/drawing/2014/main" id="{2DF82D1F-4601-6D4B-B446-5BAC94A77A90}"/>
              </a:ext>
            </a:extLst>
          </p:cNvPr>
          <p:cNvCxnSpPr/>
          <p:nvPr/>
        </p:nvCxnSpPr>
        <p:spPr bwMode="auto">
          <a:xfrm>
            <a:off x="9771685" y="4442942"/>
            <a:ext cx="0" cy="1723858"/>
          </a:xfrm>
          <a:prstGeom prst="line">
            <a:avLst/>
          </a:prstGeom>
          <a:solidFill>
            <a:schemeClr val="tx2"/>
          </a:solidFill>
          <a:ln w="12700" cap="flat" cmpd="sng" algn="ctr">
            <a:solidFill>
              <a:srgbClr val="9999A9"/>
            </a:solidFill>
            <a:prstDash val="solid"/>
            <a:round/>
            <a:headEnd type="oval"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82" name="Oval 81">
            <a:extLst>
              <a:ext uri="{FF2B5EF4-FFF2-40B4-BE49-F238E27FC236}">
                <a16:creationId xmlns:a16="http://schemas.microsoft.com/office/drawing/2014/main" id="{B0BDB86F-16FE-1846-BDAC-244971FC6D24}"/>
              </a:ext>
            </a:extLst>
          </p:cNvPr>
          <p:cNvSpPr/>
          <p:nvPr/>
        </p:nvSpPr>
        <p:spPr bwMode="auto">
          <a:xfrm>
            <a:off x="6622964" y="2487077"/>
            <a:ext cx="208900" cy="208900"/>
          </a:xfrm>
          <a:prstGeom prst="ellipse">
            <a:avLst/>
          </a:prstGeom>
          <a:solidFill>
            <a:schemeClr val="bg2"/>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83" name="Oval 82">
            <a:extLst>
              <a:ext uri="{FF2B5EF4-FFF2-40B4-BE49-F238E27FC236}">
                <a16:creationId xmlns:a16="http://schemas.microsoft.com/office/drawing/2014/main" id="{182BD37A-23BA-514A-B70D-7169B43AEC56}"/>
              </a:ext>
            </a:extLst>
          </p:cNvPr>
          <p:cNvSpPr/>
          <p:nvPr/>
        </p:nvSpPr>
        <p:spPr bwMode="auto">
          <a:xfrm>
            <a:off x="5371353" y="2487077"/>
            <a:ext cx="208900" cy="208900"/>
          </a:xfrm>
          <a:prstGeom prst="ellipse">
            <a:avLst/>
          </a:prstGeom>
          <a:solidFill>
            <a:schemeClr val="bg2"/>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cxnSp>
        <p:nvCxnSpPr>
          <p:cNvPr id="84" name="Straight Connector 44">
            <a:extLst>
              <a:ext uri="{FF2B5EF4-FFF2-40B4-BE49-F238E27FC236}">
                <a16:creationId xmlns:a16="http://schemas.microsoft.com/office/drawing/2014/main" id="{99615094-3087-7342-B5F1-F9683F061294}"/>
              </a:ext>
            </a:extLst>
          </p:cNvPr>
          <p:cNvCxnSpPr/>
          <p:nvPr/>
        </p:nvCxnSpPr>
        <p:spPr bwMode="auto">
          <a:xfrm>
            <a:off x="5475803" y="1414463"/>
            <a:ext cx="0" cy="1166737"/>
          </a:xfrm>
          <a:prstGeom prst="line">
            <a:avLst/>
          </a:prstGeom>
          <a:solidFill>
            <a:schemeClr val="tx2"/>
          </a:solidFill>
          <a:ln w="12700" cap="flat" cmpd="sng" algn="ctr">
            <a:solidFill>
              <a:srgbClr val="9999A9"/>
            </a:solidFill>
            <a:prstDash val="solid"/>
            <a:round/>
            <a:headEnd type="none" w="lg" len="lg"/>
            <a:tailEnd type="oval"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Straight Connector 46">
            <a:extLst>
              <a:ext uri="{FF2B5EF4-FFF2-40B4-BE49-F238E27FC236}">
                <a16:creationId xmlns:a16="http://schemas.microsoft.com/office/drawing/2014/main" id="{2C7367AD-61A4-A542-8AA8-FC3F491507EA}"/>
              </a:ext>
            </a:extLst>
          </p:cNvPr>
          <p:cNvCxnSpPr/>
          <p:nvPr/>
        </p:nvCxnSpPr>
        <p:spPr bwMode="auto">
          <a:xfrm>
            <a:off x="6727414" y="1414800"/>
            <a:ext cx="0" cy="1166400"/>
          </a:xfrm>
          <a:prstGeom prst="line">
            <a:avLst/>
          </a:prstGeom>
          <a:solidFill>
            <a:schemeClr val="tx2"/>
          </a:solidFill>
          <a:ln w="12700" cap="flat" cmpd="sng" algn="ctr">
            <a:solidFill>
              <a:srgbClr val="9999A9"/>
            </a:solidFill>
            <a:prstDash val="solid"/>
            <a:round/>
            <a:headEnd type="none" w="lg" len="lg"/>
            <a:tailEnd type="oval"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48164033"/>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en-US" dirty="0"/>
              <a:t>Process and feedback – arrows</a:t>
            </a:r>
          </a:p>
        </p:txBody>
      </p:sp>
      <p:sp>
        <p:nvSpPr>
          <p:cNvPr id="16" name="Eingekerbter Richtungspfeil 15"/>
          <p:cNvSpPr/>
          <p:nvPr/>
        </p:nvSpPr>
        <p:spPr bwMode="auto">
          <a:xfrm flipH="1">
            <a:off x="2012023" y="3880800"/>
            <a:ext cx="7888242" cy="467756"/>
          </a:xfrm>
          <a:prstGeom prst="chevron">
            <a:avLst>
              <a:gd name="adj" fmla="val 22932"/>
            </a:avLst>
          </a:prstGeom>
          <a:solidFill>
            <a:srgbClr val="00FFB9"/>
          </a:solidFill>
          <a:ln>
            <a:noFill/>
          </a:ln>
          <a:effectLst/>
        </p:spPr>
        <p:txBody>
          <a:bodyPr vert="horz" wrap="square" lIns="143925" tIns="71963" rIns="71963" bIns="71963" numCol="1" rtlCol="0" anchor="ctr" anchorCtr="0" compatLnSpc="1">
            <a:prstTxWarp prst="textNoShape">
              <a:avLst/>
            </a:prstTxWarp>
            <a:normAutofit/>
          </a:bodyPr>
          <a:lstStyle/>
          <a:p>
            <a:pPr defTabSz="913943" fontAlgn="base">
              <a:lnSpc>
                <a:spcPct val="110000"/>
              </a:lnSpc>
              <a:spcBef>
                <a:spcPct val="0"/>
              </a:spcBef>
              <a:spcAft>
                <a:spcPct val="0"/>
              </a:spcAft>
            </a:pPr>
            <a:r>
              <a:rPr lang="en-US" sz="1599" b="1" dirty="0">
                <a:solidFill>
                  <a:schemeClr val="tx2"/>
                </a:solidFill>
              </a:rPr>
              <a:t>Consetetur sadipscing elitr, seddiam nonumy</a:t>
            </a:r>
          </a:p>
        </p:txBody>
      </p:sp>
      <p:grpSp>
        <p:nvGrpSpPr>
          <p:cNvPr id="2" name="Group 1"/>
          <p:cNvGrpSpPr/>
          <p:nvPr/>
        </p:nvGrpSpPr>
        <p:grpSpPr>
          <a:xfrm>
            <a:off x="1883401" y="3070800"/>
            <a:ext cx="8425619" cy="1044000"/>
            <a:chOff x="1884382" y="3135788"/>
            <a:chExt cx="8430007" cy="1000426"/>
          </a:xfrm>
        </p:grpSpPr>
        <p:cxnSp>
          <p:nvCxnSpPr>
            <p:cNvPr id="4" name="Elbow Connector 3"/>
            <p:cNvCxnSpPr/>
            <p:nvPr/>
          </p:nvCxnSpPr>
          <p:spPr bwMode="auto">
            <a:xfrm rot="10800000" flipH="1">
              <a:off x="1884382" y="3135789"/>
              <a:ext cx="343516" cy="1000425"/>
            </a:xfrm>
            <a:prstGeom prst="bentConnector3">
              <a:avLst>
                <a:gd name="adj1" fmla="val -66547"/>
              </a:avLst>
            </a:prstGeom>
            <a:solidFill>
              <a:schemeClr val="tx2"/>
            </a:solidFill>
            <a:ln w="12700" cap="flat" cmpd="sng" algn="ctr">
              <a:solidFill>
                <a:srgbClr val="66667E"/>
              </a:solidFill>
              <a:prstDash val="solid"/>
              <a:round/>
              <a:headEnd type="none" w="lg" len="lg"/>
              <a:tailEnd type="triangl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 name="Elbow Connector 5"/>
            <p:cNvCxnSpPr/>
            <p:nvPr/>
          </p:nvCxnSpPr>
          <p:spPr bwMode="auto">
            <a:xfrm flipH="1">
              <a:off x="9970032" y="3135788"/>
              <a:ext cx="344357" cy="1000425"/>
            </a:xfrm>
            <a:prstGeom prst="bentConnector3">
              <a:avLst>
                <a:gd name="adj1" fmla="val -66385"/>
              </a:avLst>
            </a:prstGeom>
            <a:solidFill>
              <a:schemeClr val="tx2"/>
            </a:solidFill>
            <a:ln w="12700" cap="flat" cmpd="sng" algn="ctr">
              <a:solidFill>
                <a:srgbClr val="66667E"/>
              </a:solidFill>
              <a:prstDash val="solid"/>
              <a:round/>
              <a:headEnd type="none" w="lg" len="lg"/>
              <a:tailEnd type="triangl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18" name="Eingekerbter Richtungspfeil 36"/>
          <p:cNvSpPr/>
          <p:nvPr/>
        </p:nvSpPr>
        <p:spPr bwMode="auto">
          <a:xfrm>
            <a:off x="2163668" y="2422800"/>
            <a:ext cx="2158876" cy="1295325"/>
          </a:xfrm>
          <a:prstGeom prst="chevron">
            <a:avLst>
              <a:gd name="adj" fmla="val 24559"/>
            </a:avLst>
          </a:prstGeom>
          <a:solidFill>
            <a:srgbClr val="E5E5E9"/>
          </a:solidFill>
          <a:ln>
            <a:noFill/>
          </a:ln>
          <a:effectLst/>
        </p:spPr>
        <p:txBody>
          <a:bodyPr vert="horz" wrap="square" lIns="143925" tIns="71963" rIns="71963" bIns="71963" numCol="1" rtlCol="0" anchor="t" anchorCtr="0" compatLnSpc="1">
            <a:prstTxWarp prst="textNoShape">
              <a:avLst/>
            </a:prstTxWarp>
            <a:normAutofit/>
          </a:bodyPr>
          <a:lstStyle/>
          <a:p>
            <a:pPr>
              <a:lnSpc>
                <a:spcPct val="110000"/>
              </a:lnSpc>
              <a:spcBef>
                <a:spcPct val="0"/>
              </a:spcBef>
            </a:pPr>
            <a:r>
              <a:rPr lang="en-US" sz="1599" dirty="0">
                <a:solidFill>
                  <a:srgbClr val="333353"/>
                </a:solidFill>
              </a:rPr>
              <a:t>Cras ultricies mi eu</a:t>
            </a:r>
          </a:p>
        </p:txBody>
      </p:sp>
      <p:sp>
        <p:nvSpPr>
          <p:cNvPr id="19" name="Eingekerbter Richtungspfeil 36"/>
          <p:cNvSpPr/>
          <p:nvPr/>
        </p:nvSpPr>
        <p:spPr bwMode="auto">
          <a:xfrm>
            <a:off x="4139911" y="2422800"/>
            <a:ext cx="2158876" cy="1295325"/>
          </a:xfrm>
          <a:prstGeom prst="chevron">
            <a:avLst>
              <a:gd name="adj" fmla="val 24559"/>
            </a:avLst>
          </a:prstGeom>
          <a:solidFill>
            <a:srgbClr val="E5E5E9"/>
          </a:solidFill>
          <a:ln>
            <a:noFill/>
          </a:ln>
          <a:effectLst/>
        </p:spPr>
        <p:txBody>
          <a:bodyPr vert="horz" wrap="square" lIns="143925" tIns="71963" rIns="71963" bIns="71963" numCol="1" rtlCol="0" anchor="t" anchorCtr="0" compatLnSpc="1">
            <a:prstTxWarp prst="textNoShape">
              <a:avLst/>
            </a:prstTxWarp>
            <a:normAutofit/>
          </a:bodyPr>
          <a:lstStyle/>
          <a:p>
            <a:pPr defTabSz="913943" fontAlgn="base">
              <a:lnSpc>
                <a:spcPct val="110000"/>
              </a:lnSpc>
              <a:spcBef>
                <a:spcPct val="0"/>
              </a:spcBef>
              <a:spcAft>
                <a:spcPct val="0"/>
              </a:spcAft>
            </a:pPr>
            <a:r>
              <a:rPr lang="en-US" sz="1599" dirty="0">
                <a:solidFill>
                  <a:srgbClr val="333353"/>
                </a:solidFill>
              </a:rPr>
              <a:t>At vero eos et accusam</a:t>
            </a:r>
          </a:p>
        </p:txBody>
      </p:sp>
      <p:sp>
        <p:nvSpPr>
          <p:cNvPr id="20" name="Eingekerbter Richtungspfeil 36"/>
          <p:cNvSpPr/>
          <p:nvPr/>
        </p:nvSpPr>
        <p:spPr bwMode="auto">
          <a:xfrm>
            <a:off x="6116153" y="2422800"/>
            <a:ext cx="2158876" cy="1295325"/>
          </a:xfrm>
          <a:prstGeom prst="chevron">
            <a:avLst>
              <a:gd name="adj" fmla="val 24559"/>
            </a:avLst>
          </a:prstGeom>
          <a:solidFill>
            <a:srgbClr val="00646E"/>
          </a:solidFill>
          <a:ln>
            <a:noFill/>
          </a:ln>
          <a:effectLst/>
        </p:spPr>
        <p:txBody>
          <a:bodyPr vert="horz" wrap="square" lIns="143925" tIns="71963" rIns="71963" bIns="71963" numCol="1" rtlCol="0" anchor="t" anchorCtr="0" compatLnSpc="1">
            <a:prstTxWarp prst="textNoShape">
              <a:avLst/>
            </a:prstTxWarp>
            <a:normAutofit/>
          </a:bodyPr>
          <a:lstStyle/>
          <a:p>
            <a:pPr defTabSz="913943" fontAlgn="base">
              <a:lnSpc>
                <a:spcPct val="110000"/>
              </a:lnSpc>
              <a:spcBef>
                <a:spcPct val="0"/>
              </a:spcBef>
              <a:spcAft>
                <a:spcPct val="0"/>
              </a:spcAft>
            </a:pPr>
            <a:r>
              <a:rPr lang="en-US" sz="1599" b="1" dirty="0">
                <a:solidFill>
                  <a:schemeClr val="bg1"/>
                </a:solidFill>
              </a:rPr>
              <a:t>Duis arcu, suscipit eget</a:t>
            </a:r>
          </a:p>
        </p:txBody>
      </p:sp>
      <p:sp>
        <p:nvSpPr>
          <p:cNvPr id="21" name="Eingekerbter Richtungspfeil 36"/>
          <p:cNvSpPr/>
          <p:nvPr/>
        </p:nvSpPr>
        <p:spPr bwMode="auto">
          <a:xfrm>
            <a:off x="8092395" y="2422800"/>
            <a:ext cx="2158876" cy="1295325"/>
          </a:xfrm>
          <a:prstGeom prst="chevron">
            <a:avLst>
              <a:gd name="adj" fmla="val 24559"/>
            </a:avLst>
          </a:prstGeom>
          <a:solidFill>
            <a:srgbClr val="E5E5E9"/>
          </a:solidFill>
          <a:ln>
            <a:noFill/>
          </a:ln>
          <a:effectLst/>
        </p:spPr>
        <p:txBody>
          <a:bodyPr vert="horz" wrap="square" lIns="143925" tIns="71963" rIns="71963" bIns="71963" numCol="1" rtlCol="0" anchor="t" anchorCtr="0" compatLnSpc="1">
            <a:prstTxWarp prst="textNoShape">
              <a:avLst/>
            </a:prstTxWarp>
            <a:normAutofit/>
          </a:bodyPr>
          <a:lstStyle/>
          <a:p>
            <a:pPr defTabSz="913943" fontAlgn="base">
              <a:lnSpc>
                <a:spcPct val="110000"/>
              </a:lnSpc>
              <a:spcBef>
                <a:spcPct val="0"/>
              </a:spcBef>
              <a:spcAft>
                <a:spcPct val="0"/>
              </a:spcAft>
            </a:pPr>
            <a:r>
              <a:rPr lang="en-US" sz="1599" dirty="0">
                <a:solidFill>
                  <a:srgbClr val="333353"/>
                </a:solidFill>
              </a:rPr>
              <a:t>Phasellus nec sem</a:t>
            </a:r>
          </a:p>
        </p:txBody>
      </p:sp>
      <p:sp>
        <p:nvSpPr>
          <p:cNvPr id="3" name="Footer Placeholder 2">
            <a:extLst>
              <a:ext uri="{FF2B5EF4-FFF2-40B4-BE49-F238E27FC236}">
                <a16:creationId xmlns:a16="http://schemas.microsoft.com/office/drawing/2014/main" id="{4923B19E-E0C6-4AAF-97FD-790EEE5F3A0F}"/>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5" name="Slide Number Placeholder 4">
            <a:extLst>
              <a:ext uri="{FF2B5EF4-FFF2-40B4-BE49-F238E27FC236}">
                <a16:creationId xmlns:a16="http://schemas.microsoft.com/office/drawing/2014/main" id="{1E2B8C21-2A5F-44A5-8409-4ECC73AF9A51}"/>
              </a:ext>
            </a:extLst>
          </p:cNvPr>
          <p:cNvSpPr>
            <a:spLocks noGrp="1"/>
          </p:cNvSpPr>
          <p:nvPr>
            <p:ph type="sldNum" sz="quarter" idx="11"/>
          </p:nvPr>
        </p:nvSpPr>
        <p:spPr/>
        <p:txBody>
          <a:bodyPr/>
          <a:lstStyle/>
          <a:p>
            <a:r>
              <a:rPr lang="en-US" dirty="0"/>
              <a:t>Page </a:t>
            </a:r>
            <a:fld id="{15EBE321-CBB1-4E91-BD14-37C8D44326FB}" type="slidenum">
              <a:rPr lang="en-US" smtClean="0"/>
              <a:pPr/>
              <a:t>104</a:t>
            </a:fld>
            <a:endParaRPr lang="en-US" dirty="0"/>
          </a:p>
        </p:txBody>
      </p:sp>
    </p:spTree>
    <p:extLst>
      <p:ext uri="{BB962C8B-B14F-4D97-AF65-F5344CB8AC3E}">
        <p14:creationId xmlns:p14="http://schemas.microsoft.com/office/powerpoint/2010/main" val="156855347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en-US" dirty="0"/>
              <a:t>Process and feedback – arrows</a:t>
            </a:r>
          </a:p>
        </p:txBody>
      </p:sp>
      <p:sp>
        <p:nvSpPr>
          <p:cNvPr id="16" name="Eingekerbter Richtungspfeil 15"/>
          <p:cNvSpPr/>
          <p:nvPr/>
        </p:nvSpPr>
        <p:spPr bwMode="auto">
          <a:xfrm flipH="1">
            <a:off x="2012023" y="3880800"/>
            <a:ext cx="7888242" cy="467756"/>
          </a:xfrm>
          <a:prstGeom prst="chevron">
            <a:avLst>
              <a:gd name="adj" fmla="val 22932"/>
            </a:avLst>
          </a:prstGeom>
          <a:solidFill>
            <a:srgbClr val="00FFB9"/>
          </a:solidFill>
          <a:ln>
            <a:noFill/>
          </a:ln>
          <a:effectLst/>
        </p:spPr>
        <p:txBody>
          <a:bodyPr vert="horz" wrap="square" lIns="143925" tIns="71963" rIns="71963" bIns="71963" numCol="1" rtlCol="0" anchor="ctr" anchorCtr="0" compatLnSpc="1">
            <a:prstTxWarp prst="textNoShape">
              <a:avLst/>
            </a:prstTxWarp>
            <a:normAutofit/>
          </a:bodyPr>
          <a:lstStyle/>
          <a:p>
            <a:pPr defTabSz="913943" fontAlgn="base">
              <a:lnSpc>
                <a:spcPct val="110000"/>
              </a:lnSpc>
              <a:spcBef>
                <a:spcPct val="0"/>
              </a:spcBef>
              <a:spcAft>
                <a:spcPct val="0"/>
              </a:spcAft>
            </a:pPr>
            <a:r>
              <a:rPr lang="en-US" sz="1599" b="1" dirty="0">
                <a:solidFill>
                  <a:schemeClr val="bg2"/>
                </a:solidFill>
              </a:rPr>
              <a:t>Consetetur sadipscing elitr, seddiam nonumy</a:t>
            </a:r>
          </a:p>
        </p:txBody>
      </p:sp>
      <p:grpSp>
        <p:nvGrpSpPr>
          <p:cNvPr id="2" name="Group 1"/>
          <p:cNvGrpSpPr/>
          <p:nvPr/>
        </p:nvGrpSpPr>
        <p:grpSpPr>
          <a:xfrm>
            <a:off x="1883401" y="3070800"/>
            <a:ext cx="8425619" cy="1044000"/>
            <a:chOff x="1884382" y="3135788"/>
            <a:chExt cx="8430007" cy="1000426"/>
          </a:xfrm>
        </p:grpSpPr>
        <p:cxnSp>
          <p:nvCxnSpPr>
            <p:cNvPr id="4" name="Elbow Connector 3"/>
            <p:cNvCxnSpPr/>
            <p:nvPr/>
          </p:nvCxnSpPr>
          <p:spPr bwMode="auto">
            <a:xfrm rot="10800000" flipH="1">
              <a:off x="1884382" y="3135789"/>
              <a:ext cx="343516" cy="1000425"/>
            </a:xfrm>
            <a:prstGeom prst="bentConnector3">
              <a:avLst>
                <a:gd name="adj1" fmla="val -66547"/>
              </a:avLst>
            </a:prstGeom>
            <a:solidFill>
              <a:schemeClr val="tx2"/>
            </a:solidFill>
            <a:ln w="12700" cap="flat" cmpd="sng" algn="ctr">
              <a:solidFill>
                <a:srgbClr val="9999A9"/>
              </a:solidFill>
              <a:prstDash val="solid"/>
              <a:round/>
              <a:headEnd type="none" w="lg" len="lg"/>
              <a:tailEnd type="triangl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 name="Elbow Connector 5"/>
            <p:cNvCxnSpPr/>
            <p:nvPr/>
          </p:nvCxnSpPr>
          <p:spPr bwMode="auto">
            <a:xfrm flipH="1">
              <a:off x="9970032" y="3135788"/>
              <a:ext cx="344357" cy="1000425"/>
            </a:xfrm>
            <a:prstGeom prst="bentConnector3">
              <a:avLst>
                <a:gd name="adj1" fmla="val -66385"/>
              </a:avLst>
            </a:prstGeom>
            <a:solidFill>
              <a:schemeClr val="tx2"/>
            </a:solidFill>
            <a:ln w="12700" cap="flat" cmpd="sng" algn="ctr">
              <a:solidFill>
                <a:srgbClr val="9999A9"/>
              </a:solidFill>
              <a:prstDash val="solid"/>
              <a:round/>
              <a:headEnd type="none" w="lg" len="lg"/>
              <a:tailEnd type="triangl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18" name="Eingekerbter Richtungspfeil 36"/>
          <p:cNvSpPr/>
          <p:nvPr/>
        </p:nvSpPr>
        <p:spPr bwMode="auto">
          <a:xfrm>
            <a:off x="2163668" y="2422800"/>
            <a:ext cx="2158876" cy="1295325"/>
          </a:xfrm>
          <a:prstGeom prst="chevron">
            <a:avLst>
              <a:gd name="adj" fmla="val 24559"/>
            </a:avLst>
          </a:prstGeom>
          <a:solidFill>
            <a:srgbClr val="333353"/>
          </a:solidFill>
          <a:ln>
            <a:noFill/>
          </a:ln>
          <a:effectLst/>
        </p:spPr>
        <p:txBody>
          <a:bodyPr vert="horz" wrap="square" lIns="143925" tIns="71963" rIns="71963" bIns="71963" numCol="1" rtlCol="0" anchor="t" anchorCtr="0" compatLnSpc="1">
            <a:prstTxWarp prst="textNoShape">
              <a:avLst/>
            </a:prstTxWarp>
            <a:normAutofit/>
          </a:bodyPr>
          <a:lstStyle/>
          <a:p>
            <a:pPr>
              <a:lnSpc>
                <a:spcPct val="110000"/>
              </a:lnSpc>
              <a:spcBef>
                <a:spcPct val="0"/>
              </a:spcBef>
            </a:pPr>
            <a:r>
              <a:rPr lang="en-US" sz="1599" dirty="0">
                <a:solidFill>
                  <a:schemeClr val="tx2"/>
                </a:solidFill>
              </a:rPr>
              <a:t>Cras ultricies mi eu</a:t>
            </a:r>
          </a:p>
        </p:txBody>
      </p:sp>
      <p:sp>
        <p:nvSpPr>
          <p:cNvPr id="19" name="Eingekerbter Richtungspfeil 36"/>
          <p:cNvSpPr/>
          <p:nvPr/>
        </p:nvSpPr>
        <p:spPr bwMode="auto">
          <a:xfrm>
            <a:off x="4139911" y="2422800"/>
            <a:ext cx="2158876" cy="1295325"/>
          </a:xfrm>
          <a:prstGeom prst="chevron">
            <a:avLst>
              <a:gd name="adj" fmla="val 24559"/>
            </a:avLst>
          </a:prstGeom>
          <a:solidFill>
            <a:srgbClr val="333353"/>
          </a:solidFill>
          <a:ln>
            <a:noFill/>
          </a:ln>
          <a:effectLst/>
        </p:spPr>
        <p:txBody>
          <a:bodyPr vert="horz" wrap="square" lIns="143925" tIns="71963" rIns="71963" bIns="71963" numCol="1" rtlCol="0" anchor="t" anchorCtr="0" compatLnSpc="1">
            <a:prstTxWarp prst="textNoShape">
              <a:avLst/>
            </a:prstTxWarp>
            <a:normAutofit/>
          </a:bodyPr>
          <a:lstStyle/>
          <a:p>
            <a:pPr defTabSz="913943" fontAlgn="base">
              <a:lnSpc>
                <a:spcPct val="110000"/>
              </a:lnSpc>
              <a:spcBef>
                <a:spcPct val="0"/>
              </a:spcBef>
              <a:spcAft>
                <a:spcPct val="0"/>
              </a:spcAft>
            </a:pPr>
            <a:r>
              <a:rPr lang="en-US" sz="1599" dirty="0">
                <a:solidFill>
                  <a:schemeClr val="tx2"/>
                </a:solidFill>
              </a:rPr>
              <a:t>At vero eos et accusam</a:t>
            </a:r>
          </a:p>
        </p:txBody>
      </p:sp>
      <p:sp>
        <p:nvSpPr>
          <p:cNvPr id="20" name="Eingekerbter Richtungspfeil 36"/>
          <p:cNvSpPr/>
          <p:nvPr/>
        </p:nvSpPr>
        <p:spPr bwMode="auto">
          <a:xfrm>
            <a:off x="6116153" y="2422800"/>
            <a:ext cx="2158876" cy="1295325"/>
          </a:xfrm>
          <a:prstGeom prst="chevron">
            <a:avLst>
              <a:gd name="adj" fmla="val 24559"/>
            </a:avLst>
          </a:prstGeom>
          <a:solidFill>
            <a:srgbClr val="00646E"/>
          </a:solidFill>
          <a:ln>
            <a:noFill/>
          </a:ln>
          <a:effectLst/>
        </p:spPr>
        <p:txBody>
          <a:bodyPr vert="horz" wrap="square" lIns="143925" tIns="71963" rIns="71963" bIns="71963" numCol="1" rtlCol="0" anchor="t" anchorCtr="0" compatLnSpc="1">
            <a:prstTxWarp prst="textNoShape">
              <a:avLst/>
            </a:prstTxWarp>
            <a:normAutofit/>
          </a:bodyPr>
          <a:lstStyle/>
          <a:p>
            <a:pPr defTabSz="913943" fontAlgn="base">
              <a:lnSpc>
                <a:spcPct val="110000"/>
              </a:lnSpc>
              <a:spcBef>
                <a:spcPct val="0"/>
              </a:spcBef>
              <a:spcAft>
                <a:spcPct val="0"/>
              </a:spcAft>
            </a:pPr>
            <a:r>
              <a:rPr lang="en-US" sz="1599" b="1" dirty="0"/>
              <a:t>Duis arcu, suscipit eget</a:t>
            </a:r>
          </a:p>
        </p:txBody>
      </p:sp>
      <p:sp>
        <p:nvSpPr>
          <p:cNvPr id="21" name="Eingekerbter Richtungspfeil 36"/>
          <p:cNvSpPr/>
          <p:nvPr/>
        </p:nvSpPr>
        <p:spPr bwMode="auto">
          <a:xfrm>
            <a:off x="8092395" y="2422800"/>
            <a:ext cx="2158876" cy="1295325"/>
          </a:xfrm>
          <a:prstGeom prst="chevron">
            <a:avLst>
              <a:gd name="adj" fmla="val 24559"/>
            </a:avLst>
          </a:prstGeom>
          <a:solidFill>
            <a:srgbClr val="333353"/>
          </a:solidFill>
          <a:ln>
            <a:noFill/>
          </a:ln>
          <a:effectLst/>
        </p:spPr>
        <p:txBody>
          <a:bodyPr vert="horz" wrap="square" lIns="143925" tIns="71963" rIns="71963" bIns="71963" numCol="1" rtlCol="0" anchor="t" anchorCtr="0" compatLnSpc="1">
            <a:prstTxWarp prst="textNoShape">
              <a:avLst/>
            </a:prstTxWarp>
            <a:normAutofit/>
          </a:bodyPr>
          <a:lstStyle/>
          <a:p>
            <a:pPr defTabSz="913943" fontAlgn="base">
              <a:lnSpc>
                <a:spcPct val="110000"/>
              </a:lnSpc>
              <a:spcBef>
                <a:spcPct val="0"/>
              </a:spcBef>
              <a:spcAft>
                <a:spcPct val="0"/>
              </a:spcAft>
            </a:pPr>
            <a:r>
              <a:rPr lang="en-US" sz="1599" dirty="0">
                <a:solidFill>
                  <a:schemeClr val="tx2"/>
                </a:solidFill>
              </a:rPr>
              <a:t>Phasellus nec sem</a:t>
            </a:r>
          </a:p>
        </p:txBody>
      </p:sp>
      <p:sp>
        <p:nvSpPr>
          <p:cNvPr id="3" name="Footer Placeholder 2">
            <a:extLst>
              <a:ext uri="{FF2B5EF4-FFF2-40B4-BE49-F238E27FC236}">
                <a16:creationId xmlns:a16="http://schemas.microsoft.com/office/drawing/2014/main" id="{4027AD46-0109-4180-9842-1D290FBEB597}"/>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5" name="Slide Number Placeholder 4">
            <a:extLst>
              <a:ext uri="{FF2B5EF4-FFF2-40B4-BE49-F238E27FC236}">
                <a16:creationId xmlns:a16="http://schemas.microsoft.com/office/drawing/2014/main" id="{ED785068-36ED-48C8-93B5-3D4539F2ED52}"/>
              </a:ext>
            </a:extLst>
          </p:cNvPr>
          <p:cNvSpPr>
            <a:spLocks noGrp="1"/>
          </p:cNvSpPr>
          <p:nvPr>
            <p:ph type="sldNum" sz="quarter" idx="11"/>
          </p:nvPr>
        </p:nvSpPr>
        <p:spPr/>
        <p:txBody>
          <a:bodyPr/>
          <a:lstStyle/>
          <a:p>
            <a:r>
              <a:rPr lang="en-US" dirty="0"/>
              <a:t>Page </a:t>
            </a:r>
            <a:fld id="{15EBE321-CBB1-4E91-BD14-37C8D44326FB}" type="slidenum">
              <a:rPr lang="en-US" smtClean="0"/>
              <a:pPr/>
              <a:t>105</a:t>
            </a:fld>
            <a:endParaRPr lang="en-US" dirty="0"/>
          </a:p>
        </p:txBody>
      </p:sp>
    </p:spTree>
    <p:extLst>
      <p:ext uri="{BB962C8B-B14F-4D97-AF65-F5344CB8AC3E}">
        <p14:creationId xmlns:p14="http://schemas.microsoft.com/office/powerpoint/2010/main" val="252839905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en-US" dirty="0"/>
              <a:t>Process and feedback (iteration) – boxes</a:t>
            </a:r>
          </a:p>
        </p:txBody>
      </p:sp>
      <p:sp>
        <p:nvSpPr>
          <p:cNvPr id="30" name="Rectangle 9"/>
          <p:cNvSpPr>
            <a:spLocks noChangeArrowheads="1"/>
          </p:cNvSpPr>
          <p:nvPr/>
        </p:nvSpPr>
        <p:spPr bwMode="auto">
          <a:xfrm>
            <a:off x="3001611" y="1980755"/>
            <a:ext cx="1871026" cy="637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1963" tIns="71963" rIns="71963" bIns="71963" anchor="b">
            <a:spAutoFit/>
          </a:bodyPr>
          <a:lstStyle/>
          <a:p>
            <a:pPr algn="ctr" defTabSz="817154" eaLnBrk="0" hangingPunct="0">
              <a:defRPr/>
            </a:pPr>
            <a:r>
              <a:rPr lang="en-US" sz="1599" kern="0" dirty="0">
                <a:solidFill>
                  <a:srgbClr val="66667E"/>
                </a:solidFill>
              </a:rPr>
              <a:t>At vero eos et accusam</a:t>
            </a:r>
          </a:p>
        </p:txBody>
      </p:sp>
      <p:sp>
        <p:nvSpPr>
          <p:cNvPr id="40" name="Rechteck 39"/>
          <p:cNvSpPr/>
          <p:nvPr/>
        </p:nvSpPr>
        <p:spPr bwMode="auto">
          <a:xfrm>
            <a:off x="8330400" y="3006276"/>
            <a:ext cx="2014951" cy="1439250"/>
          </a:xfrm>
          <a:prstGeom prst="rect">
            <a:avLst/>
          </a:prstGeom>
          <a:solidFill>
            <a:srgbClr val="009999"/>
          </a:solidFill>
          <a:ln>
            <a:noFill/>
          </a:ln>
          <a:effectLst/>
        </p:spPr>
        <p:txBody>
          <a:bodyPr vert="horz" wrap="square" lIns="143925" tIns="71963" rIns="143925" bIns="71963" numCol="1" rtlCol="0" anchor="t" anchorCtr="0" compatLnSpc="1">
            <a:prstTxWarp prst="textNoShape">
              <a:avLst/>
            </a:prstTxWarp>
          </a:bodyPr>
          <a:lstStyle/>
          <a:p>
            <a:r>
              <a:rPr lang="en-US" sz="1599" b="1" dirty="0">
                <a:solidFill>
                  <a:schemeClr val="bg1"/>
                </a:solidFill>
              </a:rPr>
              <a:t>Consetetur sadipscing elitr, seddiam nonumy</a:t>
            </a:r>
          </a:p>
        </p:txBody>
      </p:sp>
      <p:sp>
        <p:nvSpPr>
          <p:cNvPr id="42" name="Rechteck 41"/>
          <p:cNvSpPr/>
          <p:nvPr/>
        </p:nvSpPr>
        <p:spPr bwMode="auto">
          <a:xfrm>
            <a:off x="1850211" y="3013385"/>
            <a:ext cx="2014951" cy="1439250"/>
          </a:xfrm>
          <a:prstGeom prst="rect">
            <a:avLst/>
          </a:prstGeom>
          <a:solidFill>
            <a:srgbClr val="E5E5E9"/>
          </a:solidFill>
          <a:ln>
            <a:noFill/>
          </a:ln>
          <a:effectLst/>
        </p:spPr>
        <p:txBody>
          <a:bodyPr vert="horz" wrap="square" lIns="143925" tIns="71963" rIns="143925" bIns="71963" numCol="1" rtlCol="0" anchor="t" anchorCtr="0" compatLnSpc="1">
            <a:prstTxWarp prst="textNoShape">
              <a:avLst/>
            </a:prstTxWarp>
            <a:noAutofit/>
          </a:bodyPr>
          <a:lstStyle/>
          <a:p>
            <a:pPr>
              <a:lnSpc>
                <a:spcPct val="110000"/>
              </a:lnSpc>
              <a:spcBef>
                <a:spcPct val="0"/>
              </a:spcBef>
            </a:pPr>
            <a:r>
              <a:rPr lang="en-US" sz="1599" dirty="0">
                <a:solidFill>
                  <a:srgbClr val="333353"/>
                </a:solidFill>
              </a:rPr>
              <a:t>Stet clita kasd gubergren, no sea takimata sanctus</a:t>
            </a:r>
          </a:p>
        </p:txBody>
      </p:sp>
      <p:sp>
        <p:nvSpPr>
          <p:cNvPr id="43" name="Rechteck 42"/>
          <p:cNvSpPr/>
          <p:nvPr/>
        </p:nvSpPr>
        <p:spPr bwMode="auto">
          <a:xfrm>
            <a:off x="4009087" y="3006276"/>
            <a:ext cx="2014951" cy="1439250"/>
          </a:xfrm>
          <a:prstGeom prst="rect">
            <a:avLst/>
          </a:prstGeom>
          <a:solidFill>
            <a:srgbClr val="E5E5E9"/>
          </a:solidFill>
          <a:ln>
            <a:noFill/>
          </a:ln>
          <a:effectLst/>
        </p:spPr>
        <p:txBody>
          <a:bodyPr vert="horz" wrap="square" lIns="143925" tIns="71963" rIns="143925" bIns="71963" numCol="1" rtlCol="0" anchor="t" anchorCtr="0" compatLnSpc="1">
            <a:prstTxWarp prst="textNoShape">
              <a:avLst/>
            </a:prstTxWarp>
          </a:bodyPr>
          <a:lstStyle/>
          <a:p>
            <a:r>
              <a:rPr lang="en-US" sz="1599" dirty="0">
                <a:solidFill>
                  <a:srgbClr val="333353"/>
                </a:solidFill>
              </a:rPr>
              <a:t>Duis arcu tortor, suscipit eget</a:t>
            </a:r>
          </a:p>
        </p:txBody>
      </p:sp>
      <p:sp>
        <p:nvSpPr>
          <p:cNvPr id="44" name="Rechteck 43"/>
          <p:cNvSpPr/>
          <p:nvPr/>
        </p:nvSpPr>
        <p:spPr bwMode="auto">
          <a:xfrm>
            <a:off x="6170400" y="3006276"/>
            <a:ext cx="2014951" cy="1439250"/>
          </a:xfrm>
          <a:prstGeom prst="rect">
            <a:avLst/>
          </a:prstGeom>
          <a:solidFill>
            <a:srgbClr val="E5E5E9"/>
          </a:solidFill>
          <a:ln>
            <a:noFill/>
          </a:ln>
          <a:effectLst/>
        </p:spPr>
        <p:txBody>
          <a:bodyPr vert="horz" wrap="square" lIns="143925" tIns="71963" rIns="143925" bIns="71963" numCol="1" rtlCol="0" anchor="t" anchorCtr="0" compatLnSpc="1">
            <a:prstTxWarp prst="textNoShape">
              <a:avLst/>
            </a:prstTxWarp>
          </a:bodyPr>
          <a:lstStyle/>
          <a:p>
            <a:r>
              <a:rPr lang="en-US" sz="1599" dirty="0">
                <a:solidFill>
                  <a:srgbClr val="333353"/>
                </a:solidFill>
              </a:rPr>
              <a:t>At vero eos et accusam</a:t>
            </a:r>
          </a:p>
        </p:txBody>
      </p:sp>
      <p:cxnSp>
        <p:nvCxnSpPr>
          <p:cNvPr id="3" name="Elbow Connector 2"/>
          <p:cNvCxnSpPr/>
          <p:nvPr/>
        </p:nvCxnSpPr>
        <p:spPr bwMode="auto">
          <a:xfrm rot="5400000" flipH="1" flipV="1">
            <a:off x="3933570" y="1935867"/>
            <a:ext cx="7108" cy="1871026"/>
          </a:xfrm>
          <a:prstGeom prst="bentConnector3">
            <a:avLst>
              <a:gd name="adj1" fmla="val 3314286"/>
            </a:avLst>
          </a:prstGeom>
          <a:solidFill>
            <a:schemeClr val="tx2"/>
          </a:solidFill>
          <a:ln w="12700" cap="flat" cmpd="sng" algn="ctr">
            <a:solidFill>
              <a:srgbClr val="66667E"/>
            </a:solidFill>
            <a:prstDash val="solid"/>
            <a:round/>
            <a:headEnd type="none" w="lg" len="med"/>
            <a:tailEnd type="triangle"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 name="Elbow Connector 17"/>
          <p:cNvCxnSpPr/>
          <p:nvPr/>
        </p:nvCxnSpPr>
        <p:spPr bwMode="auto">
          <a:xfrm rot="5400000" flipH="1" flipV="1">
            <a:off x="6092446" y="1935867"/>
            <a:ext cx="7108" cy="1871026"/>
          </a:xfrm>
          <a:prstGeom prst="bentConnector3">
            <a:avLst>
              <a:gd name="adj1" fmla="val 3314286"/>
            </a:avLst>
          </a:prstGeom>
          <a:solidFill>
            <a:schemeClr val="tx2"/>
          </a:solidFill>
          <a:ln w="12700" cap="flat" cmpd="sng" algn="ctr">
            <a:solidFill>
              <a:srgbClr val="66667E"/>
            </a:solidFill>
            <a:prstDash val="solid"/>
            <a:round/>
            <a:headEnd type="none" w="lg" len="med"/>
            <a:tailEnd type="triangle"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Elbow Connector 18"/>
          <p:cNvCxnSpPr/>
          <p:nvPr/>
        </p:nvCxnSpPr>
        <p:spPr bwMode="auto">
          <a:xfrm rot="5400000" flipH="1" flipV="1">
            <a:off x="8251322" y="1935867"/>
            <a:ext cx="7108" cy="1871026"/>
          </a:xfrm>
          <a:prstGeom prst="bentConnector3">
            <a:avLst>
              <a:gd name="adj1" fmla="val 3314286"/>
            </a:avLst>
          </a:prstGeom>
          <a:solidFill>
            <a:schemeClr val="tx2"/>
          </a:solidFill>
          <a:ln w="12700" cap="flat" cmpd="sng" algn="ctr">
            <a:solidFill>
              <a:srgbClr val="66667E"/>
            </a:solidFill>
            <a:prstDash val="solid"/>
            <a:round/>
            <a:headEnd type="none" w="lg" len="med"/>
            <a:tailEnd type="triangle"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1" name="Rectangle 9"/>
          <p:cNvSpPr>
            <a:spLocks noChangeArrowheads="1"/>
          </p:cNvSpPr>
          <p:nvPr/>
        </p:nvSpPr>
        <p:spPr bwMode="auto">
          <a:xfrm>
            <a:off x="5160487" y="2226847"/>
            <a:ext cx="1871026" cy="3914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1963" tIns="71963" rIns="71963" bIns="71963" anchor="b">
            <a:spAutoFit/>
          </a:bodyPr>
          <a:lstStyle/>
          <a:p>
            <a:pPr algn="ctr" defTabSz="817154" eaLnBrk="0" hangingPunct="0">
              <a:defRPr/>
            </a:pPr>
            <a:r>
              <a:rPr lang="en-US" sz="1599" kern="0" dirty="0">
                <a:solidFill>
                  <a:srgbClr val="66667E"/>
                </a:solidFill>
              </a:rPr>
              <a:t>Duis arcu tortor</a:t>
            </a:r>
          </a:p>
        </p:txBody>
      </p:sp>
      <p:sp>
        <p:nvSpPr>
          <p:cNvPr id="22" name="Rectangle 9"/>
          <p:cNvSpPr>
            <a:spLocks noChangeArrowheads="1"/>
          </p:cNvSpPr>
          <p:nvPr/>
        </p:nvSpPr>
        <p:spPr bwMode="auto">
          <a:xfrm>
            <a:off x="7319363" y="2226847"/>
            <a:ext cx="1871026" cy="3914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1963" tIns="71963" rIns="71963" bIns="71963" anchor="b">
            <a:spAutoFit/>
          </a:bodyPr>
          <a:lstStyle/>
          <a:p>
            <a:pPr algn="ctr" defTabSz="817154" eaLnBrk="0" hangingPunct="0">
              <a:defRPr/>
            </a:pPr>
            <a:r>
              <a:rPr lang="en-US" sz="1599" kern="0" dirty="0">
                <a:solidFill>
                  <a:srgbClr val="66667E"/>
                </a:solidFill>
              </a:rPr>
              <a:t>Cras ultricies</a:t>
            </a:r>
          </a:p>
        </p:txBody>
      </p:sp>
      <p:cxnSp>
        <p:nvCxnSpPr>
          <p:cNvPr id="23" name="Elbow Connector 22"/>
          <p:cNvCxnSpPr/>
          <p:nvPr/>
        </p:nvCxnSpPr>
        <p:spPr bwMode="auto">
          <a:xfrm rot="16200000" flipH="1">
            <a:off x="6092446" y="1486034"/>
            <a:ext cx="7108" cy="6188777"/>
          </a:xfrm>
          <a:prstGeom prst="bentConnector3">
            <a:avLst>
              <a:gd name="adj1" fmla="val 3314286"/>
            </a:avLst>
          </a:prstGeom>
          <a:solidFill>
            <a:schemeClr val="tx2"/>
          </a:solidFill>
          <a:ln w="12700" cap="flat" cmpd="sng" algn="ctr">
            <a:solidFill>
              <a:srgbClr val="66667E"/>
            </a:solidFill>
            <a:prstDash val="solid"/>
            <a:round/>
            <a:headEnd type="none" w="lg" len="med"/>
            <a:tailEnd type="triangle"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8" name="Rectangle 9"/>
          <p:cNvSpPr>
            <a:spLocks noChangeArrowheads="1"/>
          </p:cNvSpPr>
          <p:nvPr/>
        </p:nvSpPr>
        <p:spPr bwMode="auto">
          <a:xfrm>
            <a:off x="3001612" y="4822386"/>
            <a:ext cx="6188777" cy="3914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1963" tIns="71963" rIns="71963" bIns="71963" anchor="t">
            <a:spAutoFit/>
          </a:bodyPr>
          <a:lstStyle/>
          <a:p>
            <a:pPr algn="ctr" defTabSz="817154" eaLnBrk="0" hangingPunct="0">
              <a:defRPr/>
            </a:pPr>
            <a:r>
              <a:rPr lang="en-US" sz="1599" b="1" kern="0" dirty="0">
                <a:solidFill>
                  <a:schemeClr val="accent1"/>
                </a:solidFill>
              </a:rPr>
              <a:t>Cras ultricies mi eu</a:t>
            </a:r>
          </a:p>
        </p:txBody>
      </p:sp>
      <p:sp>
        <p:nvSpPr>
          <p:cNvPr id="2" name="Footer Placeholder 1">
            <a:extLst>
              <a:ext uri="{FF2B5EF4-FFF2-40B4-BE49-F238E27FC236}">
                <a16:creationId xmlns:a16="http://schemas.microsoft.com/office/drawing/2014/main" id="{982047B7-C2BC-411C-92F8-A982EF87DA63}"/>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7BB1E769-8D33-4799-8EF0-F8704E3D56AB}"/>
              </a:ext>
            </a:extLst>
          </p:cNvPr>
          <p:cNvSpPr>
            <a:spLocks noGrp="1"/>
          </p:cNvSpPr>
          <p:nvPr>
            <p:ph type="sldNum" sz="quarter" idx="11"/>
          </p:nvPr>
        </p:nvSpPr>
        <p:spPr/>
        <p:txBody>
          <a:bodyPr/>
          <a:lstStyle/>
          <a:p>
            <a:r>
              <a:rPr lang="en-US" dirty="0"/>
              <a:t>Page </a:t>
            </a:r>
            <a:fld id="{15EBE321-CBB1-4E91-BD14-37C8D44326FB}" type="slidenum">
              <a:rPr lang="en-US" smtClean="0"/>
              <a:pPr/>
              <a:t>106</a:t>
            </a:fld>
            <a:endParaRPr lang="en-US" dirty="0"/>
          </a:p>
        </p:txBody>
      </p:sp>
    </p:spTree>
    <p:extLst>
      <p:ext uri="{BB962C8B-B14F-4D97-AF65-F5344CB8AC3E}">
        <p14:creationId xmlns:p14="http://schemas.microsoft.com/office/powerpoint/2010/main" val="204042618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en-US" dirty="0"/>
              <a:t>Process and feedback (iteration) – boxes</a:t>
            </a:r>
          </a:p>
        </p:txBody>
      </p:sp>
      <p:sp>
        <p:nvSpPr>
          <p:cNvPr id="30" name="Rectangle 9"/>
          <p:cNvSpPr>
            <a:spLocks noChangeArrowheads="1"/>
          </p:cNvSpPr>
          <p:nvPr/>
        </p:nvSpPr>
        <p:spPr bwMode="auto">
          <a:xfrm>
            <a:off x="3001611" y="1980755"/>
            <a:ext cx="1871026" cy="637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1963" tIns="71963" rIns="71963" bIns="71963" anchor="b">
            <a:spAutoFit/>
          </a:bodyPr>
          <a:lstStyle/>
          <a:p>
            <a:pPr algn="ctr" defTabSz="817154" eaLnBrk="0" hangingPunct="0">
              <a:defRPr/>
            </a:pPr>
            <a:r>
              <a:rPr lang="en-US" sz="1599" kern="0" dirty="0">
                <a:solidFill>
                  <a:srgbClr val="9999A9"/>
                </a:solidFill>
              </a:rPr>
              <a:t>At vero eos et accusam</a:t>
            </a:r>
          </a:p>
        </p:txBody>
      </p:sp>
      <p:sp>
        <p:nvSpPr>
          <p:cNvPr id="40" name="Rechteck 39"/>
          <p:cNvSpPr/>
          <p:nvPr/>
        </p:nvSpPr>
        <p:spPr bwMode="auto">
          <a:xfrm>
            <a:off x="8330400" y="3006276"/>
            <a:ext cx="2014951" cy="1439250"/>
          </a:xfrm>
          <a:prstGeom prst="rect">
            <a:avLst/>
          </a:prstGeom>
          <a:solidFill>
            <a:srgbClr val="00FFB9"/>
          </a:solidFill>
          <a:ln>
            <a:noFill/>
          </a:ln>
          <a:effectLst/>
        </p:spPr>
        <p:txBody>
          <a:bodyPr vert="horz" wrap="square" lIns="143925" tIns="71963" rIns="143925" bIns="71963" numCol="1" rtlCol="0" anchor="t" anchorCtr="0" compatLnSpc="1">
            <a:prstTxWarp prst="textNoShape">
              <a:avLst/>
            </a:prstTxWarp>
          </a:bodyPr>
          <a:lstStyle/>
          <a:p>
            <a:r>
              <a:rPr lang="en-US" sz="1599" b="1" dirty="0">
                <a:solidFill>
                  <a:schemeClr val="bg2"/>
                </a:solidFill>
              </a:rPr>
              <a:t>Consetetur sadipscing elitr, seddiam nonumy</a:t>
            </a:r>
          </a:p>
        </p:txBody>
      </p:sp>
      <p:sp>
        <p:nvSpPr>
          <p:cNvPr id="42" name="Rechteck 41"/>
          <p:cNvSpPr/>
          <p:nvPr/>
        </p:nvSpPr>
        <p:spPr bwMode="auto">
          <a:xfrm>
            <a:off x="1850211" y="3013385"/>
            <a:ext cx="2014951" cy="1439250"/>
          </a:xfrm>
          <a:prstGeom prst="rect">
            <a:avLst/>
          </a:prstGeom>
          <a:solidFill>
            <a:srgbClr val="333353"/>
          </a:solidFill>
          <a:ln>
            <a:noFill/>
          </a:ln>
          <a:effectLst/>
        </p:spPr>
        <p:txBody>
          <a:bodyPr vert="horz" wrap="square" lIns="143925" tIns="71963" rIns="143925" bIns="71963" numCol="1" rtlCol="0" anchor="t" anchorCtr="0" compatLnSpc="1">
            <a:prstTxWarp prst="textNoShape">
              <a:avLst/>
            </a:prstTxWarp>
            <a:noAutofit/>
          </a:bodyPr>
          <a:lstStyle/>
          <a:p>
            <a:pPr>
              <a:lnSpc>
                <a:spcPct val="110000"/>
              </a:lnSpc>
              <a:spcBef>
                <a:spcPct val="0"/>
              </a:spcBef>
            </a:pPr>
            <a:r>
              <a:rPr lang="en-US" sz="1599" dirty="0">
                <a:solidFill>
                  <a:schemeClr val="tx2"/>
                </a:solidFill>
              </a:rPr>
              <a:t>Stet clita kasd gubergren, no sea takimata sanctus</a:t>
            </a:r>
          </a:p>
        </p:txBody>
      </p:sp>
      <p:sp>
        <p:nvSpPr>
          <p:cNvPr id="43" name="Rechteck 42"/>
          <p:cNvSpPr/>
          <p:nvPr/>
        </p:nvSpPr>
        <p:spPr bwMode="auto">
          <a:xfrm>
            <a:off x="4009087" y="3006276"/>
            <a:ext cx="2014951" cy="1439250"/>
          </a:xfrm>
          <a:prstGeom prst="rect">
            <a:avLst/>
          </a:prstGeom>
          <a:solidFill>
            <a:srgbClr val="333353"/>
          </a:solidFill>
          <a:ln>
            <a:noFill/>
          </a:ln>
          <a:effectLst/>
        </p:spPr>
        <p:txBody>
          <a:bodyPr vert="horz" wrap="square" lIns="143925" tIns="71963" rIns="143925" bIns="71963" numCol="1" rtlCol="0" anchor="t" anchorCtr="0" compatLnSpc="1">
            <a:prstTxWarp prst="textNoShape">
              <a:avLst/>
            </a:prstTxWarp>
          </a:bodyPr>
          <a:lstStyle/>
          <a:p>
            <a:r>
              <a:rPr lang="en-US" sz="1599" dirty="0">
                <a:solidFill>
                  <a:schemeClr val="tx2"/>
                </a:solidFill>
              </a:rPr>
              <a:t>Duis arcu tortor, suscipit eget</a:t>
            </a:r>
          </a:p>
        </p:txBody>
      </p:sp>
      <p:sp>
        <p:nvSpPr>
          <p:cNvPr id="44" name="Rechteck 43"/>
          <p:cNvSpPr/>
          <p:nvPr/>
        </p:nvSpPr>
        <p:spPr bwMode="auto">
          <a:xfrm>
            <a:off x="6170400" y="3006276"/>
            <a:ext cx="2014951" cy="1439250"/>
          </a:xfrm>
          <a:prstGeom prst="rect">
            <a:avLst/>
          </a:prstGeom>
          <a:solidFill>
            <a:srgbClr val="333353"/>
          </a:solidFill>
          <a:ln>
            <a:noFill/>
          </a:ln>
          <a:effectLst/>
        </p:spPr>
        <p:txBody>
          <a:bodyPr vert="horz" wrap="square" lIns="143925" tIns="71963" rIns="143925" bIns="71963" numCol="1" rtlCol="0" anchor="t" anchorCtr="0" compatLnSpc="1">
            <a:prstTxWarp prst="textNoShape">
              <a:avLst/>
            </a:prstTxWarp>
          </a:bodyPr>
          <a:lstStyle/>
          <a:p>
            <a:r>
              <a:rPr lang="en-US" sz="1599" dirty="0">
                <a:solidFill>
                  <a:schemeClr val="tx2"/>
                </a:solidFill>
              </a:rPr>
              <a:t>At vero eos et accusam</a:t>
            </a:r>
          </a:p>
        </p:txBody>
      </p:sp>
      <p:cxnSp>
        <p:nvCxnSpPr>
          <p:cNvPr id="3" name="Elbow Connector 2"/>
          <p:cNvCxnSpPr/>
          <p:nvPr/>
        </p:nvCxnSpPr>
        <p:spPr bwMode="auto">
          <a:xfrm rot="5400000" flipH="1" flipV="1">
            <a:off x="3933570" y="1935867"/>
            <a:ext cx="7108" cy="1871026"/>
          </a:xfrm>
          <a:prstGeom prst="bentConnector3">
            <a:avLst>
              <a:gd name="adj1" fmla="val 3314286"/>
            </a:avLst>
          </a:prstGeom>
          <a:solidFill>
            <a:schemeClr val="tx2"/>
          </a:solidFill>
          <a:ln w="12700" cap="flat" cmpd="sng" algn="ctr">
            <a:solidFill>
              <a:srgbClr val="9999A9"/>
            </a:solidFill>
            <a:prstDash val="solid"/>
            <a:round/>
            <a:headEnd type="none" w="lg" len="med"/>
            <a:tailEnd type="triangle"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 name="Elbow Connector 17"/>
          <p:cNvCxnSpPr/>
          <p:nvPr/>
        </p:nvCxnSpPr>
        <p:spPr bwMode="auto">
          <a:xfrm rot="5400000" flipH="1" flipV="1">
            <a:off x="6092446" y="1935867"/>
            <a:ext cx="7108" cy="1871026"/>
          </a:xfrm>
          <a:prstGeom prst="bentConnector3">
            <a:avLst>
              <a:gd name="adj1" fmla="val 3314286"/>
            </a:avLst>
          </a:prstGeom>
          <a:solidFill>
            <a:schemeClr val="tx2"/>
          </a:solidFill>
          <a:ln w="12700" cap="flat" cmpd="sng" algn="ctr">
            <a:solidFill>
              <a:srgbClr val="9999A9"/>
            </a:solidFill>
            <a:prstDash val="solid"/>
            <a:round/>
            <a:headEnd type="none" w="lg" len="med"/>
            <a:tailEnd type="triangle"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Elbow Connector 18"/>
          <p:cNvCxnSpPr/>
          <p:nvPr/>
        </p:nvCxnSpPr>
        <p:spPr bwMode="auto">
          <a:xfrm rot="5400000" flipH="1" flipV="1">
            <a:off x="8251322" y="1935867"/>
            <a:ext cx="7108" cy="1871026"/>
          </a:xfrm>
          <a:prstGeom prst="bentConnector3">
            <a:avLst>
              <a:gd name="adj1" fmla="val 3314286"/>
            </a:avLst>
          </a:prstGeom>
          <a:solidFill>
            <a:schemeClr val="tx2"/>
          </a:solidFill>
          <a:ln w="12700" cap="flat" cmpd="sng" algn="ctr">
            <a:solidFill>
              <a:srgbClr val="9999A9"/>
            </a:solidFill>
            <a:prstDash val="solid"/>
            <a:round/>
            <a:headEnd type="none" w="lg" len="med"/>
            <a:tailEnd type="triangle"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1" name="Rectangle 9"/>
          <p:cNvSpPr>
            <a:spLocks noChangeArrowheads="1"/>
          </p:cNvSpPr>
          <p:nvPr/>
        </p:nvSpPr>
        <p:spPr bwMode="auto">
          <a:xfrm>
            <a:off x="5160487" y="2226847"/>
            <a:ext cx="1871026" cy="3914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1963" tIns="71963" rIns="71963" bIns="71963" anchor="b">
            <a:spAutoFit/>
          </a:bodyPr>
          <a:lstStyle/>
          <a:p>
            <a:pPr algn="ctr" defTabSz="817154" eaLnBrk="0" hangingPunct="0">
              <a:defRPr/>
            </a:pPr>
            <a:r>
              <a:rPr lang="en-US" sz="1599" kern="0" dirty="0">
                <a:solidFill>
                  <a:srgbClr val="9999A9"/>
                </a:solidFill>
              </a:rPr>
              <a:t>Duis arcu tortor</a:t>
            </a:r>
          </a:p>
        </p:txBody>
      </p:sp>
      <p:sp>
        <p:nvSpPr>
          <p:cNvPr id="22" name="Rectangle 9"/>
          <p:cNvSpPr>
            <a:spLocks noChangeArrowheads="1"/>
          </p:cNvSpPr>
          <p:nvPr/>
        </p:nvSpPr>
        <p:spPr bwMode="auto">
          <a:xfrm>
            <a:off x="7319363" y="2226847"/>
            <a:ext cx="1871026" cy="3914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1963" tIns="71963" rIns="71963" bIns="71963" anchor="b">
            <a:spAutoFit/>
          </a:bodyPr>
          <a:lstStyle/>
          <a:p>
            <a:pPr algn="ctr" defTabSz="817154" eaLnBrk="0" hangingPunct="0">
              <a:defRPr/>
            </a:pPr>
            <a:r>
              <a:rPr lang="en-US" sz="1599" kern="0" dirty="0">
                <a:solidFill>
                  <a:srgbClr val="9999A9"/>
                </a:solidFill>
              </a:rPr>
              <a:t>Cras ultricies</a:t>
            </a:r>
          </a:p>
        </p:txBody>
      </p:sp>
      <p:cxnSp>
        <p:nvCxnSpPr>
          <p:cNvPr id="23" name="Elbow Connector 22"/>
          <p:cNvCxnSpPr/>
          <p:nvPr/>
        </p:nvCxnSpPr>
        <p:spPr bwMode="auto">
          <a:xfrm rot="16200000" flipH="1">
            <a:off x="6092446" y="1486034"/>
            <a:ext cx="7108" cy="6188777"/>
          </a:xfrm>
          <a:prstGeom prst="bentConnector3">
            <a:avLst>
              <a:gd name="adj1" fmla="val 3314286"/>
            </a:avLst>
          </a:prstGeom>
          <a:solidFill>
            <a:schemeClr val="tx2"/>
          </a:solidFill>
          <a:ln w="12700" cap="flat" cmpd="sng" algn="ctr">
            <a:solidFill>
              <a:srgbClr val="9999A9"/>
            </a:solidFill>
            <a:prstDash val="solid"/>
            <a:round/>
            <a:headEnd type="none" w="lg" len="med"/>
            <a:tailEnd type="triangle" w="lg"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8" name="Rectangle 9"/>
          <p:cNvSpPr>
            <a:spLocks noChangeArrowheads="1"/>
          </p:cNvSpPr>
          <p:nvPr/>
        </p:nvSpPr>
        <p:spPr bwMode="auto">
          <a:xfrm>
            <a:off x="3001612" y="4822386"/>
            <a:ext cx="6188777" cy="3914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1963" tIns="71963" rIns="71963" bIns="71963" anchor="t">
            <a:spAutoFit/>
          </a:bodyPr>
          <a:lstStyle/>
          <a:p>
            <a:pPr algn="ctr" defTabSz="817154" eaLnBrk="0" hangingPunct="0">
              <a:defRPr/>
            </a:pPr>
            <a:r>
              <a:rPr lang="en-US" sz="1599" b="1" kern="0" dirty="0">
                <a:solidFill>
                  <a:srgbClr val="00FFB9"/>
                </a:solidFill>
              </a:rPr>
              <a:t>Cras ultricies mi eu</a:t>
            </a:r>
          </a:p>
        </p:txBody>
      </p:sp>
      <p:sp>
        <p:nvSpPr>
          <p:cNvPr id="2" name="Footer Placeholder 1">
            <a:extLst>
              <a:ext uri="{FF2B5EF4-FFF2-40B4-BE49-F238E27FC236}">
                <a16:creationId xmlns:a16="http://schemas.microsoft.com/office/drawing/2014/main" id="{555AD1A3-C077-4A62-934D-22B3C1F9C321}"/>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7FB2DE4E-0A41-4F1A-8122-94C0E0A71C37}"/>
              </a:ext>
            </a:extLst>
          </p:cNvPr>
          <p:cNvSpPr>
            <a:spLocks noGrp="1"/>
          </p:cNvSpPr>
          <p:nvPr>
            <p:ph type="sldNum" sz="quarter" idx="11"/>
          </p:nvPr>
        </p:nvSpPr>
        <p:spPr/>
        <p:txBody>
          <a:bodyPr/>
          <a:lstStyle/>
          <a:p>
            <a:r>
              <a:rPr lang="en-US" dirty="0"/>
              <a:t>Page </a:t>
            </a:r>
            <a:fld id="{15EBE321-CBB1-4E91-BD14-37C8D44326FB}" type="slidenum">
              <a:rPr lang="en-US" smtClean="0"/>
              <a:pPr/>
              <a:t>107</a:t>
            </a:fld>
            <a:endParaRPr lang="en-US" dirty="0"/>
          </a:p>
        </p:txBody>
      </p:sp>
    </p:spTree>
    <p:extLst>
      <p:ext uri="{BB962C8B-B14F-4D97-AF65-F5344CB8AC3E}">
        <p14:creationId xmlns:p14="http://schemas.microsoft.com/office/powerpoint/2010/main" val="1768876607"/>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a:xfrm>
            <a:off x="410400" y="478800"/>
            <a:ext cx="9863997" cy="576000"/>
          </a:xfrm>
        </p:spPr>
        <p:txBody>
          <a:bodyPr/>
          <a:lstStyle/>
          <a:p>
            <a:r>
              <a:rPr lang="en-US" dirty="0"/>
              <a:t>Process – steps grid</a:t>
            </a:r>
          </a:p>
        </p:txBody>
      </p:sp>
      <p:sp>
        <p:nvSpPr>
          <p:cNvPr id="27" name="AutoShape 57"/>
          <p:cNvSpPr>
            <a:spLocks noChangeArrowheads="1"/>
          </p:cNvSpPr>
          <p:nvPr/>
        </p:nvSpPr>
        <p:spPr bwMode="auto">
          <a:xfrm>
            <a:off x="4380348" y="1415848"/>
            <a:ext cx="2014951" cy="828000"/>
          </a:xfrm>
          <a:prstGeom prst="chevron">
            <a:avLst>
              <a:gd name="adj" fmla="val 24129"/>
            </a:avLst>
          </a:prstGeom>
          <a:solidFill>
            <a:srgbClr val="E5E5E9"/>
          </a:solidFill>
          <a:ln w="12700">
            <a:noFill/>
          </a:ln>
          <a:effectLst/>
        </p:spPr>
        <p:txBody>
          <a:bodyPr lIns="143925" tIns="71963" rIns="143925" bIns="71963" anchor="t" anchorCtr="0"/>
          <a:lstStyle/>
          <a:p>
            <a:pPr>
              <a:buFont typeface="Wingdings" pitchFamily="2" charset="2"/>
              <a:buNone/>
            </a:pPr>
            <a:r>
              <a:rPr lang="en-US" sz="1399" dirty="0">
                <a:solidFill>
                  <a:srgbClr val="333353"/>
                </a:solidFill>
              </a:rPr>
              <a:t>At vero eos et accusam</a:t>
            </a:r>
          </a:p>
        </p:txBody>
      </p:sp>
      <p:sp>
        <p:nvSpPr>
          <p:cNvPr id="22" name="AutoShape 54"/>
          <p:cNvSpPr>
            <a:spLocks noChangeArrowheads="1"/>
          </p:cNvSpPr>
          <p:nvPr/>
        </p:nvSpPr>
        <p:spPr bwMode="auto">
          <a:xfrm>
            <a:off x="2477854" y="1415848"/>
            <a:ext cx="2014951" cy="828000"/>
          </a:xfrm>
          <a:prstGeom prst="homePlate">
            <a:avLst>
              <a:gd name="adj" fmla="val 24458"/>
            </a:avLst>
          </a:prstGeom>
          <a:solidFill>
            <a:srgbClr val="E5E5E9"/>
          </a:solidFill>
          <a:ln w="12700">
            <a:noFill/>
          </a:ln>
          <a:effectLst/>
        </p:spPr>
        <p:txBody>
          <a:bodyPr lIns="143925" tIns="71963" rIns="143925" bIns="71963" anchor="t" anchorCtr="0"/>
          <a:lstStyle/>
          <a:p>
            <a:pPr>
              <a:buFont typeface="Wingdings" pitchFamily="2" charset="2"/>
              <a:buNone/>
            </a:pPr>
            <a:r>
              <a:rPr lang="en-US" sz="1399" dirty="0">
                <a:solidFill>
                  <a:srgbClr val="333353"/>
                </a:solidFill>
              </a:rPr>
              <a:t>Duis arcu tortor</a:t>
            </a:r>
          </a:p>
        </p:txBody>
      </p:sp>
      <p:sp>
        <p:nvSpPr>
          <p:cNvPr id="10" name="Rectangle 4"/>
          <p:cNvSpPr>
            <a:spLocks noChangeArrowheads="1"/>
          </p:cNvSpPr>
          <p:nvPr/>
        </p:nvSpPr>
        <p:spPr bwMode="auto">
          <a:xfrm>
            <a:off x="410401" y="2396337"/>
            <a:ext cx="1978969" cy="828000"/>
          </a:xfrm>
          <a:prstGeom prst="rect">
            <a:avLst/>
          </a:prstGeom>
          <a:solidFill>
            <a:srgbClr val="00AF8E"/>
          </a:solidFill>
          <a:ln w="12700">
            <a:noFill/>
          </a:ln>
          <a:effectLst/>
        </p:spPr>
        <p:txBody>
          <a:bodyPr lIns="143925" tIns="71963" rIns="143925" bIns="71963" anchor="t" anchorCtr="0"/>
          <a:lstStyle/>
          <a:p>
            <a:pPr>
              <a:buFont typeface="Wingdings" pitchFamily="2" charset="2"/>
              <a:buNone/>
            </a:pPr>
            <a:r>
              <a:rPr lang="en-US" sz="1399" b="1" dirty="0">
                <a:solidFill>
                  <a:schemeClr val="bg1"/>
                </a:solidFill>
              </a:rPr>
              <a:t>Phasellus nec sem</a:t>
            </a:r>
          </a:p>
        </p:txBody>
      </p:sp>
      <p:sp>
        <p:nvSpPr>
          <p:cNvPr id="11" name="Rectangle 5"/>
          <p:cNvSpPr>
            <a:spLocks noChangeArrowheads="1"/>
          </p:cNvSpPr>
          <p:nvPr/>
        </p:nvSpPr>
        <p:spPr bwMode="auto">
          <a:xfrm>
            <a:off x="410401" y="3376826"/>
            <a:ext cx="1978969" cy="828000"/>
          </a:xfrm>
          <a:prstGeom prst="rect">
            <a:avLst/>
          </a:prstGeom>
          <a:solidFill>
            <a:srgbClr val="E5E5E9"/>
          </a:solidFill>
          <a:ln w="12700">
            <a:noFill/>
          </a:ln>
          <a:effectLst/>
        </p:spPr>
        <p:txBody>
          <a:bodyPr lIns="143925" tIns="71963" rIns="143925" bIns="71963" anchor="t" anchorCtr="0"/>
          <a:lstStyle/>
          <a:p>
            <a:pPr>
              <a:buFont typeface="Wingdings" pitchFamily="2" charset="2"/>
              <a:buNone/>
            </a:pPr>
            <a:r>
              <a:rPr lang="en-US" sz="1399" b="1" dirty="0">
                <a:solidFill>
                  <a:srgbClr val="333353"/>
                </a:solidFill>
              </a:rPr>
              <a:t>Maecenas nec odio</a:t>
            </a:r>
          </a:p>
        </p:txBody>
      </p:sp>
      <p:sp>
        <p:nvSpPr>
          <p:cNvPr id="12" name="Rectangle 6"/>
          <p:cNvSpPr>
            <a:spLocks noChangeArrowheads="1"/>
          </p:cNvSpPr>
          <p:nvPr/>
        </p:nvSpPr>
        <p:spPr bwMode="auto">
          <a:xfrm>
            <a:off x="410401" y="4357316"/>
            <a:ext cx="1978969" cy="828000"/>
          </a:xfrm>
          <a:prstGeom prst="rect">
            <a:avLst/>
          </a:prstGeom>
          <a:solidFill>
            <a:srgbClr val="00646E"/>
          </a:solidFill>
          <a:ln w="12700">
            <a:noFill/>
          </a:ln>
          <a:effectLst/>
        </p:spPr>
        <p:txBody>
          <a:bodyPr lIns="143925" tIns="71963" rIns="143925" bIns="71963" anchor="t" anchorCtr="0"/>
          <a:lstStyle/>
          <a:p>
            <a:pPr>
              <a:buFont typeface="Wingdings" pitchFamily="2" charset="2"/>
              <a:buNone/>
            </a:pPr>
            <a:r>
              <a:rPr lang="en-US" sz="1399" b="1" dirty="0">
                <a:solidFill>
                  <a:schemeClr val="bg1"/>
                </a:solidFill>
              </a:rPr>
              <a:t>Consetetur sadipscing elitr, seddiam nonumy</a:t>
            </a:r>
          </a:p>
        </p:txBody>
      </p:sp>
      <p:sp>
        <p:nvSpPr>
          <p:cNvPr id="13" name="Rectangle 7"/>
          <p:cNvSpPr>
            <a:spLocks noChangeArrowheads="1"/>
          </p:cNvSpPr>
          <p:nvPr/>
        </p:nvSpPr>
        <p:spPr bwMode="auto">
          <a:xfrm>
            <a:off x="410400" y="5337805"/>
            <a:ext cx="1978969" cy="828000"/>
          </a:xfrm>
          <a:prstGeom prst="rect">
            <a:avLst/>
          </a:prstGeom>
          <a:solidFill>
            <a:srgbClr val="E5E5E9"/>
          </a:solidFill>
          <a:ln w="12700">
            <a:noFill/>
          </a:ln>
          <a:effectLst/>
        </p:spPr>
        <p:txBody>
          <a:bodyPr lIns="143925" tIns="71963" rIns="143925" bIns="71963" anchor="t" anchorCtr="0"/>
          <a:lstStyle/>
          <a:p>
            <a:pPr>
              <a:buFont typeface="Wingdings" pitchFamily="2" charset="2"/>
              <a:buNone/>
            </a:pPr>
            <a:r>
              <a:rPr lang="en-US" sz="1399" b="1" dirty="0">
                <a:solidFill>
                  <a:srgbClr val="333353"/>
                </a:solidFill>
              </a:rPr>
              <a:t>Cras ultricies mi eu</a:t>
            </a:r>
          </a:p>
        </p:txBody>
      </p:sp>
      <p:sp>
        <p:nvSpPr>
          <p:cNvPr id="14" name="Rectangle 40"/>
          <p:cNvSpPr>
            <a:spLocks noChangeArrowheads="1"/>
          </p:cNvSpPr>
          <p:nvPr/>
        </p:nvSpPr>
        <p:spPr bwMode="auto">
          <a:xfrm>
            <a:off x="410401" y="1415848"/>
            <a:ext cx="1978969" cy="828000"/>
          </a:xfrm>
          <a:prstGeom prst="rect">
            <a:avLst/>
          </a:prstGeom>
          <a:solidFill>
            <a:srgbClr val="E5E5E9"/>
          </a:solidFill>
          <a:ln w="12700">
            <a:noFill/>
          </a:ln>
          <a:effectLst/>
        </p:spPr>
        <p:txBody>
          <a:bodyPr lIns="143925" tIns="71963" rIns="143925" bIns="71963" anchor="t" anchorCtr="0"/>
          <a:lstStyle/>
          <a:p>
            <a:pPr>
              <a:buFont typeface="Wingdings" pitchFamily="2" charset="2"/>
              <a:buNone/>
            </a:pPr>
            <a:r>
              <a:rPr lang="en-US" sz="1399" b="1" dirty="0">
                <a:solidFill>
                  <a:srgbClr val="333353"/>
                </a:solidFill>
              </a:rPr>
              <a:t>Maecenas nec odio</a:t>
            </a:r>
          </a:p>
        </p:txBody>
      </p:sp>
      <p:sp>
        <p:nvSpPr>
          <p:cNvPr id="39" name="AutoShape 57"/>
          <p:cNvSpPr>
            <a:spLocks noChangeArrowheads="1"/>
          </p:cNvSpPr>
          <p:nvPr/>
        </p:nvSpPr>
        <p:spPr bwMode="auto">
          <a:xfrm>
            <a:off x="6282842" y="1415848"/>
            <a:ext cx="2014951" cy="828000"/>
          </a:xfrm>
          <a:prstGeom prst="chevron">
            <a:avLst>
              <a:gd name="adj" fmla="val 24129"/>
            </a:avLst>
          </a:prstGeom>
          <a:solidFill>
            <a:srgbClr val="E5E5E9"/>
          </a:solidFill>
          <a:ln w="12700">
            <a:noFill/>
          </a:ln>
          <a:effectLst/>
        </p:spPr>
        <p:txBody>
          <a:bodyPr lIns="143925" tIns="71963" rIns="143925" bIns="71963" anchor="t" anchorCtr="0"/>
          <a:lstStyle/>
          <a:p>
            <a:pPr>
              <a:buFont typeface="Wingdings" pitchFamily="2" charset="2"/>
              <a:buNone/>
            </a:pPr>
            <a:r>
              <a:rPr lang="en-US" sz="1399" dirty="0">
                <a:solidFill>
                  <a:srgbClr val="333353"/>
                </a:solidFill>
              </a:rPr>
              <a:t>Cras ultricies mi eu</a:t>
            </a:r>
          </a:p>
        </p:txBody>
      </p:sp>
      <p:sp>
        <p:nvSpPr>
          <p:cNvPr id="40" name="AutoShape 57"/>
          <p:cNvSpPr>
            <a:spLocks noChangeArrowheads="1"/>
          </p:cNvSpPr>
          <p:nvPr/>
        </p:nvSpPr>
        <p:spPr bwMode="auto">
          <a:xfrm>
            <a:off x="8185335" y="1415848"/>
            <a:ext cx="2014951" cy="828000"/>
          </a:xfrm>
          <a:prstGeom prst="chevron">
            <a:avLst>
              <a:gd name="adj" fmla="val 24129"/>
            </a:avLst>
          </a:prstGeom>
          <a:solidFill>
            <a:srgbClr val="E5E5E9"/>
          </a:solidFill>
          <a:ln w="12700">
            <a:noFill/>
          </a:ln>
          <a:effectLst/>
        </p:spPr>
        <p:txBody>
          <a:bodyPr lIns="143925" tIns="71963" rIns="143925" bIns="71963" anchor="t" anchorCtr="0"/>
          <a:lstStyle/>
          <a:p>
            <a:pPr>
              <a:buFont typeface="Wingdings" pitchFamily="2" charset="2"/>
              <a:buNone/>
            </a:pPr>
            <a:r>
              <a:rPr lang="en-US" sz="1399" dirty="0">
                <a:solidFill>
                  <a:srgbClr val="333353"/>
                </a:solidFill>
              </a:rPr>
              <a:t>Duis arcu tortor, suscipit eget</a:t>
            </a:r>
          </a:p>
        </p:txBody>
      </p:sp>
      <p:sp>
        <p:nvSpPr>
          <p:cNvPr id="41" name="AutoShape 57"/>
          <p:cNvSpPr>
            <a:spLocks noChangeArrowheads="1"/>
          </p:cNvSpPr>
          <p:nvPr/>
        </p:nvSpPr>
        <p:spPr bwMode="auto">
          <a:xfrm>
            <a:off x="4380348" y="2396337"/>
            <a:ext cx="2014951" cy="828000"/>
          </a:xfrm>
          <a:prstGeom prst="chevron">
            <a:avLst>
              <a:gd name="adj" fmla="val 24129"/>
            </a:avLst>
          </a:prstGeom>
          <a:solidFill>
            <a:srgbClr val="00AF8E"/>
          </a:solidFill>
          <a:ln w="12700">
            <a:noFill/>
          </a:ln>
          <a:effectLst/>
        </p:spPr>
        <p:txBody>
          <a:bodyPr lIns="143925" tIns="71963" rIns="143925" bIns="71963" anchor="t" anchorCtr="0"/>
          <a:lstStyle/>
          <a:p>
            <a:pPr>
              <a:buFont typeface="Wingdings" pitchFamily="2" charset="2"/>
              <a:buNone/>
            </a:pPr>
            <a:r>
              <a:rPr lang="en-US" sz="1399" b="1" dirty="0">
                <a:solidFill>
                  <a:schemeClr val="bg1"/>
                </a:solidFill>
              </a:rPr>
              <a:t>Duis arcu tortor, suscipit eget</a:t>
            </a:r>
          </a:p>
        </p:txBody>
      </p:sp>
      <p:sp>
        <p:nvSpPr>
          <p:cNvPr id="42" name="AutoShape 54"/>
          <p:cNvSpPr>
            <a:spLocks noChangeArrowheads="1"/>
          </p:cNvSpPr>
          <p:nvPr/>
        </p:nvSpPr>
        <p:spPr bwMode="auto">
          <a:xfrm>
            <a:off x="2477854" y="2396337"/>
            <a:ext cx="2014951" cy="828000"/>
          </a:xfrm>
          <a:prstGeom prst="homePlate">
            <a:avLst>
              <a:gd name="adj" fmla="val 24458"/>
            </a:avLst>
          </a:prstGeom>
          <a:solidFill>
            <a:srgbClr val="00AF8E"/>
          </a:solidFill>
          <a:ln w="12700">
            <a:noFill/>
          </a:ln>
          <a:effectLst/>
        </p:spPr>
        <p:txBody>
          <a:bodyPr lIns="143925" tIns="71963" rIns="143925" bIns="71963" anchor="t" anchorCtr="0"/>
          <a:lstStyle/>
          <a:p>
            <a:pPr>
              <a:buFont typeface="Wingdings" pitchFamily="2" charset="2"/>
              <a:buNone/>
            </a:pPr>
            <a:r>
              <a:rPr lang="en-US" sz="1399" b="1" dirty="0">
                <a:solidFill>
                  <a:schemeClr val="bg1"/>
                </a:solidFill>
              </a:rPr>
              <a:t>Cras ultricies </a:t>
            </a:r>
            <a:br>
              <a:rPr lang="en-US" sz="1399" b="1" dirty="0">
                <a:solidFill>
                  <a:schemeClr val="bg1"/>
                </a:solidFill>
              </a:rPr>
            </a:br>
            <a:r>
              <a:rPr lang="en-US" sz="1399" b="1" dirty="0">
                <a:solidFill>
                  <a:schemeClr val="bg1"/>
                </a:solidFill>
              </a:rPr>
              <a:t>mi eu</a:t>
            </a:r>
          </a:p>
        </p:txBody>
      </p:sp>
      <p:sp>
        <p:nvSpPr>
          <p:cNvPr id="43" name="AutoShape 57"/>
          <p:cNvSpPr>
            <a:spLocks noChangeArrowheads="1"/>
          </p:cNvSpPr>
          <p:nvPr/>
        </p:nvSpPr>
        <p:spPr bwMode="auto">
          <a:xfrm>
            <a:off x="6282842" y="2396337"/>
            <a:ext cx="2014951" cy="828000"/>
          </a:xfrm>
          <a:prstGeom prst="chevron">
            <a:avLst>
              <a:gd name="adj" fmla="val 24129"/>
            </a:avLst>
          </a:prstGeom>
          <a:solidFill>
            <a:srgbClr val="00AF8E"/>
          </a:solidFill>
          <a:ln w="12700">
            <a:noFill/>
          </a:ln>
          <a:effectLst/>
        </p:spPr>
        <p:txBody>
          <a:bodyPr lIns="143925" tIns="71963" rIns="143925" bIns="71963" anchor="t" anchorCtr="0"/>
          <a:lstStyle/>
          <a:p>
            <a:pPr>
              <a:buFont typeface="Wingdings" pitchFamily="2" charset="2"/>
              <a:buNone/>
            </a:pPr>
            <a:r>
              <a:rPr lang="en-US" sz="1399" b="1" dirty="0">
                <a:solidFill>
                  <a:schemeClr val="bg1"/>
                </a:solidFill>
              </a:rPr>
              <a:t>Duis arcu tortor</a:t>
            </a:r>
          </a:p>
        </p:txBody>
      </p:sp>
      <p:sp>
        <p:nvSpPr>
          <p:cNvPr id="44" name="AutoShape 57"/>
          <p:cNvSpPr>
            <a:spLocks noChangeArrowheads="1"/>
          </p:cNvSpPr>
          <p:nvPr/>
        </p:nvSpPr>
        <p:spPr bwMode="auto">
          <a:xfrm>
            <a:off x="8185335" y="2396337"/>
            <a:ext cx="2014951" cy="828000"/>
          </a:xfrm>
          <a:prstGeom prst="chevron">
            <a:avLst>
              <a:gd name="adj" fmla="val 24129"/>
            </a:avLst>
          </a:prstGeom>
          <a:solidFill>
            <a:srgbClr val="00AF8E"/>
          </a:solidFill>
          <a:ln w="12700">
            <a:noFill/>
          </a:ln>
          <a:effectLst/>
        </p:spPr>
        <p:txBody>
          <a:bodyPr lIns="143925" tIns="71963" rIns="143925" bIns="71963" anchor="t" anchorCtr="0"/>
          <a:lstStyle/>
          <a:p>
            <a:pPr>
              <a:buFont typeface="Wingdings" pitchFamily="2" charset="2"/>
              <a:buNone/>
            </a:pPr>
            <a:r>
              <a:rPr lang="en-US" sz="1399" b="1" dirty="0">
                <a:solidFill>
                  <a:schemeClr val="bg1"/>
                </a:solidFill>
              </a:rPr>
              <a:t>Maecenas nec odio</a:t>
            </a:r>
          </a:p>
        </p:txBody>
      </p:sp>
      <p:sp>
        <p:nvSpPr>
          <p:cNvPr id="45" name="AutoShape 57"/>
          <p:cNvSpPr>
            <a:spLocks noChangeArrowheads="1"/>
          </p:cNvSpPr>
          <p:nvPr/>
        </p:nvSpPr>
        <p:spPr bwMode="auto">
          <a:xfrm>
            <a:off x="4380348" y="3376826"/>
            <a:ext cx="2014951" cy="828000"/>
          </a:xfrm>
          <a:prstGeom prst="chevron">
            <a:avLst>
              <a:gd name="adj" fmla="val 24129"/>
            </a:avLst>
          </a:prstGeom>
          <a:solidFill>
            <a:srgbClr val="E5E5E9"/>
          </a:solidFill>
          <a:ln w="12700">
            <a:noFill/>
          </a:ln>
          <a:effectLst/>
        </p:spPr>
        <p:txBody>
          <a:bodyPr lIns="143925" tIns="71963" rIns="143925" bIns="71963" anchor="t" anchorCtr="0"/>
          <a:lstStyle/>
          <a:p>
            <a:pPr>
              <a:buFont typeface="Wingdings" pitchFamily="2" charset="2"/>
              <a:buNone/>
            </a:pPr>
            <a:r>
              <a:rPr lang="en-US" sz="1399" dirty="0">
                <a:solidFill>
                  <a:srgbClr val="333353"/>
                </a:solidFill>
              </a:rPr>
              <a:t>Cras ultricies mi eu</a:t>
            </a:r>
          </a:p>
        </p:txBody>
      </p:sp>
      <p:sp>
        <p:nvSpPr>
          <p:cNvPr id="46" name="AutoShape 54"/>
          <p:cNvSpPr>
            <a:spLocks noChangeArrowheads="1"/>
          </p:cNvSpPr>
          <p:nvPr/>
        </p:nvSpPr>
        <p:spPr bwMode="auto">
          <a:xfrm>
            <a:off x="2477854" y="3376826"/>
            <a:ext cx="2014951" cy="828000"/>
          </a:xfrm>
          <a:prstGeom prst="homePlate">
            <a:avLst>
              <a:gd name="adj" fmla="val 24458"/>
            </a:avLst>
          </a:prstGeom>
          <a:solidFill>
            <a:srgbClr val="E5E5E9"/>
          </a:solidFill>
          <a:ln w="12700">
            <a:noFill/>
          </a:ln>
          <a:effectLst/>
        </p:spPr>
        <p:txBody>
          <a:bodyPr lIns="143925" tIns="71963" rIns="143925" bIns="71963" anchor="t" anchorCtr="0"/>
          <a:lstStyle/>
          <a:p>
            <a:pPr>
              <a:buFont typeface="Wingdings" pitchFamily="2" charset="2"/>
              <a:buNone/>
            </a:pPr>
            <a:r>
              <a:rPr lang="en-US" sz="1399" dirty="0">
                <a:solidFill>
                  <a:srgbClr val="333353"/>
                </a:solidFill>
              </a:rPr>
              <a:t>At vero eos et accusam</a:t>
            </a:r>
          </a:p>
        </p:txBody>
      </p:sp>
      <p:sp>
        <p:nvSpPr>
          <p:cNvPr id="47" name="AutoShape 57"/>
          <p:cNvSpPr>
            <a:spLocks noChangeArrowheads="1"/>
          </p:cNvSpPr>
          <p:nvPr/>
        </p:nvSpPr>
        <p:spPr bwMode="auto">
          <a:xfrm>
            <a:off x="6282842" y="3376826"/>
            <a:ext cx="2014951" cy="828000"/>
          </a:xfrm>
          <a:prstGeom prst="chevron">
            <a:avLst>
              <a:gd name="adj" fmla="val 24129"/>
            </a:avLst>
          </a:prstGeom>
          <a:solidFill>
            <a:srgbClr val="E5E5E9"/>
          </a:solidFill>
          <a:ln w="12700">
            <a:noFill/>
          </a:ln>
          <a:effectLst/>
        </p:spPr>
        <p:txBody>
          <a:bodyPr lIns="143925" tIns="71963" rIns="143925" bIns="71963" anchor="t" anchorCtr="0"/>
          <a:lstStyle/>
          <a:p>
            <a:pPr>
              <a:buFont typeface="Wingdings" pitchFamily="2" charset="2"/>
              <a:buNone/>
            </a:pPr>
            <a:r>
              <a:rPr lang="en-US" sz="1399" dirty="0">
                <a:solidFill>
                  <a:srgbClr val="333353"/>
                </a:solidFill>
              </a:rPr>
              <a:t>Phasellus nec sem</a:t>
            </a:r>
          </a:p>
        </p:txBody>
      </p:sp>
      <p:sp>
        <p:nvSpPr>
          <p:cNvPr id="48" name="AutoShape 57"/>
          <p:cNvSpPr>
            <a:spLocks noChangeArrowheads="1"/>
          </p:cNvSpPr>
          <p:nvPr/>
        </p:nvSpPr>
        <p:spPr bwMode="auto">
          <a:xfrm>
            <a:off x="8185335" y="3376826"/>
            <a:ext cx="2014951" cy="828000"/>
          </a:xfrm>
          <a:prstGeom prst="chevron">
            <a:avLst>
              <a:gd name="adj" fmla="val 24129"/>
            </a:avLst>
          </a:prstGeom>
          <a:solidFill>
            <a:srgbClr val="E5E5E9"/>
          </a:solidFill>
          <a:ln w="12700">
            <a:noFill/>
          </a:ln>
          <a:effectLst/>
        </p:spPr>
        <p:txBody>
          <a:bodyPr lIns="143925" tIns="71963" rIns="143925" bIns="71963" anchor="t" anchorCtr="0"/>
          <a:lstStyle/>
          <a:p>
            <a:pPr>
              <a:buFont typeface="Wingdings" pitchFamily="2" charset="2"/>
              <a:buNone/>
            </a:pPr>
            <a:r>
              <a:rPr lang="en-US" sz="1399" dirty="0">
                <a:solidFill>
                  <a:srgbClr val="333353"/>
                </a:solidFill>
              </a:rPr>
              <a:t>Maecenas nec odio</a:t>
            </a:r>
          </a:p>
        </p:txBody>
      </p:sp>
      <p:sp>
        <p:nvSpPr>
          <p:cNvPr id="49" name="AutoShape 57"/>
          <p:cNvSpPr>
            <a:spLocks noChangeArrowheads="1"/>
          </p:cNvSpPr>
          <p:nvPr/>
        </p:nvSpPr>
        <p:spPr bwMode="auto">
          <a:xfrm>
            <a:off x="4380348" y="5337805"/>
            <a:ext cx="2014951" cy="828000"/>
          </a:xfrm>
          <a:prstGeom prst="chevron">
            <a:avLst>
              <a:gd name="adj" fmla="val 24129"/>
            </a:avLst>
          </a:prstGeom>
          <a:solidFill>
            <a:srgbClr val="E5E5E9"/>
          </a:solidFill>
          <a:ln w="12700">
            <a:noFill/>
          </a:ln>
          <a:effectLst/>
        </p:spPr>
        <p:txBody>
          <a:bodyPr lIns="143925" tIns="71963" rIns="143925" bIns="71963" anchor="t" anchorCtr="0"/>
          <a:lstStyle/>
          <a:p>
            <a:pPr>
              <a:buFont typeface="Wingdings" pitchFamily="2" charset="2"/>
              <a:buNone/>
            </a:pPr>
            <a:r>
              <a:rPr lang="en-US" sz="1399" dirty="0">
                <a:solidFill>
                  <a:srgbClr val="333353"/>
                </a:solidFill>
              </a:rPr>
              <a:t>Cras ultricies</a:t>
            </a:r>
          </a:p>
        </p:txBody>
      </p:sp>
      <p:sp>
        <p:nvSpPr>
          <p:cNvPr id="50" name="AutoShape 54"/>
          <p:cNvSpPr>
            <a:spLocks noChangeArrowheads="1"/>
          </p:cNvSpPr>
          <p:nvPr/>
        </p:nvSpPr>
        <p:spPr bwMode="auto">
          <a:xfrm>
            <a:off x="2477854" y="5337805"/>
            <a:ext cx="2014951" cy="828000"/>
          </a:xfrm>
          <a:prstGeom prst="homePlate">
            <a:avLst>
              <a:gd name="adj" fmla="val 24458"/>
            </a:avLst>
          </a:prstGeom>
          <a:solidFill>
            <a:srgbClr val="E5E5E9"/>
          </a:solidFill>
          <a:ln w="12700">
            <a:noFill/>
          </a:ln>
          <a:effectLst/>
        </p:spPr>
        <p:txBody>
          <a:bodyPr lIns="143925" tIns="71963" rIns="143925" bIns="71963" anchor="t" anchorCtr="0"/>
          <a:lstStyle/>
          <a:p>
            <a:pPr>
              <a:buFont typeface="Wingdings" pitchFamily="2" charset="2"/>
              <a:buNone/>
            </a:pPr>
            <a:r>
              <a:rPr lang="en-US" sz="1399" dirty="0">
                <a:solidFill>
                  <a:srgbClr val="333353"/>
                </a:solidFill>
              </a:rPr>
              <a:t>Duis arcu tortor</a:t>
            </a:r>
          </a:p>
        </p:txBody>
      </p:sp>
      <p:sp>
        <p:nvSpPr>
          <p:cNvPr id="51" name="AutoShape 57"/>
          <p:cNvSpPr>
            <a:spLocks noChangeArrowheads="1"/>
          </p:cNvSpPr>
          <p:nvPr/>
        </p:nvSpPr>
        <p:spPr bwMode="auto">
          <a:xfrm>
            <a:off x="6282842" y="5337805"/>
            <a:ext cx="2014951" cy="828000"/>
          </a:xfrm>
          <a:prstGeom prst="chevron">
            <a:avLst>
              <a:gd name="adj" fmla="val 24129"/>
            </a:avLst>
          </a:prstGeom>
          <a:solidFill>
            <a:srgbClr val="E5E5E9"/>
          </a:solidFill>
          <a:ln w="12700">
            <a:noFill/>
          </a:ln>
          <a:effectLst/>
        </p:spPr>
        <p:txBody>
          <a:bodyPr lIns="143925" tIns="71963" rIns="143925" bIns="71963" anchor="t" anchorCtr="0"/>
          <a:lstStyle/>
          <a:p>
            <a:pPr>
              <a:buFont typeface="Wingdings" pitchFamily="2" charset="2"/>
              <a:buNone/>
            </a:pPr>
            <a:r>
              <a:rPr lang="en-US" sz="1399" dirty="0">
                <a:solidFill>
                  <a:srgbClr val="333353"/>
                </a:solidFill>
              </a:rPr>
              <a:t>Duis arcu tortor, suscipit eget</a:t>
            </a:r>
          </a:p>
        </p:txBody>
      </p:sp>
      <p:sp>
        <p:nvSpPr>
          <p:cNvPr id="52" name="AutoShape 57"/>
          <p:cNvSpPr>
            <a:spLocks noChangeArrowheads="1"/>
          </p:cNvSpPr>
          <p:nvPr/>
        </p:nvSpPr>
        <p:spPr bwMode="auto">
          <a:xfrm>
            <a:off x="8185335" y="5337805"/>
            <a:ext cx="2014951" cy="828000"/>
          </a:xfrm>
          <a:prstGeom prst="chevron">
            <a:avLst>
              <a:gd name="adj" fmla="val 24129"/>
            </a:avLst>
          </a:prstGeom>
          <a:solidFill>
            <a:srgbClr val="E5E5E9"/>
          </a:solidFill>
          <a:ln w="12700">
            <a:noFill/>
          </a:ln>
          <a:effectLst/>
        </p:spPr>
        <p:txBody>
          <a:bodyPr lIns="143925" tIns="71963" rIns="143925" bIns="71963" anchor="t" anchorCtr="0"/>
          <a:lstStyle/>
          <a:p>
            <a:pPr>
              <a:buFont typeface="Wingdings" pitchFamily="2" charset="2"/>
              <a:buNone/>
            </a:pPr>
            <a:r>
              <a:rPr lang="en-US" sz="1399" dirty="0">
                <a:solidFill>
                  <a:srgbClr val="333353"/>
                </a:solidFill>
              </a:rPr>
              <a:t>At vero eos et accusam</a:t>
            </a:r>
          </a:p>
        </p:txBody>
      </p:sp>
      <p:sp>
        <p:nvSpPr>
          <p:cNvPr id="53" name="AutoShape 57"/>
          <p:cNvSpPr>
            <a:spLocks noChangeArrowheads="1"/>
          </p:cNvSpPr>
          <p:nvPr/>
        </p:nvSpPr>
        <p:spPr bwMode="auto">
          <a:xfrm>
            <a:off x="4380348" y="4357316"/>
            <a:ext cx="2014951" cy="828000"/>
          </a:xfrm>
          <a:prstGeom prst="chevron">
            <a:avLst>
              <a:gd name="adj" fmla="val 24129"/>
            </a:avLst>
          </a:prstGeom>
          <a:solidFill>
            <a:srgbClr val="00646E"/>
          </a:solidFill>
          <a:ln w="12700">
            <a:noFill/>
          </a:ln>
          <a:effectLst/>
        </p:spPr>
        <p:txBody>
          <a:bodyPr lIns="143925" tIns="71963" rIns="143925" bIns="71963" anchor="t" anchorCtr="0"/>
          <a:lstStyle/>
          <a:p>
            <a:pPr>
              <a:buFont typeface="Wingdings" pitchFamily="2" charset="2"/>
              <a:buNone/>
            </a:pPr>
            <a:r>
              <a:rPr lang="en-US" sz="1399" b="1" dirty="0">
                <a:solidFill>
                  <a:schemeClr val="bg1"/>
                </a:solidFill>
              </a:rPr>
              <a:t>Phasellus nec sem</a:t>
            </a:r>
          </a:p>
        </p:txBody>
      </p:sp>
      <p:sp>
        <p:nvSpPr>
          <p:cNvPr id="54" name="AutoShape 54"/>
          <p:cNvSpPr>
            <a:spLocks noChangeArrowheads="1"/>
          </p:cNvSpPr>
          <p:nvPr/>
        </p:nvSpPr>
        <p:spPr bwMode="auto">
          <a:xfrm>
            <a:off x="2477854" y="4357316"/>
            <a:ext cx="2014951" cy="828000"/>
          </a:xfrm>
          <a:prstGeom prst="homePlate">
            <a:avLst>
              <a:gd name="adj" fmla="val 24458"/>
            </a:avLst>
          </a:prstGeom>
          <a:solidFill>
            <a:srgbClr val="00646E"/>
          </a:solidFill>
          <a:ln w="12700">
            <a:noFill/>
          </a:ln>
          <a:effectLst/>
        </p:spPr>
        <p:txBody>
          <a:bodyPr lIns="143925" tIns="71963" rIns="143925" bIns="71963" anchor="t" anchorCtr="0"/>
          <a:lstStyle/>
          <a:p>
            <a:pPr>
              <a:buFont typeface="Wingdings" pitchFamily="2" charset="2"/>
              <a:buNone/>
            </a:pPr>
            <a:r>
              <a:rPr lang="en-US" sz="1399" b="1" dirty="0">
                <a:solidFill>
                  <a:schemeClr val="bg1"/>
                </a:solidFill>
              </a:rPr>
              <a:t>Maecenas nec odio</a:t>
            </a:r>
          </a:p>
        </p:txBody>
      </p:sp>
      <p:sp>
        <p:nvSpPr>
          <p:cNvPr id="55" name="AutoShape 57"/>
          <p:cNvSpPr>
            <a:spLocks noChangeArrowheads="1"/>
          </p:cNvSpPr>
          <p:nvPr/>
        </p:nvSpPr>
        <p:spPr bwMode="auto">
          <a:xfrm>
            <a:off x="6282842" y="4357316"/>
            <a:ext cx="2014951" cy="828000"/>
          </a:xfrm>
          <a:prstGeom prst="chevron">
            <a:avLst>
              <a:gd name="adj" fmla="val 24129"/>
            </a:avLst>
          </a:prstGeom>
          <a:solidFill>
            <a:srgbClr val="00646E"/>
          </a:solidFill>
          <a:ln w="12700">
            <a:noFill/>
          </a:ln>
          <a:effectLst/>
        </p:spPr>
        <p:txBody>
          <a:bodyPr lIns="143925" tIns="71963" rIns="143925" bIns="71963" anchor="t" anchorCtr="0"/>
          <a:lstStyle/>
          <a:p>
            <a:pPr>
              <a:buFont typeface="Wingdings" pitchFamily="2" charset="2"/>
              <a:buNone/>
            </a:pPr>
            <a:r>
              <a:rPr lang="en-US" sz="1399" b="1" dirty="0">
                <a:solidFill>
                  <a:schemeClr val="bg1"/>
                </a:solidFill>
              </a:rPr>
              <a:t>At vero eos et accusam</a:t>
            </a:r>
          </a:p>
        </p:txBody>
      </p:sp>
      <p:sp>
        <p:nvSpPr>
          <p:cNvPr id="56" name="AutoShape 57"/>
          <p:cNvSpPr>
            <a:spLocks noChangeArrowheads="1"/>
          </p:cNvSpPr>
          <p:nvPr/>
        </p:nvSpPr>
        <p:spPr bwMode="auto">
          <a:xfrm>
            <a:off x="8185335" y="4357316"/>
            <a:ext cx="2014951" cy="828000"/>
          </a:xfrm>
          <a:prstGeom prst="chevron">
            <a:avLst>
              <a:gd name="adj" fmla="val 24129"/>
            </a:avLst>
          </a:prstGeom>
          <a:solidFill>
            <a:srgbClr val="00646E"/>
          </a:solidFill>
          <a:ln w="12700">
            <a:noFill/>
          </a:ln>
          <a:effectLst/>
        </p:spPr>
        <p:txBody>
          <a:bodyPr lIns="143925" tIns="71963" rIns="143925" bIns="71963" anchor="t" anchorCtr="0"/>
          <a:lstStyle/>
          <a:p>
            <a:pPr>
              <a:buFont typeface="Wingdings" pitchFamily="2" charset="2"/>
              <a:buNone/>
            </a:pPr>
            <a:r>
              <a:rPr lang="en-US" sz="1399" b="1" dirty="0">
                <a:solidFill>
                  <a:schemeClr val="bg1"/>
                </a:solidFill>
              </a:rPr>
              <a:t>Maecenas nec odio</a:t>
            </a:r>
          </a:p>
        </p:txBody>
      </p:sp>
      <p:sp>
        <p:nvSpPr>
          <p:cNvPr id="2" name="Footer Placeholder 1">
            <a:extLst>
              <a:ext uri="{FF2B5EF4-FFF2-40B4-BE49-F238E27FC236}">
                <a16:creationId xmlns:a16="http://schemas.microsoft.com/office/drawing/2014/main" id="{F4CB17BE-2D87-47CE-AE21-97ED37CD5DD9}"/>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3" name="Slide Number Placeholder 2">
            <a:extLst>
              <a:ext uri="{FF2B5EF4-FFF2-40B4-BE49-F238E27FC236}">
                <a16:creationId xmlns:a16="http://schemas.microsoft.com/office/drawing/2014/main" id="{522381DE-6ABA-4A1D-B132-9EE4843151F6}"/>
              </a:ext>
            </a:extLst>
          </p:cNvPr>
          <p:cNvSpPr>
            <a:spLocks noGrp="1"/>
          </p:cNvSpPr>
          <p:nvPr>
            <p:ph type="sldNum" sz="quarter" idx="11"/>
          </p:nvPr>
        </p:nvSpPr>
        <p:spPr/>
        <p:txBody>
          <a:bodyPr/>
          <a:lstStyle/>
          <a:p>
            <a:r>
              <a:rPr lang="en-US" dirty="0"/>
              <a:t>Page </a:t>
            </a:r>
            <a:fld id="{15EBE321-CBB1-4E91-BD14-37C8D44326FB}" type="slidenum">
              <a:rPr lang="en-US" smtClean="0"/>
              <a:pPr/>
              <a:t>108</a:t>
            </a:fld>
            <a:endParaRPr lang="en-US" dirty="0"/>
          </a:p>
        </p:txBody>
      </p:sp>
    </p:spTree>
    <p:extLst>
      <p:ext uri="{BB962C8B-B14F-4D97-AF65-F5344CB8AC3E}">
        <p14:creationId xmlns:p14="http://schemas.microsoft.com/office/powerpoint/2010/main" val="2472094706"/>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en-US" dirty="0"/>
              <a:t>Process – steps grid</a:t>
            </a:r>
          </a:p>
        </p:txBody>
      </p:sp>
      <p:sp>
        <p:nvSpPr>
          <p:cNvPr id="27" name="AutoShape 57"/>
          <p:cNvSpPr>
            <a:spLocks noChangeArrowheads="1"/>
          </p:cNvSpPr>
          <p:nvPr/>
        </p:nvSpPr>
        <p:spPr bwMode="auto">
          <a:xfrm>
            <a:off x="4380348" y="1415848"/>
            <a:ext cx="2014951" cy="828000"/>
          </a:xfrm>
          <a:prstGeom prst="chevron">
            <a:avLst>
              <a:gd name="adj" fmla="val 24129"/>
            </a:avLst>
          </a:prstGeom>
          <a:solidFill>
            <a:srgbClr val="333353"/>
          </a:solidFill>
          <a:ln w="12700">
            <a:noFill/>
          </a:ln>
          <a:effectLst/>
        </p:spPr>
        <p:txBody>
          <a:bodyPr lIns="143925" tIns="71963" rIns="143925" bIns="71963" anchor="t" anchorCtr="0"/>
          <a:lstStyle/>
          <a:p>
            <a:pPr>
              <a:buFont typeface="Wingdings" pitchFamily="2" charset="2"/>
              <a:buNone/>
            </a:pPr>
            <a:r>
              <a:rPr lang="en-US" sz="1399" dirty="0">
                <a:solidFill>
                  <a:schemeClr val="tx2"/>
                </a:solidFill>
              </a:rPr>
              <a:t>At vero eos et accusam</a:t>
            </a:r>
          </a:p>
        </p:txBody>
      </p:sp>
      <p:sp>
        <p:nvSpPr>
          <p:cNvPr id="22" name="AutoShape 54"/>
          <p:cNvSpPr>
            <a:spLocks noChangeArrowheads="1"/>
          </p:cNvSpPr>
          <p:nvPr/>
        </p:nvSpPr>
        <p:spPr bwMode="auto">
          <a:xfrm>
            <a:off x="2477854" y="1415848"/>
            <a:ext cx="2014951" cy="828000"/>
          </a:xfrm>
          <a:prstGeom prst="homePlate">
            <a:avLst>
              <a:gd name="adj" fmla="val 24458"/>
            </a:avLst>
          </a:prstGeom>
          <a:solidFill>
            <a:srgbClr val="333353"/>
          </a:solidFill>
          <a:ln w="12700">
            <a:noFill/>
          </a:ln>
          <a:effectLst/>
        </p:spPr>
        <p:txBody>
          <a:bodyPr lIns="143925" tIns="71963" rIns="143925" bIns="71963" anchor="t" anchorCtr="0"/>
          <a:lstStyle/>
          <a:p>
            <a:pPr>
              <a:buFont typeface="Wingdings" pitchFamily="2" charset="2"/>
              <a:buNone/>
            </a:pPr>
            <a:r>
              <a:rPr lang="en-US" sz="1399" dirty="0">
                <a:solidFill>
                  <a:schemeClr val="tx2"/>
                </a:solidFill>
              </a:rPr>
              <a:t>Duis arcu tortor</a:t>
            </a:r>
          </a:p>
        </p:txBody>
      </p:sp>
      <p:sp>
        <p:nvSpPr>
          <p:cNvPr id="10" name="Rectangle 4"/>
          <p:cNvSpPr>
            <a:spLocks noChangeArrowheads="1"/>
          </p:cNvSpPr>
          <p:nvPr/>
        </p:nvSpPr>
        <p:spPr bwMode="auto">
          <a:xfrm>
            <a:off x="410401" y="2396337"/>
            <a:ext cx="1978969" cy="828000"/>
          </a:xfrm>
          <a:prstGeom prst="rect">
            <a:avLst/>
          </a:prstGeom>
          <a:solidFill>
            <a:srgbClr val="00FFB9"/>
          </a:solidFill>
          <a:ln w="12700">
            <a:noFill/>
          </a:ln>
          <a:effectLst/>
        </p:spPr>
        <p:txBody>
          <a:bodyPr lIns="143925" tIns="71963" rIns="143925" bIns="71963" anchor="t" anchorCtr="0"/>
          <a:lstStyle/>
          <a:p>
            <a:pPr>
              <a:buFont typeface="Wingdings" pitchFamily="2" charset="2"/>
              <a:buNone/>
            </a:pPr>
            <a:r>
              <a:rPr lang="en-US" sz="1399" b="1" dirty="0">
                <a:solidFill>
                  <a:schemeClr val="bg2"/>
                </a:solidFill>
              </a:rPr>
              <a:t>Phasellus nec sem</a:t>
            </a:r>
          </a:p>
        </p:txBody>
      </p:sp>
      <p:sp>
        <p:nvSpPr>
          <p:cNvPr id="11" name="Rectangle 5"/>
          <p:cNvSpPr>
            <a:spLocks noChangeArrowheads="1"/>
          </p:cNvSpPr>
          <p:nvPr/>
        </p:nvSpPr>
        <p:spPr bwMode="auto">
          <a:xfrm>
            <a:off x="410401" y="3376826"/>
            <a:ext cx="1978969" cy="828000"/>
          </a:xfrm>
          <a:prstGeom prst="rect">
            <a:avLst/>
          </a:prstGeom>
          <a:solidFill>
            <a:srgbClr val="333353"/>
          </a:solidFill>
          <a:ln w="12700">
            <a:noFill/>
          </a:ln>
          <a:effectLst/>
        </p:spPr>
        <p:txBody>
          <a:bodyPr lIns="143925" tIns="71963" rIns="143925" bIns="71963" anchor="t" anchorCtr="0"/>
          <a:lstStyle/>
          <a:p>
            <a:pPr>
              <a:buFont typeface="Wingdings" pitchFamily="2" charset="2"/>
              <a:buNone/>
            </a:pPr>
            <a:r>
              <a:rPr lang="en-US" sz="1399" b="1" dirty="0">
                <a:solidFill>
                  <a:schemeClr val="tx2"/>
                </a:solidFill>
              </a:rPr>
              <a:t>Maecenas nec odio</a:t>
            </a:r>
          </a:p>
        </p:txBody>
      </p:sp>
      <p:sp>
        <p:nvSpPr>
          <p:cNvPr id="12" name="Rectangle 6"/>
          <p:cNvSpPr>
            <a:spLocks noChangeArrowheads="1"/>
          </p:cNvSpPr>
          <p:nvPr/>
        </p:nvSpPr>
        <p:spPr bwMode="auto">
          <a:xfrm>
            <a:off x="410401" y="4357316"/>
            <a:ext cx="1978969" cy="828000"/>
          </a:xfrm>
          <a:prstGeom prst="rect">
            <a:avLst/>
          </a:prstGeom>
          <a:solidFill>
            <a:srgbClr val="00646E"/>
          </a:solidFill>
          <a:ln w="12700">
            <a:noFill/>
          </a:ln>
          <a:effectLst/>
        </p:spPr>
        <p:txBody>
          <a:bodyPr lIns="143925" tIns="71963" rIns="143925" bIns="71963" anchor="t" anchorCtr="0"/>
          <a:lstStyle/>
          <a:p>
            <a:pPr>
              <a:buFont typeface="Wingdings" pitchFamily="2" charset="2"/>
              <a:buNone/>
            </a:pPr>
            <a:r>
              <a:rPr lang="en-US" sz="1399" b="1" dirty="0"/>
              <a:t>Consetetur sadipscing elitr, seddiam nonumy</a:t>
            </a:r>
          </a:p>
        </p:txBody>
      </p:sp>
      <p:sp>
        <p:nvSpPr>
          <p:cNvPr id="13" name="Rectangle 7"/>
          <p:cNvSpPr>
            <a:spLocks noChangeArrowheads="1"/>
          </p:cNvSpPr>
          <p:nvPr/>
        </p:nvSpPr>
        <p:spPr bwMode="auto">
          <a:xfrm>
            <a:off x="410400" y="5337805"/>
            <a:ext cx="1978969" cy="828000"/>
          </a:xfrm>
          <a:prstGeom prst="rect">
            <a:avLst/>
          </a:prstGeom>
          <a:solidFill>
            <a:srgbClr val="333353"/>
          </a:solidFill>
          <a:ln w="12700">
            <a:noFill/>
          </a:ln>
          <a:effectLst/>
        </p:spPr>
        <p:txBody>
          <a:bodyPr lIns="143925" tIns="71963" rIns="143925" bIns="71963" anchor="t" anchorCtr="0"/>
          <a:lstStyle/>
          <a:p>
            <a:pPr>
              <a:buFont typeface="Wingdings" pitchFamily="2" charset="2"/>
              <a:buNone/>
            </a:pPr>
            <a:r>
              <a:rPr lang="en-US" sz="1399" b="1" dirty="0">
                <a:solidFill>
                  <a:schemeClr val="tx2"/>
                </a:solidFill>
              </a:rPr>
              <a:t>Cras ultricies mi eu</a:t>
            </a:r>
          </a:p>
        </p:txBody>
      </p:sp>
      <p:sp>
        <p:nvSpPr>
          <p:cNvPr id="14" name="Rectangle 40"/>
          <p:cNvSpPr>
            <a:spLocks noChangeArrowheads="1"/>
          </p:cNvSpPr>
          <p:nvPr/>
        </p:nvSpPr>
        <p:spPr bwMode="auto">
          <a:xfrm>
            <a:off x="410401" y="1415848"/>
            <a:ext cx="1978969" cy="828000"/>
          </a:xfrm>
          <a:prstGeom prst="rect">
            <a:avLst/>
          </a:prstGeom>
          <a:solidFill>
            <a:srgbClr val="333353"/>
          </a:solidFill>
          <a:ln w="12700">
            <a:noFill/>
          </a:ln>
          <a:effectLst/>
        </p:spPr>
        <p:txBody>
          <a:bodyPr lIns="143925" tIns="71963" rIns="143925" bIns="71963" anchor="t" anchorCtr="0"/>
          <a:lstStyle/>
          <a:p>
            <a:pPr>
              <a:buFont typeface="Wingdings" pitchFamily="2" charset="2"/>
              <a:buNone/>
            </a:pPr>
            <a:r>
              <a:rPr lang="en-US" sz="1399" b="1" dirty="0">
                <a:solidFill>
                  <a:schemeClr val="tx2"/>
                </a:solidFill>
              </a:rPr>
              <a:t>Maecenas nec odio</a:t>
            </a:r>
          </a:p>
        </p:txBody>
      </p:sp>
      <p:sp>
        <p:nvSpPr>
          <p:cNvPr id="39" name="AutoShape 57"/>
          <p:cNvSpPr>
            <a:spLocks noChangeArrowheads="1"/>
          </p:cNvSpPr>
          <p:nvPr/>
        </p:nvSpPr>
        <p:spPr bwMode="auto">
          <a:xfrm>
            <a:off x="6282842" y="1415848"/>
            <a:ext cx="2014951" cy="828000"/>
          </a:xfrm>
          <a:prstGeom prst="chevron">
            <a:avLst>
              <a:gd name="adj" fmla="val 24129"/>
            </a:avLst>
          </a:prstGeom>
          <a:solidFill>
            <a:srgbClr val="333353"/>
          </a:solidFill>
          <a:ln w="12700">
            <a:noFill/>
          </a:ln>
          <a:effectLst/>
        </p:spPr>
        <p:txBody>
          <a:bodyPr lIns="143925" tIns="71963" rIns="143925" bIns="71963" anchor="t" anchorCtr="0"/>
          <a:lstStyle/>
          <a:p>
            <a:pPr>
              <a:buFont typeface="Wingdings" pitchFamily="2" charset="2"/>
              <a:buNone/>
            </a:pPr>
            <a:r>
              <a:rPr lang="en-US" sz="1399" dirty="0">
                <a:solidFill>
                  <a:schemeClr val="tx2"/>
                </a:solidFill>
              </a:rPr>
              <a:t>Cras ultricies mi eu</a:t>
            </a:r>
          </a:p>
        </p:txBody>
      </p:sp>
      <p:sp>
        <p:nvSpPr>
          <p:cNvPr id="40" name="AutoShape 57"/>
          <p:cNvSpPr>
            <a:spLocks noChangeArrowheads="1"/>
          </p:cNvSpPr>
          <p:nvPr/>
        </p:nvSpPr>
        <p:spPr bwMode="auto">
          <a:xfrm>
            <a:off x="8185335" y="1415848"/>
            <a:ext cx="2014951" cy="828000"/>
          </a:xfrm>
          <a:prstGeom prst="chevron">
            <a:avLst>
              <a:gd name="adj" fmla="val 24129"/>
            </a:avLst>
          </a:prstGeom>
          <a:solidFill>
            <a:srgbClr val="333353"/>
          </a:solidFill>
          <a:ln w="12700">
            <a:noFill/>
          </a:ln>
          <a:effectLst/>
        </p:spPr>
        <p:txBody>
          <a:bodyPr lIns="143925" tIns="71963" rIns="143925" bIns="71963" anchor="t" anchorCtr="0"/>
          <a:lstStyle/>
          <a:p>
            <a:pPr>
              <a:buFont typeface="Wingdings" pitchFamily="2" charset="2"/>
              <a:buNone/>
            </a:pPr>
            <a:r>
              <a:rPr lang="en-US" sz="1399" dirty="0">
                <a:solidFill>
                  <a:schemeClr val="tx2"/>
                </a:solidFill>
              </a:rPr>
              <a:t>Duis arcu tortor, suscipit eget</a:t>
            </a:r>
          </a:p>
        </p:txBody>
      </p:sp>
      <p:sp>
        <p:nvSpPr>
          <p:cNvPr id="41" name="AutoShape 57"/>
          <p:cNvSpPr>
            <a:spLocks noChangeArrowheads="1"/>
          </p:cNvSpPr>
          <p:nvPr/>
        </p:nvSpPr>
        <p:spPr bwMode="auto">
          <a:xfrm>
            <a:off x="4380348" y="2396337"/>
            <a:ext cx="2014951" cy="828000"/>
          </a:xfrm>
          <a:prstGeom prst="chevron">
            <a:avLst>
              <a:gd name="adj" fmla="val 24129"/>
            </a:avLst>
          </a:prstGeom>
          <a:solidFill>
            <a:srgbClr val="00FFB9"/>
          </a:solidFill>
          <a:ln w="12700">
            <a:noFill/>
          </a:ln>
          <a:effectLst/>
        </p:spPr>
        <p:txBody>
          <a:bodyPr lIns="143925" tIns="71963" rIns="143925" bIns="71963" anchor="t" anchorCtr="0"/>
          <a:lstStyle/>
          <a:p>
            <a:pPr>
              <a:buFont typeface="Wingdings" pitchFamily="2" charset="2"/>
              <a:buNone/>
            </a:pPr>
            <a:r>
              <a:rPr lang="en-US" sz="1399" b="1" dirty="0">
                <a:solidFill>
                  <a:schemeClr val="bg2"/>
                </a:solidFill>
              </a:rPr>
              <a:t>Duis arcu tortor, suscipit eget</a:t>
            </a:r>
          </a:p>
        </p:txBody>
      </p:sp>
      <p:sp>
        <p:nvSpPr>
          <p:cNvPr id="42" name="AutoShape 54"/>
          <p:cNvSpPr>
            <a:spLocks noChangeArrowheads="1"/>
          </p:cNvSpPr>
          <p:nvPr/>
        </p:nvSpPr>
        <p:spPr bwMode="auto">
          <a:xfrm>
            <a:off x="2477854" y="2396337"/>
            <a:ext cx="2014951" cy="828000"/>
          </a:xfrm>
          <a:prstGeom prst="homePlate">
            <a:avLst>
              <a:gd name="adj" fmla="val 24458"/>
            </a:avLst>
          </a:prstGeom>
          <a:solidFill>
            <a:srgbClr val="00FFB9"/>
          </a:solidFill>
          <a:ln w="12700">
            <a:noFill/>
          </a:ln>
          <a:effectLst/>
        </p:spPr>
        <p:txBody>
          <a:bodyPr lIns="143925" tIns="71963" rIns="143925" bIns="71963" anchor="t" anchorCtr="0"/>
          <a:lstStyle/>
          <a:p>
            <a:pPr>
              <a:buFont typeface="Wingdings" pitchFamily="2" charset="2"/>
              <a:buNone/>
            </a:pPr>
            <a:r>
              <a:rPr lang="en-US" sz="1399" b="1" dirty="0">
                <a:solidFill>
                  <a:schemeClr val="bg2"/>
                </a:solidFill>
              </a:rPr>
              <a:t>Cras ultricies </a:t>
            </a:r>
            <a:br>
              <a:rPr lang="en-US" sz="1399" b="1" dirty="0">
                <a:solidFill>
                  <a:schemeClr val="bg2"/>
                </a:solidFill>
              </a:rPr>
            </a:br>
            <a:r>
              <a:rPr lang="en-US" sz="1399" b="1" dirty="0">
                <a:solidFill>
                  <a:schemeClr val="bg2"/>
                </a:solidFill>
              </a:rPr>
              <a:t>mi eu</a:t>
            </a:r>
          </a:p>
        </p:txBody>
      </p:sp>
      <p:sp>
        <p:nvSpPr>
          <p:cNvPr id="43" name="AutoShape 57"/>
          <p:cNvSpPr>
            <a:spLocks noChangeArrowheads="1"/>
          </p:cNvSpPr>
          <p:nvPr/>
        </p:nvSpPr>
        <p:spPr bwMode="auto">
          <a:xfrm>
            <a:off x="6282842" y="2396337"/>
            <a:ext cx="2014951" cy="828000"/>
          </a:xfrm>
          <a:prstGeom prst="chevron">
            <a:avLst>
              <a:gd name="adj" fmla="val 24129"/>
            </a:avLst>
          </a:prstGeom>
          <a:solidFill>
            <a:srgbClr val="00FFB9"/>
          </a:solidFill>
          <a:ln w="12700">
            <a:noFill/>
          </a:ln>
          <a:effectLst/>
        </p:spPr>
        <p:txBody>
          <a:bodyPr lIns="143925" tIns="71963" rIns="143925" bIns="71963" anchor="t" anchorCtr="0"/>
          <a:lstStyle/>
          <a:p>
            <a:pPr>
              <a:buFont typeface="Wingdings" pitchFamily="2" charset="2"/>
              <a:buNone/>
            </a:pPr>
            <a:r>
              <a:rPr lang="en-US" sz="1399" b="1" dirty="0">
                <a:solidFill>
                  <a:schemeClr val="bg2"/>
                </a:solidFill>
              </a:rPr>
              <a:t>Duis arcu tortor</a:t>
            </a:r>
          </a:p>
        </p:txBody>
      </p:sp>
      <p:sp>
        <p:nvSpPr>
          <p:cNvPr id="44" name="AutoShape 57"/>
          <p:cNvSpPr>
            <a:spLocks noChangeArrowheads="1"/>
          </p:cNvSpPr>
          <p:nvPr/>
        </p:nvSpPr>
        <p:spPr bwMode="auto">
          <a:xfrm>
            <a:off x="8185335" y="2396337"/>
            <a:ext cx="2014951" cy="828000"/>
          </a:xfrm>
          <a:prstGeom prst="chevron">
            <a:avLst>
              <a:gd name="adj" fmla="val 24129"/>
            </a:avLst>
          </a:prstGeom>
          <a:solidFill>
            <a:srgbClr val="00FFB9"/>
          </a:solidFill>
          <a:ln w="12700">
            <a:noFill/>
          </a:ln>
          <a:effectLst/>
        </p:spPr>
        <p:txBody>
          <a:bodyPr lIns="143925" tIns="71963" rIns="143925" bIns="71963" anchor="t" anchorCtr="0"/>
          <a:lstStyle/>
          <a:p>
            <a:pPr>
              <a:buFont typeface="Wingdings" pitchFamily="2" charset="2"/>
              <a:buNone/>
            </a:pPr>
            <a:r>
              <a:rPr lang="en-US" sz="1399" b="1" dirty="0">
                <a:solidFill>
                  <a:schemeClr val="bg2"/>
                </a:solidFill>
              </a:rPr>
              <a:t>Maecenas nec odio</a:t>
            </a:r>
          </a:p>
        </p:txBody>
      </p:sp>
      <p:sp>
        <p:nvSpPr>
          <p:cNvPr id="45" name="AutoShape 57"/>
          <p:cNvSpPr>
            <a:spLocks noChangeArrowheads="1"/>
          </p:cNvSpPr>
          <p:nvPr/>
        </p:nvSpPr>
        <p:spPr bwMode="auto">
          <a:xfrm>
            <a:off x="4380348" y="3376826"/>
            <a:ext cx="2014951" cy="828000"/>
          </a:xfrm>
          <a:prstGeom prst="chevron">
            <a:avLst>
              <a:gd name="adj" fmla="val 24129"/>
            </a:avLst>
          </a:prstGeom>
          <a:solidFill>
            <a:srgbClr val="333353"/>
          </a:solidFill>
          <a:ln w="12700">
            <a:noFill/>
          </a:ln>
          <a:effectLst/>
        </p:spPr>
        <p:txBody>
          <a:bodyPr lIns="143925" tIns="71963" rIns="143925" bIns="71963" anchor="t" anchorCtr="0"/>
          <a:lstStyle/>
          <a:p>
            <a:pPr>
              <a:buFont typeface="Wingdings" pitchFamily="2" charset="2"/>
              <a:buNone/>
            </a:pPr>
            <a:r>
              <a:rPr lang="en-US" sz="1399" dirty="0">
                <a:solidFill>
                  <a:schemeClr val="tx2"/>
                </a:solidFill>
              </a:rPr>
              <a:t>Cras ultricies mi eu</a:t>
            </a:r>
          </a:p>
        </p:txBody>
      </p:sp>
      <p:sp>
        <p:nvSpPr>
          <p:cNvPr id="46" name="AutoShape 54"/>
          <p:cNvSpPr>
            <a:spLocks noChangeArrowheads="1"/>
          </p:cNvSpPr>
          <p:nvPr/>
        </p:nvSpPr>
        <p:spPr bwMode="auto">
          <a:xfrm>
            <a:off x="2477854" y="3376826"/>
            <a:ext cx="2014951" cy="828000"/>
          </a:xfrm>
          <a:prstGeom prst="homePlate">
            <a:avLst>
              <a:gd name="adj" fmla="val 24458"/>
            </a:avLst>
          </a:prstGeom>
          <a:solidFill>
            <a:srgbClr val="333353"/>
          </a:solidFill>
          <a:ln w="12700">
            <a:noFill/>
          </a:ln>
          <a:effectLst/>
        </p:spPr>
        <p:txBody>
          <a:bodyPr lIns="143925" tIns="71963" rIns="143925" bIns="71963" anchor="t" anchorCtr="0"/>
          <a:lstStyle/>
          <a:p>
            <a:pPr>
              <a:buFont typeface="Wingdings" pitchFamily="2" charset="2"/>
              <a:buNone/>
            </a:pPr>
            <a:r>
              <a:rPr lang="en-US" sz="1399" dirty="0">
                <a:solidFill>
                  <a:schemeClr val="tx2"/>
                </a:solidFill>
              </a:rPr>
              <a:t>At vero eos et accusam</a:t>
            </a:r>
          </a:p>
        </p:txBody>
      </p:sp>
      <p:sp>
        <p:nvSpPr>
          <p:cNvPr id="47" name="AutoShape 57"/>
          <p:cNvSpPr>
            <a:spLocks noChangeArrowheads="1"/>
          </p:cNvSpPr>
          <p:nvPr/>
        </p:nvSpPr>
        <p:spPr bwMode="auto">
          <a:xfrm>
            <a:off x="6282842" y="3376826"/>
            <a:ext cx="2014951" cy="828000"/>
          </a:xfrm>
          <a:prstGeom prst="chevron">
            <a:avLst>
              <a:gd name="adj" fmla="val 24129"/>
            </a:avLst>
          </a:prstGeom>
          <a:solidFill>
            <a:srgbClr val="333353"/>
          </a:solidFill>
          <a:ln w="12700">
            <a:noFill/>
          </a:ln>
          <a:effectLst/>
        </p:spPr>
        <p:txBody>
          <a:bodyPr lIns="143925" tIns="71963" rIns="143925" bIns="71963" anchor="t" anchorCtr="0"/>
          <a:lstStyle/>
          <a:p>
            <a:pPr>
              <a:buFont typeface="Wingdings" pitchFamily="2" charset="2"/>
              <a:buNone/>
            </a:pPr>
            <a:r>
              <a:rPr lang="en-US" sz="1399" dirty="0">
                <a:solidFill>
                  <a:schemeClr val="tx2"/>
                </a:solidFill>
              </a:rPr>
              <a:t>Phasellus nec sem</a:t>
            </a:r>
          </a:p>
        </p:txBody>
      </p:sp>
      <p:sp>
        <p:nvSpPr>
          <p:cNvPr id="48" name="AutoShape 57"/>
          <p:cNvSpPr>
            <a:spLocks noChangeArrowheads="1"/>
          </p:cNvSpPr>
          <p:nvPr/>
        </p:nvSpPr>
        <p:spPr bwMode="auto">
          <a:xfrm>
            <a:off x="8185335" y="3376826"/>
            <a:ext cx="2014951" cy="828000"/>
          </a:xfrm>
          <a:prstGeom prst="chevron">
            <a:avLst>
              <a:gd name="adj" fmla="val 24129"/>
            </a:avLst>
          </a:prstGeom>
          <a:solidFill>
            <a:srgbClr val="333353"/>
          </a:solidFill>
          <a:ln w="12700">
            <a:noFill/>
          </a:ln>
          <a:effectLst/>
        </p:spPr>
        <p:txBody>
          <a:bodyPr lIns="143925" tIns="71963" rIns="143925" bIns="71963" anchor="t" anchorCtr="0"/>
          <a:lstStyle/>
          <a:p>
            <a:pPr>
              <a:buFont typeface="Wingdings" pitchFamily="2" charset="2"/>
              <a:buNone/>
            </a:pPr>
            <a:r>
              <a:rPr lang="en-US" sz="1399" dirty="0">
                <a:solidFill>
                  <a:schemeClr val="tx2"/>
                </a:solidFill>
              </a:rPr>
              <a:t>Maecenas nec odio</a:t>
            </a:r>
          </a:p>
        </p:txBody>
      </p:sp>
      <p:sp>
        <p:nvSpPr>
          <p:cNvPr id="49" name="AutoShape 57"/>
          <p:cNvSpPr>
            <a:spLocks noChangeArrowheads="1"/>
          </p:cNvSpPr>
          <p:nvPr/>
        </p:nvSpPr>
        <p:spPr bwMode="auto">
          <a:xfrm>
            <a:off x="4380348" y="5337805"/>
            <a:ext cx="2014951" cy="828000"/>
          </a:xfrm>
          <a:prstGeom prst="chevron">
            <a:avLst>
              <a:gd name="adj" fmla="val 24129"/>
            </a:avLst>
          </a:prstGeom>
          <a:solidFill>
            <a:srgbClr val="333353"/>
          </a:solidFill>
          <a:ln w="12700">
            <a:noFill/>
          </a:ln>
          <a:effectLst/>
        </p:spPr>
        <p:txBody>
          <a:bodyPr lIns="143925" tIns="71963" rIns="143925" bIns="71963" anchor="t" anchorCtr="0"/>
          <a:lstStyle/>
          <a:p>
            <a:pPr>
              <a:buFont typeface="Wingdings" pitchFamily="2" charset="2"/>
              <a:buNone/>
            </a:pPr>
            <a:r>
              <a:rPr lang="en-US" sz="1399" dirty="0">
                <a:solidFill>
                  <a:schemeClr val="tx2"/>
                </a:solidFill>
              </a:rPr>
              <a:t>Cras ultricies</a:t>
            </a:r>
          </a:p>
        </p:txBody>
      </p:sp>
      <p:sp>
        <p:nvSpPr>
          <p:cNvPr id="50" name="AutoShape 54"/>
          <p:cNvSpPr>
            <a:spLocks noChangeArrowheads="1"/>
          </p:cNvSpPr>
          <p:nvPr/>
        </p:nvSpPr>
        <p:spPr bwMode="auto">
          <a:xfrm>
            <a:off x="2477854" y="5337805"/>
            <a:ext cx="2014951" cy="828000"/>
          </a:xfrm>
          <a:prstGeom prst="homePlate">
            <a:avLst>
              <a:gd name="adj" fmla="val 24458"/>
            </a:avLst>
          </a:prstGeom>
          <a:solidFill>
            <a:srgbClr val="333353"/>
          </a:solidFill>
          <a:ln w="12700">
            <a:noFill/>
          </a:ln>
          <a:effectLst/>
        </p:spPr>
        <p:txBody>
          <a:bodyPr lIns="143925" tIns="71963" rIns="143925" bIns="71963" anchor="t" anchorCtr="0"/>
          <a:lstStyle/>
          <a:p>
            <a:pPr>
              <a:buFont typeface="Wingdings" pitchFamily="2" charset="2"/>
              <a:buNone/>
            </a:pPr>
            <a:r>
              <a:rPr lang="en-US" sz="1399" dirty="0">
                <a:solidFill>
                  <a:schemeClr val="tx2"/>
                </a:solidFill>
              </a:rPr>
              <a:t>Duis arcu tortor</a:t>
            </a:r>
          </a:p>
        </p:txBody>
      </p:sp>
      <p:sp>
        <p:nvSpPr>
          <p:cNvPr id="51" name="AutoShape 57"/>
          <p:cNvSpPr>
            <a:spLocks noChangeArrowheads="1"/>
          </p:cNvSpPr>
          <p:nvPr/>
        </p:nvSpPr>
        <p:spPr bwMode="auto">
          <a:xfrm>
            <a:off x="6282842" y="5337805"/>
            <a:ext cx="2014951" cy="828000"/>
          </a:xfrm>
          <a:prstGeom prst="chevron">
            <a:avLst>
              <a:gd name="adj" fmla="val 24129"/>
            </a:avLst>
          </a:prstGeom>
          <a:solidFill>
            <a:srgbClr val="333353"/>
          </a:solidFill>
          <a:ln w="12700">
            <a:noFill/>
          </a:ln>
          <a:effectLst/>
        </p:spPr>
        <p:txBody>
          <a:bodyPr lIns="143925" tIns="71963" rIns="143925" bIns="71963" anchor="t" anchorCtr="0"/>
          <a:lstStyle/>
          <a:p>
            <a:pPr>
              <a:buFont typeface="Wingdings" pitchFamily="2" charset="2"/>
              <a:buNone/>
            </a:pPr>
            <a:r>
              <a:rPr lang="en-US" sz="1399" dirty="0">
                <a:solidFill>
                  <a:schemeClr val="tx2"/>
                </a:solidFill>
              </a:rPr>
              <a:t>Duis arcu tortor, suscipit eget</a:t>
            </a:r>
          </a:p>
        </p:txBody>
      </p:sp>
      <p:sp>
        <p:nvSpPr>
          <p:cNvPr id="52" name="AutoShape 57"/>
          <p:cNvSpPr>
            <a:spLocks noChangeArrowheads="1"/>
          </p:cNvSpPr>
          <p:nvPr/>
        </p:nvSpPr>
        <p:spPr bwMode="auto">
          <a:xfrm>
            <a:off x="8185335" y="5337805"/>
            <a:ext cx="2014951" cy="828000"/>
          </a:xfrm>
          <a:prstGeom prst="chevron">
            <a:avLst>
              <a:gd name="adj" fmla="val 24129"/>
            </a:avLst>
          </a:prstGeom>
          <a:solidFill>
            <a:srgbClr val="333353"/>
          </a:solidFill>
          <a:ln w="12700">
            <a:noFill/>
          </a:ln>
          <a:effectLst/>
        </p:spPr>
        <p:txBody>
          <a:bodyPr lIns="143925" tIns="71963" rIns="143925" bIns="71963" anchor="t" anchorCtr="0"/>
          <a:lstStyle/>
          <a:p>
            <a:pPr>
              <a:buFont typeface="Wingdings" pitchFamily="2" charset="2"/>
              <a:buNone/>
            </a:pPr>
            <a:r>
              <a:rPr lang="en-US" sz="1399" dirty="0">
                <a:solidFill>
                  <a:schemeClr val="tx2"/>
                </a:solidFill>
              </a:rPr>
              <a:t>At vero eos et accusam</a:t>
            </a:r>
          </a:p>
        </p:txBody>
      </p:sp>
      <p:sp>
        <p:nvSpPr>
          <p:cNvPr id="53" name="AutoShape 57"/>
          <p:cNvSpPr>
            <a:spLocks noChangeArrowheads="1"/>
          </p:cNvSpPr>
          <p:nvPr/>
        </p:nvSpPr>
        <p:spPr bwMode="auto">
          <a:xfrm>
            <a:off x="4380348" y="4357316"/>
            <a:ext cx="2014951" cy="828000"/>
          </a:xfrm>
          <a:prstGeom prst="chevron">
            <a:avLst>
              <a:gd name="adj" fmla="val 24129"/>
            </a:avLst>
          </a:prstGeom>
          <a:solidFill>
            <a:srgbClr val="00646E"/>
          </a:solidFill>
          <a:ln w="12700">
            <a:noFill/>
          </a:ln>
          <a:effectLst/>
        </p:spPr>
        <p:txBody>
          <a:bodyPr lIns="143925" tIns="71963" rIns="143925" bIns="71963" anchor="t" anchorCtr="0"/>
          <a:lstStyle/>
          <a:p>
            <a:pPr>
              <a:buFont typeface="Wingdings" pitchFamily="2" charset="2"/>
              <a:buNone/>
            </a:pPr>
            <a:r>
              <a:rPr lang="en-US" sz="1399" b="1" dirty="0"/>
              <a:t>Phasellus nec sem</a:t>
            </a:r>
          </a:p>
        </p:txBody>
      </p:sp>
      <p:sp>
        <p:nvSpPr>
          <p:cNvPr id="54" name="AutoShape 54"/>
          <p:cNvSpPr>
            <a:spLocks noChangeArrowheads="1"/>
          </p:cNvSpPr>
          <p:nvPr/>
        </p:nvSpPr>
        <p:spPr bwMode="auto">
          <a:xfrm>
            <a:off x="2477854" y="4357316"/>
            <a:ext cx="2014951" cy="828000"/>
          </a:xfrm>
          <a:prstGeom prst="homePlate">
            <a:avLst>
              <a:gd name="adj" fmla="val 24458"/>
            </a:avLst>
          </a:prstGeom>
          <a:solidFill>
            <a:srgbClr val="00646E"/>
          </a:solidFill>
          <a:ln w="12700">
            <a:noFill/>
          </a:ln>
          <a:effectLst/>
        </p:spPr>
        <p:txBody>
          <a:bodyPr lIns="143925" tIns="71963" rIns="143925" bIns="71963" anchor="t" anchorCtr="0"/>
          <a:lstStyle/>
          <a:p>
            <a:pPr>
              <a:buFont typeface="Wingdings" pitchFamily="2" charset="2"/>
              <a:buNone/>
            </a:pPr>
            <a:r>
              <a:rPr lang="en-US" sz="1399" b="1" dirty="0"/>
              <a:t>Maecenas nec odio</a:t>
            </a:r>
          </a:p>
        </p:txBody>
      </p:sp>
      <p:sp>
        <p:nvSpPr>
          <p:cNvPr id="55" name="AutoShape 57"/>
          <p:cNvSpPr>
            <a:spLocks noChangeArrowheads="1"/>
          </p:cNvSpPr>
          <p:nvPr/>
        </p:nvSpPr>
        <p:spPr bwMode="auto">
          <a:xfrm>
            <a:off x="6282842" y="4357316"/>
            <a:ext cx="2014951" cy="828000"/>
          </a:xfrm>
          <a:prstGeom prst="chevron">
            <a:avLst>
              <a:gd name="adj" fmla="val 24129"/>
            </a:avLst>
          </a:prstGeom>
          <a:solidFill>
            <a:srgbClr val="00646E"/>
          </a:solidFill>
          <a:ln w="12700">
            <a:noFill/>
          </a:ln>
          <a:effectLst/>
        </p:spPr>
        <p:txBody>
          <a:bodyPr lIns="143925" tIns="71963" rIns="143925" bIns="71963" anchor="t" anchorCtr="0"/>
          <a:lstStyle/>
          <a:p>
            <a:pPr>
              <a:buFont typeface="Wingdings" pitchFamily="2" charset="2"/>
              <a:buNone/>
            </a:pPr>
            <a:r>
              <a:rPr lang="en-US" sz="1399" b="1" dirty="0"/>
              <a:t>At vero eos et accusam</a:t>
            </a:r>
          </a:p>
        </p:txBody>
      </p:sp>
      <p:sp>
        <p:nvSpPr>
          <p:cNvPr id="56" name="AutoShape 57"/>
          <p:cNvSpPr>
            <a:spLocks noChangeArrowheads="1"/>
          </p:cNvSpPr>
          <p:nvPr/>
        </p:nvSpPr>
        <p:spPr bwMode="auto">
          <a:xfrm>
            <a:off x="8185335" y="4357316"/>
            <a:ext cx="2014951" cy="828000"/>
          </a:xfrm>
          <a:prstGeom prst="chevron">
            <a:avLst>
              <a:gd name="adj" fmla="val 24129"/>
            </a:avLst>
          </a:prstGeom>
          <a:solidFill>
            <a:srgbClr val="00646E"/>
          </a:solidFill>
          <a:ln w="12700">
            <a:noFill/>
          </a:ln>
          <a:effectLst/>
        </p:spPr>
        <p:txBody>
          <a:bodyPr lIns="143925" tIns="71963" rIns="143925" bIns="71963" anchor="t" anchorCtr="0"/>
          <a:lstStyle/>
          <a:p>
            <a:pPr>
              <a:buFont typeface="Wingdings" pitchFamily="2" charset="2"/>
              <a:buNone/>
            </a:pPr>
            <a:r>
              <a:rPr lang="en-US" sz="1399" b="1" dirty="0"/>
              <a:t>Maecenas nec odio</a:t>
            </a:r>
          </a:p>
        </p:txBody>
      </p:sp>
      <p:sp>
        <p:nvSpPr>
          <p:cNvPr id="2" name="Footer Placeholder 1">
            <a:extLst>
              <a:ext uri="{FF2B5EF4-FFF2-40B4-BE49-F238E27FC236}">
                <a16:creationId xmlns:a16="http://schemas.microsoft.com/office/drawing/2014/main" id="{3749472E-5020-4EB5-8684-AB1F8C8800BA}"/>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3" name="Slide Number Placeholder 2">
            <a:extLst>
              <a:ext uri="{FF2B5EF4-FFF2-40B4-BE49-F238E27FC236}">
                <a16:creationId xmlns:a16="http://schemas.microsoft.com/office/drawing/2014/main" id="{0AA339E9-D369-45A3-90E4-629C507F53AC}"/>
              </a:ext>
            </a:extLst>
          </p:cNvPr>
          <p:cNvSpPr>
            <a:spLocks noGrp="1"/>
          </p:cNvSpPr>
          <p:nvPr>
            <p:ph type="sldNum" sz="quarter" idx="11"/>
          </p:nvPr>
        </p:nvSpPr>
        <p:spPr/>
        <p:txBody>
          <a:bodyPr/>
          <a:lstStyle/>
          <a:p>
            <a:r>
              <a:rPr lang="en-US" dirty="0"/>
              <a:t>Page </a:t>
            </a:r>
            <a:fld id="{15EBE321-CBB1-4E91-BD14-37C8D44326FB}" type="slidenum">
              <a:rPr lang="en-US" smtClean="0"/>
              <a:pPr/>
              <a:t>109</a:t>
            </a:fld>
            <a:endParaRPr lang="en-US" dirty="0"/>
          </a:p>
        </p:txBody>
      </p:sp>
    </p:spTree>
    <p:extLst>
      <p:ext uri="{BB962C8B-B14F-4D97-AF65-F5344CB8AC3E}">
        <p14:creationId xmlns:p14="http://schemas.microsoft.com/office/powerpoint/2010/main" val="42597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 name="Objekt 55"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3" imgW="360" imgH="360" progId="">
                  <p:embed/>
                </p:oleObj>
              </mc:Choice>
              <mc:Fallback>
                <p:oleObj name="think-cell Folie" r:id="rId3" imgW="360" imgH="360" progId="">
                  <p:embed/>
                  <p:pic>
                    <p:nvPicPr>
                      <p:cNvPr id="56" name="Objekt 5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55" name="Tabelle 54"/>
          <p:cNvGraphicFramePr>
            <a:graphicFrameLocks noGrp="1"/>
          </p:cNvGraphicFramePr>
          <p:nvPr>
            <p:extLst>
              <p:ext uri="{D42A27DB-BD31-4B8C-83A1-F6EECF244321}">
                <p14:modId xmlns:p14="http://schemas.microsoft.com/office/powerpoint/2010/main" val="2875028451"/>
              </p:ext>
            </p:extLst>
          </p:nvPr>
        </p:nvGraphicFramePr>
        <p:xfrm>
          <a:off x="411163" y="1415849"/>
          <a:ext cx="11373189" cy="4371723"/>
        </p:xfrm>
        <a:graphic>
          <a:graphicData uri="http://schemas.openxmlformats.org/drawingml/2006/table">
            <a:tbl>
              <a:tblPr firstRow="1">
                <a:tableStyleId>{0E3FDE45-AF77-4B5C-9715-49D594BDF05E}</a:tableStyleId>
              </a:tblPr>
              <a:tblGrid>
                <a:gridCol w="2878501">
                  <a:extLst>
                    <a:ext uri="{9D8B030D-6E8A-4147-A177-3AD203B41FA5}">
                      <a16:colId xmlns:a16="http://schemas.microsoft.com/office/drawing/2014/main" val="20001"/>
                    </a:ext>
                  </a:extLst>
                </a:gridCol>
                <a:gridCol w="2518688">
                  <a:extLst>
                    <a:ext uri="{9D8B030D-6E8A-4147-A177-3AD203B41FA5}">
                      <a16:colId xmlns:a16="http://schemas.microsoft.com/office/drawing/2014/main" val="20002"/>
                    </a:ext>
                  </a:extLst>
                </a:gridCol>
                <a:gridCol w="4464000">
                  <a:extLst>
                    <a:ext uri="{9D8B030D-6E8A-4147-A177-3AD203B41FA5}">
                      <a16:colId xmlns:a16="http://schemas.microsoft.com/office/drawing/2014/main" val="20003"/>
                    </a:ext>
                  </a:extLst>
                </a:gridCol>
                <a:gridCol w="1512000">
                  <a:extLst>
                    <a:ext uri="{9D8B030D-6E8A-4147-A177-3AD203B41FA5}">
                      <a16:colId xmlns:a16="http://schemas.microsoft.com/office/drawing/2014/main" val="1372321047"/>
                    </a:ext>
                  </a:extLst>
                </a:gridCol>
              </a:tblGrid>
              <a:tr h="485747">
                <a:tc>
                  <a:txBody>
                    <a:bodyPr/>
                    <a:lstStyle/>
                    <a:p>
                      <a:pPr>
                        <a:spcBef>
                          <a:spcPct val="0"/>
                        </a:spcBef>
                        <a:buFont typeface="Wingdings" charset="0"/>
                        <a:buNone/>
                      </a:pPr>
                      <a:r>
                        <a:rPr lang="en-US" sz="1800" noProof="0" dirty="0">
                          <a:solidFill>
                            <a:srgbClr val="9999A9"/>
                          </a:solidFill>
                        </a:rPr>
                        <a:t>Topic</a:t>
                      </a:r>
                      <a:endParaRPr lang="en-US" sz="1800" b="1" noProof="0" dirty="0">
                        <a:solidFill>
                          <a:srgbClr val="9999A9"/>
                        </a:solidFill>
                        <a:latin typeface="+mn-lt"/>
                        <a:ea typeface="Arial Unicode MS"/>
                      </a:endParaRPr>
                    </a:p>
                  </a:txBody>
                  <a:tcPr marL="0" marR="143925" marT="71963" marB="71963" anchor="ctr">
                    <a:lnB w="28575" cap="flat" cmpd="sng" algn="ctr">
                      <a:solidFill>
                        <a:srgbClr val="9999A9"/>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noProof="0" dirty="0">
                          <a:solidFill>
                            <a:srgbClr val="9999A9"/>
                          </a:solidFill>
                        </a:rPr>
                        <a:t>Presenter</a:t>
                      </a:r>
                      <a:endParaRPr lang="en-US" sz="1800" b="1" noProof="0" dirty="0">
                        <a:solidFill>
                          <a:srgbClr val="9999A9"/>
                        </a:solidFill>
                        <a:latin typeface="+mn-lt"/>
                        <a:ea typeface="Arial Unicode MS"/>
                      </a:endParaRPr>
                    </a:p>
                  </a:txBody>
                  <a:tcPr marL="143925" marR="143925" marT="71963" marB="71963" anchor="ctr">
                    <a:lnB w="28575" cap="flat" cmpd="sng" algn="ctr">
                      <a:solidFill>
                        <a:srgbClr val="9999A9"/>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noProof="0" dirty="0">
                          <a:solidFill>
                            <a:srgbClr val="9999A9"/>
                          </a:solidFill>
                        </a:rPr>
                        <a:t>Information / decision / action time</a:t>
                      </a:r>
                      <a:endParaRPr lang="en-US" sz="1800" b="1" noProof="0" dirty="0">
                        <a:solidFill>
                          <a:srgbClr val="9999A9"/>
                        </a:solidFill>
                        <a:latin typeface="+mn-lt"/>
                        <a:ea typeface="Arial Unicode MS"/>
                      </a:endParaRPr>
                    </a:p>
                  </a:txBody>
                  <a:tcPr marL="143925" marR="143925" marT="71963" marB="71963" anchor="ctr">
                    <a:lnB w="28575" cap="flat" cmpd="sng" algn="ctr">
                      <a:solidFill>
                        <a:srgbClr val="9999A9"/>
                      </a:solidFill>
                      <a:prstDash val="solid"/>
                      <a:round/>
                      <a:headEnd type="none" w="med" len="med"/>
                      <a:tailEnd type="none" w="med" len="med"/>
                    </a:lnB>
                  </a:tcPr>
                </a:tc>
                <a:tc>
                  <a:txBody>
                    <a:bodyPr/>
                    <a:lstStyle/>
                    <a:p>
                      <a:pPr>
                        <a:spcBef>
                          <a:spcPct val="0"/>
                        </a:spcBef>
                        <a:buFont typeface="Wingdings" charset="0"/>
                        <a:buNone/>
                      </a:pPr>
                      <a:r>
                        <a:rPr lang="en-US" sz="1800" noProof="0" dirty="0">
                          <a:solidFill>
                            <a:srgbClr val="9999A9"/>
                          </a:solidFill>
                        </a:rPr>
                        <a:t>Action time</a:t>
                      </a:r>
                      <a:endParaRPr lang="en-US" sz="1800" b="1" noProof="0" dirty="0">
                        <a:solidFill>
                          <a:srgbClr val="9999A9"/>
                        </a:solidFill>
                        <a:latin typeface="+mn-lt"/>
                        <a:ea typeface="Arial Unicode MS"/>
                      </a:endParaRPr>
                    </a:p>
                  </a:txBody>
                  <a:tcPr marL="143925" marR="0" marT="71963" marB="71963" anchor="ctr">
                    <a:lnB w="28575" cap="flat" cmpd="sng" algn="ctr">
                      <a:solidFill>
                        <a:srgbClr val="9999A9"/>
                      </a:solidFill>
                      <a:prstDash val="solid"/>
                      <a:round/>
                      <a:headEnd type="none" w="med" len="med"/>
                      <a:tailEnd type="none" w="med" len="med"/>
                    </a:lnB>
                  </a:tcPr>
                </a:tc>
                <a:extLst>
                  <a:ext uri="{0D108BD9-81ED-4DB2-BD59-A6C34878D82A}">
                    <a16:rowId xmlns:a16="http://schemas.microsoft.com/office/drawing/2014/main" val="10000"/>
                  </a:ext>
                </a:extLst>
              </a:tr>
              <a:tr h="48574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9999A9"/>
                          </a:solidFill>
                        </a:rPr>
                        <a:t>Eos et accusam</a:t>
                      </a:r>
                      <a:endParaRPr lang="en-US" sz="1800" dirty="0">
                        <a:solidFill>
                          <a:srgbClr val="9999A9"/>
                        </a:solidFill>
                        <a:latin typeface="+mn-lt"/>
                        <a:ea typeface="Arial Unicode MS"/>
                      </a:endParaRPr>
                    </a:p>
                  </a:txBody>
                  <a:tcPr marL="0" marR="107944" marT="71963" marB="71963" anchor="ctr">
                    <a:lnT w="28575" cap="flat" cmpd="sng" algn="ctr">
                      <a:solidFill>
                        <a:srgbClr val="9999A9"/>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9999A9"/>
                          </a:solidFill>
                        </a:rPr>
                        <a:t>Vero Accusam</a:t>
                      </a:r>
                      <a:endParaRPr lang="en-US" sz="1800" b="1" dirty="0">
                        <a:solidFill>
                          <a:srgbClr val="9999A9"/>
                        </a:solidFill>
                        <a:latin typeface="+mn-lt"/>
                        <a:ea typeface="Arial Unicode MS"/>
                      </a:endParaRPr>
                    </a:p>
                  </a:txBody>
                  <a:tcPr marL="143925" marR="143925" marT="71963" marB="71963" anchor="ctr">
                    <a:lnT w="28575" cap="flat" cmpd="sng" algn="ctr">
                      <a:solidFill>
                        <a:srgbClr val="9999A9"/>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9999A9"/>
                          </a:solidFill>
                          <a:effectLst/>
                          <a:uLnTx/>
                          <a:uFillTx/>
                        </a:rPr>
                        <a:t>At vero eos et accusam</a:t>
                      </a:r>
                      <a:endParaRPr lang="en-US" sz="1800" noProof="0" dirty="0">
                        <a:solidFill>
                          <a:srgbClr val="9999A9"/>
                        </a:solidFill>
                        <a:latin typeface="+mn-lt"/>
                        <a:ea typeface="Arial Unicode MS"/>
                      </a:endParaRPr>
                    </a:p>
                  </a:txBody>
                  <a:tcPr marL="143925" marR="143925" marT="71963" marB="71963" anchor="ctr">
                    <a:lnT w="28575" cap="flat" cmpd="sng" algn="ctr">
                      <a:solidFill>
                        <a:srgbClr val="9999A9"/>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noProof="0" dirty="0">
                          <a:solidFill>
                            <a:srgbClr val="9999A9"/>
                          </a:solidFill>
                        </a:rPr>
                        <a:t>5′</a:t>
                      </a:r>
                      <a:endParaRPr lang="en-US" sz="1800" noProof="0" dirty="0">
                        <a:solidFill>
                          <a:srgbClr val="9999A9"/>
                        </a:solidFill>
                        <a:latin typeface="+mn-lt"/>
                        <a:ea typeface="Arial Unicode MS"/>
                      </a:endParaRPr>
                    </a:p>
                  </a:txBody>
                  <a:tcPr marL="143925" marR="0" marT="71963" marB="71963" anchor="ctr">
                    <a:lnT w="28575" cap="flat" cmpd="sng" algn="ctr">
                      <a:solidFill>
                        <a:srgbClr val="9999A9"/>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1"/>
                  </a:ext>
                </a:extLst>
              </a:tr>
              <a:tr h="48574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9999A9"/>
                          </a:solidFill>
                        </a:rPr>
                        <a:t>Sadipscing elitr </a:t>
                      </a:r>
                      <a:endParaRPr lang="en-US" sz="1800" dirty="0">
                        <a:solidFill>
                          <a:srgbClr val="9999A9"/>
                        </a:solidFill>
                        <a:latin typeface="+mn-lt"/>
                        <a:ea typeface="Arial Unicode MS"/>
                      </a:endParaRPr>
                    </a:p>
                  </a:txBody>
                  <a:tcPr marL="0"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9999A9"/>
                          </a:solidFill>
                        </a:rPr>
                        <a:t>Duis Tortor</a:t>
                      </a:r>
                      <a:endParaRPr lang="en-US" sz="1800" b="1" dirty="0">
                        <a:solidFill>
                          <a:srgbClr val="9999A9"/>
                        </a:solidFill>
                        <a:latin typeface="+mn-lt"/>
                        <a:ea typeface="Arial Unicode MS"/>
                      </a:endParaRPr>
                    </a:p>
                  </a:txBody>
                  <a:tcPr marL="143925" marR="143925"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s-ES" sz="1800" u="none" strike="noStrike" kern="1200" cap="none" spc="0" normalizeH="0" baseline="0" noProof="0" dirty="0">
                          <a:ln>
                            <a:noFill/>
                          </a:ln>
                          <a:solidFill>
                            <a:srgbClr val="9999A9"/>
                          </a:solidFill>
                          <a:effectLst/>
                          <a:uLnTx/>
                          <a:uFillTx/>
                        </a:rPr>
                        <a:t>Duis arcu tortor, suscipit eget</a:t>
                      </a:r>
                      <a:endParaRPr lang="en-US" sz="1800" noProof="0" dirty="0">
                        <a:solidFill>
                          <a:srgbClr val="9999A9"/>
                        </a:solidFill>
                        <a:latin typeface="+mn-lt"/>
                        <a:ea typeface="Arial Unicode MS"/>
                      </a:endParaRPr>
                    </a:p>
                  </a:txBody>
                  <a:tcPr marL="143925" marR="143925"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9999A9"/>
                          </a:solidFill>
                          <a:effectLst/>
                          <a:uLnTx/>
                          <a:uFillTx/>
                        </a:rPr>
                        <a:t>10</a:t>
                      </a:r>
                      <a:r>
                        <a:rPr lang="en-US" sz="1800" noProof="0" dirty="0">
                          <a:solidFill>
                            <a:srgbClr val="9999A9"/>
                          </a:solidFill>
                        </a:rPr>
                        <a:t>′</a:t>
                      </a:r>
                      <a:endParaRPr kumimoji="0" lang="en-US" sz="1800" b="0" i="0" u="none" strike="noStrike" kern="1200" cap="none" spc="0" normalizeH="0" baseline="0" noProof="0" dirty="0">
                        <a:ln>
                          <a:noFill/>
                        </a:ln>
                        <a:solidFill>
                          <a:srgbClr val="9999A9"/>
                        </a:solidFill>
                        <a:effectLst/>
                        <a:uLnTx/>
                        <a:uFillTx/>
                        <a:latin typeface="Arial"/>
                        <a:ea typeface="Arial Unicode MS"/>
                        <a:cs typeface="+mn-cs"/>
                      </a:endParaRPr>
                    </a:p>
                  </a:txBody>
                  <a:tcPr marL="143925" marR="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2"/>
                  </a:ext>
                </a:extLst>
              </a:tr>
              <a:tr h="48574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9999A9"/>
                          </a:solidFill>
                        </a:rPr>
                        <a:t>Accusam</a:t>
                      </a:r>
                      <a:endParaRPr lang="en-US" sz="1800" dirty="0">
                        <a:solidFill>
                          <a:srgbClr val="9999A9"/>
                        </a:solidFill>
                        <a:latin typeface="+mn-lt"/>
                        <a:ea typeface="Arial Unicode MS"/>
                      </a:endParaRPr>
                    </a:p>
                  </a:txBody>
                  <a:tcPr marL="0"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9999A9"/>
                          </a:solidFill>
                        </a:rPr>
                        <a:t>Phasellus Necsem</a:t>
                      </a:r>
                      <a:endParaRPr lang="en-US" sz="1800" b="1" dirty="0">
                        <a:solidFill>
                          <a:srgbClr val="9999A9"/>
                        </a:solidFill>
                        <a:latin typeface="+mn-lt"/>
                        <a:ea typeface="Arial Unicode MS"/>
                      </a:endParaRPr>
                    </a:p>
                  </a:txBody>
                  <a:tcPr marL="143925" marR="143925"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9999A9"/>
                          </a:solidFill>
                          <a:effectLst/>
                          <a:uLnTx/>
                          <a:uFillTx/>
                        </a:rPr>
                        <a:t>Phasellus nec sem</a:t>
                      </a:r>
                      <a:endParaRPr lang="en-US" sz="1800" noProof="0" dirty="0">
                        <a:solidFill>
                          <a:srgbClr val="9999A9"/>
                        </a:solidFill>
                        <a:latin typeface="+mn-lt"/>
                        <a:ea typeface="Arial Unicode MS"/>
                      </a:endParaRPr>
                    </a:p>
                  </a:txBody>
                  <a:tcPr marL="143925" marR="143925"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9999A9"/>
                          </a:solidFill>
                          <a:effectLst/>
                          <a:uLnTx/>
                          <a:uFillTx/>
                        </a:rPr>
                        <a:t>10</a:t>
                      </a:r>
                      <a:r>
                        <a:rPr lang="en-US" sz="1800" noProof="0" dirty="0">
                          <a:solidFill>
                            <a:srgbClr val="9999A9"/>
                          </a:solidFill>
                        </a:rPr>
                        <a:t>′</a:t>
                      </a:r>
                      <a:endParaRPr kumimoji="0" lang="en-US" sz="1800" b="0" i="0" u="none" strike="noStrike" kern="1200" cap="none" spc="0" normalizeH="0" baseline="0" noProof="0" dirty="0">
                        <a:ln>
                          <a:noFill/>
                        </a:ln>
                        <a:solidFill>
                          <a:srgbClr val="9999A9"/>
                        </a:solidFill>
                        <a:effectLst/>
                        <a:uLnTx/>
                        <a:uFillTx/>
                        <a:latin typeface="+mn-lt"/>
                        <a:ea typeface="Arial Unicode MS"/>
                        <a:cs typeface="+mn-cs"/>
                      </a:endParaRPr>
                    </a:p>
                  </a:txBody>
                  <a:tcPr marL="143925" marR="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3"/>
                  </a:ext>
                </a:extLst>
              </a:tr>
              <a:tr h="48574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9999A9"/>
                          </a:solidFill>
                        </a:rPr>
                        <a:t>Duis arcu tortor</a:t>
                      </a:r>
                      <a:endParaRPr lang="en-US" sz="1800" dirty="0">
                        <a:solidFill>
                          <a:srgbClr val="9999A9"/>
                        </a:solidFill>
                        <a:latin typeface="+mn-lt"/>
                        <a:ea typeface="Arial Unicode MS"/>
                      </a:endParaRPr>
                    </a:p>
                  </a:txBody>
                  <a:tcPr marL="0"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9999A9"/>
                          </a:solidFill>
                        </a:rPr>
                        <a:t>Odio Maecenas</a:t>
                      </a:r>
                      <a:endParaRPr lang="en-US" sz="1800" b="1" dirty="0">
                        <a:solidFill>
                          <a:srgbClr val="9999A9"/>
                        </a:solidFill>
                        <a:latin typeface="+mn-lt"/>
                        <a:ea typeface="Arial Unicode MS"/>
                      </a:endParaRPr>
                    </a:p>
                  </a:txBody>
                  <a:tcPr marL="143925" marR="143925"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9999A9"/>
                          </a:solidFill>
                          <a:effectLst/>
                          <a:uLnTx/>
                          <a:uFillTx/>
                        </a:rPr>
                        <a:t>At vero eos et accusam</a:t>
                      </a:r>
                      <a:endParaRPr lang="en-US" sz="1800" noProof="0" dirty="0">
                        <a:solidFill>
                          <a:srgbClr val="9999A9"/>
                        </a:solidFill>
                        <a:latin typeface="+mn-lt"/>
                        <a:ea typeface="Arial Unicode MS"/>
                      </a:endParaRPr>
                    </a:p>
                  </a:txBody>
                  <a:tcPr marL="143925" marR="143925"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9999A9"/>
                          </a:solidFill>
                          <a:effectLst/>
                          <a:uLnTx/>
                          <a:uFillTx/>
                        </a:rPr>
                        <a:t>30</a:t>
                      </a:r>
                      <a:r>
                        <a:rPr lang="en-US" sz="1800" noProof="0" dirty="0">
                          <a:solidFill>
                            <a:srgbClr val="9999A9"/>
                          </a:solidFill>
                        </a:rPr>
                        <a:t>′</a:t>
                      </a:r>
                      <a:endParaRPr kumimoji="0" lang="en-US" sz="1800" b="0" i="0" u="none" strike="noStrike" kern="1200" cap="none" spc="0" normalizeH="0" baseline="0" noProof="0" dirty="0">
                        <a:ln>
                          <a:noFill/>
                        </a:ln>
                        <a:solidFill>
                          <a:srgbClr val="9999A9"/>
                        </a:solidFill>
                        <a:effectLst/>
                        <a:uLnTx/>
                        <a:uFillTx/>
                        <a:latin typeface="+mn-lt"/>
                        <a:ea typeface="Arial Unicode MS"/>
                        <a:cs typeface="+mn-cs"/>
                      </a:endParaRPr>
                    </a:p>
                  </a:txBody>
                  <a:tcPr marL="143925" marR="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4"/>
                  </a:ext>
                </a:extLst>
              </a:tr>
              <a:tr h="48574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9999A9"/>
                          </a:solidFill>
                        </a:rPr>
                        <a:t>Accusam</a:t>
                      </a:r>
                      <a:endParaRPr lang="en-US" sz="1800" dirty="0">
                        <a:solidFill>
                          <a:srgbClr val="9999A9"/>
                        </a:solidFill>
                        <a:latin typeface="+mn-lt"/>
                        <a:ea typeface="Arial Unicode MS"/>
                      </a:endParaRPr>
                    </a:p>
                  </a:txBody>
                  <a:tcPr marL="0"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9999A9"/>
                          </a:solidFill>
                        </a:rPr>
                        <a:t>Eos Laccusam</a:t>
                      </a:r>
                      <a:endParaRPr lang="en-US" sz="1800" b="1" dirty="0">
                        <a:solidFill>
                          <a:srgbClr val="9999A9"/>
                        </a:solidFill>
                        <a:latin typeface="+mn-lt"/>
                        <a:ea typeface="Arial Unicode MS"/>
                      </a:endParaRPr>
                    </a:p>
                  </a:txBody>
                  <a:tcPr marL="143925" marR="143925"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9999A9"/>
                          </a:solidFill>
                          <a:effectLst/>
                          <a:uLnTx/>
                          <a:uFillTx/>
                        </a:rPr>
                        <a:t>At vero eos et accusam</a:t>
                      </a:r>
                      <a:endParaRPr lang="en-US" sz="1800" noProof="0" dirty="0">
                        <a:solidFill>
                          <a:srgbClr val="9999A9"/>
                        </a:solidFill>
                        <a:latin typeface="+mn-lt"/>
                        <a:ea typeface="Arial Unicode MS"/>
                      </a:endParaRPr>
                    </a:p>
                  </a:txBody>
                  <a:tcPr marL="143925" marR="143925"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9999A9"/>
                          </a:solidFill>
                          <a:effectLst/>
                          <a:uLnTx/>
                          <a:uFillTx/>
                        </a:rPr>
                        <a:t>10</a:t>
                      </a:r>
                      <a:r>
                        <a:rPr lang="en-US" sz="1800" noProof="0" dirty="0">
                          <a:solidFill>
                            <a:srgbClr val="9999A9"/>
                          </a:solidFill>
                        </a:rPr>
                        <a:t>′</a:t>
                      </a:r>
                      <a:endParaRPr kumimoji="0" lang="en-US" sz="1800" b="0" i="0" u="none" strike="noStrike" kern="1200" cap="none" spc="0" normalizeH="0" baseline="0" noProof="0" dirty="0">
                        <a:ln>
                          <a:noFill/>
                        </a:ln>
                        <a:solidFill>
                          <a:srgbClr val="9999A9"/>
                        </a:solidFill>
                        <a:effectLst/>
                        <a:uLnTx/>
                        <a:uFillTx/>
                        <a:latin typeface="+mn-lt"/>
                        <a:ea typeface="Arial Unicode MS"/>
                        <a:cs typeface="+mn-cs"/>
                      </a:endParaRPr>
                    </a:p>
                  </a:txBody>
                  <a:tcPr marL="143925" marR="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6"/>
                  </a:ext>
                </a:extLst>
              </a:tr>
              <a:tr h="48574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9999A9"/>
                          </a:solidFill>
                        </a:rPr>
                        <a:t>Consetetur sadipscing</a:t>
                      </a:r>
                      <a:endParaRPr lang="en-US" sz="1800" dirty="0">
                        <a:solidFill>
                          <a:srgbClr val="9999A9"/>
                        </a:solidFill>
                        <a:latin typeface="+mn-lt"/>
                        <a:ea typeface="Arial Unicode MS"/>
                      </a:endParaRPr>
                    </a:p>
                  </a:txBody>
                  <a:tcPr marL="0"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9999A9"/>
                          </a:solidFill>
                        </a:rPr>
                        <a:t>Duis Larcutortor</a:t>
                      </a:r>
                      <a:endParaRPr lang="en-US" sz="1800" b="1" dirty="0">
                        <a:solidFill>
                          <a:srgbClr val="9999A9"/>
                        </a:solidFill>
                        <a:latin typeface="+mn-lt"/>
                        <a:ea typeface="Arial Unicode MS"/>
                      </a:endParaRPr>
                    </a:p>
                  </a:txBody>
                  <a:tcPr marL="143925" marR="143925"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9999A9"/>
                          </a:solidFill>
                          <a:effectLst/>
                          <a:uLnTx/>
                          <a:uFillTx/>
                        </a:rPr>
                        <a:t>Duis arcu tortor</a:t>
                      </a:r>
                      <a:endParaRPr lang="en-US" sz="1800" noProof="0" dirty="0">
                        <a:solidFill>
                          <a:srgbClr val="9999A9"/>
                        </a:solidFill>
                        <a:latin typeface="+mn-lt"/>
                        <a:ea typeface="Arial Unicode MS"/>
                      </a:endParaRPr>
                    </a:p>
                  </a:txBody>
                  <a:tcPr marL="143925" marR="143925"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9999A9"/>
                          </a:solidFill>
                          <a:effectLst/>
                          <a:uLnTx/>
                          <a:uFillTx/>
                        </a:rPr>
                        <a:t>30</a:t>
                      </a:r>
                      <a:r>
                        <a:rPr lang="en-US" sz="1800" noProof="0" dirty="0">
                          <a:solidFill>
                            <a:srgbClr val="9999A9"/>
                          </a:solidFill>
                        </a:rPr>
                        <a:t>′</a:t>
                      </a:r>
                      <a:endParaRPr kumimoji="0" lang="en-US" sz="1800" b="0" i="0" u="none" strike="noStrike" kern="1200" cap="none" spc="0" normalizeH="0" baseline="0" noProof="0" dirty="0">
                        <a:ln>
                          <a:noFill/>
                        </a:ln>
                        <a:solidFill>
                          <a:srgbClr val="9999A9"/>
                        </a:solidFill>
                        <a:effectLst/>
                        <a:uLnTx/>
                        <a:uFillTx/>
                        <a:latin typeface="Arial"/>
                        <a:ea typeface="Arial Unicode MS"/>
                        <a:cs typeface="+mn-cs"/>
                      </a:endParaRPr>
                    </a:p>
                  </a:txBody>
                  <a:tcPr marL="143925" marR="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130106050"/>
                  </a:ext>
                </a:extLst>
              </a:tr>
              <a:tr h="4857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u="none" strike="noStrike" kern="1200" cap="none" spc="0" normalizeH="0" baseline="0" noProof="0" dirty="0">
                          <a:ln>
                            <a:noFill/>
                          </a:ln>
                          <a:solidFill>
                            <a:srgbClr val="9999A9"/>
                          </a:solidFill>
                          <a:effectLst/>
                          <a:uLnTx/>
                          <a:uFillTx/>
                        </a:rPr>
                        <a:t>Maecenas dolor</a:t>
                      </a:r>
                      <a:endParaRPr kumimoji="0" lang="de-DE" sz="1800" b="0" i="0" u="none" strike="noStrike" kern="1200" cap="none" spc="0" normalizeH="0" baseline="0" noProof="0" dirty="0">
                        <a:ln>
                          <a:noFill/>
                        </a:ln>
                        <a:solidFill>
                          <a:srgbClr val="9999A9"/>
                        </a:solidFill>
                        <a:effectLst/>
                        <a:uLnTx/>
                        <a:uFillTx/>
                        <a:latin typeface="+mn-lt"/>
                        <a:ea typeface="+mn-ea"/>
                        <a:cs typeface="+mn-cs"/>
                      </a:endParaRPr>
                    </a:p>
                  </a:txBody>
                  <a:tcPr marL="0"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9999A9"/>
                          </a:solidFill>
                        </a:rPr>
                        <a:t>Vero Accusam</a:t>
                      </a:r>
                      <a:endParaRPr lang="en-US" sz="1800" b="1" dirty="0">
                        <a:solidFill>
                          <a:srgbClr val="9999A9"/>
                        </a:solidFill>
                        <a:latin typeface="+mn-lt"/>
                        <a:ea typeface="Arial Unicode MS"/>
                      </a:endParaRPr>
                    </a:p>
                  </a:txBody>
                  <a:tcPr marL="143925" marR="143925"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s-ES" sz="1800" u="none" strike="noStrike" kern="1200" cap="none" spc="0" normalizeH="0" baseline="0" noProof="0" dirty="0">
                          <a:ln>
                            <a:noFill/>
                          </a:ln>
                          <a:solidFill>
                            <a:srgbClr val="9999A9"/>
                          </a:solidFill>
                          <a:effectLst/>
                          <a:uLnTx/>
                          <a:uFillTx/>
                        </a:rPr>
                        <a:t>Duis arcu tortor, suscipit eget</a:t>
                      </a:r>
                      <a:endParaRPr lang="en-US" sz="1800" noProof="0" dirty="0">
                        <a:solidFill>
                          <a:srgbClr val="9999A9"/>
                        </a:solidFill>
                        <a:latin typeface="+mn-lt"/>
                        <a:ea typeface="Arial Unicode MS"/>
                      </a:endParaRPr>
                    </a:p>
                  </a:txBody>
                  <a:tcPr marL="143925" marR="143925"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9999A9"/>
                          </a:solidFill>
                          <a:effectLst/>
                          <a:uLnTx/>
                          <a:uFillTx/>
                        </a:rPr>
                        <a:t>5</a:t>
                      </a:r>
                      <a:r>
                        <a:rPr lang="en-US" sz="1800" noProof="0" dirty="0">
                          <a:solidFill>
                            <a:srgbClr val="9999A9"/>
                          </a:solidFill>
                        </a:rPr>
                        <a:t>′</a:t>
                      </a:r>
                      <a:endParaRPr kumimoji="0" lang="en-US" sz="1800" b="0" i="0" u="none" strike="noStrike" kern="1200" cap="none" spc="0" normalizeH="0" baseline="0" noProof="0" dirty="0">
                        <a:ln>
                          <a:noFill/>
                        </a:ln>
                        <a:solidFill>
                          <a:srgbClr val="9999A9"/>
                        </a:solidFill>
                        <a:effectLst/>
                        <a:uLnTx/>
                        <a:uFillTx/>
                        <a:latin typeface="+mn-lt"/>
                        <a:ea typeface="Arial Unicode MS"/>
                        <a:cs typeface="+mn-cs"/>
                      </a:endParaRPr>
                    </a:p>
                  </a:txBody>
                  <a:tcPr marL="143925" marR="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2514599482"/>
                  </a:ext>
                </a:extLst>
              </a:tr>
              <a:tr h="48574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800" dirty="0">
                          <a:solidFill>
                            <a:srgbClr val="9999A9"/>
                          </a:solidFill>
                        </a:rPr>
                        <a:t>Esta conquera</a:t>
                      </a:r>
                    </a:p>
                  </a:txBody>
                  <a:tcPr marL="0"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9999A9"/>
                          </a:solidFill>
                        </a:rPr>
                        <a:t>Duis Tortor</a:t>
                      </a:r>
                      <a:endParaRPr lang="en-US" sz="1800" b="1" dirty="0">
                        <a:solidFill>
                          <a:srgbClr val="9999A9"/>
                        </a:solidFill>
                        <a:latin typeface="+mn-lt"/>
                        <a:ea typeface="Arial Unicode MS"/>
                      </a:endParaRPr>
                    </a:p>
                  </a:txBody>
                  <a:tcPr marL="143925" marR="143925"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9999A9"/>
                          </a:solidFill>
                          <a:effectLst/>
                          <a:uLnTx/>
                          <a:uFillTx/>
                        </a:rPr>
                        <a:t>Phasellus nec sem</a:t>
                      </a:r>
                      <a:endParaRPr lang="en-US" sz="1800" noProof="0" dirty="0">
                        <a:solidFill>
                          <a:srgbClr val="9999A9"/>
                        </a:solidFill>
                        <a:latin typeface="+mn-lt"/>
                        <a:ea typeface="Arial Unicode MS"/>
                      </a:endParaRPr>
                    </a:p>
                  </a:txBody>
                  <a:tcPr marL="143925" marR="143925"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9999A9"/>
                          </a:solidFill>
                          <a:effectLst/>
                          <a:uLnTx/>
                          <a:uFillTx/>
                        </a:rPr>
                        <a:t>15</a:t>
                      </a:r>
                      <a:r>
                        <a:rPr lang="en-US" sz="1800" noProof="0" dirty="0">
                          <a:solidFill>
                            <a:srgbClr val="9999A9"/>
                          </a:solidFill>
                        </a:rPr>
                        <a:t>′</a:t>
                      </a:r>
                      <a:endParaRPr kumimoji="0" lang="en-US" sz="1800" b="0" i="0" u="none" strike="noStrike" kern="1200" cap="none" spc="0" normalizeH="0" baseline="0" noProof="0" dirty="0">
                        <a:ln>
                          <a:noFill/>
                        </a:ln>
                        <a:solidFill>
                          <a:srgbClr val="9999A9"/>
                        </a:solidFill>
                        <a:effectLst/>
                        <a:uLnTx/>
                        <a:uFillTx/>
                        <a:latin typeface="+mn-lt"/>
                        <a:ea typeface="Arial Unicode MS"/>
                        <a:cs typeface="+mn-cs"/>
                      </a:endParaRPr>
                    </a:p>
                  </a:txBody>
                  <a:tcPr marL="143925" marR="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237210138"/>
                  </a:ext>
                </a:extLst>
              </a:tr>
            </a:tbl>
          </a:graphicData>
        </a:graphic>
      </p:graphicFrame>
      <p:sp>
        <p:nvSpPr>
          <p:cNvPr id="5" name="Titel 4"/>
          <p:cNvSpPr>
            <a:spLocks noGrp="1"/>
          </p:cNvSpPr>
          <p:nvPr>
            <p:ph type="title"/>
          </p:nvPr>
        </p:nvSpPr>
        <p:spPr/>
        <p:txBody>
          <a:bodyPr/>
          <a:lstStyle/>
          <a:p>
            <a:r>
              <a:rPr lang="en-US" noProof="0" dirty="0"/>
              <a:t>Meeting minutes</a:t>
            </a:r>
          </a:p>
        </p:txBody>
      </p:sp>
      <p:sp>
        <p:nvSpPr>
          <p:cNvPr id="2" name="Footer Placeholder 1">
            <a:extLst>
              <a:ext uri="{FF2B5EF4-FFF2-40B4-BE49-F238E27FC236}">
                <a16:creationId xmlns:a16="http://schemas.microsoft.com/office/drawing/2014/main" id="{04834D27-10FC-4C28-8371-46326C6977B4}"/>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3" name="Slide Number Placeholder 2">
            <a:extLst>
              <a:ext uri="{FF2B5EF4-FFF2-40B4-BE49-F238E27FC236}">
                <a16:creationId xmlns:a16="http://schemas.microsoft.com/office/drawing/2014/main" id="{F39994BF-1379-466B-A0BA-01D4EFD8D3D4}"/>
              </a:ext>
            </a:extLst>
          </p:cNvPr>
          <p:cNvSpPr>
            <a:spLocks noGrp="1"/>
          </p:cNvSpPr>
          <p:nvPr>
            <p:ph type="sldNum" sz="quarter" idx="11"/>
          </p:nvPr>
        </p:nvSpPr>
        <p:spPr/>
        <p:txBody>
          <a:bodyPr/>
          <a:lstStyle/>
          <a:p>
            <a:r>
              <a:rPr lang="en-US" dirty="0"/>
              <a:t>Page </a:t>
            </a:r>
            <a:fld id="{15EBE321-CBB1-4E91-BD14-37C8D44326FB}" type="slidenum">
              <a:rPr lang="en-US" smtClean="0"/>
              <a:pPr/>
              <a:t>11</a:t>
            </a:fld>
            <a:endParaRPr lang="en-US" dirty="0"/>
          </a:p>
        </p:txBody>
      </p:sp>
    </p:spTree>
    <p:extLst>
      <p:ext uri="{BB962C8B-B14F-4D97-AF65-F5344CB8AC3E}">
        <p14:creationId xmlns:p14="http://schemas.microsoft.com/office/powerpoint/2010/main" val="2240184483"/>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a:xfrm>
            <a:off x="410400" y="478800"/>
            <a:ext cx="9863997" cy="576000"/>
          </a:xfrm>
        </p:spPr>
        <p:txBody>
          <a:bodyPr/>
          <a:lstStyle/>
          <a:p>
            <a:r>
              <a:rPr lang="en-US" dirty="0"/>
              <a:t>Development – tree diagram</a:t>
            </a:r>
          </a:p>
        </p:txBody>
      </p:sp>
      <p:sp>
        <p:nvSpPr>
          <p:cNvPr id="11" name="Rectangle 4"/>
          <p:cNvSpPr>
            <a:spLocks noChangeArrowheads="1"/>
          </p:cNvSpPr>
          <p:nvPr>
            <p:custDataLst>
              <p:tags r:id="rId1"/>
            </p:custDataLst>
          </p:nvPr>
        </p:nvSpPr>
        <p:spPr bwMode="auto">
          <a:xfrm>
            <a:off x="410401" y="1415849"/>
            <a:ext cx="9215999" cy="485747"/>
          </a:xfrm>
          <a:prstGeom prst="rect">
            <a:avLst/>
          </a:prstGeom>
          <a:solidFill>
            <a:srgbClr val="00AF8E"/>
          </a:solidFill>
          <a:ln>
            <a:noFill/>
          </a:ln>
          <a:effectLst/>
        </p:spPr>
        <p:txBody>
          <a:bodyPr lIns="143925" tIns="71963" rIns="143925" bIns="71963" anchor="ctr" anchorCtr="0"/>
          <a:lstStyle/>
          <a:p>
            <a:pPr eaLnBrk="0" hangingPunct="0">
              <a:spcBef>
                <a:spcPct val="0"/>
              </a:spcBef>
              <a:buClrTx/>
              <a:buFontTx/>
              <a:buNone/>
            </a:pPr>
            <a:r>
              <a:rPr lang="en-US" sz="1599" b="1" dirty="0">
                <a:solidFill>
                  <a:schemeClr val="bg1"/>
                </a:solidFill>
              </a:rPr>
              <a:t>Duis arcu tortor, suscipit eget</a:t>
            </a:r>
          </a:p>
        </p:txBody>
      </p:sp>
      <p:sp>
        <p:nvSpPr>
          <p:cNvPr id="19" name="AutoShape 12"/>
          <p:cNvSpPr>
            <a:spLocks noChangeArrowheads="1"/>
          </p:cNvSpPr>
          <p:nvPr/>
        </p:nvSpPr>
        <p:spPr bwMode="auto">
          <a:xfrm>
            <a:off x="410400" y="2045520"/>
            <a:ext cx="1728000" cy="1458000"/>
          </a:xfrm>
          <a:prstGeom prst="rect">
            <a:avLst/>
          </a:prstGeom>
          <a:solidFill>
            <a:srgbClr val="00646E"/>
          </a:solidFill>
          <a:ln w="38100">
            <a:noFill/>
          </a:ln>
          <a:effectLst/>
        </p:spPr>
        <p:txBody>
          <a:bodyPr lIns="143925" tIns="71963" rIns="71963" bIns="71963" anchor="t"/>
          <a:lstStyle/>
          <a:p>
            <a:pPr eaLnBrk="0" hangingPunct="0">
              <a:spcBef>
                <a:spcPct val="0"/>
              </a:spcBef>
              <a:buClrTx/>
              <a:buFontTx/>
              <a:buNone/>
            </a:pPr>
            <a:r>
              <a:rPr lang="en-US" sz="1599" b="1" dirty="0">
                <a:solidFill>
                  <a:schemeClr val="bg1"/>
                </a:solidFill>
              </a:rPr>
              <a:t>Duis arcu tortor</a:t>
            </a:r>
          </a:p>
        </p:txBody>
      </p:sp>
      <p:sp>
        <p:nvSpPr>
          <p:cNvPr id="20" name="AutoShape 13"/>
          <p:cNvSpPr>
            <a:spLocks noChangeArrowheads="1"/>
          </p:cNvSpPr>
          <p:nvPr/>
        </p:nvSpPr>
        <p:spPr bwMode="auto">
          <a:xfrm>
            <a:off x="2282399" y="2045520"/>
            <a:ext cx="1728000" cy="1458000"/>
          </a:xfrm>
          <a:prstGeom prst="rect">
            <a:avLst/>
          </a:prstGeom>
          <a:solidFill>
            <a:srgbClr val="E5E5E9"/>
          </a:solidFill>
          <a:ln w="38100">
            <a:noFill/>
            <a:miter lim="800000"/>
            <a:headEnd type="none" w="sm" len="sm"/>
            <a:tailEnd type="none" w="sm" len="sm"/>
          </a:ln>
          <a:effectLst/>
        </p:spPr>
        <p:txBody>
          <a:bodyPr lIns="143925" tIns="71963" rIns="71963" bIns="71963" anchor="t"/>
          <a:lstStyle/>
          <a:p>
            <a:pPr eaLnBrk="0" hangingPunct="0">
              <a:spcBef>
                <a:spcPct val="0"/>
              </a:spcBef>
              <a:buClrTx/>
              <a:buFontTx/>
              <a:buNone/>
            </a:pPr>
            <a:r>
              <a:rPr lang="en-US" sz="1599" dirty="0">
                <a:solidFill>
                  <a:srgbClr val="333353"/>
                </a:solidFill>
              </a:rPr>
              <a:t>At vero eos et accusam</a:t>
            </a:r>
          </a:p>
        </p:txBody>
      </p:sp>
      <p:sp>
        <p:nvSpPr>
          <p:cNvPr id="21" name="AutoShape 14"/>
          <p:cNvSpPr>
            <a:spLocks noChangeArrowheads="1"/>
          </p:cNvSpPr>
          <p:nvPr/>
        </p:nvSpPr>
        <p:spPr bwMode="auto">
          <a:xfrm>
            <a:off x="4154400" y="2045520"/>
            <a:ext cx="1728000" cy="1458000"/>
          </a:xfrm>
          <a:prstGeom prst="rect">
            <a:avLst/>
          </a:prstGeom>
          <a:solidFill>
            <a:srgbClr val="E5E5E9"/>
          </a:solidFill>
          <a:ln w="38100">
            <a:noFill/>
            <a:miter lim="800000"/>
            <a:headEnd type="none" w="sm" len="sm"/>
            <a:tailEnd type="none" w="sm" len="sm"/>
          </a:ln>
          <a:effectLst/>
        </p:spPr>
        <p:txBody>
          <a:bodyPr lIns="143925" tIns="71963" rIns="71963" bIns="71963" anchor="t"/>
          <a:lstStyle/>
          <a:p>
            <a:pPr eaLnBrk="0" hangingPunct="0">
              <a:spcBef>
                <a:spcPct val="0"/>
              </a:spcBef>
              <a:buClrTx/>
              <a:buFontTx/>
              <a:buNone/>
            </a:pPr>
            <a:r>
              <a:rPr lang="en-US" sz="1599" dirty="0">
                <a:solidFill>
                  <a:srgbClr val="333353"/>
                </a:solidFill>
              </a:rPr>
              <a:t>Consetetur sadipscing elitr, seddiam nonumy</a:t>
            </a:r>
          </a:p>
        </p:txBody>
      </p:sp>
      <p:sp>
        <p:nvSpPr>
          <p:cNvPr id="22" name="AutoShape 15"/>
          <p:cNvSpPr>
            <a:spLocks noChangeArrowheads="1"/>
          </p:cNvSpPr>
          <p:nvPr/>
        </p:nvSpPr>
        <p:spPr bwMode="auto">
          <a:xfrm>
            <a:off x="6026400" y="2045520"/>
            <a:ext cx="1728000" cy="1458000"/>
          </a:xfrm>
          <a:prstGeom prst="rect">
            <a:avLst/>
          </a:prstGeom>
          <a:solidFill>
            <a:srgbClr val="E5E5E9"/>
          </a:solidFill>
          <a:ln w="38100">
            <a:noFill/>
            <a:miter lim="800000"/>
            <a:headEnd type="none" w="sm" len="sm"/>
            <a:tailEnd type="none" w="sm" len="sm"/>
          </a:ln>
          <a:effectLst/>
        </p:spPr>
        <p:txBody>
          <a:bodyPr lIns="143925" tIns="71963" rIns="71963" bIns="71963" anchor="t"/>
          <a:lstStyle/>
          <a:p>
            <a:pPr eaLnBrk="0" hangingPunct="0">
              <a:spcBef>
                <a:spcPct val="0"/>
              </a:spcBef>
              <a:buClrTx/>
              <a:buFontTx/>
              <a:buNone/>
            </a:pPr>
            <a:r>
              <a:rPr lang="en-US" sz="1599" dirty="0">
                <a:solidFill>
                  <a:srgbClr val="333353"/>
                </a:solidFill>
              </a:rPr>
              <a:t>Cras ultricies mi eu</a:t>
            </a:r>
          </a:p>
        </p:txBody>
      </p:sp>
      <p:sp>
        <p:nvSpPr>
          <p:cNvPr id="18" name="AutoShape 12"/>
          <p:cNvSpPr>
            <a:spLocks noChangeArrowheads="1"/>
          </p:cNvSpPr>
          <p:nvPr/>
        </p:nvSpPr>
        <p:spPr bwMode="auto">
          <a:xfrm>
            <a:off x="410400" y="4726800"/>
            <a:ext cx="1440000" cy="1440000"/>
          </a:xfrm>
          <a:prstGeom prst="rect">
            <a:avLst/>
          </a:prstGeom>
          <a:solidFill>
            <a:srgbClr val="9999A9"/>
          </a:solidFill>
          <a:ln w="12700">
            <a:noFill/>
          </a:ln>
          <a:effectLst/>
        </p:spPr>
        <p:txBody>
          <a:bodyPr lIns="143925" tIns="71963" rIns="143925" bIns="71963" anchor="t"/>
          <a:lstStyle/>
          <a:p>
            <a:pPr eaLnBrk="0" hangingPunct="0">
              <a:spcBef>
                <a:spcPct val="0"/>
              </a:spcBef>
              <a:buClrTx/>
              <a:buFontTx/>
              <a:buNone/>
            </a:pPr>
            <a:r>
              <a:rPr lang="en-US" sz="1599" dirty="0">
                <a:solidFill>
                  <a:schemeClr val="bg1"/>
                </a:solidFill>
              </a:rPr>
              <a:t>Cras ultricies</a:t>
            </a:r>
          </a:p>
        </p:txBody>
      </p:sp>
      <p:sp>
        <p:nvSpPr>
          <p:cNvPr id="23" name="AutoShape 12"/>
          <p:cNvSpPr>
            <a:spLocks noChangeArrowheads="1"/>
          </p:cNvSpPr>
          <p:nvPr/>
        </p:nvSpPr>
        <p:spPr bwMode="auto">
          <a:xfrm>
            <a:off x="1965600" y="4726800"/>
            <a:ext cx="1440000" cy="1440000"/>
          </a:xfrm>
          <a:prstGeom prst="rect">
            <a:avLst/>
          </a:prstGeom>
          <a:solidFill>
            <a:srgbClr val="9999A9"/>
          </a:solidFill>
          <a:ln w="12700">
            <a:noFill/>
          </a:ln>
          <a:effectLst/>
        </p:spPr>
        <p:txBody>
          <a:bodyPr lIns="143925" tIns="71963" rIns="143925" bIns="71963" anchor="t"/>
          <a:lstStyle/>
          <a:p>
            <a:pPr eaLnBrk="0" hangingPunct="0">
              <a:spcBef>
                <a:spcPct val="0"/>
              </a:spcBef>
              <a:buClrTx/>
              <a:buFontTx/>
              <a:buNone/>
            </a:pPr>
            <a:r>
              <a:rPr lang="en-US" sz="1599" dirty="0">
                <a:solidFill>
                  <a:schemeClr val="bg1"/>
                </a:solidFill>
              </a:rPr>
              <a:t>At vero eos et accusam</a:t>
            </a:r>
          </a:p>
        </p:txBody>
      </p:sp>
      <p:sp>
        <p:nvSpPr>
          <p:cNvPr id="28" name="AutoShape 12"/>
          <p:cNvSpPr>
            <a:spLocks noChangeArrowheads="1"/>
          </p:cNvSpPr>
          <p:nvPr/>
        </p:nvSpPr>
        <p:spPr bwMode="auto">
          <a:xfrm>
            <a:off x="3520800" y="4726800"/>
            <a:ext cx="1440000" cy="1440000"/>
          </a:xfrm>
          <a:prstGeom prst="rect">
            <a:avLst/>
          </a:prstGeom>
          <a:solidFill>
            <a:srgbClr val="9999A9"/>
          </a:solidFill>
          <a:ln w="12700">
            <a:noFill/>
          </a:ln>
          <a:effectLst/>
        </p:spPr>
        <p:txBody>
          <a:bodyPr lIns="143925" tIns="71963" rIns="143925" bIns="71963" anchor="t"/>
          <a:lstStyle/>
          <a:p>
            <a:pPr eaLnBrk="0" hangingPunct="0">
              <a:spcBef>
                <a:spcPct val="0"/>
              </a:spcBef>
              <a:buClrTx/>
              <a:buFontTx/>
              <a:buNone/>
            </a:pPr>
            <a:r>
              <a:rPr lang="en-US" sz="1599" dirty="0">
                <a:solidFill>
                  <a:schemeClr val="bg1"/>
                </a:solidFill>
              </a:rPr>
              <a:t>Duis arcu tortor</a:t>
            </a:r>
          </a:p>
        </p:txBody>
      </p:sp>
      <p:sp>
        <p:nvSpPr>
          <p:cNvPr id="29" name="AutoShape 12"/>
          <p:cNvSpPr>
            <a:spLocks noChangeArrowheads="1"/>
          </p:cNvSpPr>
          <p:nvPr/>
        </p:nvSpPr>
        <p:spPr bwMode="auto">
          <a:xfrm>
            <a:off x="5076000" y="4726800"/>
            <a:ext cx="1440000" cy="1440000"/>
          </a:xfrm>
          <a:prstGeom prst="rect">
            <a:avLst/>
          </a:prstGeom>
          <a:solidFill>
            <a:srgbClr val="9999A9"/>
          </a:solidFill>
          <a:ln w="12700">
            <a:noFill/>
          </a:ln>
          <a:effectLst/>
        </p:spPr>
        <p:txBody>
          <a:bodyPr lIns="143925" tIns="71963" rIns="143925" bIns="71963" anchor="t"/>
          <a:lstStyle/>
          <a:p>
            <a:pPr eaLnBrk="0" hangingPunct="0">
              <a:spcBef>
                <a:spcPct val="0"/>
              </a:spcBef>
              <a:buClrTx/>
              <a:buFontTx/>
              <a:buNone/>
            </a:pPr>
            <a:r>
              <a:rPr lang="en-US" sz="1599" dirty="0">
                <a:solidFill>
                  <a:schemeClr val="bg1"/>
                </a:solidFill>
              </a:rPr>
              <a:t>Cras ultricies</a:t>
            </a:r>
          </a:p>
        </p:txBody>
      </p:sp>
      <p:sp>
        <p:nvSpPr>
          <p:cNvPr id="30" name="AutoShape 12"/>
          <p:cNvSpPr>
            <a:spLocks noChangeArrowheads="1"/>
          </p:cNvSpPr>
          <p:nvPr/>
        </p:nvSpPr>
        <p:spPr bwMode="auto">
          <a:xfrm>
            <a:off x="6631200" y="4726800"/>
            <a:ext cx="1440000" cy="1440000"/>
          </a:xfrm>
          <a:prstGeom prst="rect">
            <a:avLst/>
          </a:prstGeom>
          <a:solidFill>
            <a:srgbClr val="9999A9"/>
          </a:solidFill>
          <a:ln w="12700">
            <a:noFill/>
          </a:ln>
          <a:effectLst/>
        </p:spPr>
        <p:txBody>
          <a:bodyPr lIns="143925" tIns="71963" rIns="143925" bIns="71963" anchor="t"/>
          <a:lstStyle/>
          <a:p>
            <a:pPr eaLnBrk="0" hangingPunct="0">
              <a:spcBef>
                <a:spcPct val="0"/>
              </a:spcBef>
              <a:buClrTx/>
              <a:buFontTx/>
              <a:buNone/>
            </a:pPr>
            <a:r>
              <a:rPr lang="en-US" sz="1599" dirty="0">
                <a:solidFill>
                  <a:schemeClr val="bg1"/>
                </a:solidFill>
              </a:rPr>
              <a:t>At vero eos et accusam</a:t>
            </a:r>
          </a:p>
        </p:txBody>
      </p:sp>
      <p:sp>
        <p:nvSpPr>
          <p:cNvPr id="31" name="AutoShape 12"/>
          <p:cNvSpPr>
            <a:spLocks noChangeArrowheads="1"/>
          </p:cNvSpPr>
          <p:nvPr/>
        </p:nvSpPr>
        <p:spPr bwMode="auto">
          <a:xfrm>
            <a:off x="8186400" y="4726800"/>
            <a:ext cx="1440000" cy="1440000"/>
          </a:xfrm>
          <a:prstGeom prst="rect">
            <a:avLst/>
          </a:prstGeom>
          <a:solidFill>
            <a:srgbClr val="9999A9"/>
          </a:solidFill>
          <a:ln w="12700">
            <a:noFill/>
          </a:ln>
          <a:effectLst/>
        </p:spPr>
        <p:txBody>
          <a:bodyPr lIns="143925" tIns="71963" rIns="143925" bIns="71963" anchor="t"/>
          <a:lstStyle/>
          <a:p>
            <a:pPr eaLnBrk="0" hangingPunct="0">
              <a:spcBef>
                <a:spcPct val="0"/>
              </a:spcBef>
              <a:buClrTx/>
              <a:buFontTx/>
              <a:buNone/>
            </a:pPr>
            <a:r>
              <a:rPr lang="en-US" sz="1599" dirty="0">
                <a:solidFill>
                  <a:schemeClr val="bg1"/>
                </a:solidFill>
              </a:rPr>
              <a:t>Duis arcu tortor</a:t>
            </a:r>
          </a:p>
        </p:txBody>
      </p:sp>
      <p:sp>
        <p:nvSpPr>
          <p:cNvPr id="32" name="AutoShape 15"/>
          <p:cNvSpPr>
            <a:spLocks noChangeArrowheads="1"/>
          </p:cNvSpPr>
          <p:nvPr/>
        </p:nvSpPr>
        <p:spPr bwMode="auto">
          <a:xfrm>
            <a:off x="7898400" y="2045520"/>
            <a:ext cx="1728000" cy="1458000"/>
          </a:xfrm>
          <a:prstGeom prst="rect">
            <a:avLst/>
          </a:prstGeom>
          <a:solidFill>
            <a:srgbClr val="E5E5E9"/>
          </a:solidFill>
          <a:ln w="38100">
            <a:noFill/>
            <a:miter lim="800000"/>
            <a:headEnd type="none" w="sm" len="sm"/>
            <a:tailEnd type="none" w="sm" len="sm"/>
          </a:ln>
          <a:effectLst/>
        </p:spPr>
        <p:txBody>
          <a:bodyPr lIns="143925" tIns="71963" rIns="71963" bIns="71963" anchor="t"/>
          <a:lstStyle/>
          <a:p>
            <a:pPr eaLnBrk="0" hangingPunct="0">
              <a:spcBef>
                <a:spcPct val="0"/>
              </a:spcBef>
              <a:buClrTx/>
              <a:buFontTx/>
              <a:buNone/>
            </a:pPr>
            <a:r>
              <a:rPr lang="en-US" sz="1599" dirty="0">
                <a:solidFill>
                  <a:srgbClr val="333353"/>
                </a:solidFill>
              </a:rPr>
              <a:t>Phasellus nec sem</a:t>
            </a:r>
          </a:p>
        </p:txBody>
      </p:sp>
      <p:cxnSp>
        <p:nvCxnSpPr>
          <p:cNvPr id="3" name="Elbow Connector 2"/>
          <p:cNvCxnSpPr>
            <a:stCxn id="19" idx="2"/>
            <a:endCxn id="18" idx="0"/>
          </p:cNvCxnSpPr>
          <p:nvPr/>
        </p:nvCxnSpPr>
        <p:spPr bwMode="auto">
          <a:xfrm rot="5400000">
            <a:off x="590760" y="4043160"/>
            <a:ext cx="1223280" cy="144000"/>
          </a:xfrm>
          <a:prstGeom prst="bentConnector3">
            <a:avLst/>
          </a:prstGeom>
          <a:solidFill>
            <a:schemeClr val="tx2"/>
          </a:solidFill>
          <a:ln w="12700" cap="flat" cmpd="sng" algn="ctr">
            <a:solidFill>
              <a:srgbClr val="66667E"/>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 name="Elbow Connector 5"/>
          <p:cNvCxnSpPr>
            <a:stCxn id="19" idx="2"/>
            <a:endCxn id="23" idx="0"/>
          </p:cNvCxnSpPr>
          <p:nvPr/>
        </p:nvCxnSpPr>
        <p:spPr bwMode="auto">
          <a:xfrm rot="16200000" flipH="1">
            <a:off x="1368360" y="3409560"/>
            <a:ext cx="1223280" cy="1411200"/>
          </a:xfrm>
          <a:prstGeom prst="bentConnector3">
            <a:avLst>
              <a:gd name="adj1" fmla="val 50000"/>
            </a:avLst>
          </a:prstGeom>
          <a:solidFill>
            <a:schemeClr val="tx2"/>
          </a:solidFill>
          <a:ln w="12700" cap="flat" cmpd="sng" algn="ctr">
            <a:solidFill>
              <a:srgbClr val="66667E"/>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Elbow Connector 24"/>
          <p:cNvCxnSpPr>
            <a:stCxn id="19" idx="2"/>
            <a:endCxn id="28" idx="0"/>
          </p:cNvCxnSpPr>
          <p:nvPr/>
        </p:nvCxnSpPr>
        <p:spPr bwMode="auto">
          <a:xfrm rot="16200000" flipH="1">
            <a:off x="2145960" y="2631960"/>
            <a:ext cx="1223280" cy="2966400"/>
          </a:xfrm>
          <a:prstGeom prst="bentConnector3">
            <a:avLst>
              <a:gd name="adj1" fmla="val 50000"/>
            </a:avLst>
          </a:prstGeom>
          <a:solidFill>
            <a:schemeClr val="tx2"/>
          </a:solidFill>
          <a:ln w="12700" cap="flat" cmpd="sng" algn="ctr">
            <a:solidFill>
              <a:srgbClr val="66667E"/>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Elbow Connector 26"/>
          <p:cNvCxnSpPr>
            <a:stCxn id="19" idx="2"/>
            <a:endCxn id="29" idx="0"/>
          </p:cNvCxnSpPr>
          <p:nvPr/>
        </p:nvCxnSpPr>
        <p:spPr bwMode="auto">
          <a:xfrm rot="16200000" flipH="1">
            <a:off x="2923560" y="1854360"/>
            <a:ext cx="1223280" cy="4521600"/>
          </a:xfrm>
          <a:prstGeom prst="bentConnector3">
            <a:avLst>
              <a:gd name="adj1" fmla="val 50000"/>
            </a:avLst>
          </a:prstGeom>
          <a:solidFill>
            <a:schemeClr val="tx2"/>
          </a:solidFill>
          <a:ln w="12700" cap="flat" cmpd="sng" algn="ctr">
            <a:solidFill>
              <a:srgbClr val="66667E"/>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Elbow Connector 34"/>
          <p:cNvCxnSpPr>
            <a:stCxn id="19" idx="2"/>
            <a:endCxn id="30" idx="0"/>
          </p:cNvCxnSpPr>
          <p:nvPr/>
        </p:nvCxnSpPr>
        <p:spPr bwMode="auto">
          <a:xfrm rot="16200000" flipH="1">
            <a:off x="3701160" y="1076760"/>
            <a:ext cx="1223280" cy="6076800"/>
          </a:xfrm>
          <a:prstGeom prst="bentConnector3">
            <a:avLst>
              <a:gd name="adj1" fmla="val 50000"/>
            </a:avLst>
          </a:prstGeom>
          <a:solidFill>
            <a:schemeClr val="tx2"/>
          </a:solidFill>
          <a:ln w="12700" cap="flat" cmpd="sng" algn="ctr">
            <a:solidFill>
              <a:srgbClr val="66667E"/>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Elbow Connector 36"/>
          <p:cNvCxnSpPr>
            <a:stCxn id="19" idx="2"/>
            <a:endCxn id="31" idx="0"/>
          </p:cNvCxnSpPr>
          <p:nvPr/>
        </p:nvCxnSpPr>
        <p:spPr bwMode="auto">
          <a:xfrm rot="16200000" flipH="1">
            <a:off x="4478760" y="299160"/>
            <a:ext cx="1223280" cy="7632000"/>
          </a:xfrm>
          <a:prstGeom prst="bentConnector3">
            <a:avLst>
              <a:gd name="adj1" fmla="val 50000"/>
            </a:avLst>
          </a:prstGeom>
          <a:solidFill>
            <a:schemeClr val="tx2"/>
          </a:solidFill>
          <a:ln w="12700" cap="flat" cmpd="sng" algn="ctr">
            <a:solidFill>
              <a:srgbClr val="66667E"/>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 name="Footer Placeholder 1">
            <a:extLst>
              <a:ext uri="{FF2B5EF4-FFF2-40B4-BE49-F238E27FC236}">
                <a16:creationId xmlns:a16="http://schemas.microsoft.com/office/drawing/2014/main" id="{56D34BAB-7CF2-4674-BB75-F881EFB23347}"/>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B63BFC50-EFF2-471C-B673-91FF4286A361}"/>
              </a:ext>
            </a:extLst>
          </p:cNvPr>
          <p:cNvSpPr>
            <a:spLocks noGrp="1"/>
          </p:cNvSpPr>
          <p:nvPr>
            <p:ph type="sldNum" sz="quarter" idx="11"/>
          </p:nvPr>
        </p:nvSpPr>
        <p:spPr/>
        <p:txBody>
          <a:bodyPr/>
          <a:lstStyle/>
          <a:p>
            <a:r>
              <a:rPr lang="en-US" dirty="0"/>
              <a:t>Page </a:t>
            </a:r>
            <a:fld id="{15EBE321-CBB1-4E91-BD14-37C8D44326FB}" type="slidenum">
              <a:rPr lang="en-US" smtClean="0"/>
              <a:pPr/>
              <a:t>110</a:t>
            </a:fld>
            <a:endParaRPr lang="en-US" dirty="0"/>
          </a:p>
        </p:txBody>
      </p:sp>
    </p:spTree>
    <p:extLst>
      <p:ext uri="{BB962C8B-B14F-4D97-AF65-F5344CB8AC3E}">
        <p14:creationId xmlns:p14="http://schemas.microsoft.com/office/powerpoint/2010/main" val="3766087376"/>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en-US" dirty="0"/>
              <a:t>Development – tree diagram</a:t>
            </a:r>
          </a:p>
        </p:txBody>
      </p:sp>
      <p:sp>
        <p:nvSpPr>
          <p:cNvPr id="11" name="Rectangle 4"/>
          <p:cNvSpPr>
            <a:spLocks noChangeArrowheads="1"/>
          </p:cNvSpPr>
          <p:nvPr>
            <p:custDataLst>
              <p:tags r:id="rId1"/>
            </p:custDataLst>
          </p:nvPr>
        </p:nvSpPr>
        <p:spPr bwMode="auto">
          <a:xfrm>
            <a:off x="410401" y="1415849"/>
            <a:ext cx="9215999" cy="485747"/>
          </a:xfrm>
          <a:prstGeom prst="rect">
            <a:avLst/>
          </a:prstGeom>
          <a:solidFill>
            <a:srgbClr val="00FFB9"/>
          </a:solidFill>
          <a:ln>
            <a:noFill/>
          </a:ln>
          <a:effectLst/>
        </p:spPr>
        <p:txBody>
          <a:bodyPr lIns="143925" tIns="71963" rIns="143925" bIns="71963" anchor="ctr" anchorCtr="0"/>
          <a:lstStyle/>
          <a:p>
            <a:pPr eaLnBrk="0" hangingPunct="0">
              <a:spcBef>
                <a:spcPct val="0"/>
              </a:spcBef>
              <a:buClrTx/>
              <a:buFontTx/>
              <a:buNone/>
            </a:pPr>
            <a:r>
              <a:rPr lang="en-US" sz="1599" b="1" dirty="0">
                <a:solidFill>
                  <a:schemeClr val="bg2"/>
                </a:solidFill>
              </a:rPr>
              <a:t>Duis arcu tortor, suscipit eget</a:t>
            </a:r>
          </a:p>
        </p:txBody>
      </p:sp>
      <p:sp>
        <p:nvSpPr>
          <p:cNvPr id="19" name="AutoShape 12"/>
          <p:cNvSpPr>
            <a:spLocks noChangeArrowheads="1"/>
          </p:cNvSpPr>
          <p:nvPr/>
        </p:nvSpPr>
        <p:spPr bwMode="auto">
          <a:xfrm>
            <a:off x="410400" y="2045520"/>
            <a:ext cx="1728000" cy="1458000"/>
          </a:xfrm>
          <a:prstGeom prst="rect">
            <a:avLst/>
          </a:prstGeom>
          <a:solidFill>
            <a:srgbClr val="00646E"/>
          </a:solidFill>
          <a:ln w="38100">
            <a:noFill/>
          </a:ln>
          <a:effectLst/>
        </p:spPr>
        <p:txBody>
          <a:bodyPr lIns="143925" tIns="71963" rIns="71963" bIns="71963" anchor="t"/>
          <a:lstStyle/>
          <a:p>
            <a:pPr eaLnBrk="0" hangingPunct="0">
              <a:spcBef>
                <a:spcPct val="0"/>
              </a:spcBef>
              <a:buClrTx/>
              <a:buFontTx/>
              <a:buNone/>
            </a:pPr>
            <a:r>
              <a:rPr lang="en-US" sz="1599" b="1" dirty="0"/>
              <a:t>Duis arcu tortor</a:t>
            </a:r>
          </a:p>
        </p:txBody>
      </p:sp>
      <p:sp>
        <p:nvSpPr>
          <p:cNvPr id="20" name="AutoShape 13"/>
          <p:cNvSpPr>
            <a:spLocks noChangeArrowheads="1"/>
          </p:cNvSpPr>
          <p:nvPr/>
        </p:nvSpPr>
        <p:spPr bwMode="auto">
          <a:xfrm>
            <a:off x="2282399" y="2045520"/>
            <a:ext cx="1728000" cy="1458000"/>
          </a:xfrm>
          <a:prstGeom prst="rect">
            <a:avLst/>
          </a:prstGeom>
          <a:solidFill>
            <a:srgbClr val="333353"/>
          </a:solidFill>
          <a:ln w="38100">
            <a:noFill/>
            <a:miter lim="800000"/>
            <a:headEnd type="none" w="sm" len="sm"/>
            <a:tailEnd type="none" w="sm" len="sm"/>
          </a:ln>
          <a:effectLst/>
        </p:spPr>
        <p:txBody>
          <a:bodyPr lIns="143925" tIns="71963" rIns="71963" bIns="71963" anchor="t"/>
          <a:lstStyle/>
          <a:p>
            <a:pPr eaLnBrk="0" hangingPunct="0">
              <a:spcBef>
                <a:spcPct val="0"/>
              </a:spcBef>
              <a:buClrTx/>
              <a:buFontTx/>
              <a:buNone/>
            </a:pPr>
            <a:r>
              <a:rPr lang="en-US" sz="1599" dirty="0">
                <a:solidFill>
                  <a:schemeClr val="tx2"/>
                </a:solidFill>
              </a:rPr>
              <a:t>At vero eos et accusam</a:t>
            </a:r>
          </a:p>
        </p:txBody>
      </p:sp>
      <p:sp>
        <p:nvSpPr>
          <p:cNvPr id="21" name="AutoShape 14"/>
          <p:cNvSpPr>
            <a:spLocks noChangeArrowheads="1"/>
          </p:cNvSpPr>
          <p:nvPr/>
        </p:nvSpPr>
        <p:spPr bwMode="auto">
          <a:xfrm>
            <a:off x="4154400" y="2045520"/>
            <a:ext cx="1728000" cy="1458000"/>
          </a:xfrm>
          <a:prstGeom prst="rect">
            <a:avLst/>
          </a:prstGeom>
          <a:solidFill>
            <a:srgbClr val="333353"/>
          </a:solidFill>
          <a:ln w="38100">
            <a:noFill/>
            <a:miter lim="800000"/>
            <a:headEnd type="none" w="sm" len="sm"/>
            <a:tailEnd type="none" w="sm" len="sm"/>
          </a:ln>
          <a:effectLst/>
        </p:spPr>
        <p:txBody>
          <a:bodyPr lIns="143925" tIns="71963" rIns="71963" bIns="71963" anchor="t"/>
          <a:lstStyle/>
          <a:p>
            <a:pPr eaLnBrk="0" hangingPunct="0">
              <a:spcBef>
                <a:spcPct val="0"/>
              </a:spcBef>
              <a:buClrTx/>
              <a:buFontTx/>
              <a:buNone/>
            </a:pPr>
            <a:r>
              <a:rPr lang="en-US" sz="1599" dirty="0">
                <a:solidFill>
                  <a:schemeClr val="tx2"/>
                </a:solidFill>
              </a:rPr>
              <a:t>Consetetur sadipscing elitr, seddiam nonumy</a:t>
            </a:r>
          </a:p>
        </p:txBody>
      </p:sp>
      <p:sp>
        <p:nvSpPr>
          <p:cNvPr id="22" name="AutoShape 15"/>
          <p:cNvSpPr>
            <a:spLocks noChangeArrowheads="1"/>
          </p:cNvSpPr>
          <p:nvPr/>
        </p:nvSpPr>
        <p:spPr bwMode="auto">
          <a:xfrm>
            <a:off x="6026400" y="2045520"/>
            <a:ext cx="1728000" cy="1458000"/>
          </a:xfrm>
          <a:prstGeom prst="rect">
            <a:avLst/>
          </a:prstGeom>
          <a:solidFill>
            <a:srgbClr val="333353"/>
          </a:solidFill>
          <a:ln w="38100">
            <a:noFill/>
            <a:miter lim="800000"/>
            <a:headEnd type="none" w="sm" len="sm"/>
            <a:tailEnd type="none" w="sm" len="sm"/>
          </a:ln>
          <a:effectLst/>
        </p:spPr>
        <p:txBody>
          <a:bodyPr lIns="143925" tIns="71963" rIns="71963" bIns="71963" anchor="t"/>
          <a:lstStyle/>
          <a:p>
            <a:pPr eaLnBrk="0" hangingPunct="0">
              <a:spcBef>
                <a:spcPct val="0"/>
              </a:spcBef>
              <a:buClrTx/>
              <a:buFontTx/>
              <a:buNone/>
            </a:pPr>
            <a:r>
              <a:rPr lang="en-US" sz="1599" dirty="0">
                <a:solidFill>
                  <a:schemeClr val="tx2"/>
                </a:solidFill>
              </a:rPr>
              <a:t>Cras ultricies mi eu</a:t>
            </a:r>
          </a:p>
        </p:txBody>
      </p:sp>
      <p:sp>
        <p:nvSpPr>
          <p:cNvPr id="18" name="AutoShape 12"/>
          <p:cNvSpPr>
            <a:spLocks noChangeArrowheads="1"/>
          </p:cNvSpPr>
          <p:nvPr/>
        </p:nvSpPr>
        <p:spPr bwMode="auto">
          <a:xfrm>
            <a:off x="410400" y="4726800"/>
            <a:ext cx="1440000" cy="1440000"/>
          </a:xfrm>
          <a:prstGeom prst="rect">
            <a:avLst/>
          </a:prstGeom>
          <a:solidFill>
            <a:srgbClr val="9999A9"/>
          </a:solidFill>
          <a:ln w="12700">
            <a:noFill/>
          </a:ln>
          <a:effectLst/>
        </p:spPr>
        <p:txBody>
          <a:bodyPr lIns="143925" tIns="71963" rIns="143925" bIns="71963" anchor="t"/>
          <a:lstStyle/>
          <a:p>
            <a:pPr eaLnBrk="0" hangingPunct="0">
              <a:spcBef>
                <a:spcPct val="0"/>
              </a:spcBef>
              <a:buClrTx/>
              <a:buFontTx/>
              <a:buNone/>
            </a:pPr>
            <a:r>
              <a:rPr lang="en-US" sz="1599" dirty="0">
                <a:solidFill>
                  <a:schemeClr val="bg2"/>
                </a:solidFill>
              </a:rPr>
              <a:t>Cras ultricies</a:t>
            </a:r>
          </a:p>
        </p:txBody>
      </p:sp>
      <p:sp>
        <p:nvSpPr>
          <p:cNvPr id="23" name="AutoShape 12"/>
          <p:cNvSpPr>
            <a:spLocks noChangeArrowheads="1"/>
          </p:cNvSpPr>
          <p:nvPr/>
        </p:nvSpPr>
        <p:spPr bwMode="auto">
          <a:xfrm>
            <a:off x="1965600" y="4726800"/>
            <a:ext cx="1440000" cy="1440000"/>
          </a:xfrm>
          <a:prstGeom prst="rect">
            <a:avLst/>
          </a:prstGeom>
          <a:solidFill>
            <a:srgbClr val="9999A9"/>
          </a:solidFill>
          <a:ln w="12700">
            <a:noFill/>
          </a:ln>
          <a:effectLst/>
        </p:spPr>
        <p:txBody>
          <a:bodyPr lIns="143925" tIns="71963" rIns="143925" bIns="71963" anchor="t"/>
          <a:lstStyle/>
          <a:p>
            <a:pPr eaLnBrk="0" hangingPunct="0">
              <a:spcBef>
                <a:spcPct val="0"/>
              </a:spcBef>
              <a:buClrTx/>
              <a:buFontTx/>
              <a:buNone/>
            </a:pPr>
            <a:r>
              <a:rPr lang="en-US" sz="1599" dirty="0">
                <a:solidFill>
                  <a:schemeClr val="bg2"/>
                </a:solidFill>
              </a:rPr>
              <a:t>At vero eos et accusam</a:t>
            </a:r>
          </a:p>
        </p:txBody>
      </p:sp>
      <p:sp>
        <p:nvSpPr>
          <p:cNvPr id="28" name="AutoShape 12"/>
          <p:cNvSpPr>
            <a:spLocks noChangeArrowheads="1"/>
          </p:cNvSpPr>
          <p:nvPr/>
        </p:nvSpPr>
        <p:spPr bwMode="auto">
          <a:xfrm>
            <a:off x="3520800" y="4726800"/>
            <a:ext cx="1440000" cy="1440000"/>
          </a:xfrm>
          <a:prstGeom prst="rect">
            <a:avLst/>
          </a:prstGeom>
          <a:solidFill>
            <a:srgbClr val="9999A9"/>
          </a:solidFill>
          <a:ln w="12700">
            <a:noFill/>
          </a:ln>
          <a:effectLst/>
        </p:spPr>
        <p:txBody>
          <a:bodyPr lIns="143925" tIns="71963" rIns="143925" bIns="71963" anchor="t"/>
          <a:lstStyle/>
          <a:p>
            <a:pPr eaLnBrk="0" hangingPunct="0">
              <a:spcBef>
                <a:spcPct val="0"/>
              </a:spcBef>
              <a:buClrTx/>
              <a:buFontTx/>
              <a:buNone/>
            </a:pPr>
            <a:r>
              <a:rPr lang="en-US" sz="1599" dirty="0">
                <a:solidFill>
                  <a:schemeClr val="bg2"/>
                </a:solidFill>
              </a:rPr>
              <a:t>Duis arcu tortor</a:t>
            </a:r>
          </a:p>
        </p:txBody>
      </p:sp>
      <p:sp>
        <p:nvSpPr>
          <p:cNvPr id="29" name="AutoShape 12"/>
          <p:cNvSpPr>
            <a:spLocks noChangeArrowheads="1"/>
          </p:cNvSpPr>
          <p:nvPr/>
        </p:nvSpPr>
        <p:spPr bwMode="auto">
          <a:xfrm>
            <a:off x="5076000" y="4726800"/>
            <a:ext cx="1440000" cy="1440000"/>
          </a:xfrm>
          <a:prstGeom prst="rect">
            <a:avLst/>
          </a:prstGeom>
          <a:solidFill>
            <a:srgbClr val="9999A9"/>
          </a:solidFill>
          <a:ln w="12700">
            <a:noFill/>
          </a:ln>
          <a:effectLst/>
        </p:spPr>
        <p:txBody>
          <a:bodyPr lIns="143925" tIns="71963" rIns="143925" bIns="71963" anchor="t"/>
          <a:lstStyle/>
          <a:p>
            <a:pPr eaLnBrk="0" hangingPunct="0">
              <a:spcBef>
                <a:spcPct val="0"/>
              </a:spcBef>
              <a:buClrTx/>
              <a:buFontTx/>
              <a:buNone/>
            </a:pPr>
            <a:r>
              <a:rPr lang="en-US" sz="1599" dirty="0">
                <a:solidFill>
                  <a:schemeClr val="bg2"/>
                </a:solidFill>
              </a:rPr>
              <a:t>Cras ultricies</a:t>
            </a:r>
          </a:p>
        </p:txBody>
      </p:sp>
      <p:sp>
        <p:nvSpPr>
          <p:cNvPr id="30" name="AutoShape 12"/>
          <p:cNvSpPr>
            <a:spLocks noChangeArrowheads="1"/>
          </p:cNvSpPr>
          <p:nvPr/>
        </p:nvSpPr>
        <p:spPr bwMode="auto">
          <a:xfrm>
            <a:off x="6631200" y="4726800"/>
            <a:ext cx="1440000" cy="1440000"/>
          </a:xfrm>
          <a:prstGeom prst="rect">
            <a:avLst/>
          </a:prstGeom>
          <a:solidFill>
            <a:srgbClr val="9999A9"/>
          </a:solidFill>
          <a:ln w="12700">
            <a:noFill/>
          </a:ln>
          <a:effectLst/>
        </p:spPr>
        <p:txBody>
          <a:bodyPr lIns="143925" tIns="71963" rIns="143925" bIns="71963" anchor="t"/>
          <a:lstStyle/>
          <a:p>
            <a:pPr eaLnBrk="0" hangingPunct="0">
              <a:spcBef>
                <a:spcPct val="0"/>
              </a:spcBef>
              <a:buClrTx/>
              <a:buFontTx/>
              <a:buNone/>
            </a:pPr>
            <a:r>
              <a:rPr lang="en-US" sz="1599" dirty="0">
                <a:solidFill>
                  <a:schemeClr val="bg2"/>
                </a:solidFill>
              </a:rPr>
              <a:t>At vero eos et accusam</a:t>
            </a:r>
          </a:p>
        </p:txBody>
      </p:sp>
      <p:sp>
        <p:nvSpPr>
          <p:cNvPr id="31" name="AutoShape 12"/>
          <p:cNvSpPr>
            <a:spLocks noChangeArrowheads="1"/>
          </p:cNvSpPr>
          <p:nvPr/>
        </p:nvSpPr>
        <p:spPr bwMode="auto">
          <a:xfrm>
            <a:off x="8186400" y="4726800"/>
            <a:ext cx="1440000" cy="1440000"/>
          </a:xfrm>
          <a:prstGeom prst="rect">
            <a:avLst/>
          </a:prstGeom>
          <a:solidFill>
            <a:srgbClr val="9999A9"/>
          </a:solidFill>
          <a:ln w="12700">
            <a:noFill/>
          </a:ln>
          <a:effectLst/>
        </p:spPr>
        <p:txBody>
          <a:bodyPr lIns="143925" tIns="71963" rIns="143925" bIns="71963" anchor="t"/>
          <a:lstStyle/>
          <a:p>
            <a:pPr eaLnBrk="0" hangingPunct="0">
              <a:spcBef>
                <a:spcPct val="0"/>
              </a:spcBef>
              <a:buClrTx/>
              <a:buFontTx/>
              <a:buNone/>
            </a:pPr>
            <a:r>
              <a:rPr lang="en-US" sz="1599" dirty="0">
                <a:solidFill>
                  <a:schemeClr val="bg2"/>
                </a:solidFill>
              </a:rPr>
              <a:t>Duis arcu tortor</a:t>
            </a:r>
          </a:p>
        </p:txBody>
      </p:sp>
      <p:sp>
        <p:nvSpPr>
          <p:cNvPr id="32" name="AutoShape 15"/>
          <p:cNvSpPr>
            <a:spLocks noChangeArrowheads="1"/>
          </p:cNvSpPr>
          <p:nvPr/>
        </p:nvSpPr>
        <p:spPr bwMode="auto">
          <a:xfrm>
            <a:off x="7898400" y="2045520"/>
            <a:ext cx="1728000" cy="1458000"/>
          </a:xfrm>
          <a:prstGeom prst="rect">
            <a:avLst/>
          </a:prstGeom>
          <a:solidFill>
            <a:srgbClr val="333353"/>
          </a:solidFill>
          <a:ln w="38100">
            <a:noFill/>
            <a:miter lim="800000"/>
            <a:headEnd type="none" w="sm" len="sm"/>
            <a:tailEnd type="none" w="sm" len="sm"/>
          </a:ln>
          <a:effectLst/>
        </p:spPr>
        <p:txBody>
          <a:bodyPr lIns="143925" tIns="71963" rIns="71963" bIns="71963" anchor="t"/>
          <a:lstStyle/>
          <a:p>
            <a:pPr eaLnBrk="0" hangingPunct="0">
              <a:spcBef>
                <a:spcPct val="0"/>
              </a:spcBef>
              <a:buClrTx/>
              <a:buFontTx/>
              <a:buNone/>
            </a:pPr>
            <a:r>
              <a:rPr lang="en-US" sz="1599" dirty="0">
                <a:solidFill>
                  <a:schemeClr val="tx2"/>
                </a:solidFill>
              </a:rPr>
              <a:t>Phasellus nec sem</a:t>
            </a:r>
          </a:p>
        </p:txBody>
      </p:sp>
      <p:cxnSp>
        <p:nvCxnSpPr>
          <p:cNvPr id="3" name="Elbow Connector 2"/>
          <p:cNvCxnSpPr>
            <a:stCxn id="19" idx="2"/>
            <a:endCxn id="18" idx="0"/>
          </p:cNvCxnSpPr>
          <p:nvPr/>
        </p:nvCxnSpPr>
        <p:spPr bwMode="auto">
          <a:xfrm rot="5400000">
            <a:off x="590760" y="4043160"/>
            <a:ext cx="1223280" cy="144000"/>
          </a:xfrm>
          <a:prstGeom prst="bentConnector3">
            <a:avLst/>
          </a:prstGeom>
          <a:solidFill>
            <a:schemeClr val="tx2"/>
          </a:solidFill>
          <a:ln w="12700" cap="flat" cmpd="sng" algn="ctr">
            <a:solidFill>
              <a:srgbClr val="9999A9"/>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 name="Elbow Connector 5"/>
          <p:cNvCxnSpPr>
            <a:stCxn id="19" idx="2"/>
            <a:endCxn id="23" idx="0"/>
          </p:cNvCxnSpPr>
          <p:nvPr/>
        </p:nvCxnSpPr>
        <p:spPr bwMode="auto">
          <a:xfrm rot="16200000" flipH="1">
            <a:off x="1368360" y="3409560"/>
            <a:ext cx="1223280" cy="1411200"/>
          </a:xfrm>
          <a:prstGeom prst="bentConnector3">
            <a:avLst>
              <a:gd name="adj1" fmla="val 50000"/>
            </a:avLst>
          </a:prstGeom>
          <a:solidFill>
            <a:schemeClr val="tx2"/>
          </a:solidFill>
          <a:ln w="12700" cap="flat" cmpd="sng" algn="ctr">
            <a:solidFill>
              <a:srgbClr val="9999A9"/>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Elbow Connector 24"/>
          <p:cNvCxnSpPr>
            <a:stCxn id="19" idx="2"/>
            <a:endCxn id="28" idx="0"/>
          </p:cNvCxnSpPr>
          <p:nvPr/>
        </p:nvCxnSpPr>
        <p:spPr bwMode="auto">
          <a:xfrm rot="16200000" flipH="1">
            <a:off x="2145960" y="2631960"/>
            <a:ext cx="1223280" cy="2966400"/>
          </a:xfrm>
          <a:prstGeom prst="bentConnector3">
            <a:avLst>
              <a:gd name="adj1" fmla="val 50000"/>
            </a:avLst>
          </a:prstGeom>
          <a:solidFill>
            <a:schemeClr val="tx2"/>
          </a:solidFill>
          <a:ln w="12700" cap="flat" cmpd="sng" algn="ctr">
            <a:solidFill>
              <a:srgbClr val="9999A9"/>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Elbow Connector 26"/>
          <p:cNvCxnSpPr>
            <a:stCxn id="19" idx="2"/>
            <a:endCxn id="29" idx="0"/>
          </p:cNvCxnSpPr>
          <p:nvPr/>
        </p:nvCxnSpPr>
        <p:spPr bwMode="auto">
          <a:xfrm rot="16200000" flipH="1">
            <a:off x="2923560" y="1854360"/>
            <a:ext cx="1223280" cy="4521600"/>
          </a:xfrm>
          <a:prstGeom prst="bentConnector3">
            <a:avLst>
              <a:gd name="adj1" fmla="val 50000"/>
            </a:avLst>
          </a:prstGeom>
          <a:solidFill>
            <a:schemeClr val="tx2"/>
          </a:solidFill>
          <a:ln w="12700" cap="flat" cmpd="sng" algn="ctr">
            <a:solidFill>
              <a:srgbClr val="9999A9"/>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Elbow Connector 34"/>
          <p:cNvCxnSpPr>
            <a:stCxn id="19" idx="2"/>
            <a:endCxn id="30" idx="0"/>
          </p:cNvCxnSpPr>
          <p:nvPr/>
        </p:nvCxnSpPr>
        <p:spPr bwMode="auto">
          <a:xfrm rot="16200000" flipH="1">
            <a:off x="3701160" y="1076760"/>
            <a:ext cx="1223280" cy="6076800"/>
          </a:xfrm>
          <a:prstGeom prst="bentConnector3">
            <a:avLst>
              <a:gd name="adj1" fmla="val 50000"/>
            </a:avLst>
          </a:prstGeom>
          <a:solidFill>
            <a:schemeClr val="tx2"/>
          </a:solidFill>
          <a:ln w="12700" cap="flat" cmpd="sng" algn="ctr">
            <a:solidFill>
              <a:srgbClr val="9999A9"/>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Elbow Connector 36"/>
          <p:cNvCxnSpPr>
            <a:stCxn id="19" idx="2"/>
            <a:endCxn id="31" idx="0"/>
          </p:cNvCxnSpPr>
          <p:nvPr/>
        </p:nvCxnSpPr>
        <p:spPr bwMode="auto">
          <a:xfrm rot="16200000" flipH="1">
            <a:off x="4478760" y="299160"/>
            <a:ext cx="1223280" cy="7632000"/>
          </a:xfrm>
          <a:prstGeom prst="bentConnector3">
            <a:avLst>
              <a:gd name="adj1" fmla="val 50000"/>
            </a:avLst>
          </a:prstGeom>
          <a:solidFill>
            <a:schemeClr val="tx2"/>
          </a:solidFill>
          <a:ln w="12700" cap="flat" cmpd="sng" algn="ctr">
            <a:solidFill>
              <a:srgbClr val="9999A9"/>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 name="Footer Placeholder 1">
            <a:extLst>
              <a:ext uri="{FF2B5EF4-FFF2-40B4-BE49-F238E27FC236}">
                <a16:creationId xmlns:a16="http://schemas.microsoft.com/office/drawing/2014/main" id="{7747104C-F019-4A30-91C3-3AC2FE7171C5}"/>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428BA006-68D3-4472-BEFB-22B04D4E1611}"/>
              </a:ext>
            </a:extLst>
          </p:cNvPr>
          <p:cNvSpPr>
            <a:spLocks noGrp="1"/>
          </p:cNvSpPr>
          <p:nvPr>
            <p:ph type="sldNum" sz="quarter" idx="11"/>
          </p:nvPr>
        </p:nvSpPr>
        <p:spPr/>
        <p:txBody>
          <a:bodyPr/>
          <a:lstStyle/>
          <a:p>
            <a:r>
              <a:rPr lang="en-US" dirty="0"/>
              <a:t>Page </a:t>
            </a:r>
            <a:fld id="{15EBE321-CBB1-4E91-BD14-37C8D44326FB}" type="slidenum">
              <a:rPr lang="en-US" smtClean="0"/>
              <a:pPr/>
              <a:t>111</a:t>
            </a:fld>
            <a:endParaRPr lang="en-US" dirty="0"/>
          </a:p>
        </p:txBody>
      </p:sp>
    </p:spTree>
    <p:extLst>
      <p:ext uri="{BB962C8B-B14F-4D97-AF65-F5344CB8AC3E}">
        <p14:creationId xmlns:p14="http://schemas.microsoft.com/office/powerpoint/2010/main" val="1427196750"/>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30916218-0FE7-DA40-850A-7231E8C46B1B}"/>
              </a:ext>
            </a:extLst>
          </p:cNvPr>
          <p:cNvSpPr>
            <a:spLocks noGrp="1"/>
          </p:cNvSpPr>
          <p:nvPr>
            <p:ph type="title"/>
          </p:nvPr>
        </p:nvSpPr>
        <p:spPr>
          <a:xfrm>
            <a:off x="410400" y="478800"/>
            <a:ext cx="9863997" cy="576000"/>
          </a:xfrm>
        </p:spPr>
        <p:txBody>
          <a:bodyPr anchor="t"/>
          <a:lstStyle/>
          <a:p>
            <a:r>
              <a:rPr lang="en-US" dirty="0"/>
              <a:t>Process – ribbon</a:t>
            </a:r>
            <a:endParaRPr lang="de-DE" dirty="0"/>
          </a:p>
        </p:txBody>
      </p:sp>
      <p:sp>
        <p:nvSpPr>
          <p:cNvPr id="10" name="Freeform: Shape 9">
            <a:extLst>
              <a:ext uri="{FF2B5EF4-FFF2-40B4-BE49-F238E27FC236}">
                <a16:creationId xmlns:a16="http://schemas.microsoft.com/office/drawing/2014/main" id="{064B8324-332F-42DF-ACF3-AB58F469C440}"/>
              </a:ext>
            </a:extLst>
          </p:cNvPr>
          <p:cNvSpPr/>
          <p:nvPr/>
        </p:nvSpPr>
        <p:spPr bwMode="auto">
          <a:xfrm>
            <a:off x="410399" y="1414799"/>
            <a:ext cx="3096000" cy="1404000"/>
          </a:xfrm>
          <a:custGeom>
            <a:avLst/>
            <a:gdLst>
              <a:gd name="connsiteX0" fmla="*/ 0 w 3096000"/>
              <a:gd name="connsiteY0" fmla="*/ 0 h 1404000"/>
              <a:gd name="connsiteX1" fmla="*/ 3096000 w 3096000"/>
              <a:gd name="connsiteY1" fmla="*/ 0 h 1404000"/>
              <a:gd name="connsiteX2" fmla="*/ 3096000 w 3096000"/>
              <a:gd name="connsiteY2" fmla="*/ 684001 h 1404000"/>
              <a:gd name="connsiteX3" fmla="*/ 2077201 w 3096000"/>
              <a:gd name="connsiteY3" fmla="*/ 684001 h 1404000"/>
              <a:gd name="connsiteX4" fmla="*/ 2077201 w 3096000"/>
              <a:gd name="connsiteY4" fmla="*/ 1404000 h 1404000"/>
              <a:gd name="connsiteX5" fmla="*/ 0 w 3096000"/>
              <a:gd name="connsiteY5" fmla="*/ 1404000 h 1404000"/>
              <a:gd name="connsiteX0" fmla="*/ 0 w 3096000"/>
              <a:gd name="connsiteY0" fmla="*/ 0 h 1404000"/>
              <a:gd name="connsiteX1" fmla="*/ 3096000 w 3096000"/>
              <a:gd name="connsiteY1" fmla="*/ 0 h 1404000"/>
              <a:gd name="connsiteX2" fmla="*/ 2077201 w 3096000"/>
              <a:gd name="connsiteY2" fmla="*/ 684001 h 1404000"/>
              <a:gd name="connsiteX3" fmla="*/ 2077201 w 3096000"/>
              <a:gd name="connsiteY3" fmla="*/ 1404000 h 1404000"/>
              <a:gd name="connsiteX4" fmla="*/ 0 w 3096000"/>
              <a:gd name="connsiteY4" fmla="*/ 1404000 h 1404000"/>
              <a:gd name="connsiteX5" fmla="*/ 0 w 3096000"/>
              <a:gd name="connsiteY5" fmla="*/ 0 h 14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6000" h="1404000">
                <a:moveTo>
                  <a:pt x="0" y="0"/>
                </a:moveTo>
                <a:lnTo>
                  <a:pt x="3096000" y="0"/>
                </a:lnTo>
                <a:lnTo>
                  <a:pt x="2077201" y="684001"/>
                </a:lnTo>
                <a:lnTo>
                  <a:pt x="2077201" y="1404000"/>
                </a:lnTo>
                <a:lnTo>
                  <a:pt x="0" y="1404000"/>
                </a:lnTo>
                <a:lnTo>
                  <a:pt x="0" y="0"/>
                </a:lnTo>
                <a:close/>
              </a:path>
            </a:pathLst>
          </a:custGeom>
          <a:solidFill>
            <a:srgbClr val="00646E"/>
          </a:solidFill>
          <a:ln w="19050" cap="flat" cmpd="sng" algn="ctr">
            <a:noFill/>
            <a:prstDash val="solid"/>
            <a:round/>
            <a:headEnd type="none" w="med" len="med"/>
            <a:tailEnd type="triangle" w="med" len="lg"/>
          </a:ln>
          <a:effectLst/>
        </p:spPr>
        <p:txBody>
          <a:bodyPr vert="horz" wrap="square" lIns="144000" tIns="72000" rIns="792000" bIns="72000" numCol="1" rtlCol="0" anchor="t" anchorCtr="0" compatLnSpc="1">
            <a:prstTxWarp prst="textNoShape">
              <a:avLst/>
            </a:prstTxWarp>
            <a:noAutofit/>
          </a:bodyPr>
          <a:lstStyle/>
          <a:p>
            <a:pPr lvl="0">
              <a:spcBef>
                <a:spcPct val="0"/>
              </a:spcBef>
              <a:defRPr/>
            </a:pPr>
            <a:r>
              <a:rPr lang="en-US" sz="1600" b="1" kern="0" dirty="0">
                <a:solidFill>
                  <a:srgbClr val="FFFFFF"/>
                </a:solidFill>
              </a:rPr>
              <a:t>Cras ultricies mi eu</a:t>
            </a:r>
          </a:p>
        </p:txBody>
      </p:sp>
      <p:sp>
        <p:nvSpPr>
          <p:cNvPr id="2" name="Fußzeilenplatzhalter 1">
            <a:extLst>
              <a:ext uri="{FF2B5EF4-FFF2-40B4-BE49-F238E27FC236}">
                <a16:creationId xmlns:a16="http://schemas.microsoft.com/office/drawing/2014/main" id="{5D2AAB94-A75C-1B49-A6A8-6CDA946B5169}"/>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3" name="Foliennummernplatzhalter 2">
            <a:extLst>
              <a:ext uri="{FF2B5EF4-FFF2-40B4-BE49-F238E27FC236}">
                <a16:creationId xmlns:a16="http://schemas.microsoft.com/office/drawing/2014/main" id="{25C0DCD9-A966-FE49-B257-A1DD4595195F}"/>
              </a:ext>
            </a:extLst>
          </p:cNvPr>
          <p:cNvSpPr>
            <a:spLocks noGrp="1"/>
          </p:cNvSpPr>
          <p:nvPr>
            <p:ph type="sldNum" sz="quarter" idx="11"/>
          </p:nvPr>
        </p:nvSpPr>
        <p:spPr/>
        <p:txBody>
          <a:bodyPr/>
          <a:lstStyle/>
          <a:p>
            <a:r>
              <a:rPr lang="en-US" dirty="0"/>
              <a:t>Page </a:t>
            </a:r>
            <a:fld id="{15EBE321-CBB1-4E91-BD14-37C8D44326FB}" type="slidenum">
              <a:rPr lang="en-US" smtClean="0"/>
              <a:pPr/>
              <a:t>112</a:t>
            </a:fld>
            <a:endParaRPr lang="en-US" dirty="0"/>
          </a:p>
        </p:txBody>
      </p:sp>
      <p:sp>
        <p:nvSpPr>
          <p:cNvPr id="12" name="Freeform: Shape 11">
            <a:extLst>
              <a:ext uri="{FF2B5EF4-FFF2-40B4-BE49-F238E27FC236}">
                <a16:creationId xmlns:a16="http://schemas.microsoft.com/office/drawing/2014/main" id="{D4702DBB-BBFA-40CC-A8D0-19541282E7D1}"/>
              </a:ext>
            </a:extLst>
          </p:cNvPr>
          <p:cNvSpPr/>
          <p:nvPr/>
        </p:nvSpPr>
        <p:spPr bwMode="auto">
          <a:xfrm>
            <a:off x="2482879" y="2098800"/>
            <a:ext cx="3096000" cy="1404000"/>
          </a:xfrm>
          <a:custGeom>
            <a:avLst/>
            <a:gdLst>
              <a:gd name="connsiteX0" fmla="*/ 0 w 3096000"/>
              <a:gd name="connsiteY0" fmla="*/ 0 h 1404000"/>
              <a:gd name="connsiteX1" fmla="*/ 3096000 w 3096000"/>
              <a:gd name="connsiteY1" fmla="*/ 0 h 1404000"/>
              <a:gd name="connsiteX2" fmla="*/ 3096000 w 3096000"/>
              <a:gd name="connsiteY2" fmla="*/ 684000 h 1404000"/>
              <a:gd name="connsiteX3" fmla="*/ 2074721 w 3096000"/>
              <a:gd name="connsiteY3" fmla="*/ 684000 h 1404000"/>
              <a:gd name="connsiteX4" fmla="*/ 2074721 w 3096000"/>
              <a:gd name="connsiteY4" fmla="*/ 1404000 h 1404000"/>
              <a:gd name="connsiteX5" fmla="*/ 0 w 3096000"/>
              <a:gd name="connsiteY5" fmla="*/ 1404000 h 1404000"/>
              <a:gd name="connsiteX0" fmla="*/ 0 w 3096000"/>
              <a:gd name="connsiteY0" fmla="*/ 0 h 1404000"/>
              <a:gd name="connsiteX1" fmla="*/ 3096000 w 3096000"/>
              <a:gd name="connsiteY1" fmla="*/ 0 h 1404000"/>
              <a:gd name="connsiteX2" fmla="*/ 2074721 w 3096000"/>
              <a:gd name="connsiteY2" fmla="*/ 684000 h 1404000"/>
              <a:gd name="connsiteX3" fmla="*/ 2074721 w 3096000"/>
              <a:gd name="connsiteY3" fmla="*/ 1404000 h 1404000"/>
              <a:gd name="connsiteX4" fmla="*/ 0 w 3096000"/>
              <a:gd name="connsiteY4" fmla="*/ 1404000 h 1404000"/>
              <a:gd name="connsiteX5" fmla="*/ 0 w 3096000"/>
              <a:gd name="connsiteY5" fmla="*/ 0 h 14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6000" h="1404000">
                <a:moveTo>
                  <a:pt x="0" y="0"/>
                </a:moveTo>
                <a:lnTo>
                  <a:pt x="3096000" y="0"/>
                </a:lnTo>
                <a:lnTo>
                  <a:pt x="2074721" y="684000"/>
                </a:lnTo>
                <a:lnTo>
                  <a:pt x="2074721" y="1404000"/>
                </a:lnTo>
                <a:lnTo>
                  <a:pt x="0" y="1404000"/>
                </a:lnTo>
                <a:lnTo>
                  <a:pt x="0" y="0"/>
                </a:lnTo>
                <a:close/>
              </a:path>
            </a:pathLst>
          </a:custGeom>
          <a:solidFill>
            <a:srgbClr val="00AF8E"/>
          </a:solidFill>
          <a:ln w="19050" cap="flat" cmpd="sng" algn="ctr">
            <a:noFill/>
            <a:prstDash val="solid"/>
            <a:round/>
            <a:headEnd type="none" w="med" len="med"/>
            <a:tailEnd type="triangle" w="med" len="lg"/>
          </a:ln>
          <a:effectLst/>
        </p:spPr>
        <p:txBody>
          <a:bodyPr vert="horz" wrap="square" lIns="144000" tIns="72000" rIns="792000" bIns="72000" numCol="1" rtlCol="0" anchor="t" anchorCtr="0" compatLnSpc="1">
            <a:prstTxWarp prst="textNoShape">
              <a:avLst/>
            </a:prstTxWarp>
            <a:noAutofit/>
          </a:bodyPr>
          <a:lstStyle/>
          <a:p>
            <a:pPr lvl="0">
              <a:spcBef>
                <a:spcPct val="0"/>
              </a:spcBef>
              <a:defRPr/>
            </a:pPr>
            <a:r>
              <a:rPr lang="en-US" sz="1600" b="1" kern="0" dirty="0">
                <a:solidFill>
                  <a:schemeClr val="tx2"/>
                </a:solidFill>
              </a:rPr>
              <a:t>At vero eos et accusam</a:t>
            </a:r>
          </a:p>
        </p:txBody>
      </p:sp>
      <p:sp>
        <p:nvSpPr>
          <p:cNvPr id="15" name="Freeform: Shape 14">
            <a:extLst>
              <a:ext uri="{FF2B5EF4-FFF2-40B4-BE49-F238E27FC236}">
                <a16:creationId xmlns:a16="http://schemas.microsoft.com/office/drawing/2014/main" id="{745EB16E-D239-4DB0-9D2C-3D57A51211A8}"/>
              </a:ext>
            </a:extLst>
          </p:cNvPr>
          <p:cNvSpPr/>
          <p:nvPr/>
        </p:nvSpPr>
        <p:spPr bwMode="auto">
          <a:xfrm>
            <a:off x="4555359" y="2782800"/>
            <a:ext cx="3096000" cy="1404000"/>
          </a:xfrm>
          <a:custGeom>
            <a:avLst/>
            <a:gdLst>
              <a:gd name="connsiteX0" fmla="*/ 0 w 3096000"/>
              <a:gd name="connsiteY0" fmla="*/ 0 h 1404000"/>
              <a:gd name="connsiteX1" fmla="*/ 3096000 w 3096000"/>
              <a:gd name="connsiteY1" fmla="*/ 0 h 1404000"/>
              <a:gd name="connsiteX2" fmla="*/ 3096000 w 3096000"/>
              <a:gd name="connsiteY2" fmla="*/ 684000 h 1404000"/>
              <a:gd name="connsiteX3" fmla="*/ 2068641 w 3096000"/>
              <a:gd name="connsiteY3" fmla="*/ 684000 h 1404000"/>
              <a:gd name="connsiteX4" fmla="*/ 2068641 w 3096000"/>
              <a:gd name="connsiteY4" fmla="*/ 1404000 h 1404000"/>
              <a:gd name="connsiteX5" fmla="*/ 0 w 3096000"/>
              <a:gd name="connsiteY5" fmla="*/ 1404000 h 1404000"/>
              <a:gd name="connsiteX0" fmla="*/ 0 w 3096000"/>
              <a:gd name="connsiteY0" fmla="*/ 0 h 1404000"/>
              <a:gd name="connsiteX1" fmla="*/ 3096000 w 3096000"/>
              <a:gd name="connsiteY1" fmla="*/ 0 h 1404000"/>
              <a:gd name="connsiteX2" fmla="*/ 2068641 w 3096000"/>
              <a:gd name="connsiteY2" fmla="*/ 684000 h 1404000"/>
              <a:gd name="connsiteX3" fmla="*/ 2068641 w 3096000"/>
              <a:gd name="connsiteY3" fmla="*/ 1404000 h 1404000"/>
              <a:gd name="connsiteX4" fmla="*/ 0 w 3096000"/>
              <a:gd name="connsiteY4" fmla="*/ 1404000 h 1404000"/>
              <a:gd name="connsiteX5" fmla="*/ 0 w 3096000"/>
              <a:gd name="connsiteY5" fmla="*/ 0 h 14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6000" h="1404000">
                <a:moveTo>
                  <a:pt x="0" y="0"/>
                </a:moveTo>
                <a:lnTo>
                  <a:pt x="3096000" y="0"/>
                </a:lnTo>
                <a:lnTo>
                  <a:pt x="2068641" y="684000"/>
                </a:lnTo>
                <a:lnTo>
                  <a:pt x="2068641" y="1404000"/>
                </a:lnTo>
                <a:lnTo>
                  <a:pt x="0" y="1404000"/>
                </a:lnTo>
                <a:lnTo>
                  <a:pt x="0" y="0"/>
                </a:lnTo>
                <a:close/>
              </a:path>
            </a:pathLst>
          </a:custGeom>
          <a:solidFill>
            <a:srgbClr val="00FFB9"/>
          </a:solidFill>
          <a:ln w="19050" cap="flat" cmpd="sng" algn="ctr">
            <a:noFill/>
            <a:prstDash val="solid"/>
            <a:round/>
            <a:headEnd type="none" w="med" len="med"/>
            <a:tailEnd type="triangle" w="med" len="lg"/>
          </a:ln>
          <a:effectLst/>
        </p:spPr>
        <p:txBody>
          <a:bodyPr vert="horz" wrap="square" lIns="144000" tIns="72000" rIns="792000" bIns="72000" numCol="1" rtlCol="0" anchor="t" anchorCtr="0" compatLnSpc="1">
            <a:prstTxWarp prst="textNoShape">
              <a:avLst/>
            </a:prstTxWarp>
            <a:noAutofit/>
          </a:bodyPr>
          <a:lstStyle/>
          <a:p>
            <a:pPr lvl="0">
              <a:spcBef>
                <a:spcPct val="0"/>
              </a:spcBef>
              <a:defRPr/>
            </a:pPr>
            <a:r>
              <a:rPr lang="en-US" sz="1600" b="1" kern="0" dirty="0">
                <a:solidFill>
                  <a:schemeClr val="tx2"/>
                </a:solidFill>
              </a:rPr>
              <a:t>Duis arcu tortor</a:t>
            </a:r>
          </a:p>
        </p:txBody>
      </p:sp>
      <p:sp>
        <p:nvSpPr>
          <p:cNvPr id="17" name="Freeform: Shape 16">
            <a:extLst>
              <a:ext uri="{FF2B5EF4-FFF2-40B4-BE49-F238E27FC236}">
                <a16:creationId xmlns:a16="http://schemas.microsoft.com/office/drawing/2014/main" id="{1D9EA2EB-8820-4B14-8DCF-0D8C4B718A67}"/>
              </a:ext>
            </a:extLst>
          </p:cNvPr>
          <p:cNvSpPr/>
          <p:nvPr/>
        </p:nvSpPr>
        <p:spPr bwMode="auto">
          <a:xfrm>
            <a:off x="6621406" y="3466800"/>
            <a:ext cx="3096000" cy="1404000"/>
          </a:xfrm>
          <a:custGeom>
            <a:avLst/>
            <a:gdLst>
              <a:gd name="connsiteX0" fmla="*/ 0 w 3096000"/>
              <a:gd name="connsiteY0" fmla="*/ 0 h 1404000"/>
              <a:gd name="connsiteX1" fmla="*/ 3096000 w 3096000"/>
              <a:gd name="connsiteY1" fmla="*/ 0 h 1404000"/>
              <a:gd name="connsiteX2" fmla="*/ 3096000 w 3096000"/>
              <a:gd name="connsiteY2" fmla="*/ 683999 h 1404000"/>
              <a:gd name="connsiteX3" fmla="*/ 2072594 w 3096000"/>
              <a:gd name="connsiteY3" fmla="*/ 683999 h 1404000"/>
              <a:gd name="connsiteX4" fmla="*/ 2072594 w 3096000"/>
              <a:gd name="connsiteY4" fmla="*/ 1404000 h 1404000"/>
              <a:gd name="connsiteX5" fmla="*/ 0 w 3096000"/>
              <a:gd name="connsiteY5" fmla="*/ 1404000 h 1404000"/>
              <a:gd name="connsiteX0" fmla="*/ 0 w 3096000"/>
              <a:gd name="connsiteY0" fmla="*/ 0 h 1404000"/>
              <a:gd name="connsiteX1" fmla="*/ 3096000 w 3096000"/>
              <a:gd name="connsiteY1" fmla="*/ 0 h 1404000"/>
              <a:gd name="connsiteX2" fmla="*/ 2072594 w 3096000"/>
              <a:gd name="connsiteY2" fmla="*/ 683999 h 1404000"/>
              <a:gd name="connsiteX3" fmla="*/ 2072594 w 3096000"/>
              <a:gd name="connsiteY3" fmla="*/ 1404000 h 1404000"/>
              <a:gd name="connsiteX4" fmla="*/ 0 w 3096000"/>
              <a:gd name="connsiteY4" fmla="*/ 1404000 h 1404000"/>
              <a:gd name="connsiteX5" fmla="*/ 0 w 3096000"/>
              <a:gd name="connsiteY5" fmla="*/ 0 h 14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6000" h="1404000">
                <a:moveTo>
                  <a:pt x="0" y="0"/>
                </a:moveTo>
                <a:lnTo>
                  <a:pt x="3096000" y="0"/>
                </a:lnTo>
                <a:lnTo>
                  <a:pt x="2072594" y="683999"/>
                </a:lnTo>
                <a:lnTo>
                  <a:pt x="2072594" y="1404000"/>
                </a:lnTo>
                <a:lnTo>
                  <a:pt x="0" y="1404000"/>
                </a:lnTo>
                <a:lnTo>
                  <a:pt x="0" y="0"/>
                </a:lnTo>
                <a:close/>
              </a:path>
            </a:pathLst>
          </a:custGeom>
          <a:solidFill>
            <a:srgbClr val="9999A9"/>
          </a:solidFill>
          <a:ln w="19050" cap="flat" cmpd="sng" algn="ctr">
            <a:noFill/>
            <a:prstDash val="solid"/>
            <a:round/>
            <a:headEnd type="none" w="med" len="med"/>
            <a:tailEnd type="triangle" w="med" len="lg"/>
          </a:ln>
          <a:effectLst/>
        </p:spPr>
        <p:txBody>
          <a:bodyPr vert="horz" wrap="square" lIns="144000" tIns="72000" rIns="792000" bIns="72000" numCol="1" rtlCol="0" anchor="t" anchorCtr="0" compatLnSpc="1">
            <a:prstTxWarp prst="textNoShape">
              <a:avLst/>
            </a:prstTxWarp>
            <a:noAutofit/>
          </a:bodyPr>
          <a:lstStyle/>
          <a:p>
            <a:pPr lvl="0">
              <a:spcBef>
                <a:spcPct val="0"/>
              </a:spcBef>
              <a:defRPr/>
            </a:pPr>
            <a:r>
              <a:rPr lang="en-US" sz="1600" b="1" kern="0" dirty="0">
                <a:solidFill>
                  <a:schemeClr val="bg1"/>
                </a:solidFill>
              </a:rPr>
              <a:t>Consetetur sadipscing elitr, seddiam nonumy</a:t>
            </a:r>
          </a:p>
        </p:txBody>
      </p:sp>
      <p:sp>
        <p:nvSpPr>
          <p:cNvPr id="18" name="Richtungspfeil 15">
            <a:extLst>
              <a:ext uri="{FF2B5EF4-FFF2-40B4-BE49-F238E27FC236}">
                <a16:creationId xmlns:a16="http://schemas.microsoft.com/office/drawing/2014/main" id="{69910F7D-EDD2-4F2A-9E11-554407277E52}"/>
              </a:ext>
            </a:extLst>
          </p:cNvPr>
          <p:cNvSpPr/>
          <p:nvPr/>
        </p:nvSpPr>
        <p:spPr bwMode="auto">
          <a:xfrm>
            <a:off x="8690400" y="4150799"/>
            <a:ext cx="3096000" cy="1404000"/>
          </a:xfrm>
          <a:prstGeom prst="homePlate">
            <a:avLst>
              <a:gd name="adj" fmla="val 37306"/>
            </a:avLst>
          </a:prstGeom>
          <a:solidFill>
            <a:srgbClr val="333353"/>
          </a:solidFill>
          <a:ln w="19050" cap="flat" cmpd="sng" algn="ctr">
            <a:noFill/>
            <a:prstDash val="solid"/>
            <a:round/>
            <a:headEnd type="none" w="med" len="med"/>
            <a:tailEnd type="triangle" w="med" len="lg"/>
          </a:ln>
          <a:effectLst/>
        </p:spPr>
        <p:txBody>
          <a:bodyPr vert="horz" wrap="square" lIns="144000" tIns="72000" rIns="288000" bIns="72000" numCol="1" rtlCol="0" anchor="t" anchorCtr="0" compatLnSpc="1">
            <a:prstTxWarp prst="textNoShape">
              <a:avLst/>
            </a:prstTxWarp>
            <a:noAutofit/>
          </a:bodyPr>
          <a:lstStyle/>
          <a:p>
            <a:pPr lvl="0">
              <a:spcBef>
                <a:spcPct val="0"/>
              </a:spcBef>
              <a:defRPr/>
            </a:pPr>
            <a:r>
              <a:rPr lang="en-US" sz="1600" b="1" kern="0" dirty="0">
                <a:solidFill>
                  <a:schemeClr val="bg1"/>
                </a:solidFill>
              </a:rPr>
              <a:t>Cras ultricies</a:t>
            </a:r>
            <a:br>
              <a:rPr lang="en-US" sz="1600" b="1" kern="0" dirty="0">
                <a:solidFill>
                  <a:schemeClr val="bg1"/>
                </a:solidFill>
              </a:rPr>
            </a:br>
            <a:r>
              <a:rPr lang="en-US" sz="1600" b="1" kern="0" dirty="0">
                <a:solidFill>
                  <a:schemeClr val="bg1"/>
                </a:solidFill>
              </a:rPr>
              <a:t>mi eu</a:t>
            </a:r>
          </a:p>
        </p:txBody>
      </p:sp>
    </p:spTree>
    <p:extLst>
      <p:ext uri="{BB962C8B-B14F-4D97-AF65-F5344CB8AC3E}">
        <p14:creationId xmlns:p14="http://schemas.microsoft.com/office/powerpoint/2010/main" val="398306173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30916218-0FE7-DA40-850A-7231E8C46B1B}"/>
              </a:ext>
            </a:extLst>
          </p:cNvPr>
          <p:cNvSpPr>
            <a:spLocks noGrp="1"/>
          </p:cNvSpPr>
          <p:nvPr>
            <p:ph type="title"/>
          </p:nvPr>
        </p:nvSpPr>
        <p:spPr/>
        <p:txBody>
          <a:bodyPr anchor="t"/>
          <a:lstStyle/>
          <a:p>
            <a:r>
              <a:rPr lang="en-US" dirty="0"/>
              <a:t>Process – ribbon</a:t>
            </a:r>
            <a:endParaRPr lang="de-DE" dirty="0"/>
          </a:p>
        </p:txBody>
      </p:sp>
      <p:sp>
        <p:nvSpPr>
          <p:cNvPr id="2" name="Fußzeilenplatzhalter 1">
            <a:extLst>
              <a:ext uri="{FF2B5EF4-FFF2-40B4-BE49-F238E27FC236}">
                <a16:creationId xmlns:a16="http://schemas.microsoft.com/office/drawing/2014/main" id="{5D2AAB94-A75C-1B49-A6A8-6CDA946B5169}"/>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3" name="Foliennummernplatzhalter 2">
            <a:extLst>
              <a:ext uri="{FF2B5EF4-FFF2-40B4-BE49-F238E27FC236}">
                <a16:creationId xmlns:a16="http://schemas.microsoft.com/office/drawing/2014/main" id="{25C0DCD9-A966-FE49-B257-A1DD4595195F}"/>
              </a:ext>
            </a:extLst>
          </p:cNvPr>
          <p:cNvSpPr>
            <a:spLocks noGrp="1"/>
          </p:cNvSpPr>
          <p:nvPr>
            <p:ph type="sldNum" sz="quarter" idx="11"/>
          </p:nvPr>
        </p:nvSpPr>
        <p:spPr/>
        <p:txBody>
          <a:bodyPr/>
          <a:lstStyle/>
          <a:p>
            <a:r>
              <a:rPr lang="en-US" dirty="0"/>
              <a:t>Page </a:t>
            </a:r>
            <a:fld id="{15EBE321-CBB1-4E91-BD14-37C8D44326FB}" type="slidenum">
              <a:rPr lang="en-US" smtClean="0"/>
              <a:pPr/>
              <a:t>113</a:t>
            </a:fld>
            <a:endParaRPr lang="en-US" dirty="0"/>
          </a:p>
        </p:txBody>
      </p:sp>
      <p:sp>
        <p:nvSpPr>
          <p:cNvPr id="10" name="Freeform: Shape 9">
            <a:extLst>
              <a:ext uri="{FF2B5EF4-FFF2-40B4-BE49-F238E27FC236}">
                <a16:creationId xmlns:a16="http://schemas.microsoft.com/office/drawing/2014/main" id="{FA9611DC-7289-4D9C-A4DD-0AEFC1FC43C1}"/>
              </a:ext>
            </a:extLst>
          </p:cNvPr>
          <p:cNvSpPr/>
          <p:nvPr/>
        </p:nvSpPr>
        <p:spPr bwMode="auto">
          <a:xfrm>
            <a:off x="410399" y="1414799"/>
            <a:ext cx="3096000" cy="1404000"/>
          </a:xfrm>
          <a:custGeom>
            <a:avLst/>
            <a:gdLst>
              <a:gd name="connsiteX0" fmla="*/ 0 w 3096000"/>
              <a:gd name="connsiteY0" fmla="*/ 0 h 1404000"/>
              <a:gd name="connsiteX1" fmla="*/ 3096000 w 3096000"/>
              <a:gd name="connsiteY1" fmla="*/ 0 h 1404000"/>
              <a:gd name="connsiteX2" fmla="*/ 3096000 w 3096000"/>
              <a:gd name="connsiteY2" fmla="*/ 684001 h 1404000"/>
              <a:gd name="connsiteX3" fmla="*/ 2077201 w 3096000"/>
              <a:gd name="connsiteY3" fmla="*/ 684001 h 1404000"/>
              <a:gd name="connsiteX4" fmla="*/ 2077201 w 3096000"/>
              <a:gd name="connsiteY4" fmla="*/ 1404000 h 1404000"/>
              <a:gd name="connsiteX5" fmla="*/ 0 w 3096000"/>
              <a:gd name="connsiteY5" fmla="*/ 1404000 h 1404000"/>
              <a:gd name="connsiteX0" fmla="*/ 0 w 3096000"/>
              <a:gd name="connsiteY0" fmla="*/ 0 h 1404000"/>
              <a:gd name="connsiteX1" fmla="*/ 3096000 w 3096000"/>
              <a:gd name="connsiteY1" fmla="*/ 0 h 1404000"/>
              <a:gd name="connsiteX2" fmla="*/ 2077201 w 3096000"/>
              <a:gd name="connsiteY2" fmla="*/ 684001 h 1404000"/>
              <a:gd name="connsiteX3" fmla="*/ 2077201 w 3096000"/>
              <a:gd name="connsiteY3" fmla="*/ 1404000 h 1404000"/>
              <a:gd name="connsiteX4" fmla="*/ 0 w 3096000"/>
              <a:gd name="connsiteY4" fmla="*/ 1404000 h 1404000"/>
              <a:gd name="connsiteX5" fmla="*/ 0 w 3096000"/>
              <a:gd name="connsiteY5" fmla="*/ 0 h 14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6000" h="1404000">
                <a:moveTo>
                  <a:pt x="0" y="0"/>
                </a:moveTo>
                <a:lnTo>
                  <a:pt x="3096000" y="0"/>
                </a:lnTo>
                <a:lnTo>
                  <a:pt x="2077201" y="684001"/>
                </a:lnTo>
                <a:lnTo>
                  <a:pt x="2077201" y="1404000"/>
                </a:lnTo>
                <a:lnTo>
                  <a:pt x="0" y="1404000"/>
                </a:lnTo>
                <a:lnTo>
                  <a:pt x="0" y="0"/>
                </a:lnTo>
                <a:close/>
              </a:path>
            </a:pathLst>
          </a:custGeom>
          <a:solidFill>
            <a:srgbClr val="00646E"/>
          </a:solidFill>
          <a:ln w="19050" cap="flat" cmpd="sng" algn="ctr">
            <a:noFill/>
            <a:prstDash val="solid"/>
            <a:round/>
            <a:headEnd type="none" w="med" len="med"/>
            <a:tailEnd type="triangle" w="med" len="lg"/>
          </a:ln>
          <a:effectLst/>
        </p:spPr>
        <p:txBody>
          <a:bodyPr vert="horz" wrap="square" lIns="144000" tIns="72000" rIns="792000" bIns="72000" numCol="1" rtlCol="0" anchor="t" anchorCtr="0" compatLnSpc="1">
            <a:prstTxWarp prst="textNoShape">
              <a:avLst/>
            </a:prstTxWarp>
            <a:noAutofit/>
          </a:bodyPr>
          <a:lstStyle/>
          <a:p>
            <a:pPr lvl="0">
              <a:spcBef>
                <a:spcPct val="0"/>
              </a:spcBef>
              <a:defRPr/>
            </a:pPr>
            <a:r>
              <a:rPr lang="en-US" sz="1600" b="1" kern="0" dirty="0">
                <a:solidFill>
                  <a:srgbClr val="FFFFFF"/>
                </a:solidFill>
              </a:rPr>
              <a:t>Cras ultricies mi eu</a:t>
            </a:r>
          </a:p>
        </p:txBody>
      </p:sp>
      <p:sp>
        <p:nvSpPr>
          <p:cNvPr id="11" name="Freeform: Shape 10">
            <a:extLst>
              <a:ext uri="{FF2B5EF4-FFF2-40B4-BE49-F238E27FC236}">
                <a16:creationId xmlns:a16="http://schemas.microsoft.com/office/drawing/2014/main" id="{E9397CC6-985B-40E9-A5BD-BF294F2F0C65}"/>
              </a:ext>
            </a:extLst>
          </p:cNvPr>
          <p:cNvSpPr/>
          <p:nvPr/>
        </p:nvSpPr>
        <p:spPr bwMode="auto">
          <a:xfrm>
            <a:off x="2482879" y="2098800"/>
            <a:ext cx="3096000" cy="1404000"/>
          </a:xfrm>
          <a:custGeom>
            <a:avLst/>
            <a:gdLst>
              <a:gd name="connsiteX0" fmla="*/ 0 w 3096000"/>
              <a:gd name="connsiteY0" fmla="*/ 0 h 1404000"/>
              <a:gd name="connsiteX1" fmla="*/ 3096000 w 3096000"/>
              <a:gd name="connsiteY1" fmla="*/ 0 h 1404000"/>
              <a:gd name="connsiteX2" fmla="*/ 3096000 w 3096000"/>
              <a:gd name="connsiteY2" fmla="*/ 684000 h 1404000"/>
              <a:gd name="connsiteX3" fmla="*/ 2074721 w 3096000"/>
              <a:gd name="connsiteY3" fmla="*/ 684000 h 1404000"/>
              <a:gd name="connsiteX4" fmla="*/ 2074721 w 3096000"/>
              <a:gd name="connsiteY4" fmla="*/ 1404000 h 1404000"/>
              <a:gd name="connsiteX5" fmla="*/ 0 w 3096000"/>
              <a:gd name="connsiteY5" fmla="*/ 1404000 h 1404000"/>
              <a:gd name="connsiteX0" fmla="*/ 0 w 3096000"/>
              <a:gd name="connsiteY0" fmla="*/ 0 h 1404000"/>
              <a:gd name="connsiteX1" fmla="*/ 3096000 w 3096000"/>
              <a:gd name="connsiteY1" fmla="*/ 0 h 1404000"/>
              <a:gd name="connsiteX2" fmla="*/ 2074721 w 3096000"/>
              <a:gd name="connsiteY2" fmla="*/ 684000 h 1404000"/>
              <a:gd name="connsiteX3" fmla="*/ 2074721 w 3096000"/>
              <a:gd name="connsiteY3" fmla="*/ 1404000 h 1404000"/>
              <a:gd name="connsiteX4" fmla="*/ 0 w 3096000"/>
              <a:gd name="connsiteY4" fmla="*/ 1404000 h 1404000"/>
              <a:gd name="connsiteX5" fmla="*/ 0 w 3096000"/>
              <a:gd name="connsiteY5" fmla="*/ 0 h 14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6000" h="1404000">
                <a:moveTo>
                  <a:pt x="0" y="0"/>
                </a:moveTo>
                <a:lnTo>
                  <a:pt x="3096000" y="0"/>
                </a:lnTo>
                <a:lnTo>
                  <a:pt x="2074721" y="684000"/>
                </a:lnTo>
                <a:lnTo>
                  <a:pt x="2074721" y="1404000"/>
                </a:lnTo>
                <a:lnTo>
                  <a:pt x="0" y="1404000"/>
                </a:lnTo>
                <a:lnTo>
                  <a:pt x="0" y="0"/>
                </a:lnTo>
                <a:close/>
              </a:path>
            </a:pathLst>
          </a:custGeom>
          <a:solidFill>
            <a:srgbClr val="00AF8E"/>
          </a:solidFill>
          <a:ln w="19050" cap="flat" cmpd="sng" algn="ctr">
            <a:noFill/>
            <a:prstDash val="solid"/>
            <a:round/>
            <a:headEnd type="none" w="med" len="med"/>
            <a:tailEnd type="triangle" w="med" len="lg"/>
          </a:ln>
          <a:effectLst/>
        </p:spPr>
        <p:txBody>
          <a:bodyPr vert="horz" wrap="square" lIns="144000" tIns="72000" rIns="792000" bIns="72000" numCol="1" rtlCol="0" anchor="t" anchorCtr="0" compatLnSpc="1">
            <a:prstTxWarp prst="textNoShape">
              <a:avLst/>
            </a:prstTxWarp>
            <a:noAutofit/>
          </a:bodyPr>
          <a:lstStyle/>
          <a:p>
            <a:pPr lvl="0">
              <a:spcBef>
                <a:spcPct val="0"/>
              </a:spcBef>
              <a:defRPr/>
            </a:pPr>
            <a:r>
              <a:rPr lang="en-US" sz="1600" b="1" kern="0" dirty="0">
                <a:solidFill>
                  <a:schemeClr val="bg2"/>
                </a:solidFill>
              </a:rPr>
              <a:t>At vero eos et accusam</a:t>
            </a:r>
          </a:p>
        </p:txBody>
      </p:sp>
      <p:sp>
        <p:nvSpPr>
          <p:cNvPr id="12" name="Freeform: Shape 11">
            <a:extLst>
              <a:ext uri="{FF2B5EF4-FFF2-40B4-BE49-F238E27FC236}">
                <a16:creationId xmlns:a16="http://schemas.microsoft.com/office/drawing/2014/main" id="{A2CC7C7B-FCFA-4FA1-BE51-B4FC86493564}"/>
              </a:ext>
            </a:extLst>
          </p:cNvPr>
          <p:cNvSpPr/>
          <p:nvPr/>
        </p:nvSpPr>
        <p:spPr bwMode="auto">
          <a:xfrm>
            <a:off x="4555359" y="2782800"/>
            <a:ext cx="3096000" cy="1404000"/>
          </a:xfrm>
          <a:custGeom>
            <a:avLst/>
            <a:gdLst>
              <a:gd name="connsiteX0" fmla="*/ 0 w 3096000"/>
              <a:gd name="connsiteY0" fmla="*/ 0 h 1404000"/>
              <a:gd name="connsiteX1" fmla="*/ 3096000 w 3096000"/>
              <a:gd name="connsiteY1" fmla="*/ 0 h 1404000"/>
              <a:gd name="connsiteX2" fmla="*/ 3096000 w 3096000"/>
              <a:gd name="connsiteY2" fmla="*/ 684000 h 1404000"/>
              <a:gd name="connsiteX3" fmla="*/ 2068641 w 3096000"/>
              <a:gd name="connsiteY3" fmla="*/ 684000 h 1404000"/>
              <a:gd name="connsiteX4" fmla="*/ 2068641 w 3096000"/>
              <a:gd name="connsiteY4" fmla="*/ 1404000 h 1404000"/>
              <a:gd name="connsiteX5" fmla="*/ 0 w 3096000"/>
              <a:gd name="connsiteY5" fmla="*/ 1404000 h 1404000"/>
              <a:gd name="connsiteX0" fmla="*/ 0 w 3096000"/>
              <a:gd name="connsiteY0" fmla="*/ 0 h 1404000"/>
              <a:gd name="connsiteX1" fmla="*/ 3096000 w 3096000"/>
              <a:gd name="connsiteY1" fmla="*/ 0 h 1404000"/>
              <a:gd name="connsiteX2" fmla="*/ 2068641 w 3096000"/>
              <a:gd name="connsiteY2" fmla="*/ 684000 h 1404000"/>
              <a:gd name="connsiteX3" fmla="*/ 2068641 w 3096000"/>
              <a:gd name="connsiteY3" fmla="*/ 1404000 h 1404000"/>
              <a:gd name="connsiteX4" fmla="*/ 0 w 3096000"/>
              <a:gd name="connsiteY4" fmla="*/ 1404000 h 1404000"/>
              <a:gd name="connsiteX5" fmla="*/ 0 w 3096000"/>
              <a:gd name="connsiteY5" fmla="*/ 0 h 14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6000" h="1404000">
                <a:moveTo>
                  <a:pt x="0" y="0"/>
                </a:moveTo>
                <a:lnTo>
                  <a:pt x="3096000" y="0"/>
                </a:lnTo>
                <a:lnTo>
                  <a:pt x="2068641" y="684000"/>
                </a:lnTo>
                <a:lnTo>
                  <a:pt x="2068641" y="1404000"/>
                </a:lnTo>
                <a:lnTo>
                  <a:pt x="0" y="1404000"/>
                </a:lnTo>
                <a:lnTo>
                  <a:pt x="0" y="0"/>
                </a:lnTo>
                <a:close/>
              </a:path>
            </a:pathLst>
          </a:custGeom>
          <a:solidFill>
            <a:srgbClr val="00FFB9"/>
          </a:solidFill>
          <a:ln w="19050" cap="flat" cmpd="sng" algn="ctr">
            <a:noFill/>
            <a:prstDash val="solid"/>
            <a:round/>
            <a:headEnd type="none" w="med" len="med"/>
            <a:tailEnd type="triangle" w="med" len="lg"/>
          </a:ln>
          <a:effectLst/>
        </p:spPr>
        <p:txBody>
          <a:bodyPr vert="horz" wrap="square" lIns="144000" tIns="72000" rIns="792000" bIns="72000" numCol="1" rtlCol="0" anchor="t" anchorCtr="0" compatLnSpc="1">
            <a:prstTxWarp prst="textNoShape">
              <a:avLst/>
            </a:prstTxWarp>
            <a:noAutofit/>
          </a:bodyPr>
          <a:lstStyle/>
          <a:p>
            <a:pPr lvl="0">
              <a:spcBef>
                <a:spcPct val="0"/>
              </a:spcBef>
              <a:defRPr/>
            </a:pPr>
            <a:r>
              <a:rPr lang="en-US" sz="1600" b="1" kern="0" dirty="0">
                <a:solidFill>
                  <a:schemeClr val="bg2"/>
                </a:solidFill>
              </a:rPr>
              <a:t>Duis arcu tortor</a:t>
            </a:r>
          </a:p>
        </p:txBody>
      </p:sp>
      <p:sp>
        <p:nvSpPr>
          <p:cNvPr id="13" name="Freeform: Shape 12">
            <a:extLst>
              <a:ext uri="{FF2B5EF4-FFF2-40B4-BE49-F238E27FC236}">
                <a16:creationId xmlns:a16="http://schemas.microsoft.com/office/drawing/2014/main" id="{521516BC-5A43-41D6-AEFD-C28D34DFA595}"/>
              </a:ext>
            </a:extLst>
          </p:cNvPr>
          <p:cNvSpPr/>
          <p:nvPr/>
        </p:nvSpPr>
        <p:spPr bwMode="auto">
          <a:xfrm>
            <a:off x="6621406" y="3466800"/>
            <a:ext cx="3096000" cy="1404000"/>
          </a:xfrm>
          <a:custGeom>
            <a:avLst/>
            <a:gdLst>
              <a:gd name="connsiteX0" fmla="*/ 0 w 3096000"/>
              <a:gd name="connsiteY0" fmla="*/ 0 h 1404000"/>
              <a:gd name="connsiteX1" fmla="*/ 3096000 w 3096000"/>
              <a:gd name="connsiteY1" fmla="*/ 0 h 1404000"/>
              <a:gd name="connsiteX2" fmla="*/ 3096000 w 3096000"/>
              <a:gd name="connsiteY2" fmla="*/ 683999 h 1404000"/>
              <a:gd name="connsiteX3" fmla="*/ 2072594 w 3096000"/>
              <a:gd name="connsiteY3" fmla="*/ 683999 h 1404000"/>
              <a:gd name="connsiteX4" fmla="*/ 2072594 w 3096000"/>
              <a:gd name="connsiteY4" fmla="*/ 1404000 h 1404000"/>
              <a:gd name="connsiteX5" fmla="*/ 0 w 3096000"/>
              <a:gd name="connsiteY5" fmla="*/ 1404000 h 1404000"/>
              <a:gd name="connsiteX0" fmla="*/ 0 w 3096000"/>
              <a:gd name="connsiteY0" fmla="*/ 0 h 1404000"/>
              <a:gd name="connsiteX1" fmla="*/ 3096000 w 3096000"/>
              <a:gd name="connsiteY1" fmla="*/ 0 h 1404000"/>
              <a:gd name="connsiteX2" fmla="*/ 2072594 w 3096000"/>
              <a:gd name="connsiteY2" fmla="*/ 683999 h 1404000"/>
              <a:gd name="connsiteX3" fmla="*/ 2072594 w 3096000"/>
              <a:gd name="connsiteY3" fmla="*/ 1404000 h 1404000"/>
              <a:gd name="connsiteX4" fmla="*/ 0 w 3096000"/>
              <a:gd name="connsiteY4" fmla="*/ 1404000 h 1404000"/>
              <a:gd name="connsiteX5" fmla="*/ 0 w 3096000"/>
              <a:gd name="connsiteY5" fmla="*/ 0 h 14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6000" h="1404000">
                <a:moveTo>
                  <a:pt x="0" y="0"/>
                </a:moveTo>
                <a:lnTo>
                  <a:pt x="3096000" y="0"/>
                </a:lnTo>
                <a:lnTo>
                  <a:pt x="2072594" y="683999"/>
                </a:lnTo>
                <a:lnTo>
                  <a:pt x="2072594" y="1404000"/>
                </a:lnTo>
                <a:lnTo>
                  <a:pt x="0" y="1404000"/>
                </a:lnTo>
                <a:lnTo>
                  <a:pt x="0" y="0"/>
                </a:lnTo>
                <a:close/>
              </a:path>
            </a:pathLst>
          </a:custGeom>
          <a:solidFill>
            <a:srgbClr val="333353"/>
          </a:solidFill>
          <a:ln w="19050" cap="flat" cmpd="sng" algn="ctr">
            <a:noFill/>
            <a:prstDash val="solid"/>
            <a:round/>
            <a:headEnd type="none" w="med" len="med"/>
            <a:tailEnd type="triangle" w="med" len="lg"/>
          </a:ln>
          <a:effectLst/>
        </p:spPr>
        <p:txBody>
          <a:bodyPr vert="horz" wrap="square" lIns="144000" tIns="72000" rIns="792000" bIns="72000" numCol="1" rtlCol="0" anchor="t" anchorCtr="0" compatLnSpc="1">
            <a:prstTxWarp prst="textNoShape">
              <a:avLst/>
            </a:prstTxWarp>
            <a:noAutofit/>
          </a:bodyPr>
          <a:lstStyle/>
          <a:p>
            <a:pPr lvl="0">
              <a:spcBef>
                <a:spcPct val="0"/>
              </a:spcBef>
              <a:defRPr/>
            </a:pPr>
            <a:r>
              <a:rPr lang="en-US" sz="1600" b="1" kern="0" dirty="0"/>
              <a:t>Consetetur sadipscing elitr, seddiam nonumy</a:t>
            </a:r>
          </a:p>
        </p:txBody>
      </p:sp>
      <p:sp>
        <p:nvSpPr>
          <p:cNvPr id="15" name="Richtungspfeil 15">
            <a:extLst>
              <a:ext uri="{FF2B5EF4-FFF2-40B4-BE49-F238E27FC236}">
                <a16:creationId xmlns:a16="http://schemas.microsoft.com/office/drawing/2014/main" id="{6B5DDDD9-5FD7-496F-8494-A136DD238F42}"/>
              </a:ext>
            </a:extLst>
          </p:cNvPr>
          <p:cNvSpPr/>
          <p:nvPr/>
        </p:nvSpPr>
        <p:spPr bwMode="auto">
          <a:xfrm>
            <a:off x="8690400" y="4150799"/>
            <a:ext cx="3096000" cy="1404000"/>
          </a:xfrm>
          <a:prstGeom prst="homePlate">
            <a:avLst>
              <a:gd name="adj" fmla="val 37306"/>
            </a:avLst>
          </a:prstGeom>
          <a:solidFill>
            <a:srgbClr val="9999A9"/>
          </a:solidFill>
          <a:ln w="19050" cap="flat" cmpd="sng" algn="ctr">
            <a:noFill/>
            <a:prstDash val="solid"/>
            <a:round/>
            <a:headEnd type="none" w="med" len="med"/>
            <a:tailEnd type="triangle" w="med" len="lg"/>
          </a:ln>
          <a:effectLst/>
        </p:spPr>
        <p:txBody>
          <a:bodyPr vert="horz" wrap="square" lIns="144000" tIns="72000" rIns="288000" bIns="72000" numCol="1" rtlCol="0" anchor="t" anchorCtr="0" compatLnSpc="1">
            <a:prstTxWarp prst="textNoShape">
              <a:avLst/>
            </a:prstTxWarp>
            <a:noAutofit/>
          </a:bodyPr>
          <a:lstStyle/>
          <a:p>
            <a:pPr lvl="0">
              <a:spcBef>
                <a:spcPct val="0"/>
              </a:spcBef>
              <a:defRPr/>
            </a:pPr>
            <a:r>
              <a:rPr lang="en-US" sz="1600" b="1" kern="0" dirty="0"/>
              <a:t>Cras ultricies</a:t>
            </a:r>
            <a:br>
              <a:rPr lang="en-US" sz="1600" b="1" kern="0" dirty="0"/>
            </a:br>
            <a:r>
              <a:rPr lang="en-US" sz="1600" b="1" kern="0" dirty="0"/>
              <a:t>mi eu</a:t>
            </a:r>
          </a:p>
        </p:txBody>
      </p:sp>
    </p:spTree>
    <p:extLst>
      <p:ext uri="{BB962C8B-B14F-4D97-AF65-F5344CB8AC3E}">
        <p14:creationId xmlns:p14="http://schemas.microsoft.com/office/powerpoint/2010/main" val="4086358345"/>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3" imgW="360" imgH="360" progId="">
                  <p:embed/>
                </p:oleObj>
              </mc:Choice>
              <mc:Fallback>
                <p:oleObj name="think-cell Folie" r:id="rId3" imgW="360" imgH="360" progId="">
                  <p:embed/>
                  <p:pic>
                    <p:nvPicPr>
                      <p:cNvPr id="3" name="Objek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en-US" dirty="0"/>
              <a:t>Process – three steps (arrows)</a:t>
            </a:r>
          </a:p>
        </p:txBody>
      </p:sp>
      <p:sp>
        <p:nvSpPr>
          <p:cNvPr id="34" name="Eingebuchteter Richtungspfeil 33">
            <a:extLst>
              <a:ext uri="{FF2B5EF4-FFF2-40B4-BE49-F238E27FC236}">
                <a16:creationId xmlns:a16="http://schemas.microsoft.com/office/drawing/2014/main" id="{328B6335-135A-DB4A-BEF5-467B5477039C}"/>
              </a:ext>
            </a:extLst>
          </p:cNvPr>
          <p:cNvSpPr/>
          <p:nvPr/>
        </p:nvSpPr>
        <p:spPr bwMode="auto">
          <a:xfrm>
            <a:off x="7826400" y="2498400"/>
            <a:ext cx="3960000" cy="1007475"/>
          </a:xfrm>
          <a:prstGeom prst="chevron">
            <a:avLst>
              <a:gd name="adj" fmla="val 37379"/>
            </a:avLst>
          </a:prstGeom>
          <a:solidFill>
            <a:srgbClr val="00FFB9"/>
          </a:solidFill>
          <a:ln>
            <a:noFill/>
          </a:ln>
          <a:effectLst/>
        </p:spPr>
        <p:txBody>
          <a:bodyPr wrap="square" lIns="179906" tIns="0" rIns="179906" bIns="0" numCol="1" spcCol="72000" rtlCol="0" anchor="ctr" anchorCtr="0">
            <a:noAutofit/>
          </a:bodyPr>
          <a:lstStyle/>
          <a:p>
            <a:pPr lvl="0">
              <a:spcBef>
                <a:spcPct val="0"/>
              </a:spcBef>
            </a:pPr>
            <a:endParaRPr lang="en-US" sz="1599" b="1" kern="1400" dirty="0">
              <a:solidFill>
                <a:schemeClr val="bg1"/>
              </a:solidFill>
              <a:ea typeface="ＭＳ Ｐゴシック" pitchFamily="34" charset="-128"/>
              <a:cs typeface="Arial" charset="0"/>
            </a:endParaRPr>
          </a:p>
        </p:txBody>
      </p:sp>
      <p:sp>
        <p:nvSpPr>
          <p:cNvPr id="18" name="Eingebuchteter Richtungspfeil 17">
            <a:extLst>
              <a:ext uri="{FF2B5EF4-FFF2-40B4-BE49-F238E27FC236}">
                <a16:creationId xmlns:a16="http://schemas.microsoft.com/office/drawing/2014/main" id="{B8855D84-AEA1-7841-9A27-90E0F33350E7}"/>
              </a:ext>
            </a:extLst>
          </p:cNvPr>
          <p:cNvSpPr/>
          <p:nvPr/>
        </p:nvSpPr>
        <p:spPr bwMode="auto">
          <a:xfrm>
            <a:off x="4082400" y="2498400"/>
            <a:ext cx="3960000" cy="1007475"/>
          </a:xfrm>
          <a:prstGeom prst="chevron">
            <a:avLst>
              <a:gd name="adj" fmla="val 37584"/>
            </a:avLst>
          </a:prstGeom>
          <a:solidFill>
            <a:srgbClr val="00AF8E"/>
          </a:solidFill>
          <a:ln>
            <a:noFill/>
          </a:ln>
          <a:effectLst/>
        </p:spPr>
        <p:txBody>
          <a:bodyPr wrap="square" lIns="179906" tIns="0" rIns="179906" bIns="0" numCol="1" spcCol="72000" rtlCol="0" anchor="ctr" anchorCtr="0">
            <a:noAutofit/>
          </a:bodyPr>
          <a:lstStyle/>
          <a:p>
            <a:pPr lvl="0">
              <a:spcBef>
                <a:spcPct val="0"/>
              </a:spcBef>
            </a:pPr>
            <a:endParaRPr lang="en-US" sz="1599" b="1" kern="1400" dirty="0">
              <a:solidFill>
                <a:schemeClr val="bg1"/>
              </a:solidFill>
              <a:ea typeface="ＭＳ Ｐゴシック" pitchFamily="34" charset="-128"/>
              <a:cs typeface="Arial" charset="0"/>
            </a:endParaRPr>
          </a:p>
        </p:txBody>
      </p:sp>
      <p:sp>
        <p:nvSpPr>
          <p:cNvPr id="15" name="Richtungspfeil 14">
            <a:extLst>
              <a:ext uri="{FF2B5EF4-FFF2-40B4-BE49-F238E27FC236}">
                <a16:creationId xmlns:a16="http://schemas.microsoft.com/office/drawing/2014/main" id="{83B8E878-E814-884D-A5F6-AC2C5E720E1D}"/>
              </a:ext>
            </a:extLst>
          </p:cNvPr>
          <p:cNvSpPr/>
          <p:nvPr/>
        </p:nvSpPr>
        <p:spPr bwMode="auto">
          <a:xfrm>
            <a:off x="411163" y="2498400"/>
            <a:ext cx="3888000" cy="1007475"/>
          </a:xfrm>
          <a:prstGeom prst="homePlate">
            <a:avLst>
              <a:gd name="adj" fmla="val 37199"/>
            </a:avLst>
          </a:prstGeom>
          <a:solidFill>
            <a:srgbClr val="00646E"/>
          </a:solidFill>
          <a:ln>
            <a:noFill/>
          </a:ln>
          <a:effectLst/>
        </p:spPr>
        <p:txBody>
          <a:bodyPr wrap="square" lIns="179906" tIns="0" rIns="179906" bIns="0" numCol="1" spcCol="72000" rtlCol="0" anchor="ctr" anchorCtr="0">
            <a:noAutofit/>
          </a:bodyPr>
          <a:lstStyle/>
          <a:p>
            <a:pPr lvl="0">
              <a:spcBef>
                <a:spcPct val="0"/>
              </a:spcBef>
            </a:pPr>
            <a:endParaRPr lang="en-US" sz="1599" b="1" kern="1400" dirty="0">
              <a:solidFill>
                <a:schemeClr val="bg1"/>
              </a:solidFill>
              <a:ea typeface="ＭＳ Ｐゴシック" pitchFamily="34" charset="-128"/>
              <a:cs typeface="Arial" charset="0"/>
            </a:endParaRPr>
          </a:p>
        </p:txBody>
      </p:sp>
      <p:sp>
        <p:nvSpPr>
          <p:cNvPr id="22" name="Rechteck 21">
            <a:extLst>
              <a:ext uri="{FF2B5EF4-FFF2-40B4-BE49-F238E27FC236}">
                <a16:creationId xmlns:a16="http://schemas.microsoft.com/office/drawing/2014/main" id="{0CA5DC18-A890-B842-ACDE-76C0C130EBF3}"/>
              </a:ext>
            </a:extLst>
          </p:cNvPr>
          <p:cNvSpPr>
            <a:spLocks/>
          </p:cNvSpPr>
          <p:nvPr/>
        </p:nvSpPr>
        <p:spPr bwMode="gray">
          <a:xfrm>
            <a:off x="411163" y="2498399"/>
            <a:ext cx="3598862" cy="3312000"/>
          </a:xfrm>
          <a:prstGeom prst="rect">
            <a:avLst/>
          </a:prstGeom>
          <a:noFill/>
          <a:ln>
            <a:noFill/>
          </a:ln>
          <a:effectLst/>
        </p:spPr>
        <p:txBody>
          <a:bodyPr wrap="square" lIns="828000" tIns="288000" rIns="0" bIns="0" rtlCol="0" anchor="t">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nSpc>
                <a:spcPct val="90000"/>
              </a:lnSpc>
              <a:spcBef>
                <a:spcPts val="900"/>
              </a:spcBef>
              <a:spcAft>
                <a:spcPts val="2150"/>
              </a:spcAft>
              <a:buClr>
                <a:schemeClr val="accent1"/>
              </a:buClr>
            </a:pPr>
            <a:r>
              <a:rPr lang="en-US" sz="1999" b="1" dirty="0">
                <a:solidFill>
                  <a:schemeClr val="bg1"/>
                </a:solidFill>
                <a:latin typeface="+mn-lt"/>
              </a:rPr>
              <a:t>Cras ultricies </a:t>
            </a:r>
            <a:br>
              <a:rPr lang="en-US" sz="1999" b="1" dirty="0">
                <a:solidFill>
                  <a:schemeClr val="bg1"/>
                </a:solidFill>
                <a:latin typeface="+mn-lt"/>
              </a:rPr>
            </a:br>
            <a:r>
              <a:rPr lang="en-US" sz="1999" b="1" dirty="0">
                <a:solidFill>
                  <a:schemeClr val="bg1"/>
                </a:solidFill>
                <a:latin typeface="+mn-lt"/>
              </a:rPr>
              <a:t>mi eustra</a:t>
            </a:r>
          </a:p>
          <a:p>
            <a:pPr marL="180885" indent="-180885">
              <a:lnSpc>
                <a:spcPct val="90000"/>
              </a:lnSpc>
              <a:spcBef>
                <a:spcPts val="900"/>
              </a:spcBef>
              <a:buClr>
                <a:schemeClr val="accent1"/>
              </a:buClr>
              <a:buSzPct val="100000"/>
              <a:buFont typeface="Arial" panose="020B0604020202020204" pitchFamily="34" charset="0"/>
              <a:buChar char="•"/>
            </a:pPr>
            <a:r>
              <a:rPr lang="en-US" sz="1599" dirty="0">
                <a:solidFill>
                  <a:srgbClr val="66667E"/>
                </a:solidFill>
                <a:latin typeface="+mn-lt"/>
              </a:rPr>
              <a:t>Duis arcu, suscipit eget</a:t>
            </a:r>
          </a:p>
          <a:p>
            <a:pPr marL="180885" indent="-180885">
              <a:lnSpc>
                <a:spcPct val="90000"/>
              </a:lnSpc>
              <a:spcBef>
                <a:spcPts val="600"/>
              </a:spcBef>
              <a:buClr>
                <a:schemeClr val="accent1"/>
              </a:buClr>
              <a:buSzPct val="100000"/>
              <a:buFont typeface="Arial" panose="020B0604020202020204" pitchFamily="34" charset="0"/>
              <a:buChar char="•"/>
            </a:pPr>
            <a:r>
              <a:rPr lang="en-US" sz="1599" dirty="0">
                <a:solidFill>
                  <a:srgbClr val="66667E"/>
                </a:solidFill>
                <a:latin typeface="+mn-lt"/>
              </a:rPr>
              <a:t>Phasellus nec sem</a:t>
            </a:r>
          </a:p>
          <a:p>
            <a:pPr marL="180885" indent="-180885">
              <a:lnSpc>
                <a:spcPct val="90000"/>
              </a:lnSpc>
              <a:spcBef>
                <a:spcPts val="600"/>
              </a:spcBef>
              <a:buClr>
                <a:schemeClr val="accent1"/>
              </a:buClr>
              <a:buSzPct val="100000"/>
              <a:buFont typeface="Arial" panose="020B0604020202020204" pitchFamily="34" charset="0"/>
              <a:buChar char="•"/>
            </a:pPr>
            <a:r>
              <a:rPr lang="en-US" sz="1599" dirty="0">
                <a:solidFill>
                  <a:srgbClr val="66667E"/>
                </a:solidFill>
                <a:latin typeface="+mn-lt"/>
              </a:rPr>
              <a:t>At vero eos et accusam</a:t>
            </a:r>
          </a:p>
        </p:txBody>
      </p:sp>
      <p:sp>
        <p:nvSpPr>
          <p:cNvPr id="16" name="Freeform 118">
            <a:extLst>
              <a:ext uri="{FF2B5EF4-FFF2-40B4-BE49-F238E27FC236}">
                <a16:creationId xmlns:a16="http://schemas.microsoft.com/office/drawing/2014/main" id="{55518276-19F8-F34B-98C8-2567A95DB361}"/>
              </a:ext>
            </a:extLst>
          </p:cNvPr>
          <p:cNvSpPr>
            <a:spLocks noChangeAspect="1"/>
          </p:cNvSpPr>
          <p:nvPr/>
        </p:nvSpPr>
        <p:spPr bwMode="gray">
          <a:xfrm>
            <a:off x="634796" y="2732137"/>
            <a:ext cx="311028" cy="540000"/>
          </a:xfrm>
          <a:custGeom>
            <a:avLst/>
            <a:gdLst>
              <a:gd name="T0" fmla="*/ 717 w 1501"/>
              <a:gd name="T1" fmla="*/ 2270 h 2606"/>
              <a:gd name="T2" fmla="*/ 717 w 1501"/>
              <a:gd name="T3" fmla="*/ 485 h 2606"/>
              <a:gd name="T4" fmla="*/ 202 w 1501"/>
              <a:gd name="T5" fmla="*/ 814 h 2606"/>
              <a:gd name="T6" fmla="*/ 0 w 1501"/>
              <a:gd name="T7" fmla="*/ 463 h 2606"/>
              <a:gd name="T8" fmla="*/ 762 w 1501"/>
              <a:gd name="T9" fmla="*/ 0 h 2606"/>
              <a:gd name="T10" fmla="*/ 1158 w 1501"/>
              <a:gd name="T11" fmla="*/ 0 h 2606"/>
              <a:gd name="T12" fmla="*/ 1158 w 1501"/>
              <a:gd name="T13" fmla="*/ 2270 h 2606"/>
              <a:gd name="T14" fmla="*/ 1501 w 1501"/>
              <a:gd name="T15" fmla="*/ 2285 h 2606"/>
              <a:gd name="T16" fmla="*/ 1501 w 1501"/>
              <a:gd name="T17" fmla="*/ 2606 h 2606"/>
              <a:gd name="T18" fmla="*/ 381 w 1501"/>
              <a:gd name="T19" fmla="*/ 2606 h 2606"/>
              <a:gd name="T20" fmla="*/ 381 w 1501"/>
              <a:gd name="T21" fmla="*/ 2285 h 2606"/>
              <a:gd name="T22" fmla="*/ 717 w 1501"/>
              <a:gd name="T23" fmla="*/ 2270 h 2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01" h="2606">
                <a:moveTo>
                  <a:pt x="717" y="2270"/>
                </a:moveTo>
                <a:lnTo>
                  <a:pt x="717" y="485"/>
                </a:lnTo>
                <a:lnTo>
                  <a:pt x="202" y="814"/>
                </a:lnTo>
                <a:lnTo>
                  <a:pt x="0" y="463"/>
                </a:lnTo>
                <a:lnTo>
                  <a:pt x="762" y="0"/>
                </a:lnTo>
                <a:lnTo>
                  <a:pt x="1158" y="0"/>
                </a:lnTo>
                <a:lnTo>
                  <a:pt x="1158" y="2270"/>
                </a:lnTo>
                <a:lnTo>
                  <a:pt x="1501" y="2285"/>
                </a:lnTo>
                <a:lnTo>
                  <a:pt x="1501" y="2606"/>
                </a:lnTo>
                <a:lnTo>
                  <a:pt x="381" y="2606"/>
                </a:lnTo>
                <a:lnTo>
                  <a:pt x="381" y="2285"/>
                </a:lnTo>
                <a:lnTo>
                  <a:pt x="717" y="2270"/>
                </a:lnTo>
                <a:close/>
              </a:path>
            </a:pathLst>
          </a:custGeom>
          <a:solidFill>
            <a:srgbClr val="FFFFFF"/>
          </a:solidFill>
          <a:ln>
            <a:noFill/>
          </a:ln>
        </p:spPr>
        <p:txBody>
          <a:bodyPr vert="horz" wrap="square" lIns="91392" tIns="45696" rIns="91392" bIns="45696"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endParaRPr lang="en-US" sz="1799" dirty="0">
              <a:solidFill>
                <a:srgbClr val="FFFFFF"/>
              </a:solidFill>
              <a:latin typeface="+mn-lt"/>
            </a:endParaRPr>
          </a:p>
        </p:txBody>
      </p:sp>
      <p:sp>
        <p:nvSpPr>
          <p:cNvPr id="19" name="Rechteck 18">
            <a:extLst>
              <a:ext uri="{FF2B5EF4-FFF2-40B4-BE49-F238E27FC236}">
                <a16:creationId xmlns:a16="http://schemas.microsoft.com/office/drawing/2014/main" id="{8E9541C5-F125-BA4D-99EB-89BA31FCD73D}"/>
              </a:ext>
            </a:extLst>
          </p:cNvPr>
          <p:cNvSpPr>
            <a:spLocks/>
          </p:cNvSpPr>
          <p:nvPr/>
        </p:nvSpPr>
        <p:spPr bwMode="gray">
          <a:xfrm>
            <a:off x="4298951" y="2498400"/>
            <a:ext cx="3600000" cy="3312000"/>
          </a:xfrm>
          <a:prstGeom prst="rect">
            <a:avLst/>
          </a:prstGeom>
          <a:noFill/>
          <a:ln>
            <a:noFill/>
          </a:ln>
          <a:effectLst/>
        </p:spPr>
        <p:txBody>
          <a:bodyPr wrap="square" lIns="900000" tIns="288000" rIns="360000" bIns="0" rtlCol="0" anchor="t">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nSpc>
                <a:spcPct val="90000"/>
              </a:lnSpc>
              <a:spcBef>
                <a:spcPts val="900"/>
              </a:spcBef>
              <a:spcAft>
                <a:spcPts val="2150"/>
              </a:spcAft>
              <a:buClr>
                <a:schemeClr val="accent1"/>
              </a:buClr>
            </a:pPr>
            <a:r>
              <a:rPr lang="en-US" sz="1999" b="1" dirty="0">
                <a:solidFill>
                  <a:schemeClr val="bg1"/>
                </a:solidFill>
                <a:latin typeface="+mn-lt"/>
              </a:rPr>
              <a:t>Duis arcu </a:t>
            </a:r>
            <a:br>
              <a:rPr lang="en-US" sz="1999" b="1" dirty="0">
                <a:solidFill>
                  <a:schemeClr val="bg1"/>
                </a:solidFill>
                <a:latin typeface="+mn-lt"/>
              </a:rPr>
            </a:br>
            <a:r>
              <a:rPr lang="en-US" sz="1999" b="1" dirty="0">
                <a:solidFill>
                  <a:schemeClr val="bg1"/>
                </a:solidFill>
                <a:latin typeface="+mn-lt"/>
              </a:rPr>
              <a:t>tortor</a:t>
            </a:r>
          </a:p>
          <a:p>
            <a:pPr marL="180885" indent="-180885">
              <a:lnSpc>
                <a:spcPct val="90000"/>
              </a:lnSpc>
              <a:spcBef>
                <a:spcPts val="900"/>
              </a:spcBef>
              <a:buClr>
                <a:schemeClr val="accent1"/>
              </a:buClr>
              <a:buSzPct val="100000"/>
              <a:buFont typeface="Arial" panose="020B0604020202020204" pitchFamily="34" charset="0"/>
              <a:buChar char="•"/>
            </a:pPr>
            <a:r>
              <a:rPr lang="en-US" sz="1599" dirty="0">
                <a:solidFill>
                  <a:srgbClr val="66667E"/>
                </a:solidFill>
                <a:latin typeface="+mn-lt"/>
              </a:rPr>
              <a:t>Cras ultricies mi eu</a:t>
            </a:r>
          </a:p>
          <a:p>
            <a:pPr marL="180885" indent="-180885">
              <a:lnSpc>
                <a:spcPct val="90000"/>
              </a:lnSpc>
              <a:spcBef>
                <a:spcPts val="600"/>
              </a:spcBef>
              <a:buClr>
                <a:schemeClr val="accent1"/>
              </a:buClr>
              <a:buSzPct val="100000"/>
              <a:buFont typeface="Arial" panose="020B0604020202020204" pitchFamily="34" charset="0"/>
              <a:buChar char="•"/>
            </a:pPr>
            <a:r>
              <a:rPr lang="en-US" sz="1599" dirty="0">
                <a:solidFill>
                  <a:srgbClr val="66667E"/>
                </a:solidFill>
                <a:latin typeface="+mn-lt"/>
              </a:rPr>
              <a:t>Duis arcu tortor, suscipit eget</a:t>
            </a:r>
          </a:p>
          <a:p>
            <a:pPr marL="180885" indent="-180885">
              <a:lnSpc>
                <a:spcPct val="90000"/>
              </a:lnSpc>
              <a:spcBef>
                <a:spcPts val="600"/>
              </a:spcBef>
              <a:buClr>
                <a:schemeClr val="accent1"/>
              </a:buClr>
              <a:buSzPct val="100000"/>
              <a:buFont typeface="Arial" panose="020B0604020202020204" pitchFamily="34" charset="0"/>
              <a:buChar char="•"/>
            </a:pPr>
            <a:r>
              <a:rPr lang="en-US" sz="1599" dirty="0">
                <a:solidFill>
                  <a:srgbClr val="66667E"/>
                </a:solidFill>
                <a:latin typeface="+mn-lt"/>
              </a:rPr>
              <a:t>Phasellus nec sem</a:t>
            </a:r>
          </a:p>
        </p:txBody>
      </p:sp>
      <p:sp>
        <p:nvSpPr>
          <p:cNvPr id="33" name="Freeform 119">
            <a:extLst>
              <a:ext uri="{FF2B5EF4-FFF2-40B4-BE49-F238E27FC236}">
                <a16:creationId xmlns:a16="http://schemas.microsoft.com/office/drawing/2014/main" id="{BE2A9E55-E620-1D49-A9CD-B861AA67D804}"/>
              </a:ext>
            </a:extLst>
          </p:cNvPr>
          <p:cNvSpPr>
            <a:spLocks noChangeAspect="1"/>
          </p:cNvSpPr>
          <p:nvPr/>
        </p:nvSpPr>
        <p:spPr bwMode="gray">
          <a:xfrm>
            <a:off x="4598649" y="2732137"/>
            <a:ext cx="346693" cy="540000"/>
          </a:xfrm>
          <a:custGeom>
            <a:avLst/>
            <a:gdLst>
              <a:gd name="T0" fmla="*/ 0 w 228"/>
              <a:gd name="T1" fmla="*/ 355 h 355"/>
              <a:gd name="T2" fmla="*/ 0 w 228"/>
              <a:gd name="T3" fmla="*/ 307 h 355"/>
              <a:gd name="T4" fmla="*/ 105 w 228"/>
              <a:gd name="T5" fmla="*/ 203 h 355"/>
              <a:gd name="T6" fmla="*/ 153 w 228"/>
              <a:gd name="T7" fmla="*/ 141 h 355"/>
              <a:gd name="T8" fmla="*/ 164 w 228"/>
              <a:gd name="T9" fmla="*/ 100 h 355"/>
              <a:gd name="T10" fmla="*/ 148 w 228"/>
              <a:gd name="T11" fmla="*/ 64 h 355"/>
              <a:gd name="T12" fmla="*/ 104 w 228"/>
              <a:gd name="T13" fmla="*/ 49 h 355"/>
              <a:gd name="T14" fmla="*/ 20 w 228"/>
              <a:gd name="T15" fmla="*/ 75 h 355"/>
              <a:gd name="T16" fmla="*/ 5 w 228"/>
              <a:gd name="T17" fmla="*/ 24 h 355"/>
              <a:gd name="T18" fmla="*/ 111 w 228"/>
              <a:gd name="T19" fmla="*/ 0 h 355"/>
              <a:gd name="T20" fmla="*/ 193 w 228"/>
              <a:gd name="T21" fmla="*/ 23 h 355"/>
              <a:gd name="T22" fmla="*/ 225 w 228"/>
              <a:gd name="T23" fmla="*/ 97 h 355"/>
              <a:gd name="T24" fmla="*/ 195 w 228"/>
              <a:gd name="T25" fmla="*/ 183 h 355"/>
              <a:gd name="T26" fmla="*/ 80 w 228"/>
              <a:gd name="T27" fmla="*/ 306 h 355"/>
              <a:gd name="T28" fmla="*/ 228 w 228"/>
              <a:gd name="T29" fmla="*/ 306 h 355"/>
              <a:gd name="T30" fmla="*/ 228 w 228"/>
              <a:gd name="T31" fmla="*/ 355 h 355"/>
              <a:gd name="T32" fmla="*/ 0 w 228"/>
              <a:gd name="T33" fmla="*/ 355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8" h="355">
                <a:moveTo>
                  <a:pt x="0" y="355"/>
                </a:moveTo>
                <a:cubicBezTo>
                  <a:pt x="0" y="307"/>
                  <a:pt x="0" y="307"/>
                  <a:pt x="0" y="307"/>
                </a:cubicBezTo>
                <a:cubicBezTo>
                  <a:pt x="46" y="264"/>
                  <a:pt x="81" y="230"/>
                  <a:pt x="105" y="203"/>
                </a:cubicBezTo>
                <a:cubicBezTo>
                  <a:pt x="130" y="176"/>
                  <a:pt x="146" y="155"/>
                  <a:pt x="153" y="141"/>
                </a:cubicBezTo>
                <a:cubicBezTo>
                  <a:pt x="160" y="126"/>
                  <a:pt x="164" y="113"/>
                  <a:pt x="164" y="100"/>
                </a:cubicBezTo>
                <a:cubicBezTo>
                  <a:pt x="164" y="85"/>
                  <a:pt x="159" y="73"/>
                  <a:pt x="148" y="64"/>
                </a:cubicBezTo>
                <a:cubicBezTo>
                  <a:pt x="137" y="54"/>
                  <a:pt x="122" y="49"/>
                  <a:pt x="104" y="49"/>
                </a:cubicBezTo>
                <a:cubicBezTo>
                  <a:pt x="80" y="49"/>
                  <a:pt x="52" y="58"/>
                  <a:pt x="20" y="75"/>
                </a:cubicBezTo>
                <a:cubicBezTo>
                  <a:pt x="5" y="24"/>
                  <a:pt x="5" y="24"/>
                  <a:pt x="5" y="24"/>
                </a:cubicBezTo>
                <a:cubicBezTo>
                  <a:pt x="40" y="8"/>
                  <a:pt x="75" y="0"/>
                  <a:pt x="111" y="0"/>
                </a:cubicBezTo>
                <a:cubicBezTo>
                  <a:pt x="145" y="0"/>
                  <a:pt x="173" y="8"/>
                  <a:pt x="193" y="23"/>
                </a:cubicBezTo>
                <a:cubicBezTo>
                  <a:pt x="215" y="40"/>
                  <a:pt x="225" y="65"/>
                  <a:pt x="225" y="97"/>
                </a:cubicBezTo>
                <a:cubicBezTo>
                  <a:pt x="225" y="125"/>
                  <a:pt x="215" y="154"/>
                  <a:pt x="195" y="183"/>
                </a:cubicBezTo>
                <a:cubicBezTo>
                  <a:pt x="173" y="215"/>
                  <a:pt x="134" y="255"/>
                  <a:pt x="80" y="306"/>
                </a:cubicBezTo>
                <a:cubicBezTo>
                  <a:pt x="228" y="306"/>
                  <a:pt x="228" y="306"/>
                  <a:pt x="228" y="306"/>
                </a:cubicBezTo>
                <a:cubicBezTo>
                  <a:pt x="228" y="355"/>
                  <a:pt x="228" y="355"/>
                  <a:pt x="228" y="355"/>
                </a:cubicBezTo>
                <a:lnTo>
                  <a:pt x="0" y="355"/>
                </a:lnTo>
                <a:close/>
              </a:path>
            </a:pathLst>
          </a:custGeom>
          <a:solidFill>
            <a:schemeClr val="bg1"/>
          </a:solidFill>
          <a:ln>
            <a:noFill/>
          </a:ln>
        </p:spPr>
        <p:txBody>
          <a:bodyPr vert="horz" wrap="square" lIns="91392" tIns="45696" rIns="91392" bIns="45696"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endParaRPr lang="en-US" sz="1799" dirty="0">
              <a:solidFill>
                <a:schemeClr val="tx2"/>
              </a:solidFill>
              <a:latin typeface="+mn-lt"/>
            </a:endParaRPr>
          </a:p>
        </p:txBody>
      </p:sp>
      <p:sp>
        <p:nvSpPr>
          <p:cNvPr id="35" name="Rechteck 34">
            <a:extLst>
              <a:ext uri="{FF2B5EF4-FFF2-40B4-BE49-F238E27FC236}">
                <a16:creationId xmlns:a16="http://schemas.microsoft.com/office/drawing/2014/main" id="{F3480BAC-2270-334D-A9B3-6D3C22DE82AF}"/>
              </a:ext>
            </a:extLst>
          </p:cNvPr>
          <p:cNvSpPr>
            <a:spLocks/>
          </p:cNvSpPr>
          <p:nvPr/>
        </p:nvSpPr>
        <p:spPr bwMode="gray">
          <a:xfrm>
            <a:off x="8198438" y="2498400"/>
            <a:ext cx="3600000" cy="3312000"/>
          </a:xfrm>
          <a:prstGeom prst="rect">
            <a:avLst/>
          </a:prstGeom>
          <a:noFill/>
          <a:ln>
            <a:noFill/>
          </a:ln>
          <a:effectLst/>
        </p:spPr>
        <p:txBody>
          <a:bodyPr wrap="square" lIns="720000" tIns="288000" rIns="360000" bIns="0" rtlCol="0" anchor="t">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nSpc>
                <a:spcPct val="90000"/>
              </a:lnSpc>
              <a:spcBef>
                <a:spcPts val="900"/>
              </a:spcBef>
              <a:spcAft>
                <a:spcPts val="2150"/>
              </a:spcAft>
              <a:buClr>
                <a:schemeClr val="accent1"/>
              </a:buClr>
            </a:pPr>
            <a:r>
              <a:rPr lang="en-US" sz="1999" b="1" dirty="0">
                <a:solidFill>
                  <a:schemeClr val="tx2"/>
                </a:solidFill>
                <a:latin typeface="+mn-lt"/>
              </a:rPr>
              <a:t>Phasellus nec semen dolore</a:t>
            </a:r>
          </a:p>
          <a:p>
            <a:pPr marL="180885" indent="-180885">
              <a:lnSpc>
                <a:spcPct val="90000"/>
              </a:lnSpc>
              <a:spcBef>
                <a:spcPts val="900"/>
              </a:spcBef>
              <a:buClr>
                <a:schemeClr val="accent1"/>
              </a:buClr>
              <a:buSzPct val="100000"/>
              <a:buFont typeface="Arial" panose="020B0604020202020204" pitchFamily="34" charset="0"/>
              <a:buChar char="•"/>
            </a:pPr>
            <a:r>
              <a:rPr lang="en-US" sz="1599" dirty="0">
                <a:solidFill>
                  <a:srgbClr val="66667E"/>
                </a:solidFill>
                <a:latin typeface="+mn-lt"/>
              </a:rPr>
              <a:t>Consetetur sadipscing elitr, seddiam nonumy</a:t>
            </a:r>
          </a:p>
          <a:p>
            <a:pPr marL="180885" indent="-180885">
              <a:lnSpc>
                <a:spcPct val="90000"/>
              </a:lnSpc>
              <a:spcBef>
                <a:spcPts val="600"/>
              </a:spcBef>
              <a:buClr>
                <a:schemeClr val="accent1"/>
              </a:buClr>
              <a:buSzPct val="100000"/>
              <a:buFont typeface="Arial" panose="020B0604020202020204" pitchFamily="34" charset="0"/>
              <a:buChar char="•"/>
            </a:pPr>
            <a:r>
              <a:rPr lang="en-US" sz="1599" dirty="0">
                <a:solidFill>
                  <a:srgbClr val="66667E"/>
                </a:solidFill>
                <a:latin typeface="+mn-lt"/>
              </a:rPr>
              <a:t>At vero eos et accusam</a:t>
            </a:r>
          </a:p>
          <a:p>
            <a:pPr marL="180885" indent="-180885">
              <a:lnSpc>
                <a:spcPct val="90000"/>
              </a:lnSpc>
              <a:spcBef>
                <a:spcPts val="600"/>
              </a:spcBef>
              <a:buClr>
                <a:schemeClr val="accent1"/>
              </a:buClr>
              <a:buSzPct val="100000"/>
              <a:buFont typeface="Arial" panose="020B0604020202020204" pitchFamily="34" charset="0"/>
              <a:buChar char="•"/>
            </a:pPr>
            <a:r>
              <a:rPr lang="en-US" sz="1599" dirty="0">
                <a:solidFill>
                  <a:srgbClr val="66667E"/>
                </a:solidFill>
                <a:latin typeface="+mn-lt"/>
              </a:rPr>
              <a:t>Cras ultricies mi eu</a:t>
            </a:r>
          </a:p>
        </p:txBody>
      </p:sp>
      <p:sp>
        <p:nvSpPr>
          <p:cNvPr id="38" name="Freeform 120">
            <a:extLst>
              <a:ext uri="{FF2B5EF4-FFF2-40B4-BE49-F238E27FC236}">
                <a16:creationId xmlns:a16="http://schemas.microsoft.com/office/drawing/2014/main" id="{6371585E-B9A5-234F-A333-9F192D3FA8CE}"/>
              </a:ext>
            </a:extLst>
          </p:cNvPr>
          <p:cNvSpPr>
            <a:spLocks noChangeAspect="1"/>
          </p:cNvSpPr>
          <p:nvPr/>
        </p:nvSpPr>
        <p:spPr bwMode="gray">
          <a:xfrm>
            <a:off x="8351928" y="2732137"/>
            <a:ext cx="340906" cy="540000"/>
          </a:xfrm>
          <a:custGeom>
            <a:avLst/>
            <a:gdLst>
              <a:gd name="T0" fmla="*/ 0 w 228"/>
              <a:gd name="T1" fmla="*/ 343 h 361"/>
              <a:gd name="T2" fmla="*/ 13 w 228"/>
              <a:gd name="T3" fmla="*/ 292 h 361"/>
              <a:gd name="T4" fmla="*/ 96 w 228"/>
              <a:gd name="T5" fmla="*/ 312 h 361"/>
              <a:gd name="T6" fmla="*/ 151 w 228"/>
              <a:gd name="T7" fmla="*/ 293 h 361"/>
              <a:gd name="T8" fmla="*/ 166 w 228"/>
              <a:gd name="T9" fmla="*/ 253 h 361"/>
              <a:gd name="T10" fmla="*/ 139 w 228"/>
              <a:gd name="T11" fmla="*/ 207 h 361"/>
              <a:gd name="T12" fmla="*/ 77 w 228"/>
              <a:gd name="T13" fmla="*/ 196 h 361"/>
              <a:gd name="T14" fmla="*/ 48 w 228"/>
              <a:gd name="T15" fmla="*/ 197 h 361"/>
              <a:gd name="T16" fmla="*/ 48 w 228"/>
              <a:gd name="T17" fmla="*/ 149 h 361"/>
              <a:gd name="T18" fmla="*/ 71 w 228"/>
              <a:gd name="T19" fmla="*/ 151 h 361"/>
              <a:gd name="T20" fmla="*/ 138 w 228"/>
              <a:gd name="T21" fmla="*/ 137 h 361"/>
              <a:gd name="T22" fmla="*/ 162 w 228"/>
              <a:gd name="T23" fmla="*/ 96 h 361"/>
              <a:gd name="T24" fmla="*/ 147 w 228"/>
              <a:gd name="T25" fmla="*/ 61 h 361"/>
              <a:gd name="T26" fmla="*/ 103 w 228"/>
              <a:gd name="T27" fmla="*/ 49 h 361"/>
              <a:gd name="T28" fmla="*/ 23 w 228"/>
              <a:gd name="T29" fmla="*/ 68 h 361"/>
              <a:gd name="T30" fmla="*/ 11 w 228"/>
              <a:gd name="T31" fmla="*/ 19 h 361"/>
              <a:gd name="T32" fmla="*/ 110 w 228"/>
              <a:gd name="T33" fmla="*/ 0 h 361"/>
              <a:gd name="T34" fmla="*/ 193 w 228"/>
              <a:gd name="T35" fmla="*/ 23 h 361"/>
              <a:gd name="T36" fmla="*/ 224 w 228"/>
              <a:gd name="T37" fmla="*/ 90 h 361"/>
              <a:gd name="T38" fmla="*/ 193 w 228"/>
              <a:gd name="T39" fmla="*/ 157 h 361"/>
              <a:gd name="T40" fmla="*/ 153 w 228"/>
              <a:gd name="T41" fmla="*/ 173 h 361"/>
              <a:gd name="T42" fmla="*/ 205 w 228"/>
              <a:gd name="T43" fmla="*/ 195 h 361"/>
              <a:gd name="T44" fmla="*/ 228 w 228"/>
              <a:gd name="T45" fmla="*/ 255 h 361"/>
              <a:gd name="T46" fmla="*/ 192 w 228"/>
              <a:gd name="T47" fmla="*/ 335 h 361"/>
              <a:gd name="T48" fmla="*/ 101 w 228"/>
              <a:gd name="T49" fmla="*/ 361 h 361"/>
              <a:gd name="T50" fmla="*/ 0 w 228"/>
              <a:gd name="T51" fmla="*/ 343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8" h="361">
                <a:moveTo>
                  <a:pt x="0" y="343"/>
                </a:moveTo>
                <a:cubicBezTo>
                  <a:pt x="13" y="292"/>
                  <a:pt x="13" y="292"/>
                  <a:pt x="13" y="292"/>
                </a:cubicBezTo>
                <a:cubicBezTo>
                  <a:pt x="41" y="306"/>
                  <a:pt x="69" y="312"/>
                  <a:pt x="96" y="312"/>
                </a:cubicBezTo>
                <a:cubicBezTo>
                  <a:pt x="121" y="312"/>
                  <a:pt x="139" y="306"/>
                  <a:pt x="151" y="293"/>
                </a:cubicBezTo>
                <a:cubicBezTo>
                  <a:pt x="161" y="283"/>
                  <a:pt x="166" y="269"/>
                  <a:pt x="166" y="253"/>
                </a:cubicBezTo>
                <a:cubicBezTo>
                  <a:pt x="166" y="232"/>
                  <a:pt x="157" y="217"/>
                  <a:pt x="139" y="207"/>
                </a:cubicBezTo>
                <a:cubicBezTo>
                  <a:pt x="125" y="200"/>
                  <a:pt x="104" y="196"/>
                  <a:pt x="77" y="196"/>
                </a:cubicBezTo>
                <a:cubicBezTo>
                  <a:pt x="69" y="196"/>
                  <a:pt x="60" y="196"/>
                  <a:pt x="48" y="197"/>
                </a:cubicBezTo>
                <a:cubicBezTo>
                  <a:pt x="48" y="149"/>
                  <a:pt x="48" y="149"/>
                  <a:pt x="48" y="149"/>
                </a:cubicBezTo>
                <a:cubicBezTo>
                  <a:pt x="56" y="150"/>
                  <a:pt x="64" y="151"/>
                  <a:pt x="71" y="151"/>
                </a:cubicBezTo>
                <a:cubicBezTo>
                  <a:pt x="101" y="151"/>
                  <a:pt x="124" y="146"/>
                  <a:pt x="138" y="137"/>
                </a:cubicBezTo>
                <a:cubicBezTo>
                  <a:pt x="154" y="127"/>
                  <a:pt x="162" y="114"/>
                  <a:pt x="162" y="96"/>
                </a:cubicBezTo>
                <a:cubicBezTo>
                  <a:pt x="162" y="82"/>
                  <a:pt x="157" y="70"/>
                  <a:pt x="147" y="61"/>
                </a:cubicBezTo>
                <a:cubicBezTo>
                  <a:pt x="137" y="53"/>
                  <a:pt x="122" y="49"/>
                  <a:pt x="103" y="49"/>
                </a:cubicBezTo>
                <a:cubicBezTo>
                  <a:pt x="80" y="49"/>
                  <a:pt x="54" y="55"/>
                  <a:pt x="23" y="68"/>
                </a:cubicBezTo>
                <a:cubicBezTo>
                  <a:pt x="11" y="19"/>
                  <a:pt x="11" y="19"/>
                  <a:pt x="11" y="19"/>
                </a:cubicBezTo>
                <a:cubicBezTo>
                  <a:pt x="43" y="6"/>
                  <a:pt x="76" y="0"/>
                  <a:pt x="110" y="0"/>
                </a:cubicBezTo>
                <a:cubicBezTo>
                  <a:pt x="146" y="0"/>
                  <a:pt x="173" y="8"/>
                  <a:pt x="193" y="23"/>
                </a:cubicBezTo>
                <a:cubicBezTo>
                  <a:pt x="214" y="38"/>
                  <a:pt x="224" y="61"/>
                  <a:pt x="224" y="90"/>
                </a:cubicBezTo>
                <a:cubicBezTo>
                  <a:pt x="224" y="120"/>
                  <a:pt x="214" y="142"/>
                  <a:pt x="193" y="157"/>
                </a:cubicBezTo>
                <a:cubicBezTo>
                  <a:pt x="183" y="165"/>
                  <a:pt x="170" y="170"/>
                  <a:pt x="153" y="173"/>
                </a:cubicBezTo>
                <a:cubicBezTo>
                  <a:pt x="176" y="177"/>
                  <a:pt x="193" y="184"/>
                  <a:pt x="205" y="195"/>
                </a:cubicBezTo>
                <a:cubicBezTo>
                  <a:pt x="220" y="210"/>
                  <a:pt x="228" y="230"/>
                  <a:pt x="228" y="255"/>
                </a:cubicBezTo>
                <a:cubicBezTo>
                  <a:pt x="228" y="289"/>
                  <a:pt x="216" y="316"/>
                  <a:pt x="192" y="335"/>
                </a:cubicBezTo>
                <a:cubicBezTo>
                  <a:pt x="171" y="352"/>
                  <a:pt x="140" y="361"/>
                  <a:pt x="101" y="361"/>
                </a:cubicBezTo>
                <a:cubicBezTo>
                  <a:pt x="65" y="361"/>
                  <a:pt x="32" y="355"/>
                  <a:pt x="0" y="343"/>
                </a:cubicBezTo>
                <a:close/>
              </a:path>
            </a:pathLst>
          </a:custGeom>
          <a:solidFill>
            <a:schemeClr val="tx2"/>
          </a:solidFill>
          <a:ln>
            <a:noFill/>
          </a:ln>
        </p:spPr>
        <p:txBody>
          <a:bodyPr vert="horz" wrap="square" lIns="91392" tIns="45696" rIns="91392" bIns="45696"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endParaRPr lang="en-US" sz="1799" dirty="0">
              <a:solidFill>
                <a:srgbClr val="879BAA"/>
              </a:solidFill>
              <a:latin typeface="+mn-lt"/>
            </a:endParaRPr>
          </a:p>
        </p:txBody>
      </p:sp>
      <p:sp>
        <p:nvSpPr>
          <p:cNvPr id="4" name="Footer Placeholder 3">
            <a:extLst>
              <a:ext uri="{FF2B5EF4-FFF2-40B4-BE49-F238E27FC236}">
                <a16:creationId xmlns:a16="http://schemas.microsoft.com/office/drawing/2014/main" id="{46D1F18A-0B41-4AB7-AB37-4390D34387F7}"/>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5" name="Slide Number Placeholder 4">
            <a:extLst>
              <a:ext uri="{FF2B5EF4-FFF2-40B4-BE49-F238E27FC236}">
                <a16:creationId xmlns:a16="http://schemas.microsoft.com/office/drawing/2014/main" id="{A651C030-9636-4139-8EE2-E79DFF1A5A8D}"/>
              </a:ext>
            </a:extLst>
          </p:cNvPr>
          <p:cNvSpPr>
            <a:spLocks noGrp="1"/>
          </p:cNvSpPr>
          <p:nvPr>
            <p:ph type="sldNum" sz="quarter" idx="11"/>
          </p:nvPr>
        </p:nvSpPr>
        <p:spPr/>
        <p:txBody>
          <a:bodyPr/>
          <a:lstStyle/>
          <a:p>
            <a:r>
              <a:rPr lang="en-US" dirty="0"/>
              <a:t>Page </a:t>
            </a:r>
            <a:fld id="{15EBE321-CBB1-4E91-BD14-37C8D44326FB}" type="slidenum">
              <a:rPr lang="en-US" smtClean="0"/>
              <a:pPr/>
              <a:t>114</a:t>
            </a:fld>
            <a:endParaRPr lang="en-US" dirty="0"/>
          </a:p>
        </p:txBody>
      </p:sp>
    </p:spTree>
    <p:extLst>
      <p:ext uri="{BB962C8B-B14F-4D97-AF65-F5344CB8AC3E}">
        <p14:creationId xmlns:p14="http://schemas.microsoft.com/office/powerpoint/2010/main" val="255032082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3" imgW="360" imgH="360" progId="">
                  <p:embed/>
                </p:oleObj>
              </mc:Choice>
              <mc:Fallback>
                <p:oleObj name="think-cell Folie" r:id="rId3" imgW="360" imgH="360" progId="">
                  <p:embed/>
                  <p:pic>
                    <p:nvPicPr>
                      <p:cNvPr id="3" name="Objek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en-US" dirty="0"/>
              <a:t>Process – three steps (arrows)</a:t>
            </a:r>
          </a:p>
        </p:txBody>
      </p:sp>
      <p:sp>
        <p:nvSpPr>
          <p:cNvPr id="34" name="Eingebuchteter Richtungspfeil 33">
            <a:extLst>
              <a:ext uri="{FF2B5EF4-FFF2-40B4-BE49-F238E27FC236}">
                <a16:creationId xmlns:a16="http://schemas.microsoft.com/office/drawing/2014/main" id="{328B6335-135A-DB4A-BEF5-467B5477039C}"/>
              </a:ext>
            </a:extLst>
          </p:cNvPr>
          <p:cNvSpPr/>
          <p:nvPr/>
        </p:nvSpPr>
        <p:spPr bwMode="auto">
          <a:xfrm>
            <a:off x="7826400" y="2498400"/>
            <a:ext cx="3960000" cy="1007475"/>
          </a:xfrm>
          <a:prstGeom prst="chevron">
            <a:avLst>
              <a:gd name="adj" fmla="val 37379"/>
            </a:avLst>
          </a:prstGeom>
          <a:solidFill>
            <a:srgbClr val="00FFB9"/>
          </a:solidFill>
          <a:ln>
            <a:noFill/>
          </a:ln>
          <a:effectLst/>
        </p:spPr>
        <p:txBody>
          <a:bodyPr wrap="square" lIns="179906" tIns="0" rIns="179906" bIns="0" numCol="1" spcCol="72000" rtlCol="0" anchor="ctr" anchorCtr="0">
            <a:noAutofit/>
          </a:bodyPr>
          <a:lstStyle/>
          <a:p>
            <a:pPr lvl="0">
              <a:spcBef>
                <a:spcPct val="0"/>
              </a:spcBef>
            </a:pPr>
            <a:endParaRPr lang="en-US" sz="1599" b="1" kern="1400" dirty="0">
              <a:solidFill>
                <a:schemeClr val="bg1"/>
              </a:solidFill>
              <a:ea typeface="ＭＳ Ｐゴシック" pitchFamily="34" charset="-128"/>
              <a:cs typeface="Arial" charset="0"/>
            </a:endParaRPr>
          </a:p>
        </p:txBody>
      </p:sp>
      <p:sp>
        <p:nvSpPr>
          <p:cNvPr id="18" name="Eingebuchteter Richtungspfeil 17">
            <a:extLst>
              <a:ext uri="{FF2B5EF4-FFF2-40B4-BE49-F238E27FC236}">
                <a16:creationId xmlns:a16="http://schemas.microsoft.com/office/drawing/2014/main" id="{B8855D84-AEA1-7841-9A27-90E0F33350E7}"/>
              </a:ext>
            </a:extLst>
          </p:cNvPr>
          <p:cNvSpPr/>
          <p:nvPr/>
        </p:nvSpPr>
        <p:spPr bwMode="auto">
          <a:xfrm>
            <a:off x="4082400" y="2498400"/>
            <a:ext cx="3960000" cy="1007475"/>
          </a:xfrm>
          <a:prstGeom prst="chevron">
            <a:avLst>
              <a:gd name="adj" fmla="val 37584"/>
            </a:avLst>
          </a:prstGeom>
          <a:solidFill>
            <a:srgbClr val="00AF8E"/>
          </a:solidFill>
          <a:ln>
            <a:noFill/>
          </a:ln>
          <a:effectLst/>
        </p:spPr>
        <p:txBody>
          <a:bodyPr wrap="square" lIns="179906" tIns="0" rIns="179906" bIns="0" numCol="1" spcCol="72000" rtlCol="0" anchor="ctr" anchorCtr="0">
            <a:noAutofit/>
          </a:bodyPr>
          <a:lstStyle/>
          <a:p>
            <a:pPr lvl="0">
              <a:spcBef>
                <a:spcPct val="0"/>
              </a:spcBef>
            </a:pPr>
            <a:endParaRPr lang="en-US" sz="1599" b="1" kern="1400" dirty="0">
              <a:solidFill>
                <a:schemeClr val="bg1"/>
              </a:solidFill>
              <a:ea typeface="ＭＳ Ｐゴシック" pitchFamily="34" charset="-128"/>
              <a:cs typeface="Arial" charset="0"/>
            </a:endParaRPr>
          </a:p>
        </p:txBody>
      </p:sp>
      <p:sp>
        <p:nvSpPr>
          <p:cNvPr id="15" name="Richtungspfeil 14">
            <a:extLst>
              <a:ext uri="{FF2B5EF4-FFF2-40B4-BE49-F238E27FC236}">
                <a16:creationId xmlns:a16="http://schemas.microsoft.com/office/drawing/2014/main" id="{83B8E878-E814-884D-A5F6-AC2C5E720E1D}"/>
              </a:ext>
            </a:extLst>
          </p:cNvPr>
          <p:cNvSpPr/>
          <p:nvPr/>
        </p:nvSpPr>
        <p:spPr bwMode="auto">
          <a:xfrm>
            <a:off x="411163" y="2498400"/>
            <a:ext cx="3888000" cy="1007475"/>
          </a:xfrm>
          <a:prstGeom prst="homePlate">
            <a:avLst>
              <a:gd name="adj" fmla="val 37199"/>
            </a:avLst>
          </a:prstGeom>
          <a:solidFill>
            <a:srgbClr val="00646E"/>
          </a:solidFill>
          <a:ln>
            <a:noFill/>
          </a:ln>
          <a:effectLst/>
        </p:spPr>
        <p:txBody>
          <a:bodyPr wrap="square" lIns="179906" tIns="0" rIns="179906" bIns="0" numCol="1" spcCol="72000" rtlCol="0" anchor="ctr" anchorCtr="0">
            <a:noAutofit/>
          </a:bodyPr>
          <a:lstStyle/>
          <a:p>
            <a:pPr lvl="0">
              <a:spcBef>
                <a:spcPct val="0"/>
              </a:spcBef>
            </a:pPr>
            <a:endParaRPr lang="en-US" sz="1599" b="1" kern="1400" dirty="0">
              <a:solidFill>
                <a:schemeClr val="bg1"/>
              </a:solidFill>
              <a:ea typeface="ＭＳ Ｐゴシック" pitchFamily="34" charset="-128"/>
              <a:cs typeface="Arial" charset="0"/>
            </a:endParaRPr>
          </a:p>
        </p:txBody>
      </p:sp>
      <p:sp>
        <p:nvSpPr>
          <p:cNvPr id="22" name="Rechteck 21">
            <a:extLst>
              <a:ext uri="{FF2B5EF4-FFF2-40B4-BE49-F238E27FC236}">
                <a16:creationId xmlns:a16="http://schemas.microsoft.com/office/drawing/2014/main" id="{0CA5DC18-A890-B842-ACDE-76C0C130EBF3}"/>
              </a:ext>
            </a:extLst>
          </p:cNvPr>
          <p:cNvSpPr>
            <a:spLocks/>
          </p:cNvSpPr>
          <p:nvPr/>
        </p:nvSpPr>
        <p:spPr bwMode="gray">
          <a:xfrm>
            <a:off x="411163" y="2498399"/>
            <a:ext cx="3598862" cy="3312000"/>
          </a:xfrm>
          <a:prstGeom prst="rect">
            <a:avLst/>
          </a:prstGeom>
          <a:noFill/>
          <a:ln>
            <a:noFill/>
          </a:ln>
          <a:effectLst/>
        </p:spPr>
        <p:txBody>
          <a:bodyPr wrap="square" lIns="828000" tIns="288000" rIns="0" bIns="0" rtlCol="0" anchor="t">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nSpc>
                <a:spcPct val="90000"/>
              </a:lnSpc>
              <a:spcBef>
                <a:spcPts val="900"/>
              </a:spcBef>
              <a:spcAft>
                <a:spcPts val="2150"/>
              </a:spcAft>
              <a:buClr>
                <a:schemeClr val="accent1"/>
              </a:buClr>
            </a:pPr>
            <a:r>
              <a:rPr lang="en-US" sz="1999" b="1" dirty="0">
                <a:solidFill>
                  <a:schemeClr val="tx1"/>
                </a:solidFill>
                <a:latin typeface="+mn-lt"/>
              </a:rPr>
              <a:t>Cras ultricies </a:t>
            </a:r>
            <a:br>
              <a:rPr lang="en-US" sz="1999" b="1" dirty="0">
                <a:solidFill>
                  <a:schemeClr val="tx1"/>
                </a:solidFill>
                <a:latin typeface="+mn-lt"/>
              </a:rPr>
            </a:br>
            <a:r>
              <a:rPr lang="en-US" sz="1999" b="1" dirty="0">
                <a:solidFill>
                  <a:schemeClr val="tx1"/>
                </a:solidFill>
                <a:latin typeface="+mn-lt"/>
              </a:rPr>
              <a:t>mi eustra</a:t>
            </a:r>
          </a:p>
          <a:p>
            <a:pPr marL="180885" indent="-180885">
              <a:lnSpc>
                <a:spcPct val="90000"/>
              </a:lnSpc>
              <a:spcBef>
                <a:spcPts val="900"/>
              </a:spcBef>
              <a:buClr>
                <a:schemeClr val="accent1"/>
              </a:buClr>
              <a:buSzPct val="100000"/>
              <a:buFont typeface="Arial" panose="020B0604020202020204" pitchFamily="34" charset="0"/>
              <a:buChar char="•"/>
            </a:pPr>
            <a:r>
              <a:rPr lang="en-US" sz="1599" dirty="0">
                <a:solidFill>
                  <a:srgbClr val="9999A9"/>
                </a:solidFill>
                <a:latin typeface="+mn-lt"/>
              </a:rPr>
              <a:t>Duis arcu, suscipit eget</a:t>
            </a:r>
          </a:p>
          <a:p>
            <a:pPr marL="180885" indent="-180885">
              <a:lnSpc>
                <a:spcPct val="90000"/>
              </a:lnSpc>
              <a:spcBef>
                <a:spcPts val="600"/>
              </a:spcBef>
              <a:buClr>
                <a:schemeClr val="accent1"/>
              </a:buClr>
              <a:buSzPct val="100000"/>
              <a:buFont typeface="Arial" panose="020B0604020202020204" pitchFamily="34" charset="0"/>
              <a:buChar char="•"/>
            </a:pPr>
            <a:r>
              <a:rPr lang="en-US" sz="1599" dirty="0">
                <a:solidFill>
                  <a:srgbClr val="9999A9"/>
                </a:solidFill>
                <a:latin typeface="+mn-lt"/>
              </a:rPr>
              <a:t>Phasellus nec sem</a:t>
            </a:r>
          </a:p>
          <a:p>
            <a:pPr marL="180885" indent="-180885">
              <a:lnSpc>
                <a:spcPct val="90000"/>
              </a:lnSpc>
              <a:spcBef>
                <a:spcPts val="600"/>
              </a:spcBef>
              <a:buClr>
                <a:schemeClr val="accent1"/>
              </a:buClr>
              <a:buSzPct val="100000"/>
              <a:buFont typeface="Arial" panose="020B0604020202020204" pitchFamily="34" charset="0"/>
              <a:buChar char="•"/>
            </a:pPr>
            <a:r>
              <a:rPr lang="en-US" sz="1599" dirty="0">
                <a:solidFill>
                  <a:srgbClr val="9999A9"/>
                </a:solidFill>
                <a:latin typeface="+mn-lt"/>
              </a:rPr>
              <a:t>At vero eos et accusam</a:t>
            </a:r>
          </a:p>
        </p:txBody>
      </p:sp>
      <p:sp>
        <p:nvSpPr>
          <p:cNvPr id="16" name="Freeform 118">
            <a:extLst>
              <a:ext uri="{FF2B5EF4-FFF2-40B4-BE49-F238E27FC236}">
                <a16:creationId xmlns:a16="http://schemas.microsoft.com/office/drawing/2014/main" id="{55518276-19F8-F34B-98C8-2567A95DB361}"/>
              </a:ext>
            </a:extLst>
          </p:cNvPr>
          <p:cNvSpPr>
            <a:spLocks noChangeAspect="1"/>
          </p:cNvSpPr>
          <p:nvPr/>
        </p:nvSpPr>
        <p:spPr bwMode="gray">
          <a:xfrm>
            <a:off x="634796" y="2732137"/>
            <a:ext cx="311028" cy="540000"/>
          </a:xfrm>
          <a:custGeom>
            <a:avLst/>
            <a:gdLst>
              <a:gd name="T0" fmla="*/ 717 w 1501"/>
              <a:gd name="T1" fmla="*/ 2270 h 2606"/>
              <a:gd name="T2" fmla="*/ 717 w 1501"/>
              <a:gd name="T3" fmla="*/ 485 h 2606"/>
              <a:gd name="T4" fmla="*/ 202 w 1501"/>
              <a:gd name="T5" fmla="*/ 814 h 2606"/>
              <a:gd name="T6" fmla="*/ 0 w 1501"/>
              <a:gd name="T7" fmla="*/ 463 h 2606"/>
              <a:gd name="T8" fmla="*/ 762 w 1501"/>
              <a:gd name="T9" fmla="*/ 0 h 2606"/>
              <a:gd name="T10" fmla="*/ 1158 w 1501"/>
              <a:gd name="T11" fmla="*/ 0 h 2606"/>
              <a:gd name="T12" fmla="*/ 1158 w 1501"/>
              <a:gd name="T13" fmla="*/ 2270 h 2606"/>
              <a:gd name="T14" fmla="*/ 1501 w 1501"/>
              <a:gd name="T15" fmla="*/ 2285 h 2606"/>
              <a:gd name="T16" fmla="*/ 1501 w 1501"/>
              <a:gd name="T17" fmla="*/ 2606 h 2606"/>
              <a:gd name="T18" fmla="*/ 381 w 1501"/>
              <a:gd name="T19" fmla="*/ 2606 h 2606"/>
              <a:gd name="T20" fmla="*/ 381 w 1501"/>
              <a:gd name="T21" fmla="*/ 2285 h 2606"/>
              <a:gd name="T22" fmla="*/ 717 w 1501"/>
              <a:gd name="T23" fmla="*/ 2270 h 2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01" h="2606">
                <a:moveTo>
                  <a:pt x="717" y="2270"/>
                </a:moveTo>
                <a:lnTo>
                  <a:pt x="717" y="485"/>
                </a:lnTo>
                <a:lnTo>
                  <a:pt x="202" y="814"/>
                </a:lnTo>
                <a:lnTo>
                  <a:pt x="0" y="463"/>
                </a:lnTo>
                <a:lnTo>
                  <a:pt x="762" y="0"/>
                </a:lnTo>
                <a:lnTo>
                  <a:pt x="1158" y="0"/>
                </a:lnTo>
                <a:lnTo>
                  <a:pt x="1158" y="2270"/>
                </a:lnTo>
                <a:lnTo>
                  <a:pt x="1501" y="2285"/>
                </a:lnTo>
                <a:lnTo>
                  <a:pt x="1501" y="2606"/>
                </a:lnTo>
                <a:lnTo>
                  <a:pt x="381" y="2606"/>
                </a:lnTo>
                <a:lnTo>
                  <a:pt x="381" y="2285"/>
                </a:lnTo>
                <a:lnTo>
                  <a:pt x="717" y="2270"/>
                </a:lnTo>
                <a:close/>
              </a:path>
            </a:pathLst>
          </a:custGeom>
          <a:solidFill>
            <a:schemeClr val="tx1"/>
          </a:solidFill>
          <a:ln>
            <a:noFill/>
          </a:ln>
        </p:spPr>
        <p:txBody>
          <a:bodyPr vert="horz" wrap="square" lIns="91392" tIns="45696" rIns="91392" bIns="45696"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endParaRPr lang="en-US" sz="1799" dirty="0">
              <a:solidFill>
                <a:srgbClr val="FFFFFF"/>
              </a:solidFill>
              <a:latin typeface="+mn-lt"/>
            </a:endParaRPr>
          </a:p>
        </p:txBody>
      </p:sp>
      <p:sp>
        <p:nvSpPr>
          <p:cNvPr id="19" name="Rechteck 18">
            <a:extLst>
              <a:ext uri="{FF2B5EF4-FFF2-40B4-BE49-F238E27FC236}">
                <a16:creationId xmlns:a16="http://schemas.microsoft.com/office/drawing/2014/main" id="{8E9541C5-F125-BA4D-99EB-89BA31FCD73D}"/>
              </a:ext>
            </a:extLst>
          </p:cNvPr>
          <p:cNvSpPr>
            <a:spLocks/>
          </p:cNvSpPr>
          <p:nvPr/>
        </p:nvSpPr>
        <p:spPr bwMode="gray">
          <a:xfrm>
            <a:off x="4298951" y="2498400"/>
            <a:ext cx="3600000" cy="3312000"/>
          </a:xfrm>
          <a:prstGeom prst="rect">
            <a:avLst/>
          </a:prstGeom>
          <a:noFill/>
          <a:ln>
            <a:noFill/>
          </a:ln>
          <a:effectLst/>
        </p:spPr>
        <p:txBody>
          <a:bodyPr wrap="square" lIns="900000" tIns="288000" rIns="360000" bIns="0" rtlCol="0" anchor="t">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nSpc>
                <a:spcPct val="90000"/>
              </a:lnSpc>
              <a:spcBef>
                <a:spcPts val="900"/>
              </a:spcBef>
              <a:spcAft>
                <a:spcPts val="2150"/>
              </a:spcAft>
              <a:buClr>
                <a:schemeClr val="accent1"/>
              </a:buClr>
            </a:pPr>
            <a:r>
              <a:rPr lang="en-US" sz="1999" b="1" dirty="0">
                <a:solidFill>
                  <a:schemeClr val="tx1"/>
                </a:solidFill>
                <a:latin typeface="+mn-lt"/>
              </a:rPr>
              <a:t>Duis arcu </a:t>
            </a:r>
            <a:br>
              <a:rPr lang="en-US" sz="1999" b="1" dirty="0">
                <a:solidFill>
                  <a:schemeClr val="tx1"/>
                </a:solidFill>
                <a:latin typeface="+mn-lt"/>
              </a:rPr>
            </a:br>
            <a:r>
              <a:rPr lang="en-US" sz="1999" b="1" dirty="0">
                <a:solidFill>
                  <a:schemeClr val="tx1"/>
                </a:solidFill>
                <a:latin typeface="+mn-lt"/>
              </a:rPr>
              <a:t>tortor</a:t>
            </a:r>
          </a:p>
          <a:p>
            <a:pPr marL="180885" indent="-180885">
              <a:lnSpc>
                <a:spcPct val="90000"/>
              </a:lnSpc>
              <a:spcBef>
                <a:spcPts val="900"/>
              </a:spcBef>
              <a:buClr>
                <a:schemeClr val="accent1"/>
              </a:buClr>
              <a:buSzPct val="100000"/>
              <a:buFont typeface="Arial" panose="020B0604020202020204" pitchFamily="34" charset="0"/>
              <a:buChar char="•"/>
            </a:pPr>
            <a:r>
              <a:rPr lang="en-US" sz="1599" dirty="0">
                <a:solidFill>
                  <a:srgbClr val="9999A9"/>
                </a:solidFill>
                <a:latin typeface="+mn-lt"/>
              </a:rPr>
              <a:t>Cras ultricies mi eu</a:t>
            </a:r>
          </a:p>
          <a:p>
            <a:pPr marL="180885" indent="-180885">
              <a:lnSpc>
                <a:spcPct val="90000"/>
              </a:lnSpc>
              <a:spcBef>
                <a:spcPts val="600"/>
              </a:spcBef>
              <a:buClr>
                <a:schemeClr val="accent1"/>
              </a:buClr>
              <a:buSzPct val="100000"/>
              <a:buFont typeface="Arial" panose="020B0604020202020204" pitchFamily="34" charset="0"/>
              <a:buChar char="•"/>
            </a:pPr>
            <a:r>
              <a:rPr lang="en-US" sz="1599" dirty="0">
                <a:solidFill>
                  <a:srgbClr val="9999A9"/>
                </a:solidFill>
                <a:latin typeface="+mn-lt"/>
              </a:rPr>
              <a:t>Duis arcu tortor, suscipit eget</a:t>
            </a:r>
          </a:p>
          <a:p>
            <a:pPr marL="180885" indent="-180885">
              <a:lnSpc>
                <a:spcPct val="90000"/>
              </a:lnSpc>
              <a:spcBef>
                <a:spcPts val="600"/>
              </a:spcBef>
              <a:buClr>
                <a:schemeClr val="accent1"/>
              </a:buClr>
              <a:buSzPct val="100000"/>
              <a:buFont typeface="Arial" panose="020B0604020202020204" pitchFamily="34" charset="0"/>
              <a:buChar char="•"/>
            </a:pPr>
            <a:r>
              <a:rPr lang="en-US" sz="1599" dirty="0">
                <a:solidFill>
                  <a:srgbClr val="9999A9"/>
                </a:solidFill>
                <a:latin typeface="+mn-lt"/>
              </a:rPr>
              <a:t>Phasellus nec sem</a:t>
            </a:r>
          </a:p>
        </p:txBody>
      </p:sp>
      <p:sp>
        <p:nvSpPr>
          <p:cNvPr id="33" name="Freeform 119">
            <a:extLst>
              <a:ext uri="{FF2B5EF4-FFF2-40B4-BE49-F238E27FC236}">
                <a16:creationId xmlns:a16="http://schemas.microsoft.com/office/drawing/2014/main" id="{BE2A9E55-E620-1D49-A9CD-B861AA67D804}"/>
              </a:ext>
            </a:extLst>
          </p:cNvPr>
          <p:cNvSpPr>
            <a:spLocks noChangeAspect="1"/>
          </p:cNvSpPr>
          <p:nvPr/>
        </p:nvSpPr>
        <p:spPr bwMode="gray">
          <a:xfrm>
            <a:off x="4598649" y="2732137"/>
            <a:ext cx="346693" cy="540000"/>
          </a:xfrm>
          <a:custGeom>
            <a:avLst/>
            <a:gdLst>
              <a:gd name="T0" fmla="*/ 0 w 228"/>
              <a:gd name="T1" fmla="*/ 355 h 355"/>
              <a:gd name="T2" fmla="*/ 0 w 228"/>
              <a:gd name="T3" fmla="*/ 307 h 355"/>
              <a:gd name="T4" fmla="*/ 105 w 228"/>
              <a:gd name="T5" fmla="*/ 203 h 355"/>
              <a:gd name="T6" fmla="*/ 153 w 228"/>
              <a:gd name="T7" fmla="*/ 141 h 355"/>
              <a:gd name="T8" fmla="*/ 164 w 228"/>
              <a:gd name="T9" fmla="*/ 100 h 355"/>
              <a:gd name="T10" fmla="*/ 148 w 228"/>
              <a:gd name="T11" fmla="*/ 64 h 355"/>
              <a:gd name="T12" fmla="*/ 104 w 228"/>
              <a:gd name="T13" fmla="*/ 49 h 355"/>
              <a:gd name="T14" fmla="*/ 20 w 228"/>
              <a:gd name="T15" fmla="*/ 75 h 355"/>
              <a:gd name="T16" fmla="*/ 5 w 228"/>
              <a:gd name="T17" fmla="*/ 24 h 355"/>
              <a:gd name="T18" fmla="*/ 111 w 228"/>
              <a:gd name="T19" fmla="*/ 0 h 355"/>
              <a:gd name="T20" fmla="*/ 193 w 228"/>
              <a:gd name="T21" fmla="*/ 23 h 355"/>
              <a:gd name="T22" fmla="*/ 225 w 228"/>
              <a:gd name="T23" fmla="*/ 97 h 355"/>
              <a:gd name="T24" fmla="*/ 195 w 228"/>
              <a:gd name="T25" fmla="*/ 183 h 355"/>
              <a:gd name="T26" fmla="*/ 80 w 228"/>
              <a:gd name="T27" fmla="*/ 306 h 355"/>
              <a:gd name="T28" fmla="*/ 228 w 228"/>
              <a:gd name="T29" fmla="*/ 306 h 355"/>
              <a:gd name="T30" fmla="*/ 228 w 228"/>
              <a:gd name="T31" fmla="*/ 355 h 355"/>
              <a:gd name="T32" fmla="*/ 0 w 228"/>
              <a:gd name="T33" fmla="*/ 355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8" h="355">
                <a:moveTo>
                  <a:pt x="0" y="355"/>
                </a:moveTo>
                <a:cubicBezTo>
                  <a:pt x="0" y="307"/>
                  <a:pt x="0" y="307"/>
                  <a:pt x="0" y="307"/>
                </a:cubicBezTo>
                <a:cubicBezTo>
                  <a:pt x="46" y="264"/>
                  <a:pt x="81" y="230"/>
                  <a:pt x="105" y="203"/>
                </a:cubicBezTo>
                <a:cubicBezTo>
                  <a:pt x="130" y="176"/>
                  <a:pt x="146" y="155"/>
                  <a:pt x="153" y="141"/>
                </a:cubicBezTo>
                <a:cubicBezTo>
                  <a:pt x="160" y="126"/>
                  <a:pt x="164" y="113"/>
                  <a:pt x="164" y="100"/>
                </a:cubicBezTo>
                <a:cubicBezTo>
                  <a:pt x="164" y="85"/>
                  <a:pt x="159" y="73"/>
                  <a:pt x="148" y="64"/>
                </a:cubicBezTo>
                <a:cubicBezTo>
                  <a:pt x="137" y="54"/>
                  <a:pt x="122" y="49"/>
                  <a:pt x="104" y="49"/>
                </a:cubicBezTo>
                <a:cubicBezTo>
                  <a:pt x="80" y="49"/>
                  <a:pt x="52" y="58"/>
                  <a:pt x="20" y="75"/>
                </a:cubicBezTo>
                <a:cubicBezTo>
                  <a:pt x="5" y="24"/>
                  <a:pt x="5" y="24"/>
                  <a:pt x="5" y="24"/>
                </a:cubicBezTo>
                <a:cubicBezTo>
                  <a:pt x="40" y="8"/>
                  <a:pt x="75" y="0"/>
                  <a:pt x="111" y="0"/>
                </a:cubicBezTo>
                <a:cubicBezTo>
                  <a:pt x="145" y="0"/>
                  <a:pt x="173" y="8"/>
                  <a:pt x="193" y="23"/>
                </a:cubicBezTo>
                <a:cubicBezTo>
                  <a:pt x="215" y="40"/>
                  <a:pt x="225" y="65"/>
                  <a:pt x="225" y="97"/>
                </a:cubicBezTo>
                <a:cubicBezTo>
                  <a:pt x="225" y="125"/>
                  <a:pt x="215" y="154"/>
                  <a:pt x="195" y="183"/>
                </a:cubicBezTo>
                <a:cubicBezTo>
                  <a:pt x="173" y="215"/>
                  <a:pt x="134" y="255"/>
                  <a:pt x="80" y="306"/>
                </a:cubicBezTo>
                <a:cubicBezTo>
                  <a:pt x="228" y="306"/>
                  <a:pt x="228" y="306"/>
                  <a:pt x="228" y="306"/>
                </a:cubicBezTo>
                <a:cubicBezTo>
                  <a:pt x="228" y="355"/>
                  <a:pt x="228" y="355"/>
                  <a:pt x="228" y="355"/>
                </a:cubicBezTo>
                <a:lnTo>
                  <a:pt x="0" y="355"/>
                </a:lnTo>
                <a:close/>
              </a:path>
            </a:pathLst>
          </a:custGeom>
          <a:solidFill>
            <a:schemeClr val="tx1"/>
          </a:solidFill>
          <a:ln>
            <a:noFill/>
          </a:ln>
        </p:spPr>
        <p:txBody>
          <a:bodyPr vert="horz" wrap="square" lIns="91392" tIns="45696" rIns="91392" bIns="45696"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endParaRPr lang="en-US" sz="1799" dirty="0">
              <a:latin typeface="+mn-lt"/>
            </a:endParaRPr>
          </a:p>
        </p:txBody>
      </p:sp>
      <p:sp>
        <p:nvSpPr>
          <p:cNvPr id="35" name="Rechteck 34">
            <a:extLst>
              <a:ext uri="{FF2B5EF4-FFF2-40B4-BE49-F238E27FC236}">
                <a16:creationId xmlns:a16="http://schemas.microsoft.com/office/drawing/2014/main" id="{F3480BAC-2270-334D-A9B3-6D3C22DE82AF}"/>
              </a:ext>
            </a:extLst>
          </p:cNvPr>
          <p:cNvSpPr>
            <a:spLocks/>
          </p:cNvSpPr>
          <p:nvPr/>
        </p:nvSpPr>
        <p:spPr bwMode="gray">
          <a:xfrm>
            <a:off x="8198438" y="2498400"/>
            <a:ext cx="3600000" cy="3312000"/>
          </a:xfrm>
          <a:prstGeom prst="rect">
            <a:avLst/>
          </a:prstGeom>
          <a:noFill/>
          <a:ln>
            <a:noFill/>
          </a:ln>
          <a:effectLst/>
        </p:spPr>
        <p:txBody>
          <a:bodyPr wrap="square" lIns="720000" tIns="288000" rIns="360000" bIns="0" rtlCol="0" anchor="t">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nSpc>
                <a:spcPct val="90000"/>
              </a:lnSpc>
              <a:spcBef>
                <a:spcPts val="900"/>
              </a:spcBef>
              <a:spcAft>
                <a:spcPts val="2150"/>
              </a:spcAft>
              <a:buClr>
                <a:schemeClr val="accent1"/>
              </a:buClr>
            </a:pPr>
            <a:r>
              <a:rPr lang="en-US" sz="1999" b="1" dirty="0">
                <a:latin typeface="+mn-lt"/>
              </a:rPr>
              <a:t>Phasellus nec semen dolore</a:t>
            </a:r>
          </a:p>
          <a:p>
            <a:pPr marL="180885" indent="-180885">
              <a:lnSpc>
                <a:spcPct val="90000"/>
              </a:lnSpc>
              <a:spcBef>
                <a:spcPts val="900"/>
              </a:spcBef>
              <a:buClr>
                <a:schemeClr val="accent1"/>
              </a:buClr>
              <a:buSzPct val="100000"/>
              <a:buFont typeface="Arial" panose="020B0604020202020204" pitchFamily="34" charset="0"/>
              <a:buChar char="•"/>
            </a:pPr>
            <a:r>
              <a:rPr lang="en-US" sz="1599" dirty="0">
                <a:solidFill>
                  <a:srgbClr val="9999A9"/>
                </a:solidFill>
                <a:latin typeface="+mn-lt"/>
              </a:rPr>
              <a:t>Consetetur sadipscing elitr, seddiam nonumy</a:t>
            </a:r>
          </a:p>
          <a:p>
            <a:pPr marL="180885" indent="-180885">
              <a:lnSpc>
                <a:spcPct val="90000"/>
              </a:lnSpc>
              <a:spcBef>
                <a:spcPts val="600"/>
              </a:spcBef>
              <a:buClr>
                <a:schemeClr val="accent1"/>
              </a:buClr>
              <a:buSzPct val="100000"/>
              <a:buFont typeface="Arial" panose="020B0604020202020204" pitchFamily="34" charset="0"/>
              <a:buChar char="•"/>
            </a:pPr>
            <a:r>
              <a:rPr lang="en-US" sz="1599" dirty="0">
                <a:solidFill>
                  <a:srgbClr val="9999A9"/>
                </a:solidFill>
                <a:latin typeface="+mn-lt"/>
              </a:rPr>
              <a:t>At vero eos et accusam</a:t>
            </a:r>
          </a:p>
          <a:p>
            <a:pPr marL="180885" indent="-180885">
              <a:lnSpc>
                <a:spcPct val="90000"/>
              </a:lnSpc>
              <a:spcBef>
                <a:spcPts val="600"/>
              </a:spcBef>
              <a:buClr>
                <a:schemeClr val="accent1"/>
              </a:buClr>
              <a:buSzPct val="100000"/>
              <a:buFont typeface="Arial" panose="020B0604020202020204" pitchFamily="34" charset="0"/>
              <a:buChar char="•"/>
            </a:pPr>
            <a:r>
              <a:rPr lang="en-US" sz="1599" dirty="0">
                <a:solidFill>
                  <a:srgbClr val="9999A9"/>
                </a:solidFill>
                <a:latin typeface="+mn-lt"/>
              </a:rPr>
              <a:t>Cras ultricies mi eu</a:t>
            </a:r>
          </a:p>
        </p:txBody>
      </p:sp>
      <p:sp>
        <p:nvSpPr>
          <p:cNvPr id="38" name="Freeform 120">
            <a:extLst>
              <a:ext uri="{FF2B5EF4-FFF2-40B4-BE49-F238E27FC236}">
                <a16:creationId xmlns:a16="http://schemas.microsoft.com/office/drawing/2014/main" id="{6371585E-B9A5-234F-A333-9F192D3FA8CE}"/>
              </a:ext>
            </a:extLst>
          </p:cNvPr>
          <p:cNvSpPr>
            <a:spLocks noChangeAspect="1"/>
          </p:cNvSpPr>
          <p:nvPr/>
        </p:nvSpPr>
        <p:spPr bwMode="gray">
          <a:xfrm>
            <a:off x="8351928" y="2732137"/>
            <a:ext cx="340906" cy="540000"/>
          </a:xfrm>
          <a:custGeom>
            <a:avLst/>
            <a:gdLst>
              <a:gd name="T0" fmla="*/ 0 w 228"/>
              <a:gd name="T1" fmla="*/ 343 h 361"/>
              <a:gd name="T2" fmla="*/ 13 w 228"/>
              <a:gd name="T3" fmla="*/ 292 h 361"/>
              <a:gd name="T4" fmla="*/ 96 w 228"/>
              <a:gd name="T5" fmla="*/ 312 h 361"/>
              <a:gd name="T6" fmla="*/ 151 w 228"/>
              <a:gd name="T7" fmla="*/ 293 h 361"/>
              <a:gd name="T8" fmla="*/ 166 w 228"/>
              <a:gd name="T9" fmla="*/ 253 h 361"/>
              <a:gd name="T10" fmla="*/ 139 w 228"/>
              <a:gd name="T11" fmla="*/ 207 h 361"/>
              <a:gd name="T12" fmla="*/ 77 w 228"/>
              <a:gd name="T13" fmla="*/ 196 h 361"/>
              <a:gd name="T14" fmla="*/ 48 w 228"/>
              <a:gd name="T15" fmla="*/ 197 h 361"/>
              <a:gd name="T16" fmla="*/ 48 w 228"/>
              <a:gd name="T17" fmla="*/ 149 h 361"/>
              <a:gd name="T18" fmla="*/ 71 w 228"/>
              <a:gd name="T19" fmla="*/ 151 h 361"/>
              <a:gd name="T20" fmla="*/ 138 w 228"/>
              <a:gd name="T21" fmla="*/ 137 h 361"/>
              <a:gd name="T22" fmla="*/ 162 w 228"/>
              <a:gd name="T23" fmla="*/ 96 h 361"/>
              <a:gd name="T24" fmla="*/ 147 w 228"/>
              <a:gd name="T25" fmla="*/ 61 h 361"/>
              <a:gd name="T26" fmla="*/ 103 w 228"/>
              <a:gd name="T27" fmla="*/ 49 h 361"/>
              <a:gd name="T28" fmla="*/ 23 w 228"/>
              <a:gd name="T29" fmla="*/ 68 h 361"/>
              <a:gd name="T30" fmla="*/ 11 w 228"/>
              <a:gd name="T31" fmla="*/ 19 h 361"/>
              <a:gd name="T32" fmla="*/ 110 w 228"/>
              <a:gd name="T33" fmla="*/ 0 h 361"/>
              <a:gd name="T34" fmla="*/ 193 w 228"/>
              <a:gd name="T35" fmla="*/ 23 h 361"/>
              <a:gd name="T36" fmla="*/ 224 w 228"/>
              <a:gd name="T37" fmla="*/ 90 h 361"/>
              <a:gd name="T38" fmla="*/ 193 w 228"/>
              <a:gd name="T39" fmla="*/ 157 h 361"/>
              <a:gd name="T40" fmla="*/ 153 w 228"/>
              <a:gd name="T41" fmla="*/ 173 h 361"/>
              <a:gd name="T42" fmla="*/ 205 w 228"/>
              <a:gd name="T43" fmla="*/ 195 h 361"/>
              <a:gd name="T44" fmla="*/ 228 w 228"/>
              <a:gd name="T45" fmla="*/ 255 h 361"/>
              <a:gd name="T46" fmla="*/ 192 w 228"/>
              <a:gd name="T47" fmla="*/ 335 h 361"/>
              <a:gd name="T48" fmla="*/ 101 w 228"/>
              <a:gd name="T49" fmla="*/ 361 h 361"/>
              <a:gd name="T50" fmla="*/ 0 w 228"/>
              <a:gd name="T51" fmla="*/ 343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8" h="361">
                <a:moveTo>
                  <a:pt x="0" y="343"/>
                </a:moveTo>
                <a:cubicBezTo>
                  <a:pt x="13" y="292"/>
                  <a:pt x="13" y="292"/>
                  <a:pt x="13" y="292"/>
                </a:cubicBezTo>
                <a:cubicBezTo>
                  <a:pt x="41" y="306"/>
                  <a:pt x="69" y="312"/>
                  <a:pt x="96" y="312"/>
                </a:cubicBezTo>
                <a:cubicBezTo>
                  <a:pt x="121" y="312"/>
                  <a:pt x="139" y="306"/>
                  <a:pt x="151" y="293"/>
                </a:cubicBezTo>
                <a:cubicBezTo>
                  <a:pt x="161" y="283"/>
                  <a:pt x="166" y="269"/>
                  <a:pt x="166" y="253"/>
                </a:cubicBezTo>
                <a:cubicBezTo>
                  <a:pt x="166" y="232"/>
                  <a:pt x="157" y="217"/>
                  <a:pt x="139" y="207"/>
                </a:cubicBezTo>
                <a:cubicBezTo>
                  <a:pt x="125" y="200"/>
                  <a:pt x="104" y="196"/>
                  <a:pt x="77" y="196"/>
                </a:cubicBezTo>
                <a:cubicBezTo>
                  <a:pt x="69" y="196"/>
                  <a:pt x="60" y="196"/>
                  <a:pt x="48" y="197"/>
                </a:cubicBezTo>
                <a:cubicBezTo>
                  <a:pt x="48" y="149"/>
                  <a:pt x="48" y="149"/>
                  <a:pt x="48" y="149"/>
                </a:cubicBezTo>
                <a:cubicBezTo>
                  <a:pt x="56" y="150"/>
                  <a:pt x="64" y="151"/>
                  <a:pt x="71" y="151"/>
                </a:cubicBezTo>
                <a:cubicBezTo>
                  <a:pt x="101" y="151"/>
                  <a:pt x="124" y="146"/>
                  <a:pt x="138" y="137"/>
                </a:cubicBezTo>
                <a:cubicBezTo>
                  <a:pt x="154" y="127"/>
                  <a:pt x="162" y="114"/>
                  <a:pt x="162" y="96"/>
                </a:cubicBezTo>
                <a:cubicBezTo>
                  <a:pt x="162" y="82"/>
                  <a:pt x="157" y="70"/>
                  <a:pt x="147" y="61"/>
                </a:cubicBezTo>
                <a:cubicBezTo>
                  <a:pt x="137" y="53"/>
                  <a:pt x="122" y="49"/>
                  <a:pt x="103" y="49"/>
                </a:cubicBezTo>
                <a:cubicBezTo>
                  <a:pt x="80" y="49"/>
                  <a:pt x="54" y="55"/>
                  <a:pt x="23" y="68"/>
                </a:cubicBezTo>
                <a:cubicBezTo>
                  <a:pt x="11" y="19"/>
                  <a:pt x="11" y="19"/>
                  <a:pt x="11" y="19"/>
                </a:cubicBezTo>
                <a:cubicBezTo>
                  <a:pt x="43" y="6"/>
                  <a:pt x="76" y="0"/>
                  <a:pt x="110" y="0"/>
                </a:cubicBezTo>
                <a:cubicBezTo>
                  <a:pt x="146" y="0"/>
                  <a:pt x="173" y="8"/>
                  <a:pt x="193" y="23"/>
                </a:cubicBezTo>
                <a:cubicBezTo>
                  <a:pt x="214" y="38"/>
                  <a:pt x="224" y="61"/>
                  <a:pt x="224" y="90"/>
                </a:cubicBezTo>
                <a:cubicBezTo>
                  <a:pt x="224" y="120"/>
                  <a:pt x="214" y="142"/>
                  <a:pt x="193" y="157"/>
                </a:cubicBezTo>
                <a:cubicBezTo>
                  <a:pt x="183" y="165"/>
                  <a:pt x="170" y="170"/>
                  <a:pt x="153" y="173"/>
                </a:cubicBezTo>
                <a:cubicBezTo>
                  <a:pt x="176" y="177"/>
                  <a:pt x="193" y="184"/>
                  <a:pt x="205" y="195"/>
                </a:cubicBezTo>
                <a:cubicBezTo>
                  <a:pt x="220" y="210"/>
                  <a:pt x="228" y="230"/>
                  <a:pt x="228" y="255"/>
                </a:cubicBezTo>
                <a:cubicBezTo>
                  <a:pt x="228" y="289"/>
                  <a:pt x="216" y="316"/>
                  <a:pt x="192" y="335"/>
                </a:cubicBezTo>
                <a:cubicBezTo>
                  <a:pt x="171" y="352"/>
                  <a:pt x="140" y="361"/>
                  <a:pt x="101" y="361"/>
                </a:cubicBezTo>
                <a:cubicBezTo>
                  <a:pt x="65" y="361"/>
                  <a:pt x="32" y="355"/>
                  <a:pt x="0" y="343"/>
                </a:cubicBezTo>
                <a:close/>
              </a:path>
            </a:pathLst>
          </a:custGeom>
          <a:solidFill>
            <a:schemeClr val="bg2"/>
          </a:solidFill>
          <a:ln>
            <a:noFill/>
          </a:ln>
        </p:spPr>
        <p:txBody>
          <a:bodyPr vert="horz" wrap="square" lIns="91392" tIns="45696" rIns="91392" bIns="45696"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endParaRPr lang="en-US" sz="1799" dirty="0">
              <a:solidFill>
                <a:srgbClr val="879BAA"/>
              </a:solidFill>
              <a:latin typeface="+mn-lt"/>
            </a:endParaRPr>
          </a:p>
        </p:txBody>
      </p:sp>
      <p:sp>
        <p:nvSpPr>
          <p:cNvPr id="4" name="Footer Placeholder 3">
            <a:extLst>
              <a:ext uri="{FF2B5EF4-FFF2-40B4-BE49-F238E27FC236}">
                <a16:creationId xmlns:a16="http://schemas.microsoft.com/office/drawing/2014/main" id="{CEE08604-7DB3-43FE-B700-261BF8212CB1}"/>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5" name="Slide Number Placeholder 4">
            <a:extLst>
              <a:ext uri="{FF2B5EF4-FFF2-40B4-BE49-F238E27FC236}">
                <a16:creationId xmlns:a16="http://schemas.microsoft.com/office/drawing/2014/main" id="{7F384365-2AE1-478A-B457-45D30ACF2ABA}"/>
              </a:ext>
            </a:extLst>
          </p:cNvPr>
          <p:cNvSpPr>
            <a:spLocks noGrp="1"/>
          </p:cNvSpPr>
          <p:nvPr>
            <p:ph type="sldNum" sz="quarter" idx="11"/>
          </p:nvPr>
        </p:nvSpPr>
        <p:spPr/>
        <p:txBody>
          <a:bodyPr/>
          <a:lstStyle/>
          <a:p>
            <a:r>
              <a:rPr lang="en-US" dirty="0"/>
              <a:t>Page </a:t>
            </a:r>
            <a:fld id="{15EBE321-CBB1-4E91-BD14-37C8D44326FB}" type="slidenum">
              <a:rPr lang="en-US" smtClean="0"/>
              <a:pPr/>
              <a:t>115</a:t>
            </a:fld>
            <a:endParaRPr lang="en-US" dirty="0"/>
          </a:p>
        </p:txBody>
      </p:sp>
    </p:spTree>
    <p:extLst>
      <p:ext uri="{BB962C8B-B14F-4D97-AF65-F5344CB8AC3E}">
        <p14:creationId xmlns:p14="http://schemas.microsoft.com/office/powerpoint/2010/main" val="1061947066"/>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3" imgW="360" imgH="360" progId="">
                  <p:embed/>
                </p:oleObj>
              </mc:Choice>
              <mc:Fallback>
                <p:oleObj name="think-cell Folie" r:id="rId3" imgW="360" imgH="360" progId="">
                  <p:embed/>
                  <p:pic>
                    <p:nvPicPr>
                      <p:cNvPr id="3" name="Objek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en-US" dirty="0"/>
              <a:t>Process – five steps overview (arrows)</a:t>
            </a:r>
          </a:p>
        </p:txBody>
      </p:sp>
      <p:sp>
        <p:nvSpPr>
          <p:cNvPr id="34" name="Eingebuchteter Richtungspfeil 33">
            <a:extLst>
              <a:ext uri="{FF2B5EF4-FFF2-40B4-BE49-F238E27FC236}">
                <a16:creationId xmlns:a16="http://schemas.microsoft.com/office/drawing/2014/main" id="{328B6335-135A-DB4A-BEF5-467B5477039C}"/>
              </a:ext>
            </a:extLst>
          </p:cNvPr>
          <p:cNvSpPr/>
          <p:nvPr/>
        </p:nvSpPr>
        <p:spPr bwMode="auto">
          <a:xfrm>
            <a:off x="5842875" y="2494550"/>
            <a:ext cx="2050932" cy="1007475"/>
          </a:xfrm>
          <a:prstGeom prst="chevron">
            <a:avLst>
              <a:gd name="adj" fmla="val 37379"/>
            </a:avLst>
          </a:prstGeom>
          <a:solidFill>
            <a:srgbClr val="CCCCD4"/>
          </a:solidFill>
          <a:ln>
            <a:noFill/>
          </a:ln>
          <a:effectLst/>
        </p:spPr>
        <p:txBody>
          <a:bodyPr wrap="square" lIns="179906" tIns="0" rIns="179906" bIns="0" numCol="1" spcCol="72000" rtlCol="0" anchor="ctr" anchorCtr="0">
            <a:noAutofit/>
          </a:bodyPr>
          <a:lstStyle/>
          <a:p>
            <a:pPr lvl="0">
              <a:spcBef>
                <a:spcPct val="0"/>
              </a:spcBef>
            </a:pPr>
            <a:endParaRPr lang="en-US" sz="1599" b="1" kern="1400" dirty="0">
              <a:solidFill>
                <a:schemeClr val="bg1"/>
              </a:solidFill>
              <a:ea typeface="ＭＳ Ｐゴシック" pitchFamily="34" charset="-128"/>
              <a:cs typeface="Arial" charset="0"/>
            </a:endParaRPr>
          </a:p>
        </p:txBody>
      </p:sp>
      <p:sp>
        <p:nvSpPr>
          <p:cNvPr id="20" name="Eingebuchteter Richtungspfeil 33">
            <a:extLst>
              <a:ext uri="{FF2B5EF4-FFF2-40B4-BE49-F238E27FC236}">
                <a16:creationId xmlns:a16="http://schemas.microsoft.com/office/drawing/2014/main" id="{43DC93BE-E11A-4483-8B19-40FCE3F83393}"/>
              </a:ext>
            </a:extLst>
          </p:cNvPr>
          <p:cNvSpPr/>
          <p:nvPr/>
        </p:nvSpPr>
        <p:spPr bwMode="auto">
          <a:xfrm>
            <a:off x="7650933" y="2494550"/>
            <a:ext cx="2050932" cy="1007475"/>
          </a:xfrm>
          <a:prstGeom prst="chevron">
            <a:avLst>
              <a:gd name="adj" fmla="val 37379"/>
            </a:avLst>
          </a:prstGeom>
          <a:solidFill>
            <a:srgbClr val="CCCCD4"/>
          </a:solidFill>
          <a:ln>
            <a:noFill/>
          </a:ln>
          <a:effectLst/>
        </p:spPr>
        <p:txBody>
          <a:bodyPr wrap="square" lIns="179906" tIns="0" rIns="179906" bIns="0" numCol="1" spcCol="72000" rtlCol="0" anchor="ctr" anchorCtr="0">
            <a:noAutofit/>
          </a:bodyPr>
          <a:lstStyle/>
          <a:p>
            <a:pPr lvl="0">
              <a:spcBef>
                <a:spcPct val="0"/>
              </a:spcBef>
            </a:pPr>
            <a:endParaRPr lang="en-US" sz="1599" b="1" kern="1400" dirty="0">
              <a:solidFill>
                <a:schemeClr val="bg1"/>
              </a:solidFill>
              <a:ea typeface="ＭＳ Ｐゴシック" pitchFamily="34" charset="-128"/>
              <a:cs typeface="Arial" charset="0"/>
            </a:endParaRPr>
          </a:p>
        </p:txBody>
      </p:sp>
      <p:sp>
        <p:nvSpPr>
          <p:cNvPr id="24" name="Eingebuchteter Richtungspfeil 33">
            <a:extLst>
              <a:ext uri="{FF2B5EF4-FFF2-40B4-BE49-F238E27FC236}">
                <a16:creationId xmlns:a16="http://schemas.microsoft.com/office/drawing/2014/main" id="{CEE97C04-EA30-4BA4-8BC2-E73106013414}"/>
              </a:ext>
            </a:extLst>
          </p:cNvPr>
          <p:cNvSpPr/>
          <p:nvPr/>
        </p:nvSpPr>
        <p:spPr bwMode="auto">
          <a:xfrm>
            <a:off x="4027280" y="2494550"/>
            <a:ext cx="2050932" cy="1007475"/>
          </a:xfrm>
          <a:prstGeom prst="chevron">
            <a:avLst>
              <a:gd name="adj" fmla="val 37379"/>
            </a:avLst>
          </a:prstGeom>
          <a:solidFill>
            <a:srgbClr val="CCCCD4"/>
          </a:solidFill>
          <a:ln>
            <a:noFill/>
          </a:ln>
          <a:effectLst/>
        </p:spPr>
        <p:txBody>
          <a:bodyPr wrap="square" lIns="179906" tIns="0" rIns="179906" bIns="0" numCol="1" spcCol="72000" rtlCol="0" anchor="ctr" anchorCtr="0">
            <a:noAutofit/>
          </a:bodyPr>
          <a:lstStyle/>
          <a:p>
            <a:pPr lvl="0">
              <a:spcBef>
                <a:spcPct val="0"/>
              </a:spcBef>
            </a:pPr>
            <a:endParaRPr lang="en-US" sz="1599" b="1" kern="1400" dirty="0">
              <a:solidFill>
                <a:schemeClr val="bg1"/>
              </a:solidFill>
              <a:ea typeface="ＭＳ Ｐゴシック" pitchFamily="34" charset="-128"/>
              <a:cs typeface="Arial" charset="0"/>
            </a:endParaRPr>
          </a:p>
        </p:txBody>
      </p:sp>
      <p:sp>
        <p:nvSpPr>
          <p:cNvPr id="15" name="Richtungspfeil 14">
            <a:extLst>
              <a:ext uri="{FF2B5EF4-FFF2-40B4-BE49-F238E27FC236}">
                <a16:creationId xmlns:a16="http://schemas.microsoft.com/office/drawing/2014/main" id="{83B8E878-E814-884D-A5F6-AC2C5E720E1D}"/>
              </a:ext>
            </a:extLst>
          </p:cNvPr>
          <p:cNvSpPr/>
          <p:nvPr/>
        </p:nvSpPr>
        <p:spPr bwMode="auto">
          <a:xfrm>
            <a:off x="411163" y="2494550"/>
            <a:ext cx="2050932" cy="1007475"/>
          </a:xfrm>
          <a:prstGeom prst="homePlate">
            <a:avLst>
              <a:gd name="adj" fmla="val 37199"/>
            </a:avLst>
          </a:prstGeom>
          <a:solidFill>
            <a:srgbClr val="CCCCD4"/>
          </a:solidFill>
          <a:ln>
            <a:noFill/>
          </a:ln>
          <a:effectLst/>
        </p:spPr>
        <p:txBody>
          <a:bodyPr wrap="square" lIns="179906" tIns="0" rIns="179906" bIns="0" numCol="1" spcCol="72000" rtlCol="0" anchor="ctr" anchorCtr="0">
            <a:noAutofit/>
          </a:bodyPr>
          <a:lstStyle/>
          <a:p>
            <a:pPr lvl="0">
              <a:spcBef>
                <a:spcPct val="0"/>
              </a:spcBef>
            </a:pPr>
            <a:endParaRPr lang="en-US" sz="1599" b="1" kern="1400" dirty="0">
              <a:solidFill>
                <a:schemeClr val="bg1"/>
              </a:solidFill>
              <a:ea typeface="ＭＳ Ｐゴシック" pitchFamily="34" charset="-128"/>
              <a:cs typeface="Arial" charset="0"/>
            </a:endParaRPr>
          </a:p>
        </p:txBody>
      </p:sp>
      <p:sp>
        <p:nvSpPr>
          <p:cNvPr id="16" name="Freeform 118">
            <a:extLst>
              <a:ext uri="{FF2B5EF4-FFF2-40B4-BE49-F238E27FC236}">
                <a16:creationId xmlns:a16="http://schemas.microsoft.com/office/drawing/2014/main" id="{55518276-19F8-F34B-98C8-2567A95DB361}"/>
              </a:ext>
            </a:extLst>
          </p:cNvPr>
          <p:cNvSpPr>
            <a:spLocks/>
          </p:cNvSpPr>
          <p:nvPr/>
        </p:nvSpPr>
        <p:spPr bwMode="gray">
          <a:xfrm>
            <a:off x="1127113" y="2724148"/>
            <a:ext cx="315798" cy="548281"/>
          </a:xfrm>
          <a:custGeom>
            <a:avLst/>
            <a:gdLst>
              <a:gd name="T0" fmla="*/ 717 w 1501"/>
              <a:gd name="T1" fmla="*/ 2270 h 2606"/>
              <a:gd name="T2" fmla="*/ 717 w 1501"/>
              <a:gd name="T3" fmla="*/ 485 h 2606"/>
              <a:gd name="T4" fmla="*/ 202 w 1501"/>
              <a:gd name="T5" fmla="*/ 814 h 2606"/>
              <a:gd name="T6" fmla="*/ 0 w 1501"/>
              <a:gd name="T7" fmla="*/ 463 h 2606"/>
              <a:gd name="T8" fmla="*/ 762 w 1501"/>
              <a:gd name="T9" fmla="*/ 0 h 2606"/>
              <a:gd name="T10" fmla="*/ 1158 w 1501"/>
              <a:gd name="T11" fmla="*/ 0 h 2606"/>
              <a:gd name="T12" fmla="*/ 1158 w 1501"/>
              <a:gd name="T13" fmla="*/ 2270 h 2606"/>
              <a:gd name="T14" fmla="*/ 1501 w 1501"/>
              <a:gd name="T15" fmla="*/ 2285 h 2606"/>
              <a:gd name="T16" fmla="*/ 1501 w 1501"/>
              <a:gd name="T17" fmla="*/ 2606 h 2606"/>
              <a:gd name="T18" fmla="*/ 381 w 1501"/>
              <a:gd name="T19" fmla="*/ 2606 h 2606"/>
              <a:gd name="T20" fmla="*/ 381 w 1501"/>
              <a:gd name="T21" fmla="*/ 2285 h 2606"/>
              <a:gd name="T22" fmla="*/ 717 w 1501"/>
              <a:gd name="T23" fmla="*/ 2270 h 2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01" h="2606">
                <a:moveTo>
                  <a:pt x="717" y="2270"/>
                </a:moveTo>
                <a:lnTo>
                  <a:pt x="717" y="485"/>
                </a:lnTo>
                <a:lnTo>
                  <a:pt x="202" y="814"/>
                </a:lnTo>
                <a:lnTo>
                  <a:pt x="0" y="463"/>
                </a:lnTo>
                <a:lnTo>
                  <a:pt x="762" y="0"/>
                </a:lnTo>
                <a:lnTo>
                  <a:pt x="1158" y="0"/>
                </a:lnTo>
                <a:lnTo>
                  <a:pt x="1158" y="2270"/>
                </a:lnTo>
                <a:lnTo>
                  <a:pt x="1501" y="2285"/>
                </a:lnTo>
                <a:lnTo>
                  <a:pt x="1501" y="2606"/>
                </a:lnTo>
                <a:lnTo>
                  <a:pt x="381" y="2606"/>
                </a:lnTo>
                <a:lnTo>
                  <a:pt x="381" y="2285"/>
                </a:lnTo>
                <a:lnTo>
                  <a:pt x="717" y="2270"/>
                </a:lnTo>
                <a:close/>
              </a:path>
            </a:pathLst>
          </a:custGeom>
          <a:solidFill>
            <a:srgbClr val="FFFFFF"/>
          </a:solidFill>
          <a:ln>
            <a:noFill/>
          </a:ln>
        </p:spPr>
        <p:txBody>
          <a:bodyPr vert="horz" wrap="square" lIns="91392" tIns="45696" rIns="91392" bIns="45696"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endParaRPr lang="en-US" sz="1799" dirty="0">
              <a:solidFill>
                <a:srgbClr val="FFFFFF"/>
              </a:solidFill>
              <a:latin typeface="+mn-lt"/>
            </a:endParaRPr>
          </a:p>
        </p:txBody>
      </p:sp>
      <p:sp>
        <p:nvSpPr>
          <p:cNvPr id="14" name="Eingebuchteter Richtungspfeil 17">
            <a:extLst>
              <a:ext uri="{FF2B5EF4-FFF2-40B4-BE49-F238E27FC236}">
                <a16:creationId xmlns:a16="http://schemas.microsoft.com/office/drawing/2014/main" id="{9D39F594-94E0-49E7-9F09-1B97544EBA58}"/>
              </a:ext>
            </a:extLst>
          </p:cNvPr>
          <p:cNvSpPr/>
          <p:nvPr/>
        </p:nvSpPr>
        <p:spPr bwMode="auto">
          <a:xfrm>
            <a:off x="2219221" y="2494550"/>
            <a:ext cx="2050932" cy="1007475"/>
          </a:xfrm>
          <a:prstGeom prst="chevron">
            <a:avLst>
              <a:gd name="adj" fmla="val 37584"/>
            </a:avLst>
          </a:prstGeom>
          <a:solidFill>
            <a:srgbClr val="CCCCD4"/>
          </a:solidFill>
          <a:ln>
            <a:noFill/>
          </a:ln>
          <a:effectLst/>
        </p:spPr>
        <p:txBody>
          <a:bodyPr wrap="square" lIns="179906" tIns="0" rIns="179906" bIns="0" numCol="1" spcCol="72000" rtlCol="0" anchor="ctr" anchorCtr="0">
            <a:noAutofit/>
          </a:bodyPr>
          <a:lstStyle/>
          <a:p>
            <a:pPr lvl="0">
              <a:spcBef>
                <a:spcPct val="0"/>
              </a:spcBef>
            </a:pPr>
            <a:endParaRPr lang="en-US" sz="1599" b="1" kern="1400" dirty="0">
              <a:solidFill>
                <a:schemeClr val="bg1"/>
              </a:solidFill>
              <a:ea typeface="ＭＳ Ｐゴシック" pitchFamily="34" charset="-128"/>
              <a:cs typeface="Arial" charset="0"/>
            </a:endParaRPr>
          </a:p>
        </p:txBody>
      </p:sp>
      <p:sp>
        <p:nvSpPr>
          <p:cNvPr id="11" name="Freeform 9">
            <a:extLst>
              <a:ext uri="{FF2B5EF4-FFF2-40B4-BE49-F238E27FC236}">
                <a16:creationId xmlns:a16="http://schemas.microsoft.com/office/drawing/2014/main" id="{38548C51-3041-43E4-8DC5-3255FC7D6FB1}"/>
              </a:ext>
            </a:extLst>
          </p:cNvPr>
          <p:cNvSpPr>
            <a:spLocks/>
          </p:cNvSpPr>
          <p:nvPr/>
        </p:nvSpPr>
        <p:spPr bwMode="auto">
          <a:xfrm>
            <a:off x="4873453" y="2718422"/>
            <a:ext cx="358588" cy="568029"/>
          </a:xfrm>
          <a:custGeom>
            <a:avLst/>
            <a:gdLst>
              <a:gd name="T0" fmla="*/ 0 w 540"/>
              <a:gd name="T1" fmla="*/ 814 h 858"/>
              <a:gd name="T2" fmla="*/ 237 w 540"/>
              <a:gd name="T3" fmla="*/ 858 h 858"/>
              <a:gd name="T4" fmla="*/ 454 w 540"/>
              <a:gd name="T5" fmla="*/ 796 h 858"/>
              <a:gd name="T6" fmla="*/ 540 w 540"/>
              <a:gd name="T7" fmla="*/ 607 h 858"/>
              <a:gd name="T8" fmla="*/ 361 w 540"/>
              <a:gd name="T9" fmla="*/ 412 h 858"/>
              <a:gd name="T10" fmla="*/ 531 w 540"/>
              <a:gd name="T11" fmla="*/ 215 h 858"/>
              <a:gd name="T12" fmla="*/ 261 w 540"/>
              <a:gd name="T13" fmla="*/ 0 h 858"/>
              <a:gd name="T14" fmla="*/ 25 w 540"/>
              <a:gd name="T15" fmla="*/ 45 h 858"/>
              <a:gd name="T16" fmla="*/ 54 w 540"/>
              <a:gd name="T17" fmla="*/ 162 h 858"/>
              <a:gd name="T18" fmla="*/ 243 w 540"/>
              <a:gd name="T19" fmla="*/ 117 h 858"/>
              <a:gd name="T20" fmla="*/ 385 w 540"/>
              <a:gd name="T21" fmla="*/ 228 h 858"/>
              <a:gd name="T22" fmla="*/ 168 w 540"/>
              <a:gd name="T23" fmla="*/ 358 h 858"/>
              <a:gd name="T24" fmla="*/ 112 w 540"/>
              <a:gd name="T25" fmla="*/ 355 h 858"/>
              <a:gd name="T26" fmla="*/ 112 w 540"/>
              <a:gd name="T27" fmla="*/ 468 h 858"/>
              <a:gd name="T28" fmla="*/ 182 w 540"/>
              <a:gd name="T29" fmla="*/ 466 h 858"/>
              <a:gd name="T30" fmla="*/ 393 w 540"/>
              <a:gd name="T31" fmla="*/ 601 h 858"/>
              <a:gd name="T32" fmla="*/ 228 w 540"/>
              <a:gd name="T33" fmla="*/ 742 h 858"/>
              <a:gd name="T34" fmla="*/ 30 w 540"/>
              <a:gd name="T35" fmla="*/ 695 h 858"/>
              <a:gd name="T36" fmla="*/ 0 w 540"/>
              <a:gd name="T37" fmla="*/ 814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0" h="858">
                <a:moveTo>
                  <a:pt x="0" y="814"/>
                </a:moveTo>
                <a:cubicBezTo>
                  <a:pt x="80" y="845"/>
                  <a:pt x="150" y="858"/>
                  <a:pt x="237" y="858"/>
                </a:cubicBezTo>
                <a:cubicBezTo>
                  <a:pt x="332" y="858"/>
                  <a:pt x="404" y="838"/>
                  <a:pt x="454" y="796"/>
                </a:cubicBezTo>
                <a:cubicBezTo>
                  <a:pt x="508" y="751"/>
                  <a:pt x="540" y="684"/>
                  <a:pt x="540" y="607"/>
                </a:cubicBezTo>
                <a:cubicBezTo>
                  <a:pt x="540" y="493"/>
                  <a:pt x="481" y="429"/>
                  <a:pt x="361" y="412"/>
                </a:cubicBezTo>
                <a:cubicBezTo>
                  <a:pt x="474" y="390"/>
                  <a:pt x="531" y="324"/>
                  <a:pt x="531" y="215"/>
                </a:cubicBezTo>
                <a:cubicBezTo>
                  <a:pt x="531" y="78"/>
                  <a:pt x="433" y="0"/>
                  <a:pt x="261" y="0"/>
                </a:cubicBezTo>
                <a:cubicBezTo>
                  <a:pt x="177" y="0"/>
                  <a:pt x="104" y="13"/>
                  <a:pt x="25" y="45"/>
                </a:cubicBezTo>
                <a:cubicBezTo>
                  <a:pt x="54" y="162"/>
                  <a:pt x="54" y="162"/>
                  <a:pt x="54" y="162"/>
                </a:cubicBezTo>
                <a:cubicBezTo>
                  <a:pt x="130" y="130"/>
                  <a:pt x="186" y="117"/>
                  <a:pt x="243" y="117"/>
                </a:cubicBezTo>
                <a:cubicBezTo>
                  <a:pt x="332" y="117"/>
                  <a:pt x="385" y="159"/>
                  <a:pt x="385" y="228"/>
                </a:cubicBezTo>
                <a:cubicBezTo>
                  <a:pt x="385" y="313"/>
                  <a:pt x="310" y="358"/>
                  <a:pt x="168" y="358"/>
                </a:cubicBezTo>
                <a:cubicBezTo>
                  <a:pt x="145" y="358"/>
                  <a:pt x="142" y="358"/>
                  <a:pt x="112" y="355"/>
                </a:cubicBezTo>
                <a:cubicBezTo>
                  <a:pt x="112" y="468"/>
                  <a:pt x="112" y="468"/>
                  <a:pt x="112" y="468"/>
                </a:cubicBezTo>
                <a:cubicBezTo>
                  <a:pt x="150" y="466"/>
                  <a:pt x="159" y="466"/>
                  <a:pt x="182" y="466"/>
                </a:cubicBezTo>
                <a:cubicBezTo>
                  <a:pt x="325" y="466"/>
                  <a:pt x="393" y="510"/>
                  <a:pt x="393" y="601"/>
                </a:cubicBezTo>
                <a:cubicBezTo>
                  <a:pt x="393" y="689"/>
                  <a:pt x="331" y="742"/>
                  <a:pt x="228" y="742"/>
                </a:cubicBezTo>
                <a:cubicBezTo>
                  <a:pt x="160" y="742"/>
                  <a:pt x="100" y="727"/>
                  <a:pt x="30" y="695"/>
                </a:cubicBezTo>
                <a:lnTo>
                  <a:pt x="0" y="814"/>
                </a:lnTo>
                <a:close/>
              </a:path>
            </a:pathLst>
          </a:custGeom>
          <a:solidFill>
            <a:srgbClr val="FFFFFF"/>
          </a:solidFill>
          <a:ln>
            <a:noFill/>
          </a:ln>
        </p:spPr>
        <p:txBody>
          <a:bodyPr vert="horz" wrap="square" lIns="91392" tIns="45696" rIns="91392" bIns="45696" numCol="1" anchor="t" anchorCtr="0" compatLnSpc="1">
            <a:prstTxWarp prst="textNoShape">
              <a:avLst/>
            </a:prstTxWarp>
          </a:bodyPr>
          <a:lstStyle/>
          <a:p>
            <a:endParaRPr lang="en-US" sz="1799" dirty="0"/>
          </a:p>
        </p:txBody>
      </p:sp>
      <p:sp>
        <p:nvSpPr>
          <p:cNvPr id="12" name="Freeform 10">
            <a:extLst>
              <a:ext uri="{FF2B5EF4-FFF2-40B4-BE49-F238E27FC236}">
                <a16:creationId xmlns:a16="http://schemas.microsoft.com/office/drawing/2014/main" id="{E6F951C9-DCCF-48A8-A0D1-14F9FB116AA9}"/>
              </a:ext>
            </a:extLst>
          </p:cNvPr>
          <p:cNvSpPr>
            <a:spLocks noEditPoints="1"/>
          </p:cNvSpPr>
          <p:nvPr/>
        </p:nvSpPr>
        <p:spPr bwMode="auto">
          <a:xfrm>
            <a:off x="6657314" y="2718422"/>
            <a:ext cx="422055" cy="550576"/>
          </a:xfrm>
          <a:custGeom>
            <a:avLst/>
            <a:gdLst>
              <a:gd name="T0" fmla="*/ 159 w 266"/>
              <a:gd name="T1" fmla="*/ 57 h 347"/>
              <a:gd name="T2" fmla="*/ 159 w 266"/>
              <a:gd name="T3" fmla="*/ 205 h 347"/>
              <a:gd name="T4" fmla="*/ 57 w 266"/>
              <a:gd name="T5" fmla="*/ 205 h 347"/>
              <a:gd name="T6" fmla="*/ 159 w 266"/>
              <a:gd name="T7" fmla="*/ 57 h 347"/>
              <a:gd name="T8" fmla="*/ 142 w 266"/>
              <a:gd name="T9" fmla="*/ 0 h 347"/>
              <a:gd name="T10" fmla="*/ 0 w 266"/>
              <a:gd name="T11" fmla="*/ 203 h 347"/>
              <a:gd name="T12" fmla="*/ 0 w 266"/>
              <a:gd name="T13" fmla="*/ 252 h 347"/>
              <a:gd name="T14" fmla="*/ 158 w 266"/>
              <a:gd name="T15" fmla="*/ 252 h 347"/>
              <a:gd name="T16" fmla="*/ 158 w 266"/>
              <a:gd name="T17" fmla="*/ 304 h 347"/>
              <a:gd name="T18" fmla="*/ 115 w 266"/>
              <a:gd name="T19" fmla="*/ 305 h 347"/>
              <a:gd name="T20" fmla="*/ 115 w 266"/>
              <a:gd name="T21" fmla="*/ 347 h 347"/>
              <a:gd name="T22" fmla="*/ 254 w 266"/>
              <a:gd name="T23" fmla="*/ 347 h 347"/>
              <a:gd name="T24" fmla="*/ 254 w 266"/>
              <a:gd name="T25" fmla="*/ 305 h 347"/>
              <a:gd name="T26" fmla="*/ 216 w 266"/>
              <a:gd name="T27" fmla="*/ 304 h 347"/>
              <a:gd name="T28" fmla="*/ 216 w 266"/>
              <a:gd name="T29" fmla="*/ 252 h 347"/>
              <a:gd name="T30" fmla="*/ 266 w 266"/>
              <a:gd name="T31" fmla="*/ 252 h 347"/>
              <a:gd name="T32" fmla="*/ 266 w 266"/>
              <a:gd name="T33" fmla="*/ 205 h 347"/>
              <a:gd name="T34" fmla="*/ 216 w 266"/>
              <a:gd name="T35" fmla="*/ 205 h 347"/>
              <a:gd name="T36" fmla="*/ 216 w 266"/>
              <a:gd name="T37" fmla="*/ 0 h 347"/>
              <a:gd name="T38" fmla="*/ 142 w 266"/>
              <a:gd name="T39" fmla="*/ 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6" h="347">
                <a:moveTo>
                  <a:pt x="159" y="57"/>
                </a:moveTo>
                <a:lnTo>
                  <a:pt x="159" y="205"/>
                </a:lnTo>
                <a:lnTo>
                  <a:pt x="57" y="205"/>
                </a:lnTo>
                <a:lnTo>
                  <a:pt x="159" y="57"/>
                </a:lnTo>
                <a:close/>
                <a:moveTo>
                  <a:pt x="142" y="0"/>
                </a:moveTo>
                <a:lnTo>
                  <a:pt x="0" y="203"/>
                </a:lnTo>
                <a:lnTo>
                  <a:pt x="0" y="252"/>
                </a:lnTo>
                <a:lnTo>
                  <a:pt x="158" y="252"/>
                </a:lnTo>
                <a:lnTo>
                  <a:pt x="158" y="304"/>
                </a:lnTo>
                <a:lnTo>
                  <a:pt x="115" y="305"/>
                </a:lnTo>
                <a:lnTo>
                  <a:pt x="115" y="347"/>
                </a:lnTo>
                <a:lnTo>
                  <a:pt x="254" y="347"/>
                </a:lnTo>
                <a:lnTo>
                  <a:pt x="254" y="305"/>
                </a:lnTo>
                <a:lnTo>
                  <a:pt x="216" y="304"/>
                </a:lnTo>
                <a:lnTo>
                  <a:pt x="216" y="252"/>
                </a:lnTo>
                <a:lnTo>
                  <a:pt x="266" y="252"/>
                </a:lnTo>
                <a:lnTo>
                  <a:pt x="266" y="205"/>
                </a:lnTo>
                <a:lnTo>
                  <a:pt x="216" y="205"/>
                </a:lnTo>
                <a:lnTo>
                  <a:pt x="216" y="0"/>
                </a:lnTo>
                <a:lnTo>
                  <a:pt x="142" y="0"/>
                </a:lnTo>
                <a:close/>
              </a:path>
            </a:pathLst>
          </a:custGeom>
          <a:solidFill>
            <a:srgbClr val="FFFFFF"/>
          </a:solidFill>
          <a:ln>
            <a:noFill/>
          </a:ln>
        </p:spPr>
        <p:txBody>
          <a:bodyPr vert="horz" wrap="square" lIns="91392" tIns="45696" rIns="91392" bIns="45696" numCol="1" anchor="t" anchorCtr="0" compatLnSpc="1">
            <a:prstTxWarp prst="textNoShape">
              <a:avLst/>
            </a:prstTxWarp>
          </a:bodyPr>
          <a:lstStyle/>
          <a:p>
            <a:endParaRPr lang="en-US" sz="1799" dirty="0"/>
          </a:p>
        </p:txBody>
      </p:sp>
      <p:sp>
        <p:nvSpPr>
          <p:cNvPr id="13" name="Freeform 11">
            <a:extLst>
              <a:ext uri="{FF2B5EF4-FFF2-40B4-BE49-F238E27FC236}">
                <a16:creationId xmlns:a16="http://schemas.microsoft.com/office/drawing/2014/main" id="{6657C191-1C0B-4E17-85A7-D344BABA9D2A}"/>
              </a:ext>
            </a:extLst>
          </p:cNvPr>
          <p:cNvSpPr>
            <a:spLocks/>
          </p:cNvSpPr>
          <p:nvPr/>
        </p:nvSpPr>
        <p:spPr bwMode="auto">
          <a:xfrm>
            <a:off x="8495518" y="2718422"/>
            <a:ext cx="361762" cy="558509"/>
          </a:xfrm>
          <a:custGeom>
            <a:avLst/>
            <a:gdLst>
              <a:gd name="T0" fmla="*/ 0 w 546"/>
              <a:gd name="T1" fmla="*/ 793 h 844"/>
              <a:gd name="T2" fmla="*/ 240 w 546"/>
              <a:gd name="T3" fmla="*/ 844 h 844"/>
              <a:gd name="T4" fmla="*/ 461 w 546"/>
              <a:gd name="T5" fmla="*/ 773 h 844"/>
              <a:gd name="T6" fmla="*/ 546 w 546"/>
              <a:gd name="T7" fmla="*/ 559 h 844"/>
              <a:gd name="T8" fmla="*/ 269 w 546"/>
              <a:gd name="T9" fmla="*/ 294 h 844"/>
              <a:gd name="T10" fmla="*/ 180 w 546"/>
              <a:gd name="T11" fmla="*/ 303 h 844"/>
              <a:gd name="T12" fmla="*/ 186 w 546"/>
              <a:gd name="T13" fmla="*/ 118 h 844"/>
              <a:gd name="T14" fmla="*/ 516 w 546"/>
              <a:gd name="T15" fmla="*/ 118 h 844"/>
              <a:gd name="T16" fmla="*/ 516 w 546"/>
              <a:gd name="T17" fmla="*/ 0 h 844"/>
              <a:gd name="T18" fmla="*/ 47 w 546"/>
              <a:gd name="T19" fmla="*/ 0 h 844"/>
              <a:gd name="T20" fmla="*/ 34 w 546"/>
              <a:gd name="T21" fmla="*/ 441 h 844"/>
              <a:gd name="T22" fmla="*/ 223 w 546"/>
              <a:gd name="T23" fmla="*/ 406 h 844"/>
              <a:gd name="T24" fmla="*/ 400 w 546"/>
              <a:gd name="T25" fmla="*/ 557 h 844"/>
              <a:gd name="T26" fmla="*/ 227 w 546"/>
              <a:gd name="T27" fmla="*/ 727 h 844"/>
              <a:gd name="T28" fmla="*/ 40 w 546"/>
              <a:gd name="T29" fmla="*/ 673 h 844"/>
              <a:gd name="T30" fmla="*/ 0 w 546"/>
              <a:gd name="T31" fmla="*/ 793 h 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6" h="844">
                <a:moveTo>
                  <a:pt x="0" y="793"/>
                </a:moveTo>
                <a:cubicBezTo>
                  <a:pt x="76" y="828"/>
                  <a:pt x="149" y="844"/>
                  <a:pt x="240" y="844"/>
                </a:cubicBezTo>
                <a:cubicBezTo>
                  <a:pt x="340" y="844"/>
                  <a:pt x="408" y="822"/>
                  <a:pt x="461" y="773"/>
                </a:cubicBezTo>
                <a:cubicBezTo>
                  <a:pt x="516" y="721"/>
                  <a:pt x="546" y="647"/>
                  <a:pt x="546" y="559"/>
                </a:cubicBezTo>
                <a:cubicBezTo>
                  <a:pt x="546" y="390"/>
                  <a:pt x="445" y="294"/>
                  <a:pt x="269" y="294"/>
                </a:cubicBezTo>
                <a:cubicBezTo>
                  <a:pt x="235" y="294"/>
                  <a:pt x="214" y="297"/>
                  <a:pt x="180" y="303"/>
                </a:cubicBezTo>
                <a:cubicBezTo>
                  <a:pt x="186" y="118"/>
                  <a:pt x="186" y="118"/>
                  <a:pt x="186" y="118"/>
                </a:cubicBezTo>
                <a:cubicBezTo>
                  <a:pt x="516" y="118"/>
                  <a:pt x="516" y="118"/>
                  <a:pt x="516" y="118"/>
                </a:cubicBezTo>
                <a:cubicBezTo>
                  <a:pt x="516" y="0"/>
                  <a:pt x="516" y="0"/>
                  <a:pt x="516" y="0"/>
                </a:cubicBezTo>
                <a:cubicBezTo>
                  <a:pt x="47" y="0"/>
                  <a:pt x="47" y="0"/>
                  <a:pt x="47" y="0"/>
                </a:cubicBezTo>
                <a:cubicBezTo>
                  <a:pt x="34" y="441"/>
                  <a:pt x="34" y="441"/>
                  <a:pt x="34" y="441"/>
                </a:cubicBezTo>
                <a:cubicBezTo>
                  <a:pt x="112" y="415"/>
                  <a:pt x="165" y="406"/>
                  <a:pt x="223" y="406"/>
                </a:cubicBezTo>
                <a:cubicBezTo>
                  <a:pt x="336" y="406"/>
                  <a:pt x="400" y="460"/>
                  <a:pt x="400" y="557"/>
                </a:cubicBezTo>
                <a:cubicBezTo>
                  <a:pt x="400" y="661"/>
                  <a:pt x="331" y="727"/>
                  <a:pt x="227" y="727"/>
                </a:cubicBezTo>
                <a:cubicBezTo>
                  <a:pt x="166" y="727"/>
                  <a:pt x="109" y="711"/>
                  <a:pt x="40" y="673"/>
                </a:cubicBezTo>
                <a:lnTo>
                  <a:pt x="0" y="793"/>
                </a:lnTo>
                <a:close/>
              </a:path>
            </a:pathLst>
          </a:custGeom>
          <a:solidFill>
            <a:srgbClr val="FFFFFF"/>
          </a:solidFill>
          <a:ln>
            <a:noFill/>
          </a:ln>
        </p:spPr>
        <p:txBody>
          <a:bodyPr vert="horz" wrap="square" lIns="91392" tIns="45696" rIns="91392" bIns="45696" numCol="1" anchor="t" anchorCtr="0" compatLnSpc="1">
            <a:prstTxWarp prst="textNoShape">
              <a:avLst/>
            </a:prstTxWarp>
          </a:bodyPr>
          <a:lstStyle/>
          <a:p>
            <a:endParaRPr lang="en-US" sz="1799" dirty="0"/>
          </a:p>
        </p:txBody>
      </p:sp>
      <p:sp>
        <p:nvSpPr>
          <p:cNvPr id="33" name="Freeform 119">
            <a:extLst>
              <a:ext uri="{FF2B5EF4-FFF2-40B4-BE49-F238E27FC236}">
                <a16:creationId xmlns:a16="http://schemas.microsoft.com/office/drawing/2014/main" id="{BE2A9E55-E620-1D49-A9CD-B861AA67D804}"/>
              </a:ext>
            </a:extLst>
          </p:cNvPr>
          <p:cNvSpPr>
            <a:spLocks/>
          </p:cNvSpPr>
          <p:nvPr/>
        </p:nvSpPr>
        <p:spPr bwMode="gray">
          <a:xfrm>
            <a:off x="3065007" y="2718422"/>
            <a:ext cx="359362" cy="559733"/>
          </a:xfrm>
          <a:custGeom>
            <a:avLst/>
            <a:gdLst>
              <a:gd name="T0" fmla="*/ 0 w 228"/>
              <a:gd name="T1" fmla="*/ 355 h 355"/>
              <a:gd name="T2" fmla="*/ 0 w 228"/>
              <a:gd name="T3" fmla="*/ 307 h 355"/>
              <a:gd name="T4" fmla="*/ 105 w 228"/>
              <a:gd name="T5" fmla="*/ 203 h 355"/>
              <a:gd name="T6" fmla="*/ 153 w 228"/>
              <a:gd name="T7" fmla="*/ 141 h 355"/>
              <a:gd name="T8" fmla="*/ 164 w 228"/>
              <a:gd name="T9" fmla="*/ 100 h 355"/>
              <a:gd name="T10" fmla="*/ 148 w 228"/>
              <a:gd name="T11" fmla="*/ 64 h 355"/>
              <a:gd name="T12" fmla="*/ 104 w 228"/>
              <a:gd name="T13" fmla="*/ 49 h 355"/>
              <a:gd name="T14" fmla="*/ 20 w 228"/>
              <a:gd name="T15" fmla="*/ 75 h 355"/>
              <a:gd name="T16" fmla="*/ 5 w 228"/>
              <a:gd name="T17" fmla="*/ 24 h 355"/>
              <a:gd name="T18" fmla="*/ 111 w 228"/>
              <a:gd name="T19" fmla="*/ 0 h 355"/>
              <a:gd name="T20" fmla="*/ 193 w 228"/>
              <a:gd name="T21" fmla="*/ 23 h 355"/>
              <a:gd name="T22" fmla="*/ 225 w 228"/>
              <a:gd name="T23" fmla="*/ 97 h 355"/>
              <a:gd name="T24" fmla="*/ 195 w 228"/>
              <a:gd name="T25" fmla="*/ 183 h 355"/>
              <a:gd name="T26" fmla="*/ 80 w 228"/>
              <a:gd name="T27" fmla="*/ 306 h 355"/>
              <a:gd name="T28" fmla="*/ 228 w 228"/>
              <a:gd name="T29" fmla="*/ 306 h 355"/>
              <a:gd name="T30" fmla="*/ 228 w 228"/>
              <a:gd name="T31" fmla="*/ 355 h 355"/>
              <a:gd name="T32" fmla="*/ 0 w 228"/>
              <a:gd name="T33" fmla="*/ 355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8" h="355">
                <a:moveTo>
                  <a:pt x="0" y="355"/>
                </a:moveTo>
                <a:cubicBezTo>
                  <a:pt x="0" y="307"/>
                  <a:pt x="0" y="307"/>
                  <a:pt x="0" y="307"/>
                </a:cubicBezTo>
                <a:cubicBezTo>
                  <a:pt x="46" y="264"/>
                  <a:pt x="81" y="230"/>
                  <a:pt x="105" y="203"/>
                </a:cubicBezTo>
                <a:cubicBezTo>
                  <a:pt x="130" y="176"/>
                  <a:pt x="146" y="155"/>
                  <a:pt x="153" y="141"/>
                </a:cubicBezTo>
                <a:cubicBezTo>
                  <a:pt x="160" y="126"/>
                  <a:pt x="164" y="113"/>
                  <a:pt x="164" y="100"/>
                </a:cubicBezTo>
                <a:cubicBezTo>
                  <a:pt x="164" y="85"/>
                  <a:pt x="159" y="73"/>
                  <a:pt x="148" y="64"/>
                </a:cubicBezTo>
                <a:cubicBezTo>
                  <a:pt x="137" y="54"/>
                  <a:pt x="122" y="49"/>
                  <a:pt x="104" y="49"/>
                </a:cubicBezTo>
                <a:cubicBezTo>
                  <a:pt x="80" y="49"/>
                  <a:pt x="52" y="58"/>
                  <a:pt x="20" y="75"/>
                </a:cubicBezTo>
                <a:cubicBezTo>
                  <a:pt x="5" y="24"/>
                  <a:pt x="5" y="24"/>
                  <a:pt x="5" y="24"/>
                </a:cubicBezTo>
                <a:cubicBezTo>
                  <a:pt x="40" y="8"/>
                  <a:pt x="75" y="0"/>
                  <a:pt x="111" y="0"/>
                </a:cubicBezTo>
                <a:cubicBezTo>
                  <a:pt x="145" y="0"/>
                  <a:pt x="173" y="8"/>
                  <a:pt x="193" y="23"/>
                </a:cubicBezTo>
                <a:cubicBezTo>
                  <a:pt x="215" y="40"/>
                  <a:pt x="225" y="65"/>
                  <a:pt x="225" y="97"/>
                </a:cubicBezTo>
                <a:cubicBezTo>
                  <a:pt x="225" y="125"/>
                  <a:pt x="215" y="154"/>
                  <a:pt x="195" y="183"/>
                </a:cubicBezTo>
                <a:cubicBezTo>
                  <a:pt x="173" y="215"/>
                  <a:pt x="134" y="255"/>
                  <a:pt x="80" y="306"/>
                </a:cubicBezTo>
                <a:cubicBezTo>
                  <a:pt x="228" y="306"/>
                  <a:pt x="228" y="306"/>
                  <a:pt x="228" y="306"/>
                </a:cubicBezTo>
                <a:cubicBezTo>
                  <a:pt x="228" y="355"/>
                  <a:pt x="228" y="355"/>
                  <a:pt x="228" y="355"/>
                </a:cubicBezTo>
                <a:lnTo>
                  <a:pt x="0" y="355"/>
                </a:lnTo>
                <a:close/>
              </a:path>
            </a:pathLst>
          </a:custGeom>
          <a:solidFill>
            <a:srgbClr val="FFFFFF"/>
          </a:solidFill>
          <a:ln>
            <a:noFill/>
          </a:ln>
        </p:spPr>
        <p:txBody>
          <a:bodyPr vert="horz" wrap="square" lIns="91392" tIns="45696" rIns="91392" bIns="45696"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endParaRPr lang="en-US" sz="1799" dirty="0">
              <a:latin typeface="+mn-lt"/>
            </a:endParaRPr>
          </a:p>
        </p:txBody>
      </p:sp>
      <p:sp>
        <p:nvSpPr>
          <p:cNvPr id="28" name="Rechteck 18">
            <a:extLst>
              <a:ext uri="{FF2B5EF4-FFF2-40B4-BE49-F238E27FC236}">
                <a16:creationId xmlns:a16="http://schemas.microsoft.com/office/drawing/2014/main" id="{F5125CC7-60CD-4484-B584-86F76B9E48AC}"/>
              </a:ext>
            </a:extLst>
          </p:cNvPr>
          <p:cNvSpPr>
            <a:spLocks/>
          </p:cNvSpPr>
          <p:nvPr/>
        </p:nvSpPr>
        <p:spPr bwMode="gray">
          <a:xfrm>
            <a:off x="410400" y="3725897"/>
            <a:ext cx="1658095" cy="2081178"/>
          </a:xfrm>
          <a:prstGeom prst="rect">
            <a:avLst/>
          </a:prstGeom>
          <a:noFill/>
          <a:ln>
            <a:noFill/>
          </a:ln>
          <a:effectLst/>
        </p:spPr>
        <p:txBody>
          <a:bodyPr wrap="square" lIns="0" tIns="0" rIns="0" bIns="0" rtlCol="0" anchor="t">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nSpc>
                <a:spcPct val="90000"/>
              </a:lnSpc>
              <a:spcBef>
                <a:spcPts val="0"/>
              </a:spcBef>
              <a:buClr>
                <a:schemeClr val="accent1"/>
              </a:buClr>
              <a:buSzPct val="120000"/>
            </a:pPr>
            <a:r>
              <a:rPr lang="en-US" sz="1599" b="1" dirty="0">
                <a:solidFill>
                  <a:srgbClr val="66667E"/>
                </a:solidFill>
                <a:latin typeface="+mn-lt"/>
              </a:rPr>
              <a:t>Cras ultricies</a:t>
            </a:r>
          </a:p>
        </p:txBody>
      </p:sp>
      <p:sp>
        <p:nvSpPr>
          <p:cNvPr id="29" name="Rechteck 18">
            <a:extLst>
              <a:ext uri="{FF2B5EF4-FFF2-40B4-BE49-F238E27FC236}">
                <a16:creationId xmlns:a16="http://schemas.microsoft.com/office/drawing/2014/main" id="{9ED06B73-B8BE-4105-B9D9-0C184233311D}"/>
              </a:ext>
            </a:extLst>
          </p:cNvPr>
          <p:cNvSpPr>
            <a:spLocks/>
          </p:cNvSpPr>
          <p:nvPr/>
        </p:nvSpPr>
        <p:spPr bwMode="gray">
          <a:xfrm>
            <a:off x="2218458" y="3725897"/>
            <a:ext cx="1658095" cy="2081178"/>
          </a:xfrm>
          <a:prstGeom prst="rect">
            <a:avLst/>
          </a:prstGeom>
          <a:noFill/>
          <a:ln>
            <a:noFill/>
          </a:ln>
          <a:effectLst/>
        </p:spPr>
        <p:txBody>
          <a:bodyPr wrap="square" lIns="0" tIns="0" rIns="0" bIns="0" rtlCol="0" anchor="t">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nSpc>
                <a:spcPct val="90000"/>
              </a:lnSpc>
              <a:spcBef>
                <a:spcPts val="0"/>
              </a:spcBef>
              <a:buClr>
                <a:schemeClr val="accent1"/>
              </a:buClr>
              <a:buSzPct val="120000"/>
            </a:pPr>
            <a:r>
              <a:rPr lang="en-US" sz="1599" b="1" dirty="0">
                <a:solidFill>
                  <a:srgbClr val="66667E"/>
                </a:solidFill>
                <a:latin typeface="+mn-lt"/>
              </a:rPr>
              <a:t>Tortor suscipi destrato</a:t>
            </a:r>
          </a:p>
        </p:txBody>
      </p:sp>
      <p:sp>
        <p:nvSpPr>
          <p:cNvPr id="30" name="Rechteck 18">
            <a:extLst>
              <a:ext uri="{FF2B5EF4-FFF2-40B4-BE49-F238E27FC236}">
                <a16:creationId xmlns:a16="http://schemas.microsoft.com/office/drawing/2014/main" id="{CEBFDFCA-8904-40B8-9B0F-B52DF016B017}"/>
              </a:ext>
            </a:extLst>
          </p:cNvPr>
          <p:cNvSpPr>
            <a:spLocks/>
          </p:cNvSpPr>
          <p:nvPr/>
        </p:nvSpPr>
        <p:spPr bwMode="gray">
          <a:xfrm>
            <a:off x="5842112" y="3725897"/>
            <a:ext cx="1658095" cy="2081178"/>
          </a:xfrm>
          <a:prstGeom prst="rect">
            <a:avLst/>
          </a:prstGeom>
          <a:noFill/>
          <a:ln>
            <a:noFill/>
          </a:ln>
          <a:effectLst/>
        </p:spPr>
        <p:txBody>
          <a:bodyPr wrap="square" lIns="0" tIns="0" rIns="0" bIns="0" rtlCol="0" anchor="t">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nSpc>
                <a:spcPct val="90000"/>
              </a:lnSpc>
              <a:spcBef>
                <a:spcPts val="0"/>
              </a:spcBef>
              <a:buClr>
                <a:schemeClr val="accent1"/>
              </a:buClr>
              <a:buSzPct val="120000"/>
            </a:pPr>
            <a:r>
              <a:rPr lang="en-US" sz="1599" b="1" dirty="0">
                <a:solidFill>
                  <a:srgbClr val="66667E"/>
                </a:solidFill>
                <a:latin typeface="+mn-lt"/>
              </a:rPr>
              <a:t>Duis arcur</a:t>
            </a:r>
          </a:p>
        </p:txBody>
      </p:sp>
      <p:sp>
        <p:nvSpPr>
          <p:cNvPr id="31" name="Rechteck 18">
            <a:extLst>
              <a:ext uri="{FF2B5EF4-FFF2-40B4-BE49-F238E27FC236}">
                <a16:creationId xmlns:a16="http://schemas.microsoft.com/office/drawing/2014/main" id="{9ECC3861-1316-42B4-9A11-C34568E4870C}"/>
              </a:ext>
            </a:extLst>
          </p:cNvPr>
          <p:cNvSpPr>
            <a:spLocks/>
          </p:cNvSpPr>
          <p:nvPr/>
        </p:nvSpPr>
        <p:spPr bwMode="gray">
          <a:xfrm>
            <a:off x="7650170" y="3725897"/>
            <a:ext cx="1658095" cy="2081178"/>
          </a:xfrm>
          <a:prstGeom prst="rect">
            <a:avLst/>
          </a:prstGeom>
          <a:noFill/>
          <a:ln>
            <a:noFill/>
          </a:ln>
          <a:effectLst/>
        </p:spPr>
        <p:txBody>
          <a:bodyPr wrap="square" lIns="0" tIns="0" rIns="0" bIns="0" rtlCol="0" anchor="t">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nSpc>
                <a:spcPct val="90000"/>
              </a:lnSpc>
              <a:spcBef>
                <a:spcPts val="0"/>
              </a:spcBef>
              <a:buClr>
                <a:schemeClr val="accent1"/>
              </a:buClr>
              <a:buSzPct val="120000"/>
            </a:pPr>
            <a:r>
              <a:rPr lang="en-US" sz="1599" b="1" dirty="0">
                <a:solidFill>
                  <a:srgbClr val="66667E"/>
                </a:solidFill>
                <a:latin typeface="+mn-lt"/>
              </a:rPr>
              <a:t>Phasellus sem nechtiq</a:t>
            </a:r>
          </a:p>
        </p:txBody>
      </p:sp>
      <p:sp>
        <p:nvSpPr>
          <p:cNvPr id="25" name="Rechteck 18">
            <a:extLst>
              <a:ext uri="{FF2B5EF4-FFF2-40B4-BE49-F238E27FC236}">
                <a16:creationId xmlns:a16="http://schemas.microsoft.com/office/drawing/2014/main" id="{19A537B1-74D1-4DBA-A915-784392A1CE5A}"/>
              </a:ext>
            </a:extLst>
          </p:cNvPr>
          <p:cNvSpPr>
            <a:spLocks/>
          </p:cNvSpPr>
          <p:nvPr/>
        </p:nvSpPr>
        <p:spPr bwMode="gray">
          <a:xfrm>
            <a:off x="4026516" y="3725897"/>
            <a:ext cx="1658095" cy="2081178"/>
          </a:xfrm>
          <a:prstGeom prst="rect">
            <a:avLst/>
          </a:prstGeom>
          <a:noFill/>
          <a:ln>
            <a:noFill/>
          </a:ln>
          <a:effectLst/>
        </p:spPr>
        <p:txBody>
          <a:bodyPr wrap="square" lIns="0" tIns="0" rIns="0" bIns="0" rtlCol="0" anchor="t">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nSpc>
                <a:spcPct val="90000"/>
              </a:lnSpc>
              <a:spcBef>
                <a:spcPts val="0"/>
              </a:spcBef>
              <a:buClr>
                <a:schemeClr val="accent1"/>
              </a:buClr>
              <a:buSzPct val="120000"/>
            </a:pPr>
            <a:r>
              <a:rPr lang="en-US" sz="1599" b="1" dirty="0">
                <a:solidFill>
                  <a:srgbClr val="66667E"/>
                </a:solidFill>
                <a:latin typeface="+mn-lt"/>
              </a:rPr>
              <a:t>Duis arcur</a:t>
            </a:r>
          </a:p>
        </p:txBody>
      </p:sp>
      <p:sp>
        <p:nvSpPr>
          <p:cNvPr id="4" name="Footer Placeholder 3">
            <a:extLst>
              <a:ext uri="{FF2B5EF4-FFF2-40B4-BE49-F238E27FC236}">
                <a16:creationId xmlns:a16="http://schemas.microsoft.com/office/drawing/2014/main" id="{9F21DC2E-A988-47E3-9ED4-0D8E91A2432F}"/>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5" name="Slide Number Placeholder 4">
            <a:extLst>
              <a:ext uri="{FF2B5EF4-FFF2-40B4-BE49-F238E27FC236}">
                <a16:creationId xmlns:a16="http://schemas.microsoft.com/office/drawing/2014/main" id="{E2A1F72E-8F54-4303-B837-4AC24375693E}"/>
              </a:ext>
            </a:extLst>
          </p:cNvPr>
          <p:cNvSpPr>
            <a:spLocks noGrp="1"/>
          </p:cNvSpPr>
          <p:nvPr>
            <p:ph type="sldNum" sz="quarter" idx="11"/>
          </p:nvPr>
        </p:nvSpPr>
        <p:spPr/>
        <p:txBody>
          <a:bodyPr/>
          <a:lstStyle/>
          <a:p>
            <a:r>
              <a:rPr lang="en-US" dirty="0"/>
              <a:t>Page </a:t>
            </a:r>
            <a:fld id="{15EBE321-CBB1-4E91-BD14-37C8D44326FB}" type="slidenum">
              <a:rPr lang="en-US" smtClean="0"/>
              <a:pPr/>
              <a:t>116</a:t>
            </a:fld>
            <a:endParaRPr lang="en-US" dirty="0"/>
          </a:p>
        </p:txBody>
      </p:sp>
    </p:spTree>
    <p:extLst>
      <p:ext uri="{BB962C8B-B14F-4D97-AF65-F5344CB8AC3E}">
        <p14:creationId xmlns:p14="http://schemas.microsoft.com/office/powerpoint/2010/main" val="1644006701"/>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3" imgW="360" imgH="360" progId="">
                  <p:embed/>
                </p:oleObj>
              </mc:Choice>
              <mc:Fallback>
                <p:oleObj name="think-cell Folie" r:id="rId3" imgW="360" imgH="360" progId="">
                  <p:embed/>
                  <p:pic>
                    <p:nvPicPr>
                      <p:cNvPr id="3" name="Objek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en-US" dirty="0"/>
              <a:t>Process – five steps overview (arrows)</a:t>
            </a:r>
          </a:p>
        </p:txBody>
      </p:sp>
      <p:sp>
        <p:nvSpPr>
          <p:cNvPr id="34" name="Eingebuchteter Richtungspfeil 33">
            <a:extLst>
              <a:ext uri="{FF2B5EF4-FFF2-40B4-BE49-F238E27FC236}">
                <a16:creationId xmlns:a16="http://schemas.microsoft.com/office/drawing/2014/main" id="{328B6335-135A-DB4A-BEF5-467B5477039C}"/>
              </a:ext>
            </a:extLst>
          </p:cNvPr>
          <p:cNvSpPr/>
          <p:nvPr/>
        </p:nvSpPr>
        <p:spPr bwMode="auto">
          <a:xfrm>
            <a:off x="5842875" y="2494550"/>
            <a:ext cx="2050932" cy="1007475"/>
          </a:xfrm>
          <a:prstGeom prst="chevron">
            <a:avLst>
              <a:gd name="adj" fmla="val 37379"/>
            </a:avLst>
          </a:prstGeom>
          <a:solidFill>
            <a:srgbClr val="66667E"/>
          </a:solidFill>
          <a:ln>
            <a:noFill/>
          </a:ln>
          <a:effectLst/>
        </p:spPr>
        <p:txBody>
          <a:bodyPr wrap="square" lIns="179906" tIns="0" rIns="179906" bIns="0" numCol="1" spcCol="72000" rtlCol="0" anchor="ctr" anchorCtr="0">
            <a:noAutofit/>
          </a:bodyPr>
          <a:lstStyle/>
          <a:p>
            <a:pPr lvl="0">
              <a:spcBef>
                <a:spcPct val="0"/>
              </a:spcBef>
            </a:pPr>
            <a:endParaRPr lang="en-US" sz="1599" b="1" kern="1400" dirty="0">
              <a:solidFill>
                <a:schemeClr val="bg1"/>
              </a:solidFill>
              <a:ea typeface="ＭＳ Ｐゴシック" pitchFamily="34" charset="-128"/>
              <a:cs typeface="Arial" charset="0"/>
            </a:endParaRPr>
          </a:p>
        </p:txBody>
      </p:sp>
      <p:sp>
        <p:nvSpPr>
          <p:cNvPr id="20" name="Eingebuchteter Richtungspfeil 33">
            <a:extLst>
              <a:ext uri="{FF2B5EF4-FFF2-40B4-BE49-F238E27FC236}">
                <a16:creationId xmlns:a16="http://schemas.microsoft.com/office/drawing/2014/main" id="{43DC93BE-E11A-4483-8B19-40FCE3F83393}"/>
              </a:ext>
            </a:extLst>
          </p:cNvPr>
          <p:cNvSpPr/>
          <p:nvPr/>
        </p:nvSpPr>
        <p:spPr bwMode="auto">
          <a:xfrm>
            <a:off x="7650933" y="2494550"/>
            <a:ext cx="2050932" cy="1007475"/>
          </a:xfrm>
          <a:prstGeom prst="chevron">
            <a:avLst>
              <a:gd name="adj" fmla="val 37379"/>
            </a:avLst>
          </a:prstGeom>
          <a:solidFill>
            <a:srgbClr val="66667E"/>
          </a:solidFill>
          <a:ln>
            <a:noFill/>
          </a:ln>
          <a:effectLst/>
        </p:spPr>
        <p:txBody>
          <a:bodyPr wrap="square" lIns="179906" tIns="0" rIns="179906" bIns="0" numCol="1" spcCol="72000" rtlCol="0" anchor="ctr" anchorCtr="0">
            <a:noAutofit/>
          </a:bodyPr>
          <a:lstStyle/>
          <a:p>
            <a:pPr lvl="0">
              <a:spcBef>
                <a:spcPct val="0"/>
              </a:spcBef>
            </a:pPr>
            <a:endParaRPr lang="en-US" sz="1599" b="1" kern="1400" dirty="0">
              <a:solidFill>
                <a:schemeClr val="bg1"/>
              </a:solidFill>
              <a:ea typeface="ＭＳ Ｐゴシック" pitchFamily="34" charset="-128"/>
              <a:cs typeface="Arial" charset="0"/>
            </a:endParaRPr>
          </a:p>
        </p:txBody>
      </p:sp>
      <p:sp>
        <p:nvSpPr>
          <p:cNvPr id="24" name="Eingebuchteter Richtungspfeil 33">
            <a:extLst>
              <a:ext uri="{FF2B5EF4-FFF2-40B4-BE49-F238E27FC236}">
                <a16:creationId xmlns:a16="http://schemas.microsoft.com/office/drawing/2014/main" id="{CEE97C04-EA30-4BA4-8BC2-E73106013414}"/>
              </a:ext>
            </a:extLst>
          </p:cNvPr>
          <p:cNvSpPr/>
          <p:nvPr/>
        </p:nvSpPr>
        <p:spPr bwMode="auto">
          <a:xfrm>
            <a:off x="4027280" y="2494550"/>
            <a:ext cx="2050932" cy="1007475"/>
          </a:xfrm>
          <a:prstGeom prst="chevron">
            <a:avLst>
              <a:gd name="adj" fmla="val 37379"/>
            </a:avLst>
          </a:prstGeom>
          <a:solidFill>
            <a:srgbClr val="66667E"/>
          </a:solidFill>
          <a:ln>
            <a:noFill/>
          </a:ln>
          <a:effectLst/>
        </p:spPr>
        <p:txBody>
          <a:bodyPr wrap="square" lIns="179906" tIns="0" rIns="179906" bIns="0" numCol="1" spcCol="72000" rtlCol="0" anchor="ctr" anchorCtr="0">
            <a:noAutofit/>
          </a:bodyPr>
          <a:lstStyle/>
          <a:p>
            <a:pPr lvl="0">
              <a:spcBef>
                <a:spcPct val="0"/>
              </a:spcBef>
            </a:pPr>
            <a:endParaRPr lang="en-US" sz="1599" b="1" kern="1400" dirty="0">
              <a:solidFill>
                <a:schemeClr val="bg1"/>
              </a:solidFill>
              <a:ea typeface="ＭＳ Ｐゴシック" pitchFamily="34" charset="-128"/>
              <a:cs typeface="Arial" charset="0"/>
            </a:endParaRPr>
          </a:p>
        </p:txBody>
      </p:sp>
      <p:sp>
        <p:nvSpPr>
          <p:cNvPr id="15" name="Richtungspfeil 14">
            <a:extLst>
              <a:ext uri="{FF2B5EF4-FFF2-40B4-BE49-F238E27FC236}">
                <a16:creationId xmlns:a16="http://schemas.microsoft.com/office/drawing/2014/main" id="{83B8E878-E814-884D-A5F6-AC2C5E720E1D}"/>
              </a:ext>
            </a:extLst>
          </p:cNvPr>
          <p:cNvSpPr/>
          <p:nvPr/>
        </p:nvSpPr>
        <p:spPr bwMode="auto">
          <a:xfrm>
            <a:off x="411163" y="2494550"/>
            <a:ext cx="2050932" cy="1007475"/>
          </a:xfrm>
          <a:prstGeom prst="homePlate">
            <a:avLst>
              <a:gd name="adj" fmla="val 37199"/>
            </a:avLst>
          </a:prstGeom>
          <a:solidFill>
            <a:srgbClr val="66667E"/>
          </a:solidFill>
          <a:ln>
            <a:noFill/>
          </a:ln>
          <a:effectLst/>
        </p:spPr>
        <p:txBody>
          <a:bodyPr wrap="square" lIns="179906" tIns="0" rIns="179906" bIns="0" numCol="1" spcCol="72000" rtlCol="0" anchor="ctr" anchorCtr="0">
            <a:noAutofit/>
          </a:bodyPr>
          <a:lstStyle/>
          <a:p>
            <a:pPr lvl="0">
              <a:spcBef>
                <a:spcPct val="0"/>
              </a:spcBef>
            </a:pPr>
            <a:endParaRPr lang="en-US" sz="1599" b="1" kern="1400" dirty="0">
              <a:solidFill>
                <a:schemeClr val="bg1"/>
              </a:solidFill>
              <a:ea typeface="ＭＳ Ｐゴシック" pitchFamily="34" charset="-128"/>
              <a:cs typeface="Arial" charset="0"/>
            </a:endParaRPr>
          </a:p>
        </p:txBody>
      </p:sp>
      <p:sp>
        <p:nvSpPr>
          <p:cNvPr id="16" name="Freeform 118">
            <a:extLst>
              <a:ext uri="{FF2B5EF4-FFF2-40B4-BE49-F238E27FC236}">
                <a16:creationId xmlns:a16="http://schemas.microsoft.com/office/drawing/2014/main" id="{55518276-19F8-F34B-98C8-2567A95DB361}"/>
              </a:ext>
            </a:extLst>
          </p:cNvPr>
          <p:cNvSpPr>
            <a:spLocks/>
          </p:cNvSpPr>
          <p:nvPr/>
        </p:nvSpPr>
        <p:spPr bwMode="gray">
          <a:xfrm>
            <a:off x="1127113" y="2724148"/>
            <a:ext cx="315798" cy="548281"/>
          </a:xfrm>
          <a:custGeom>
            <a:avLst/>
            <a:gdLst>
              <a:gd name="T0" fmla="*/ 717 w 1501"/>
              <a:gd name="T1" fmla="*/ 2270 h 2606"/>
              <a:gd name="T2" fmla="*/ 717 w 1501"/>
              <a:gd name="T3" fmla="*/ 485 h 2606"/>
              <a:gd name="T4" fmla="*/ 202 w 1501"/>
              <a:gd name="T5" fmla="*/ 814 h 2606"/>
              <a:gd name="T6" fmla="*/ 0 w 1501"/>
              <a:gd name="T7" fmla="*/ 463 h 2606"/>
              <a:gd name="T8" fmla="*/ 762 w 1501"/>
              <a:gd name="T9" fmla="*/ 0 h 2606"/>
              <a:gd name="T10" fmla="*/ 1158 w 1501"/>
              <a:gd name="T11" fmla="*/ 0 h 2606"/>
              <a:gd name="T12" fmla="*/ 1158 w 1501"/>
              <a:gd name="T13" fmla="*/ 2270 h 2606"/>
              <a:gd name="T14" fmla="*/ 1501 w 1501"/>
              <a:gd name="T15" fmla="*/ 2285 h 2606"/>
              <a:gd name="T16" fmla="*/ 1501 w 1501"/>
              <a:gd name="T17" fmla="*/ 2606 h 2606"/>
              <a:gd name="T18" fmla="*/ 381 w 1501"/>
              <a:gd name="T19" fmla="*/ 2606 h 2606"/>
              <a:gd name="T20" fmla="*/ 381 w 1501"/>
              <a:gd name="T21" fmla="*/ 2285 h 2606"/>
              <a:gd name="T22" fmla="*/ 717 w 1501"/>
              <a:gd name="T23" fmla="*/ 2270 h 2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01" h="2606">
                <a:moveTo>
                  <a:pt x="717" y="2270"/>
                </a:moveTo>
                <a:lnTo>
                  <a:pt x="717" y="485"/>
                </a:lnTo>
                <a:lnTo>
                  <a:pt x="202" y="814"/>
                </a:lnTo>
                <a:lnTo>
                  <a:pt x="0" y="463"/>
                </a:lnTo>
                <a:lnTo>
                  <a:pt x="762" y="0"/>
                </a:lnTo>
                <a:lnTo>
                  <a:pt x="1158" y="0"/>
                </a:lnTo>
                <a:lnTo>
                  <a:pt x="1158" y="2270"/>
                </a:lnTo>
                <a:lnTo>
                  <a:pt x="1501" y="2285"/>
                </a:lnTo>
                <a:lnTo>
                  <a:pt x="1501" y="2606"/>
                </a:lnTo>
                <a:lnTo>
                  <a:pt x="381" y="2606"/>
                </a:lnTo>
                <a:lnTo>
                  <a:pt x="381" y="2285"/>
                </a:lnTo>
                <a:lnTo>
                  <a:pt x="717" y="2270"/>
                </a:lnTo>
                <a:close/>
              </a:path>
            </a:pathLst>
          </a:custGeom>
          <a:solidFill>
            <a:schemeClr val="bg2"/>
          </a:solidFill>
          <a:ln>
            <a:noFill/>
          </a:ln>
        </p:spPr>
        <p:txBody>
          <a:bodyPr vert="horz" wrap="square" lIns="91392" tIns="45696" rIns="91392" bIns="45696"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endParaRPr lang="en-US" sz="1799" dirty="0">
              <a:solidFill>
                <a:srgbClr val="FFFFFF"/>
              </a:solidFill>
              <a:latin typeface="+mn-lt"/>
            </a:endParaRPr>
          </a:p>
        </p:txBody>
      </p:sp>
      <p:sp>
        <p:nvSpPr>
          <p:cNvPr id="14" name="Eingebuchteter Richtungspfeil 17">
            <a:extLst>
              <a:ext uri="{FF2B5EF4-FFF2-40B4-BE49-F238E27FC236}">
                <a16:creationId xmlns:a16="http://schemas.microsoft.com/office/drawing/2014/main" id="{9D39F594-94E0-49E7-9F09-1B97544EBA58}"/>
              </a:ext>
            </a:extLst>
          </p:cNvPr>
          <p:cNvSpPr/>
          <p:nvPr/>
        </p:nvSpPr>
        <p:spPr bwMode="auto">
          <a:xfrm>
            <a:off x="2219221" y="2494550"/>
            <a:ext cx="2050932" cy="1007475"/>
          </a:xfrm>
          <a:prstGeom prst="chevron">
            <a:avLst>
              <a:gd name="adj" fmla="val 37584"/>
            </a:avLst>
          </a:prstGeom>
          <a:solidFill>
            <a:srgbClr val="66667E"/>
          </a:solidFill>
          <a:ln>
            <a:noFill/>
          </a:ln>
          <a:effectLst/>
        </p:spPr>
        <p:txBody>
          <a:bodyPr wrap="square" lIns="179906" tIns="0" rIns="179906" bIns="0" numCol="1" spcCol="72000" rtlCol="0" anchor="ctr" anchorCtr="0">
            <a:noAutofit/>
          </a:bodyPr>
          <a:lstStyle/>
          <a:p>
            <a:pPr lvl="0">
              <a:spcBef>
                <a:spcPct val="0"/>
              </a:spcBef>
            </a:pPr>
            <a:endParaRPr lang="en-US" sz="1599" b="1" kern="1400" dirty="0">
              <a:solidFill>
                <a:schemeClr val="bg1"/>
              </a:solidFill>
              <a:ea typeface="ＭＳ Ｐゴシック" pitchFamily="34" charset="-128"/>
              <a:cs typeface="Arial" charset="0"/>
            </a:endParaRPr>
          </a:p>
        </p:txBody>
      </p:sp>
      <p:sp>
        <p:nvSpPr>
          <p:cNvPr id="11" name="Freeform 9">
            <a:extLst>
              <a:ext uri="{FF2B5EF4-FFF2-40B4-BE49-F238E27FC236}">
                <a16:creationId xmlns:a16="http://schemas.microsoft.com/office/drawing/2014/main" id="{38548C51-3041-43E4-8DC5-3255FC7D6FB1}"/>
              </a:ext>
            </a:extLst>
          </p:cNvPr>
          <p:cNvSpPr>
            <a:spLocks/>
          </p:cNvSpPr>
          <p:nvPr/>
        </p:nvSpPr>
        <p:spPr bwMode="auto">
          <a:xfrm>
            <a:off x="4873453" y="2718422"/>
            <a:ext cx="358588" cy="568029"/>
          </a:xfrm>
          <a:custGeom>
            <a:avLst/>
            <a:gdLst>
              <a:gd name="T0" fmla="*/ 0 w 540"/>
              <a:gd name="T1" fmla="*/ 814 h 858"/>
              <a:gd name="T2" fmla="*/ 237 w 540"/>
              <a:gd name="T3" fmla="*/ 858 h 858"/>
              <a:gd name="T4" fmla="*/ 454 w 540"/>
              <a:gd name="T5" fmla="*/ 796 h 858"/>
              <a:gd name="T6" fmla="*/ 540 w 540"/>
              <a:gd name="T7" fmla="*/ 607 h 858"/>
              <a:gd name="T8" fmla="*/ 361 w 540"/>
              <a:gd name="T9" fmla="*/ 412 h 858"/>
              <a:gd name="T10" fmla="*/ 531 w 540"/>
              <a:gd name="T11" fmla="*/ 215 h 858"/>
              <a:gd name="T12" fmla="*/ 261 w 540"/>
              <a:gd name="T13" fmla="*/ 0 h 858"/>
              <a:gd name="T14" fmla="*/ 25 w 540"/>
              <a:gd name="T15" fmla="*/ 45 h 858"/>
              <a:gd name="T16" fmla="*/ 54 w 540"/>
              <a:gd name="T17" fmla="*/ 162 h 858"/>
              <a:gd name="T18" fmla="*/ 243 w 540"/>
              <a:gd name="T19" fmla="*/ 117 h 858"/>
              <a:gd name="T20" fmla="*/ 385 w 540"/>
              <a:gd name="T21" fmla="*/ 228 h 858"/>
              <a:gd name="T22" fmla="*/ 168 w 540"/>
              <a:gd name="T23" fmla="*/ 358 h 858"/>
              <a:gd name="T24" fmla="*/ 112 w 540"/>
              <a:gd name="T25" fmla="*/ 355 h 858"/>
              <a:gd name="T26" fmla="*/ 112 w 540"/>
              <a:gd name="T27" fmla="*/ 468 h 858"/>
              <a:gd name="T28" fmla="*/ 182 w 540"/>
              <a:gd name="T29" fmla="*/ 466 h 858"/>
              <a:gd name="T30" fmla="*/ 393 w 540"/>
              <a:gd name="T31" fmla="*/ 601 h 858"/>
              <a:gd name="T32" fmla="*/ 228 w 540"/>
              <a:gd name="T33" fmla="*/ 742 h 858"/>
              <a:gd name="T34" fmla="*/ 30 w 540"/>
              <a:gd name="T35" fmla="*/ 695 h 858"/>
              <a:gd name="T36" fmla="*/ 0 w 540"/>
              <a:gd name="T37" fmla="*/ 814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0" h="858">
                <a:moveTo>
                  <a:pt x="0" y="814"/>
                </a:moveTo>
                <a:cubicBezTo>
                  <a:pt x="80" y="845"/>
                  <a:pt x="150" y="858"/>
                  <a:pt x="237" y="858"/>
                </a:cubicBezTo>
                <a:cubicBezTo>
                  <a:pt x="332" y="858"/>
                  <a:pt x="404" y="838"/>
                  <a:pt x="454" y="796"/>
                </a:cubicBezTo>
                <a:cubicBezTo>
                  <a:pt x="508" y="751"/>
                  <a:pt x="540" y="684"/>
                  <a:pt x="540" y="607"/>
                </a:cubicBezTo>
                <a:cubicBezTo>
                  <a:pt x="540" y="493"/>
                  <a:pt x="481" y="429"/>
                  <a:pt x="361" y="412"/>
                </a:cubicBezTo>
                <a:cubicBezTo>
                  <a:pt x="474" y="390"/>
                  <a:pt x="531" y="324"/>
                  <a:pt x="531" y="215"/>
                </a:cubicBezTo>
                <a:cubicBezTo>
                  <a:pt x="531" y="78"/>
                  <a:pt x="433" y="0"/>
                  <a:pt x="261" y="0"/>
                </a:cubicBezTo>
                <a:cubicBezTo>
                  <a:pt x="177" y="0"/>
                  <a:pt x="104" y="13"/>
                  <a:pt x="25" y="45"/>
                </a:cubicBezTo>
                <a:cubicBezTo>
                  <a:pt x="54" y="162"/>
                  <a:pt x="54" y="162"/>
                  <a:pt x="54" y="162"/>
                </a:cubicBezTo>
                <a:cubicBezTo>
                  <a:pt x="130" y="130"/>
                  <a:pt x="186" y="117"/>
                  <a:pt x="243" y="117"/>
                </a:cubicBezTo>
                <a:cubicBezTo>
                  <a:pt x="332" y="117"/>
                  <a:pt x="385" y="159"/>
                  <a:pt x="385" y="228"/>
                </a:cubicBezTo>
                <a:cubicBezTo>
                  <a:pt x="385" y="313"/>
                  <a:pt x="310" y="358"/>
                  <a:pt x="168" y="358"/>
                </a:cubicBezTo>
                <a:cubicBezTo>
                  <a:pt x="145" y="358"/>
                  <a:pt x="142" y="358"/>
                  <a:pt x="112" y="355"/>
                </a:cubicBezTo>
                <a:cubicBezTo>
                  <a:pt x="112" y="468"/>
                  <a:pt x="112" y="468"/>
                  <a:pt x="112" y="468"/>
                </a:cubicBezTo>
                <a:cubicBezTo>
                  <a:pt x="150" y="466"/>
                  <a:pt x="159" y="466"/>
                  <a:pt x="182" y="466"/>
                </a:cubicBezTo>
                <a:cubicBezTo>
                  <a:pt x="325" y="466"/>
                  <a:pt x="393" y="510"/>
                  <a:pt x="393" y="601"/>
                </a:cubicBezTo>
                <a:cubicBezTo>
                  <a:pt x="393" y="689"/>
                  <a:pt x="331" y="742"/>
                  <a:pt x="228" y="742"/>
                </a:cubicBezTo>
                <a:cubicBezTo>
                  <a:pt x="160" y="742"/>
                  <a:pt x="100" y="727"/>
                  <a:pt x="30" y="695"/>
                </a:cubicBezTo>
                <a:lnTo>
                  <a:pt x="0" y="814"/>
                </a:lnTo>
                <a:close/>
              </a:path>
            </a:pathLst>
          </a:custGeom>
          <a:solidFill>
            <a:schemeClr val="bg2"/>
          </a:solidFill>
          <a:ln>
            <a:noFill/>
          </a:ln>
        </p:spPr>
        <p:txBody>
          <a:bodyPr vert="horz" wrap="square" lIns="91392" tIns="45696" rIns="91392" bIns="45696" numCol="1" anchor="t" anchorCtr="0" compatLnSpc="1">
            <a:prstTxWarp prst="textNoShape">
              <a:avLst/>
            </a:prstTxWarp>
          </a:bodyPr>
          <a:lstStyle/>
          <a:p>
            <a:endParaRPr lang="en-US" sz="1799" dirty="0"/>
          </a:p>
        </p:txBody>
      </p:sp>
      <p:sp>
        <p:nvSpPr>
          <p:cNvPr id="12" name="Freeform 10">
            <a:extLst>
              <a:ext uri="{FF2B5EF4-FFF2-40B4-BE49-F238E27FC236}">
                <a16:creationId xmlns:a16="http://schemas.microsoft.com/office/drawing/2014/main" id="{E6F951C9-DCCF-48A8-A0D1-14F9FB116AA9}"/>
              </a:ext>
            </a:extLst>
          </p:cNvPr>
          <p:cNvSpPr>
            <a:spLocks noEditPoints="1"/>
          </p:cNvSpPr>
          <p:nvPr/>
        </p:nvSpPr>
        <p:spPr bwMode="auto">
          <a:xfrm>
            <a:off x="6657314" y="2718422"/>
            <a:ext cx="422055" cy="550576"/>
          </a:xfrm>
          <a:custGeom>
            <a:avLst/>
            <a:gdLst>
              <a:gd name="T0" fmla="*/ 159 w 266"/>
              <a:gd name="T1" fmla="*/ 57 h 347"/>
              <a:gd name="T2" fmla="*/ 159 w 266"/>
              <a:gd name="T3" fmla="*/ 205 h 347"/>
              <a:gd name="T4" fmla="*/ 57 w 266"/>
              <a:gd name="T5" fmla="*/ 205 h 347"/>
              <a:gd name="T6" fmla="*/ 159 w 266"/>
              <a:gd name="T7" fmla="*/ 57 h 347"/>
              <a:gd name="T8" fmla="*/ 142 w 266"/>
              <a:gd name="T9" fmla="*/ 0 h 347"/>
              <a:gd name="T10" fmla="*/ 0 w 266"/>
              <a:gd name="T11" fmla="*/ 203 h 347"/>
              <a:gd name="T12" fmla="*/ 0 w 266"/>
              <a:gd name="T13" fmla="*/ 252 h 347"/>
              <a:gd name="T14" fmla="*/ 158 w 266"/>
              <a:gd name="T15" fmla="*/ 252 h 347"/>
              <a:gd name="T16" fmla="*/ 158 w 266"/>
              <a:gd name="T17" fmla="*/ 304 h 347"/>
              <a:gd name="T18" fmla="*/ 115 w 266"/>
              <a:gd name="T19" fmla="*/ 305 h 347"/>
              <a:gd name="T20" fmla="*/ 115 w 266"/>
              <a:gd name="T21" fmla="*/ 347 h 347"/>
              <a:gd name="T22" fmla="*/ 254 w 266"/>
              <a:gd name="T23" fmla="*/ 347 h 347"/>
              <a:gd name="T24" fmla="*/ 254 w 266"/>
              <a:gd name="T25" fmla="*/ 305 h 347"/>
              <a:gd name="T26" fmla="*/ 216 w 266"/>
              <a:gd name="T27" fmla="*/ 304 h 347"/>
              <a:gd name="T28" fmla="*/ 216 w 266"/>
              <a:gd name="T29" fmla="*/ 252 h 347"/>
              <a:gd name="T30" fmla="*/ 266 w 266"/>
              <a:gd name="T31" fmla="*/ 252 h 347"/>
              <a:gd name="T32" fmla="*/ 266 w 266"/>
              <a:gd name="T33" fmla="*/ 205 h 347"/>
              <a:gd name="T34" fmla="*/ 216 w 266"/>
              <a:gd name="T35" fmla="*/ 205 h 347"/>
              <a:gd name="T36" fmla="*/ 216 w 266"/>
              <a:gd name="T37" fmla="*/ 0 h 347"/>
              <a:gd name="T38" fmla="*/ 142 w 266"/>
              <a:gd name="T39" fmla="*/ 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6" h="347">
                <a:moveTo>
                  <a:pt x="159" y="57"/>
                </a:moveTo>
                <a:lnTo>
                  <a:pt x="159" y="205"/>
                </a:lnTo>
                <a:lnTo>
                  <a:pt x="57" y="205"/>
                </a:lnTo>
                <a:lnTo>
                  <a:pt x="159" y="57"/>
                </a:lnTo>
                <a:close/>
                <a:moveTo>
                  <a:pt x="142" y="0"/>
                </a:moveTo>
                <a:lnTo>
                  <a:pt x="0" y="203"/>
                </a:lnTo>
                <a:lnTo>
                  <a:pt x="0" y="252"/>
                </a:lnTo>
                <a:lnTo>
                  <a:pt x="158" y="252"/>
                </a:lnTo>
                <a:lnTo>
                  <a:pt x="158" y="304"/>
                </a:lnTo>
                <a:lnTo>
                  <a:pt x="115" y="305"/>
                </a:lnTo>
                <a:lnTo>
                  <a:pt x="115" y="347"/>
                </a:lnTo>
                <a:lnTo>
                  <a:pt x="254" y="347"/>
                </a:lnTo>
                <a:lnTo>
                  <a:pt x="254" y="305"/>
                </a:lnTo>
                <a:lnTo>
                  <a:pt x="216" y="304"/>
                </a:lnTo>
                <a:lnTo>
                  <a:pt x="216" y="252"/>
                </a:lnTo>
                <a:lnTo>
                  <a:pt x="266" y="252"/>
                </a:lnTo>
                <a:lnTo>
                  <a:pt x="266" y="205"/>
                </a:lnTo>
                <a:lnTo>
                  <a:pt x="216" y="205"/>
                </a:lnTo>
                <a:lnTo>
                  <a:pt x="216" y="0"/>
                </a:lnTo>
                <a:lnTo>
                  <a:pt x="142" y="0"/>
                </a:lnTo>
                <a:close/>
              </a:path>
            </a:pathLst>
          </a:custGeom>
          <a:solidFill>
            <a:schemeClr val="bg2"/>
          </a:solidFill>
          <a:ln>
            <a:noFill/>
          </a:ln>
        </p:spPr>
        <p:txBody>
          <a:bodyPr vert="horz" wrap="square" lIns="91392" tIns="45696" rIns="91392" bIns="45696" numCol="1" anchor="t" anchorCtr="0" compatLnSpc="1">
            <a:prstTxWarp prst="textNoShape">
              <a:avLst/>
            </a:prstTxWarp>
          </a:bodyPr>
          <a:lstStyle/>
          <a:p>
            <a:endParaRPr lang="en-US" sz="1799" dirty="0"/>
          </a:p>
        </p:txBody>
      </p:sp>
      <p:sp>
        <p:nvSpPr>
          <p:cNvPr id="13" name="Freeform 11">
            <a:extLst>
              <a:ext uri="{FF2B5EF4-FFF2-40B4-BE49-F238E27FC236}">
                <a16:creationId xmlns:a16="http://schemas.microsoft.com/office/drawing/2014/main" id="{6657C191-1C0B-4E17-85A7-D344BABA9D2A}"/>
              </a:ext>
            </a:extLst>
          </p:cNvPr>
          <p:cNvSpPr>
            <a:spLocks/>
          </p:cNvSpPr>
          <p:nvPr/>
        </p:nvSpPr>
        <p:spPr bwMode="auto">
          <a:xfrm>
            <a:off x="8495518" y="2718422"/>
            <a:ext cx="361762" cy="558509"/>
          </a:xfrm>
          <a:custGeom>
            <a:avLst/>
            <a:gdLst>
              <a:gd name="T0" fmla="*/ 0 w 546"/>
              <a:gd name="T1" fmla="*/ 793 h 844"/>
              <a:gd name="T2" fmla="*/ 240 w 546"/>
              <a:gd name="T3" fmla="*/ 844 h 844"/>
              <a:gd name="T4" fmla="*/ 461 w 546"/>
              <a:gd name="T5" fmla="*/ 773 h 844"/>
              <a:gd name="T6" fmla="*/ 546 w 546"/>
              <a:gd name="T7" fmla="*/ 559 h 844"/>
              <a:gd name="T8" fmla="*/ 269 w 546"/>
              <a:gd name="T9" fmla="*/ 294 h 844"/>
              <a:gd name="T10" fmla="*/ 180 w 546"/>
              <a:gd name="T11" fmla="*/ 303 h 844"/>
              <a:gd name="T12" fmla="*/ 186 w 546"/>
              <a:gd name="T13" fmla="*/ 118 h 844"/>
              <a:gd name="T14" fmla="*/ 516 w 546"/>
              <a:gd name="T15" fmla="*/ 118 h 844"/>
              <a:gd name="T16" fmla="*/ 516 w 546"/>
              <a:gd name="T17" fmla="*/ 0 h 844"/>
              <a:gd name="T18" fmla="*/ 47 w 546"/>
              <a:gd name="T19" fmla="*/ 0 h 844"/>
              <a:gd name="T20" fmla="*/ 34 w 546"/>
              <a:gd name="T21" fmla="*/ 441 h 844"/>
              <a:gd name="T22" fmla="*/ 223 w 546"/>
              <a:gd name="T23" fmla="*/ 406 h 844"/>
              <a:gd name="T24" fmla="*/ 400 w 546"/>
              <a:gd name="T25" fmla="*/ 557 h 844"/>
              <a:gd name="T26" fmla="*/ 227 w 546"/>
              <a:gd name="T27" fmla="*/ 727 h 844"/>
              <a:gd name="T28" fmla="*/ 40 w 546"/>
              <a:gd name="T29" fmla="*/ 673 h 844"/>
              <a:gd name="T30" fmla="*/ 0 w 546"/>
              <a:gd name="T31" fmla="*/ 793 h 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6" h="844">
                <a:moveTo>
                  <a:pt x="0" y="793"/>
                </a:moveTo>
                <a:cubicBezTo>
                  <a:pt x="76" y="828"/>
                  <a:pt x="149" y="844"/>
                  <a:pt x="240" y="844"/>
                </a:cubicBezTo>
                <a:cubicBezTo>
                  <a:pt x="340" y="844"/>
                  <a:pt x="408" y="822"/>
                  <a:pt x="461" y="773"/>
                </a:cubicBezTo>
                <a:cubicBezTo>
                  <a:pt x="516" y="721"/>
                  <a:pt x="546" y="647"/>
                  <a:pt x="546" y="559"/>
                </a:cubicBezTo>
                <a:cubicBezTo>
                  <a:pt x="546" y="390"/>
                  <a:pt x="445" y="294"/>
                  <a:pt x="269" y="294"/>
                </a:cubicBezTo>
                <a:cubicBezTo>
                  <a:pt x="235" y="294"/>
                  <a:pt x="214" y="297"/>
                  <a:pt x="180" y="303"/>
                </a:cubicBezTo>
                <a:cubicBezTo>
                  <a:pt x="186" y="118"/>
                  <a:pt x="186" y="118"/>
                  <a:pt x="186" y="118"/>
                </a:cubicBezTo>
                <a:cubicBezTo>
                  <a:pt x="516" y="118"/>
                  <a:pt x="516" y="118"/>
                  <a:pt x="516" y="118"/>
                </a:cubicBezTo>
                <a:cubicBezTo>
                  <a:pt x="516" y="0"/>
                  <a:pt x="516" y="0"/>
                  <a:pt x="516" y="0"/>
                </a:cubicBezTo>
                <a:cubicBezTo>
                  <a:pt x="47" y="0"/>
                  <a:pt x="47" y="0"/>
                  <a:pt x="47" y="0"/>
                </a:cubicBezTo>
                <a:cubicBezTo>
                  <a:pt x="34" y="441"/>
                  <a:pt x="34" y="441"/>
                  <a:pt x="34" y="441"/>
                </a:cubicBezTo>
                <a:cubicBezTo>
                  <a:pt x="112" y="415"/>
                  <a:pt x="165" y="406"/>
                  <a:pt x="223" y="406"/>
                </a:cubicBezTo>
                <a:cubicBezTo>
                  <a:pt x="336" y="406"/>
                  <a:pt x="400" y="460"/>
                  <a:pt x="400" y="557"/>
                </a:cubicBezTo>
                <a:cubicBezTo>
                  <a:pt x="400" y="661"/>
                  <a:pt x="331" y="727"/>
                  <a:pt x="227" y="727"/>
                </a:cubicBezTo>
                <a:cubicBezTo>
                  <a:pt x="166" y="727"/>
                  <a:pt x="109" y="711"/>
                  <a:pt x="40" y="673"/>
                </a:cubicBezTo>
                <a:lnTo>
                  <a:pt x="0" y="793"/>
                </a:lnTo>
                <a:close/>
              </a:path>
            </a:pathLst>
          </a:custGeom>
          <a:solidFill>
            <a:schemeClr val="bg2"/>
          </a:solidFill>
          <a:ln>
            <a:noFill/>
          </a:ln>
        </p:spPr>
        <p:txBody>
          <a:bodyPr vert="horz" wrap="square" lIns="91392" tIns="45696" rIns="91392" bIns="45696" numCol="1" anchor="t" anchorCtr="0" compatLnSpc="1">
            <a:prstTxWarp prst="textNoShape">
              <a:avLst/>
            </a:prstTxWarp>
          </a:bodyPr>
          <a:lstStyle/>
          <a:p>
            <a:endParaRPr lang="en-US" sz="1799" dirty="0"/>
          </a:p>
        </p:txBody>
      </p:sp>
      <p:sp>
        <p:nvSpPr>
          <p:cNvPr id="33" name="Freeform 119">
            <a:extLst>
              <a:ext uri="{FF2B5EF4-FFF2-40B4-BE49-F238E27FC236}">
                <a16:creationId xmlns:a16="http://schemas.microsoft.com/office/drawing/2014/main" id="{BE2A9E55-E620-1D49-A9CD-B861AA67D804}"/>
              </a:ext>
            </a:extLst>
          </p:cNvPr>
          <p:cNvSpPr>
            <a:spLocks/>
          </p:cNvSpPr>
          <p:nvPr/>
        </p:nvSpPr>
        <p:spPr bwMode="gray">
          <a:xfrm>
            <a:off x="3065007" y="2718422"/>
            <a:ext cx="359362" cy="559733"/>
          </a:xfrm>
          <a:custGeom>
            <a:avLst/>
            <a:gdLst>
              <a:gd name="T0" fmla="*/ 0 w 228"/>
              <a:gd name="T1" fmla="*/ 355 h 355"/>
              <a:gd name="T2" fmla="*/ 0 w 228"/>
              <a:gd name="T3" fmla="*/ 307 h 355"/>
              <a:gd name="T4" fmla="*/ 105 w 228"/>
              <a:gd name="T5" fmla="*/ 203 h 355"/>
              <a:gd name="T6" fmla="*/ 153 w 228"/>
              <a:gd name="T7" fmla="*/ 141 h 355"/>
              <a:gd name="T8" fmla="*/ 164 w 228"/>
              <a:gd name="T9" fmla="*/ 100 h 355"/>
              <a:gd name="T10" fmla="*/ 148 w 228"/>
              <a:gd name="T11" fmla="*/ 64 h 355"/>
              <a:gd name="T12" fmla="*/ 104 w 228"/>
              <a:gd name="T13" fmla="*/ 49 h 355"/>
              <a:gd name="T14" fmla="*/ 20 w 228"/>
              <a:gd name="T15" fmla="*/ 75 h 355"/>
              <a:gd name="T16" fmla="*/ 5 w 228"/>
              <a:gd name="T17" fmla="*/ 24 h 355"/>
              <a:gd name="T18" fmla="*/ 111 w 228"/>
              <a:gd name="T19" fmla="*/ 0 h 355"/>
              <a:gd name="T20" fmla="*/ 193 w 228"/>
              <a:gd name="T21" fmla="*/ 23 h 355"/>
              <a:gd name="T22" fmla="*/ 225 w 228"/>
              <a:gd name="T23" fmla="*/ 97 h 355"/>
              <a:gd name="T24" fmla="*/ 195 w 228"/>
              <a:gd name="T25" fmla="*/ 183 h 355"/>
              <a:gd name="T26" fmla="*/ 80 w 228"/>
              <a:gd name="T27" fmla="*/ 306 h 355"/>
              <a:gd name="T28" fmla="*/ 228 w 228"/>
              <a:gd name="T29" fmla="*/ 306 h 355"/>
              <a:gd name="T30" fmla="*/ 228 w 228"/>
              <a:gd name="T31" fmla="*/ 355 h 355"/>
              <a:gd name="T32" fmla="*/ 0 w 228"/>
              <a:gd name="T33" fmla="*/ 355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8" h="355">
                <a:moveTo>
                  <a:pt x="0" y="355"/>
                </a:moveTo>
                <a:cubicBezTo>
                  <a:pt x="0" y="307"/>
                  <a:pt x="0" y="307"/>
                  <a:pt x="0" y="307"/>
                </a:cubicBezTo>
                <a:cubicBezTo>
                  <a:pt x="46" y="264"/>
                  <a:pt x="81" y="230"/>
                  <a:pt x="105" y="203"/>
                </a:cubicBezTo>
                <a:cubicBezTo>
                  <a:pt x="130" y="176"/>
                  <a:pt x="146" y="155"/>
                  <a:pt x="153" y="141"/>
                </a:cubicBezTo>
                <a:cubicBezTo>
                  <a:pt x="160" y="126"/>
                  <a:pt x="164" y="113"/>
                  <a:pt x="164" y="100"/>
                </a:cubicBezTo>
                <a:cubicBezTo>
                  <a:pt x="164" y="85"/>
                  <a:pt x="159" y="73"/>
                  <a:pt x="148" y="64"/>
                </a:cubicBezTo>
                <a:cubicBezTo>
                  <a:pt x="137" y="54"/>
                  <a:pt x="122" y="49"/>
                  <a:pt x="104" y="49"/>
                </a:cubicBezTo>
                <a:cubicBezTo>
                  <a:pt x="80" y="49"/>
                  <a:pt x="52" y="58"/>
                  <a:pt x="20" y="75"/>
                </a:cubicBezTo>
                <a:cubicBezTo>
                  <a:pt x="5" y="24"/>
                  <a:pt x="5" y="24"/>
                  <a:pt x="5" y="24"/>
                </a:cubicBezTo>
                <a:cubicBezTo>
                  <a:pt x="40" y="8"/>
                  <a:pt x="75" y="0"/>
                  <a:pt x="111" y="0"/>
                </a:cubicBezTo>
                <a:cubicBezTo>
                  <a:pt x="145" y="0"/>
                  <a:pt x="173" y="8"/>
                  <a:pt x="193" y="23"/>
                </a:cubicBezTo>
                <a:cubicBezTo>
                  <a:pt x="215" y="40"/>
                  <a:pt x="225" y="65"/>
                  <a:pt x="225" y="97"/>
                </a:cubicBezTo>
                <a:cubicBezTo>
                  <a:pt x="225" y="125"/>
                  <a:pt x="215" y="154"/>
                  <a:pt x="195" y="183"/>
                </a:cubicBezTo>
                <a:cubicBezTo>
                  <a:pt x="173" y="215"/>
                  <a:pt x="134" y="255"/>
                  <a:pt x="80" y="306"/>
                </a:cubicBezTo>
                <a:cubicBezTo>
                  <a:pt x="228" y="306"/>
                  <a:pt x="228" y="306"/>
                  <a:pt x="228" y="306"/>
                </a:cubicBezTo>
                <a:cubicBezTo>
                  <a:pt x="228" y="355"/>
                  <a:pt x="228" y="355"/>
                  <a:pt x="228" y="355"/>
                </a:cubicBezTo>
                <a:lnTo>
                  <a:pt x="0" y="355"/>
                </a:lnTo>
                <a:close/>
              </a:path>
            </a:pathLst>
          </a:custGeom>
          <a:solidFill>
            <a:schemeClr val="bg2"/>
          </a:solidFill>
          <a:ln>
            <a:noFill/>
          </a:ln>
        </p:spPr>
        <p:txBody>
          <a:bodyPr vert="horz" wrap="square" lIns="91392" tIns="45696" rIns="91392" bIns="45696"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endParaRPr lang="en-US" sz="1799" dirty="0">
              <a:latin typeface="+mn-lt"/>
            </a:endParaRPr>
          </a:p>
        </p:txBody>
      </p:sp>
      <p:sp>
        <p:nvSpPr>
          <p:cNvPr id="28" name="Rechteck 18">
            <a:extLst>
              <a:ext uri="{FF2B5EF4-FFF2-40B4-BE49-F238E27FC236}">
                <a16:creationId xmlns:a16="http://schemas.microsoft.com/office/drawing/2014/main" id="{F5125CC7-60CD-4484-B584-86F76B9E48AC}"/>
              </a:ext>
            </a:extLst>
          </p:cNvPr>
          <p:cNvSpPr>
            <a:spLocks/>
          </p:cNvSpPr>
          <p:nvPr/>
        </p:nvSpPr>
        <p:spPr bwMode="gray">
          <a:xfrm>
            <a:off x="410400" y="3725897"/>
            <a:ext cx="1658095" cy="2081178"/>
          </a:xfrm>
          <a:prstGeom prst="rect">
            <a:avLst/>
          </a:prstGeom>
          <a:noFill/>
          <a:ln>
            <a:noFill/>
          </a:ln>
          <a:effectLst/>
        </p:spPr>
        <p:txBody>
          <a:bodyPr wrap="square" lIns="0" tIns="0" rIns="0" bIns="0" rtlCol="0" anchor="t">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nSpc>
                <a:spcPct val="90000"/>
              </a:lnSpc>
              <a:spcBef>
                <a:spcPts val="0"/>
              </a:spcBef>
              <a:buClr>
                <a:schemeClr val="accent1"/>
              </a:buClr>
              <a:buSzPct val="120000"/>
            </a:pPr>
            <a:r>
              <a:rPr lang="en-US" sz="1599" b="1" dirty="0">
                <a:solidFill>
                  <a:srgbClr val="9999A9"/>
                </a:solidFill>
                <a:latin typeface="+mn-lt"/>
              </a:rPr>
              <a:t>Cras ultricies</a:t>
            </a:r>
          </a:p>
        </p:txBody>
      </p:sp>
      <p:sp>
        <p:nvSpPr>
          <p:cNvPr id="29" name="Rechteck 18">
            <a:extLst>
              <a:ext uri="{FF2B5EF4-FFF2-40B4-BE49-F238E27FC236}">
                <a16:creationId xmlns:a16="http://schemas.microsoft.com/office/drawing/2014/main" id="{9ED06B73-B8BE-4105-B9D9-0C184233311D}"/>
              </a:ext>
            </a:extLst>
          </p:cNvPr>
          <p:cNvSpPr>
            <a:spLocks/>
          </p:cNvSpPr>
          <p:nvPr/>
        </p:nvSpPr>
        <p:spPr bwMode="gray">
          <a:xfrm>
            <a:off x="2218458" y="3725897"/>
            <a:ext cx="1658095" cy="2081178"/>
          </a:xfrm>
          <a:prstGeom prst="rect">
            <a:avLst/>
          </a:prstGeom>
          <a:noFill/>
          <a:ln>
            <a:noFill/>
          </a:ln>
          <a:effectLst/>
        </p:spPr>
        <p:txBody>
          <a:bodyPr wrap="square" lIns="0" tIns="0" rIns="0" bIns="0" rtlCol="0" anchor="t">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nSpc>
                <a:spcPct val="90000"/>
              </a:lnSpc>
              <a:spcBef>
                <a:spcPts val="0"/>
              </a:spcBef>
              <a:buClr>
                <a:schemeClr val="accent1"/>
              </a:buClr>
              <a:buSzPct val="120000"/>
            </a:pPr>
            <a:r>
              <a:rPr lang="en-US" sz="1599" b="1" dirty="0">
                <a:solidFill>
                  <a:srgbClr val="9999A9"/>
                </a:solidFill>
                <a:latin typeface="+mn-lt"/>
              </a:rPr>
              <a:t>Tortor suscipi destrato</a:t>
            </a:r>
          </a:p>
        </p:txBody>
      </p:sp>
      <p:sp>
        <p:nvSpPr>
          <p:cNvPr id="30" name="Rechteck 18">
            <a:extLst>
              <a:ext uri="{FF2B5EF4-FFF2-40B4-BE49-F238E27FC236}">
                <a16:creationId xmlns:a16="http://schemas.microsoft.com/office/drawing/2014/main" id="{CEBFDFCA-8904-40B8-9B0F-B52DF016B017}"/>
              </a:ext>
            </a:extLst>
          </p:cNvPr>
          <p:cNvSpPr>
            <a:spLocks/>
          </p:cNvSpPr>
          <p:nvPr/>
        </p:nvSpPr>
        <p:spPr bwMode="gray">
          <a:xfrm>
            <a:off x="5842112" y="3725897"/>
            <a:ext cx="1658095" cy="2081178"/>
          </a:xfrm>
          <a:prstGeom prst="rect">
            <a:avLst/>
          </a:prstGeom>
          <a:noFill/>
          <a:ln>
            <a:noFill/>
          </a:ln>
          <a:effectLst/>
        </p:spPr>
        <p:txBody>
          <a:bodyPr wrap="square" lIns="0" tIns="0" rIns="0" bIns="0" rtlCol="0" anchor="t">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nSpc>
                <a:spcPct val="90000"/>
              </a:lnSpc>
              <a:spcBef>
                <a:spcPts val="0"/>
              </a:spcBef>
              <a:buClr>
                <a:schemeClr val="accent1"/>
              </a:buClr>
              <a:buSzPct val="120000"/>
            </a:pPr>
            <a:r>
              <a:rPr lang="en-US" sz="1599" b="1" dirty="0">
                <a:solidFill>
                  <a:srgbClr val="9999A9"/>
                </a:solidFill>
                <a:latin typeface="+mn-lt"/>
              </a:rPr>
              <a:t>Duis arcur</a:t>
            </a:r>
          </a:p>
        </p:txBody>
      </p:sp>
      <p:sp>
        <p:nvSpPr>
          <p:cNvPr id="31" name="Rechteck 18">
            <a:extLst>
              <a:ext uri="{FF2B5EF4-FFF2-40B4-BE49-F238E27FC236}">
                <a16:creationId xmlns:a16="http://schemas.microsoft.com/office/drawing/2014/main" id="{9ECC3861-1316-42B4-9A11-C34568E4870C}"/>
              </a:ext>
            </a:extLst>
          </p:cNvPr>
          <p:cNvSpPr>
            <a:spLocks/>
          </p:cNvSpPr>
          <p:nvPr/>
        </p:nvSpPr>
        <p:spPr bwMode="gray">
          <a:xfrm>
            <a:off x="7650170" y="3725897"/>
            <a:ext cx="1658095" cy="2081178"/>
          </a:xfrm>
          <a:prstGeom prst="rect">
            <a:avLst/>
          </a:prstGeom>
          <a:noFill/>
          <a:ln>
            <a:noFill/>
          </a:ln>
          <a:effectLst/>
        </p:spPr>
        <p:txBody>
          <a:bodyPr wrap="square" lIns="0" tIns="0" rIns="0" bIns="0" rtlCol="0" anchor="t">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nSpc>
                <a:spcPct val="90000"/>
              </a:lnSpc>
              <a:spcBef>
                <a:spcPts val="0"/>
              </a:spcBef>
              <a:buClr>
                <a:schemeClr val="accent1"/>
              </a:buClr>
              <a:buSzPct val="120000"/>
            </a:pPr>
            <a:r>
              <a:rPr lang="en-US" sz="1599" b="1" dirty="0">
                <a:solidFill>
                  <a:srgbClr val="9999A9"/>
                </a:solidFill>
                <a:latin typeface="+mn-lt"/>
              </a:rPr>
              <a:t>Phasellus sem nechtiq</a:t>
            </a:r>
          </a:p>
        </p:txBody>
      </p:sp>
      <p:sp>
        <p:nvSpPr>
          <p:cNvPr id="25" name="Rechteck 18">
            <a:extLst>
              <a:ext uri="{FF2B5EF4-FFF2-40B4-BE49-F238E27FC236}">
                <a16:creationId xmlns:a16="http://schemas.microsoft.com/office/drawing/2014/main" id="{19A537B1-74D1-4DBA-A915-784392A1CE5A}"/>
              </a:ext>
            </a:extLst>
          </p:cNvPr>
          <p:cNvSpPr>
            <a:spLocks/>
          </p:cNvSpPr>
          <p:nvPr/>
        </p:nvSpPr>
        <p:spPr bwMode="gray">
          <a:xfrm>
            <a:off x="4026516" y="3725897"/>
            <a:ext cx="1658095" cy="2081178"/>
          </a:xfrm>
          <a:prstGeom prst="rect">
            <a:avLst/>
          </a:prstGeom>
          <a:noFill/>
          <a:ln>
            <a:noFill/>
          </a:ln>
          <a:effectLst/>
        </p:spPr>
        <p:txBody>
          <a:bodyPr wrap="square" lIns="0" tIns="0" rIns="0" bIns="0" rtlCol="0" anchor="t">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nSpc>
                <a:spcPct val="90000"/>
              </a:lnSpc>
              <a:spcBef>
                <a:spcPts val="0"/>
              </a:spcBef>
              <a:buClr>
                <a:schemeClr val="accent1"/>
              </a:buClr>
              <a:buSzPct val="120000"/>
            </a:pPr>
            <a:r>
              <a:rPr lang="en-US" sz="1599" b="1" dirty="0">
                <a:solidFill>
                  <a:srgbClr val="9999A9"/>
                </a:solidFill>
                <a:latin typeface="+mn-lt"/>
              </a:rPr>
              <a:t>Duis arcur</a:t>
            </a:r>
          </a:p>
        </p:txBody>
      </p:sp>
      <p:sp>
        <p:nvSpPr>
          <p:cNvPr id="4" name="Footer Placeholder 3">
            <a:extLst>
              <a:ext uri="{FF2B5EF4-FFF2-40B4-BE49-F238E27FC236}">
                <a16:creationId xmlns:a16="http://schemas.microsoft.com/office/drawing/2014/main" id="{BD976569-BA5E-40F2-93C5-A47D1DE6DF77}"/>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5" name="Slide Number Placeholder 4">
            <a:extLst>
              <a:ext uri="{FF2B5EF4-FFF2-40B4-BE49-F238E27FC236}">
                <a16:creationId xmlns:a16="http://schemas.microsoft.com/office/drawing/2014/main" id="{6429DAE9-9C48-420B-AEE5-2D822D93F6DE}"/>
              </a:ext>
            </a:extLst>
          </p:cNvPr>
          <p:cNvSpPr>
            <a:spLocks noGrp="1"/>
          </p:cNvSpPr>
          <p:nvPr>
            <p:ph type="sldNum" sz="quarter" idx="11"/>
          </p:nvPr>
        </p:nvSpPr>
        <p:spPr/>
        <p:txBody>
          <a:bodyPr/>
          <a:lstStyle/>
          <a:p>
            <a:r>
              <a:rPr lang="en-US" dirty="0"/>
              <a:t>Page </a:t>
            </a:r>
            <a:fld id="{15EBE321-CBB1-4E91-BD14-37C8D44326FB}" type="slidenum">
              <a:rPr lang="en-US" smtClean="0"/>
              <a:pPr/>
              <a:t>117</a:t>
            </a:fld>
            <a:endParaRPr lang="en-US" dirty="0"/>
          </a:p>
        </p:txBody>
      </p:sp>
    </p:spTree>
    <p:extLst>
      <p:ext uri="{BB962C8B-B14F-4D97-AF65-F5344CB8AC3E}">
        <p14:creationId xmlns:p14="http://schemas.microsoft.com/office/powerpoint/2010/main" val="3737293985"/>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3" imgW="360" imgH="360" progId="">
                  <p:embed/>
                </p:oleObj>
              </mc:Choice>
              <mc:Fallback>
                <p:oleObj name="think-cell Folie" r:id="rId3" imgW="360" imgH="360" progId="">
                  <p:embed/>
                  <p:pic>
                    <p:nvPicPr>
                      <p:cNvPr id="3" name="Objek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en-US" dirty="0"/>
              <a:t>Process – five steps highlight (arrows)</a:t>
            </a:r>
          </a:p>
        </p:txBody>
      </p:sp>
      <p:sp>
        <p:nvSpPr>
          <p:cNvPr id="24" name="Eingebuchteter Richtungspfeil 33">
            <a:extLst>
              <a:ext uri="{FF2B5EF4-FFF2-40B4-BE49-F238E27FC236}">
                <a16:creationId xmlns:a16="http://schemas.microsoft.com/office/drawing/2014/main" id="{CEE97C04-EA30-4BA4-8BC2-E73106013414}"/>
              </a:ext>
            </a:extLst>
          </p:cNvPr>
          <p:cNvSpPr/>
          <p:nvPr/>
        </p:nvSpPr>
        <p:spPr bwMode="auto">
          <a:xfrm>
            <a:off x="4027280" y="2494550"/>
            <a:ext cx="3852000" cy="1007475"/>
          </a:xfrm>
          <a:prstGeom prst="chevron">
            <a:avLst>
              <a:gd name="adj" fmla="val 37379"/>
            </a:avLst>
          </a:prstGeom>
          <a:solidFill>
            <a:schemeClr val="accent1"/>
          </a:solidFill>
          <a:ln>
            <a:noFill/>
          </a:ln>
          <a:effectLst/>
        </p:spPr>
        <p:txBody>
          <a:bodyPr wrap="square" lIns="179906" tIns="0" rIns="179906" bIns="0" numCol="1" spcCol="72000" rtlCol="0" anchor="ctr" anchorCtr="0">
            <a:noAutofit/>
          </a:bodyPr>
          <a:lstStyle/>
          <a:p>
            <a:pPr lvl="0">
              <a:spcBef>
                <a:spcPct val="0"/>
              </a:spcBef>
            </a:pPr>
            <a:endParaRPr lang="en-US" sz="1599" b="1" kern="1400" dirty="0">
              <a:solidFill>
                <a:schemeClr val="bg1"/>
              </a:solidFill>
              <a:ea typeface="ＭＳ Ｐゴシック" pitchFamily="34" charset="-128"/>
              <a:cs typeface="Arial" charset="0"/>
            </a:endParaRPr>
          </a:p>
        </p:txBody>
      </p:sp>
      <p:sp>
        <p:nvSpPr>
          <p:cNvPr id="15" name="Richtungspfeil 14">
            <a:extLst>
              <a:ext uri="{FF2B5EF4-FFF2-40B4-BE49-F238E27FC236}">
                <a16:creationId xmlns:a16="http://schemas.microsoft.com/office/drawing/2014/main" id="{83B8E878-E814-884D-A5F6-AC2C5E720E1D}"/>
              </a:ext>
            </a:extLst>
          </p:cNvPr>
          <p:cNvSpPr/>
          <p:nvPr/>
        </p:nvSpPr>
        <p:spPr bwMode="auto">
          <a:xfrm>
            <a:off x="411163" y="2494550"/>
            <a:ext cx="2050932" cy="1007475"/>
          </a:xfrm>
          <a:prstGeom prst="homePlate">
            <a:avLst>
              <a:gd name="adj" fmla="val 37199"/>
            </a:avLst>
          </a:prstGeom>
          <a:solidFill>
            <a:srgbClr val="CCCCD4"/>
          </a:solidFill>
          <a:ln>
            <a:noFill/>
          </a:ln>
          <a:effectLst/>
        </p:spPr>
        <p:txBody>
          <a:bodyPr wrap="square" lIns="179906" tIns="0" rIns="179906" bIns="0" numCol="1" spcCol="72000" rtlCol="0" anchor="ctr" anchorCtr="0">
            <a:noAutofit/>
          </a:bodyPr>
          <a:lstStyle/>
          <a:p>
            <a:pPr lvl="0">
              <a:spcBef>
                <a:spcPct val="0"/>
              </a:spcBef>
            </a:pPr>
            <a:endParaRPr lang="en-US" sz="1599" b="1" kern="1400" dirty="0">
              <a:solidFill>
                <a:schemeClr val="bg1"/>
              </a:solidFill>
              <a:ea typeface="ＭＳ Ｐゴシック" pitchFamily="34" charset="-128"/>
              <a:cs typeface="Arial" charset="0"/>
            </a:endParaRPr>
          </a:p>
        </p:txBody>
      </p:sp>
      <p:sp>
        <p:nvSpPr>
          <p:cNvPr id="16" name="Freeform 118">
            <a:extLst>
              <a:ext uri="{FF2B5EF4-FFF2-40B4-BE49-F238E27FC236}">
                <a16:creationId xmlns:a16="http://schemas.microsoft.com/office/drawing/2014/main" id="{55518276-19F8-F34B-98C8-2567A95DB361}"/>
              </a:ext>
            </a:extLst>
          </p:cNvPr>
          <p:cNvSpPr>
            <a:spLocks/>
          </p:cNvSpPr>
          <p:nvPr/>
        </p:nvSpPr>
        <p:spPr bwMode="gray">
          <a:xfrm>
            <a:off x="1127113" y="2724148"/>
            <a:ext cx="315798" cy="548281"/>
          </a:xfrm>
          <a:custGeom>
            <a:avLst/>
            <a:gdLst>
              <a:gd name="T0" fmla="*/ 717 w 1501"/>
              <a:gd name="T1" fmla="*/ 2270 h 2606"/>
              <a:gd name="T2" fmla="*/ 717 w 1501"/>
              <a:gd name="T3" fmla="*/ 485 h 2606"/>
              <a:gd name="T4" fmla="*/ 202 w 1501"/>
              <a:gd name="T5" fmla="*/ 814 h 2606"/>
              <a:gd name="T6" fmla="*/ 0 w 1501"/>
              <a:gd name="T7" fmla="*/ 463 h 2606"/>
              <a:gd name="T8" fmla="*/ 762 w 1501"/>
              <a:gd name="T9" fmla="*/ 0 h 2606"/>
              <a:gd name="T10" fmla="*/ 1158 w 1501"/>
              <a:gd name="T11" fmla="*/ 0 h 2606"/>
              <a:gd name="T12" fmla="*/ 1158 w 1501"/>
              <a:gd name="T13" fmla="*/ 2270 h 2606"/>
              <a:gd name="T14" fmla="*/ 1501 w 1501"/>
              <a:gd name="T15" fmla="*/ 2285 h 2606"/>
              <a:gd name="T16" fmla="*/ 1501 w 1501"/>
              <a:gd name="T17" fmla="*/ 2606 h 2606"/>
              <a:gd name="T18" fmla="*/ 381 w 1501"/>
              <a:gd name="T19" fmla="*/ 2606 h 2606"/>
              <a:gd name="T20" fmla="*/ 381 w 1501"/>
              <a:gd name="T21" fmla="*/ 2285 h 2606"/>
              <a:gd name="T22" fmla="*/ 717 w 1501"/>
              <a:gd name="T23" fmla="*/ 2270 h 2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01" h="2606">
                <a:moveTo>
                  <a:pt x="717" y="2270"/>
                </a:moveTo>
                <a:lnTo>
                  <a:pt x="717" y="485"/>
                </a:lnTo>
                <a:lnTo>
                  <a:pt x="202" y="814"/>
                </a:lnTo>
                <a:lnTo>
                  <a:pt x="0" y="463"/>
                </a:lnTo>
                <a:lnTo>
                  <a:pt x="762" y="0"/>
                </a:lnTo>
                <a:lnTo>
                  <a:pt x="1158" y="0"/>
                </a:lnTo>
                <a:lnTo>
                  <a:pt x="1158" y="2270"/>
                </a:lnTo>
                <a:lnTo>
                  <a:pt x="1501" y="2285"/>
                </a:lnTo>
                <a:lnTo>
                  <a:pt x="1501" y="2606"/>
                </a:lnTo>
                <a:lnTo>
                  <a:pt x="381" y="2606"/>
                </a:lnTo>
                <a:lnTo>
                  <a:pt x="381" y="2285"/>
                </a:lnTo>
                <a:lnTo>
                  <a:pt x="717" y="2270"/>
                </a:lnTo>
                <a:close/>
              </a:path>
            </a:pathLst>
          </a:custGeom>
          <a:solidFill>
            <a:srgbClr val="FFFFFF"/>
          </a:solidFill>
          <a:ln>
            <a:noFill/>
          </a:ln>
        </p:spPr>
        <p:txBody>
          <a:bodyPr vert="horz" wrap="square" lIns="91392" tIns="45696" rIns="91392" bIns="45696"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endParaRPr lang="en-US" sz="1799" dirty="0">
              <a:solidFill>
                <a:srgbClr val="FFFFFF"/>
              </a:solidFill>
              <a:latin typeface="+mn-lt"/>
            </a:endParaRPr>
          </a:p>
        </p:txBody>
      </p:sp>
      <p:sp>
        <p:nvSpPr>
          <p:cNvPr id="14" name="Eingebuchteter Richtungspfeil 17">
            <a:extLst>
              <a:ext uri="{FF2B5EF4-FFF2-40B4-BE49-F238E27FC236}">
                <a16:creationId xmlns:a16="http://schemas.microsoft.com/office/drawing/2014/main" id="{9D39F594-94E0-49E7-9F09-1B97544EBA58}"/>
              </a:ext>
            </a:extLst>
          </p:cNvPr>
          <p:cNvSpPr/>
          <p:nvPr/>
        </p:nvSpPr>
        <p:spPr bwMode="auto">
          <a:xfrm>
            <a:off x="2219221" y="2494550"/>
            <a:ext cx="2050932" cy="1007475"/>
          </a:xfrm>
          <a:prstGeom prst="chevron">
            <a:avLst>
              <a:gd name="adj" fmla="val 37584"/>
            </a:avLst>
          </a:prstGeom>
          <a:solidFill>
            <a:srgbClr val="CCCCD4"/>
          </a:solidFill>
          <a:ln>
            <a:noFill/>
          </a:ln>
          <a:effectLst/>
        </p:spPr>
        <p:txBody>
          <a:bodyPr wrap="square" lIns="179906" tIns="0" rIns="179906" bIns="0" numCol="1" spcCol="72000" rtlCol="0" anchor="ctr" anchorCtr="0">
            <a:noAutofit/>
          </a:bodyPr>
          <a:lstStyle/>
          <a:p>
            <a:pPr lvl="0">
              <a:spcBef>
                <a:spcPct val="0"/>
              </a:spcBef>
            </a:pPr>
            <a:endParaRPr lang="en-US" sz="1599" b="1" kern="1400" dirty="0">
              <a:solidFill>
                <a:schemeClr val="bg1"/>
              </a:solidFill>
              <a:ea typeface="ＭＳ Ｐゴシック" pitchFamily="34" charset="-128"/>
              <a:cs typeface="Arial" charset="0"/>
            </a:endParaRPr>
          </a:p>
        </p:txBody>
      </p:sp>
      <p:sp>
        <p:nvSpPr>
          <p:cNvPr id="11" name="Freeform 9">
            <a:extLst>
              <a:ext uri="{FF2B5EF4-FFF2-40B4-BE49-F238E27FC236}">
                <a16:creationId xmlns:a16="http://schemas.microsoft.com/office/drawing/2014/main" id="{38548C51-3041-43E4-8DC5-3255FC7D6FB1}"/>
              </a:ext>
            </a:extLst>
          </p:cNvPr>
          <p:cNvSpPr>
            <a:spLocks/>
          </p:cNvSpPr>
          <p:nvPr/>
        </p:nvSpPr>
        <p:spPr bwMode="auto">
          <a:xfrm>
            <a:off x="4540984" y="2718422"/>
            <a:ext cx="358588" cy="568029"/>
          </a:xfrm>
          <a:custGeom>
            <a:avLst/>
            <a:gdLst>
              <a:gd name="T0" fmla="*/ 0 w 540"/>
              <a:gd name="T1" fmla="*/ 814 h 858"/>
              <a:gd name="T2" fmla="*/ 237 w 540"/>
              <a:gd name="T3" fmla="*/ 858 h 858"/>
              <a:gd name="T4" fmla="*/ 454 w 540"/>
              <a:gd name="T5" fmla="*/ 796 h 858"/>
              <a:gd name="T6" fmla="*/ 540 w 540"/>
              <a:gd name="T7" fmla="*/ 607 h 858"/>
              <a:gd name="T8" fmla="*/ 361 w 540"/>
              <a:gd name="T9" fmla="*/ 412 h 858"/>
              <a:gd name="T10" fmla="*/ 531 w 540"/>
              <a:gd name="T11" fmla="*/ 215 h 858"/>
              <a:gd name="T12" fmla="*/ 261 w 540"/>
              <a:gd name="T13" fmla="*/ 0 h 858"/>
              <a:gd name="T14" fmla="*/ 25 w 540"/>
              <a:gd name="T15" fmla="*/ 45 h 858"/>
              <a:gd name="T16" fmla="*/ 54 w 540"/>
              <a:gd name="T17" fmla="*/ 162 h 858"/>
              <a:gd name="T18" fmla="*/ 243 w 540"/>
              <a:gd name="T19" fmla="*/ 117 h 858"/>
              <a:gd name="T20" fmla="*/ 385 w 540"/>
              <a:gd name="T21" fmla="*/ 228 h 858"/>
              <a:gd name="T22" fmla="*/ 168 w 540"/>
              <a:gd name="T23" fmla="*/ 358 h 858"/>
              <a:gd name="T24" fmla="*/ 112 w 540"/>
              <a:gd name="T25" fmla="*/ 355 h 858"/>
              <a:gd name="T26" fmla="*/ 112 w 540"/>
              <a:gd name="T27" fmla="*/ 468 h 858"/>
              <a:gd name="T28" fmla="*/ 182 w 540"/>
              <a:gd name="T29" fmla="*/ 466 h 858"/>
              <a:gd name="T30" fmla="*/ 393 w 540"/>
              <a:gd name="T31" fmla="*/ 601 h 858"/>
              <a:gd name="T32" fmla="*/ 228 w 540"/>
              <a:gd name="T33" fmla="*/ 742 h 858"/>
              <a:gd name="T34" fmla="*/ 30 w 540"/>
              <a:gd name="T35" fmla="*/ 695 h 858"/>
              <a:gd name="T36" fmla="*/ 0 w 540"/>
              <a:gd name="T37" fmla="*/ 814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0" h="858">
                <a:moveTo>
                  <a:pt x="0" y="814"/>
                </a:moveTo>
                <a:cubicBezTo>
                  <a:pt x="80" y="845"/>
                  <a:pt x="150" y="858"/>
                  <a:pt x="237" y="858"/>
                </a:cubicBezTo>
                <a:cubicBezTo>
                  <a:pt x="332" y="858"/>
                  <a:pt x="404" y="838"/>
                  <a:pt x="454" y="796"/>
                </a:cubicBezTo>
                <a:cubicBezTo>
                  <a:pt x="508" y="751"/>
                  <a:pt x="540" y="684"/>
                  <a:pt x="540" y="607"/>
                </a:cubicBezTo>
                <a:cubicBezTo>
                  <a:pt x="540" y="493"/>
                  <a:pt x="481" y="429"/>
                  <a:pt x="361" y="412"/>
                </a:cubicBezTo>
                <a:cubicBezTo>
                  <a:pt x="474" y="390"/>
                  <a:pt x="531" y="324"/>
                  <a:pt x="531" y="215"/>
                </a:cubicBezTo>
                <a:cubicBezTo>
                  <a:pt x="531" y="78"/>
                  <a:pt x="433" y="0"/>
                  <a:pt x="261" y="0"/>
                </a:cubicBezTo>
                <a:cubicBezTo>
                  <a:pt x="177" y="0"/>
                  <a:pt x="104" y="13"/>
                  <a:pt x="25" y="45"/>
                </a:cubicBezTo>
                <a:cubicBezTo>
                  <a:pt x="54" y="162"/>
                  <a:pt x="54" y="162"/>
                  <a:pt x="54" y="162"/>
                </a:cubicBezTo>
                <a:cubicBezTo>
                  <a:pt x="130" y="130"/>
                  <a:pt x="186" y="117"/>
                  <a:pt x="243" y="117"/>
                </a:cubicBezTo>
                <a:cubicBezTo>
                  <a:pt x="332" y="117"/>
                  <a:pt x="385" y="159"/>
                  <a:pt x="385" y="228"/>
                </a:cubicBezTo>
                <a:cubicBezTo>
                  <a:pt x="385" y="313"/>
                  <a:pt x="310" y="358"/>
                  <a:pt x="168" y="358"/>
                </a:cubicBezTo>
                <a:cubicBezTo>
                  <a:pt x="145" y="358"/>
                  <a:pt x="142" y="358"/>
                  <a:pt x="112" y="355"/>
                </a:cubicBezTo>
                <a:cubicBezTo>
                  <a:pt x="112" y="468"/>
                  <a:pt x="112" y="468"/>
                  <a:pt x="112" y="468"/>
                </a:cubicBezTo>
                <a:cubicBezTo>
                  <a:pt x="150" y="466"/>
                  <a:pt x="159" y="466"/>
                  <a:pt x="182" y="466"/>
                </a:cubicBezTo>
                <a:cubicBezTo>
                  <a:pt x="325" y="466"/>
                  <a:pt x="393" y="510"/>
                  <a:pt x="393" y="601"/>
                </a:cubicBezTo>
                <a:cubicBezTo>
                  <a:pt x="393" y="689"/>
                  <a:pt x="331" y="742"/>
                  <a:pt x="228" y="742"/>
                </a:cubicBezTo>
                <a:cubicBezTo>
                  <a:pt x="160" y="742"/>
                  <a:pt x="100" y="727"/>
                  <a:pt x="30" y="695"/>
                </a:cubicBezTo>
                <a:lnTo>
                  <a:pt x="0" y="814"/>
                </a:lnTo>
                <a:close/>
              </a:path>
            </a:pathLst>
          </a:custGeom>
          <a:solidFill>
            <a:srgbClr val="FFFFFF"/>
          </a:solidFill>
          <a:ln>
            <a:noFill/>
          </a:ln>
        </p:spPr>
        <p:txBody>
          <a:bodyPr vert="horz" wrap="square" lIns="91392" tIns="45696" rIns="91392" bIns="45696" numCol="1" anchor="t" anchorCtr="0" compatLnSpc="1">
            <a:prstTxWarp prst="textNoShape">
              <a:avLst/>
            </a:prstTxWarp>
          </a:bodyPr>
          <a:lstStyle/>
          <a:p>
            <a:endParaRPr lang="en-US" sz="1799" dirty="0"/>
          </a:p>
        </p:txBody>
      </p:sp>
      <p:sp>
        <p:nvSpPr>
          <p:cNvPr id="33" name="Freeform 119">
            <a:extLst>
              <a:ext uri="{FF2B5EF4-FFF2-40B4-BE49-F238E27FC236}">
                <a16:creationId xmlns:a16="http://schemas.microsoft.com/office/drawing/2014/main" id="{BE2A9E55-E620-1D49-A9CD-B861AA67D804}"/>
              </a:ext>
            </a:extLst>
          </p:cNvPr>
          <p:cNvSpPr>
            <a:spLocks/>
          </p:cNvSpPr>
          <p:nvPr/>
        </p:nvSpPr>
        <p:spPr bwMode="gray">
          <a:xfrm>
            <a:off x="3065007" y="2718422"/>
            <a:ext cx="359362" cy="559733"/>
          </a:xfrm>
          <a:custGeom>
            <a:avLst/>
            <a:gdLst>
              <a:gd name="T0" fmla="*/ 0 w 228"/>
              <a:gd name="T1" fmla="*/ 355 h 355"/>
              <a:gd name="T2" fmla="*/ 0 w 228"/>
              <a:gd name="T3" fmla="*/ 307 h 355"/>
              <a:gd name="T4" fmla="*/ 105 w 228"/>
              <a:gd name="T5" fmla="*/ 203 h 355"/>
              <a:gd name="T6" fmla="*/ 153 w 228"/>
              <a:gd name="T7" fmla="*/ 141 h 355"/>
              <a:gd name="T8" fmla="*/ 164 w 228"/>
              <a:gd name="T9" fmla="*/ 100 h 355"/>
              <a:gd name="T10" fmla="*/ 148 w 228"/>
              <a:gd name="T11" fmla="*/ 64 h 355"/>
              <a:gd name="T12" fmla="*/ 104 w 228"/>
              <a:gd name="T13" fmla="*/ 49 h 355"/>
              <a:gd name="T14" fmla="*/ 20 w 228"/>
              <a:gd name="T15" fmla="*/ 75 h 355"/>
              <a:gd name="T16" fmla="*/ 5 w 228"/>
              <a:gd name="T17" fmla="*/ 24 h 355"/>
              <a:gd name="T18" fmla="*/ 111 w 228"/>
              <a:gd name="T19" fmla="*/ 0 h 355"/>
              <a:gd name="T20" fmla="*/ 193 w 228"/>
              <a:gd name="T21" fmla="*/ 23 h 355"/>
              <a:gd name="T22" fmla="*/ 225 w 228"/>
              <a:gd name="T23" fmla="*/ 97 h 355"/>
              <a:gd name="T24" fmla="*/ 195 w 228"/>
              <a:gd name="T25" fmla="*/ 183 h 355"/>
              <a:gd name="T26" fmla="*/ 80 w 228"/>
              <a:gd name="T27" fmla="*/ 306 h 355"/>
              <a:gd name="T28" fmla="*/ 228 w 228"/>
              <a:gd name="T29" fmla="*/ 306 h 355"/>
              <a:gd name="T30" fmla="*/ 228 w 228"/>
              <a:gd name="T31" fmla="*/ 355 h 355"/>
              <a:gd name="T32" fmla="*/ 0 w 228"/>
              <a:gd name="T33" fmla="*/ 355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8" h="355">
                <a:moveTo>
                  <a:pt x="0" y="355"/>
                </a:moveTo>
                <a:cubicBezTo>
                  <a:pt x="0" y="307"/>
                  <a:pt x="0" y="307"/>
                  <a:pt x="0" y="307"/>
                </a:cubicBezTo>
                <a:cubicBezTo>
                  <a:pt x="46" y="264"/>
                  <a:pt x="81" y="230"/>
                  <a:pt x="105" y="203"/>
                </a:cubicBezTo>
                <a:cubicBezTo>
                  <a:pt x="130" y="176"/>
                  <a:pt x="146" y="155"/>
                  <a:pt x="153" y="141"/>
                </a:cubicBezTo>
                <a:cubicBezTo>
                  <a:pt x="160" y="126"/>
                  <a:pt x="164" y="113"/>
                  <a:pt x="164" y="100"/>
                </a:cubicBezTo>
                <a:cubicBezTo>
                  <a:pt x="164" y="85"/>
                  <a:pt x="159" y="73"/>
                  <a:pt x="148" y="64"/>
                </a:cubicBezTo>
                <a:cubicBezTo>
                  <a:pt x="137" y="54"/>
                  <a:pt x="122" y="49"/>
                  <a:pt x="104" y="49"/>
                </a:cubicBezTo>
                <a:cubicBezTo>
                  <a:pt x="80" y="49"/>
                  <a:pt x="52" y="58"/>
                  <a:pt x="20" y="75"/>
                </a:cubicBezTo>
                <a:cubicBezTo>
                  <a:pt x="5" y="24"/>
                  <a:pt x="5" y="24"/>
                  <a:pt x="5" y="24"/>
                </a:cubicBezTo>
                <a:cubicBezTo>
                  <a:pt x="40" y="8"/>
                  <a:pt x="75" y="0"/>
                  <a:pt x="111" y="0"/>
                </a:cubicBezTo>
                <a:cubicBezTo>
                  <a:pt x="145" y="0"/>
                  <a:pt x="173" y="8"/>
                  <a:pt x="193" y="23"/>
                </a:cubicBezTo>
                <a:cubicBezTo>
                  <a:pt x="215" y="40"/>
                  <a:pt x="225" y="65"/>
                  <a:pt x="225" y="97"/>
                </a:cubicBezTo>
                <a:cubicBezTo>
                  <a:pt x="225" y="125"/>
                  <a:pt x="215" y="154"/>
                  <a:pt x="195" y="183"/>
                </a:cubicBezTo>
                <a:cubicBezTo>
                  <a:pt x="173" y="215"/>
                  <a:pt x="134" y="255"/>
                  <a:pt x="80" y="306"/>
                </a:cubicBezTo>
                <a:cubicBezTo>
                  <a:pt x="228" y="306"/>
                  <a:pt x="228" y="306"/>
                  <a:pt x="228" y="306"/>
                </a:cubicBezTo>
                <a:cubicBezTo>
                  <a:pt x="228" y="355"/>
                  <a:pt x="228" y="355"/>
                  <a:pt x="228" y="355"/>
                </a:cubicBezTo>
                <a:lnTo>
                  <a:pt x="0" y="355"/>
                </a:lnTo>
                <a:close/>
              </a:path>
            </a:pathLst>
          </a:custGeom>
          <a:solidFill>
            <a:srgbClr val="FFFFFF"/>
          </a:solidFill>
          <a:ln>
            <a:noFill/>
          </a:ln>
        </p:spPr>
        <p:txBody>
          <a:bodyPr vert="horz" wrap="square" lIns="91392" tIns="45696" rIns="91392" bIns="45696"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endParaRPr lang="en-US" sz="1799" dirty="0">
              <a:latin typeface="+mn-lt"/>
            </a:endParaRPr>
          </a:p>
        </p:txBody>
      </p:sp>
      <p:sp>
        <p:nvSpPr>
          <p:cNvPr id="28" name="Rechteck 18">
            <a:extLst>
              <a:ext uri="{FF2B5EF4-FFF2-40B4-BE49-F238E27FC236}">
                <a16:creationId xmlns:a16="http://schemas.microsoft.com/office/drawing/2014/main" id="{F5125CC7-60CD-4484-B584-86F76B9E48AC}"/>
              </a:ext>
            </a:extLst>
          </p:cNvPr>
          <p:cNvSpPr>
            <a:spLocks/>
          </p:cNvSpPr>
          <p:nvPr/>
        </p:nvSpPr>
        <p:spPr bwMode="gray">
          <a:xfrm>
            <a:off x="410400" y="3725897"/>
            <a:ext cx="1658095" cy="2081178"/>
          </a:xfrm>
          <a:prstGeom prst="rect">
            <a:avLst/>
          </a:prstGeom>
          <a:noFill/>
          <a:ln>
            <a:noFill/>
          </a:ln>
          <a:effectLst/>
        </p:spPr>
        <p:txBody>
          <a:bodyPr wrap="square" lIns="0" tIns="0" rIns="0" bIns="0" rtlCol="0" anchor="t">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nSpc>
                <a:spcPct val="90000"/>
              </a:lnSpc>
              <a:spcBef>
                <a:spcPts val="0"/>
              </a:spcBef>
              <a:buClr>
                <a:schemeClr val="accent1"/>
              </a:buClr>
              <a:buSzPct val="120000"/>
            </a:pPr>
            <a:r>
              <a:rPr lang="en-US" sz="1599" b="1" dirty="0">
                <a:solidFill>
                  <a:srgbClr val="66667E"/>
                </a:solidFill>
                <a:latin typeface="+mn-lt"/>
              </a:rPr>
              <a:t>Cras ultricies</a:t>
            </a:r>
          </a:p>
        </p:txBody>
      </p:sp>
      <p:sp>
        <p:nvSpPr>
          <p:cNvPr id="29" name="Rechteck 18">
            <a:extLst>
              <a:ext uri="{FF2B5EF4-FFF2-40B4-BE49-F238E27FC236}">
                <a16:creationId xmlns:a16="http://schemas.microsoft.com/office/drawing/2014/main" id="{9ED06B73-B8BE-4105-B9D9-0C184233311D}"/>
              </a:ext>
            </a:extLst>
          </p:cNvPr>
          <p:cNvSpPr>
            <a:spLocks/>
          </p:cNvSpPr>
          <p:nvPr/>
        </p:nvSpPr>
        <p:spPr bwMode="gray">
          <a:xfrm>
            <a:off x="2218458" y="3725897"/>
            <a:ext cx="1658095" cy="2081178"/>
          </a:xfrm>
          <a:prstGeom prst="rect">
            <a:avLst/>
          </a:prstGeom>
          <a:noFill/>
          <a:ln>
            <a:noFill/>
          </a:ln>
          <a:effectLst/>
        </p:spPr>
        <p:txBody>
          <a:bodyPr wrap="square" lIns="0" tIns="0" rIns="0" bIns="0" rtlCol="0" anchor="t">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nSpc>
                <a:spcPct val="90000"/>
              </a:lnSpc>
              <a:spcBef>
                <a:spcPts val="0"/>
              </a:spcBef>
              <a:buClr>
                <a:schemeClr val="accent1"/>
              </a:buClr>
              <a:buSzPct val="120000"/>
            </a:pPr>
            <a:r>
              <a:rPr lang="en-US" sz="1599" b="1" dirty="0">
                <a:solidFill>
                  <a:srgbClr val="66667E"/>
                </a:solidFill>
                <a:latin typeface="+mn-lt"/>
              </a:rPr>
              <a:t>Tortor suscipi destrato</a:t>
            </a:r>
          </a:p>
        </p:txBody>
      </p:sp>
      <p:sp>
        <p:nvSpPr>
          <p:cNvPr id="34" name="Eingebuchteter Richtungspfeil 33">
            <a:extLst>
              <a:ext uri="{FF2B5EF4-FFF2-40B4-BE49-F238E27FC236}">
                <a16:creationId xmlns:a16="http://schemas.microsoft.com/office/drawing/2014/main" id="{328B6335-135A-DB4A-BEF5-467B5477039C}"/>
              </a:ext>
            </a:extLst>
          </p:cNvPr>
          <p:cNvSpPr/>
          <p:nvPr/>
        </p:nvSpPr>
        <p:spPr bwMode="auto">
          <a:xfrm>
            <a:off x="7643563" y="2494550"/>
            <a:ext cx="2050932" cy="1007475"/>
          </a:xfrm>
          <a:prstGeom prst="chevron">
            <a:avLst>
              <a:gd name="adj" fmla="val 37379"/>
            </a:avLst>
          </a:prstGeom>
          <a:solidFill>
            <a:srgbClr val="CCCCD4"/>
          </a:solidFill>
          <a:ln>
            <a:noFill/>
          </a:ln>
          <a:effectLst/>
        </p:spPr>
        <p:txBody>
          <a:bodyPr wrap="square" lIns="179906" tIns="0" rIns="179906" bIns="0" numCol="1" spcCol="72000" rtlCol="0" anchor="ctr" anchorCtr="0">
            <a:noAutofit/>
          </a:bodyPr>
          <a:lstStyle/>
          <a:p>
            <a:pPr lvl="0">
              <a:spcBef>
                <a:spcPct val="0"/>
              </a:spcBef>
            </a:pPr>
            <a:endParaRPr lang="en-US" sz="1599" b="1" kern="1400" dirty="0">
              <a:solidFill>
                <a:schemeClr val="bg1"/>
              </a:solidFill>
              <a:ea typeface="ＭＳ Ｐゴシック" pitchFamily="34" charset="-128"/>
              <a:cs typeface="Arial" charset="0"/>
            </a:endParaRPr>
          </a:p>
        </p:txBody>
      </p:sp>
      <p:sp>
        <p:nvSpPr>
          <p:cNvPr id="20" name="Eingebuchteter Richtungspfeil 33">
            <a:extLst>
              <a:ext uri="{FF2B5EF4-FFF2-40B4-BE49-F238E27FC236}">
                <a16:creationId xmlns:a16="http://schemas.microsoft.com/office/drawing/2014/main" id="{43DC93BE-E11A-4483-8B19-40FCE3F83393}"/>
              </a:ext>
            </a:extLst>
          </p:cNvPr>
          <p:cNvSpPr/>
          <p:nvPr/>
        </p:nvSpPr>
        <p:spPr bwMode="auto">
          <a:xfrm>
            <a:off x="9451621" y="2494550"/>
            <a:ext cx="2050932" cy="1007475"/>
          </a:xfrm>
          <a:prstGeom prst="chevron">
            <a:avLst>
              <a:gd name="adj" fmla="val 37379"/>
            </a:avLst>
          </a:prstGeom>
          <a:solidFill>
            <a:srgbClr val="CCCCD4"/>
          </a:solidFill>
          <a:ln>
            <a:noFill/>
          </a:ln>
          <a:effectLst/>
        </p:spPr>
        <p:txBody>
          <a:bodyPr wrap="square" lIns="179906" tIns="0" rIns="179906" bIns="0" numCol="1" spcCol="72000" rtlCol="0" anchor="ctr" anchorCtr="0">
            <a:noAutofit/>
          </a:bodyPr>
          <a:lstStyle/>
          <a:p>
            <a:pPr lvl="0">
              <a:spcBef>
                <a:spcPct val="0"/>
              </a:spcBef>
            </a:pPr>
            <a:endParaRPr lang="en-US" sz="1599" b="1" kern="1400" dirty="0">
              <a:solidFill>
                <a:schemeClr val="bg1"/>
              </a:solidFill>
              <a:ea typeface="ＭＳ Ｐゴシック" pitchFamily="34" charset="-128"/>
              <a:cs typeface="Arial" charset="0"/>
            </a:endParaRPr>
          </a:p>
        </p:txBody>
      </p:sp>
      <p:sp>
        <p:nvSpPr>
          <p:cNvPr id="12" name="Freeform 10">
            <a:extLst>
              <a:ext uri="{FF2B5EF4-FFF2-40B4-BE49-F238E27FC236}">
                <a16:creationId xmlns:a16="http://schemas.microsoft.com/office/drawing/2014/main" id="{E6F951C9-DCCF-48A8-A0D1-14F9FB116AA9}"/>
              </a:ext>
            </a:extLst>
          </p:cNvPr>
          <p:cNvSpPr>
            <a:spLocks noEditPoints="1"/>
          </p:cNvSpPr>
          <p:nvPr/>
        </p:nvSpPr>
        <p:spPr bwMode="auto">
          <a:xfrm>
            <a:off x="8458002" y="2718422"/>
            <a:ext cx="422055" cy="550576"/>
          </a:xfrm>
          <a:custGeom>
            <a:avLst/>
            <a:gdLst>
              <a:gd name="T0" fmla="*/ 159 w 266"/>
              <a:gd name="T1" fmla="*/ 57 h 347"/>
              <a:gd name="T2" fmla="*/ 159 w 266"/>
              <a:gd name="T3" fmla="*/ 205 h 347"/>
              <a:gd name="T4" fmla="*/ 57 w 266"/>
              <a:gd name="T5" fmla="*/ 205 h 347"/>
              <a:gd name="T6" fmla="*/ 159 w 266"/>
              <a:gd name="T7" fmla="*/ 57 h 347"/>
              <a:gd name="T8" fmla="*/ 142 w 266"/>
              <a:gd name="T9" fmla="*/ 0 h 347"/>
              <a:gd name="T10" fmla="*/ 0 w 266"/>
              <a:gd name="T11" fmla="*/ 203 h 347"/>
              <a:gd name="T12" fmla="*/ 0 w 266"/>
              <a:gd name="T13" fmla="*/ 252 h 347"/>
              <a:gd name="T14" fmla="*/ 158 w 266"/>
              <a:gd name="T15" fmla="*/ 252 h 347"/>
              <a:gd name="T16" fmla="*/ 158 w 266"/>
              <a:gd name="T17" fmla="*/ 304 h 347"/>
              <a:gd name="T18" fmla="*/ 115 w 266"/>
              <a:gd name="T19" fmla="*/ 305 h 347"/>
              <a:gd name="T20" fmla="*/ 115 w 266"/>
              <a:gd name="T21" fmla="*/ 347 h 347"/>
              <a:gd name="T22" fmla="*/ 254 w 266"/>
              <a:gd name="T23" fmla="*/ 347 h 347"/>
              <a:gd name="T24" fmla="*/ 254 w 266"/>
              <a:gd name="T25" fmla="*/ 305 h 347"/>
              <a:gd name="T26" fmla="*/ 216 w 266"/>
              <a:gd name="T27" fmla="*/ 304 h 347"/>
              <a:gd name="T28" fmla="*/ 216 w 266"/>
              <a:gd name="T29" fmla="*/ 252 h 347"/>
              <a:gd name="T30" fmla="*/ 266 w 266"/>
              <a:gd name="T31" fmla="*/ 252 h 347"/>
              <a:gd name="T32" fmla="*/ 266 w 266"/>
              <a:gd name="T33" fmla="*/ 205 h 347"/>
              <a:gd name="T34" fmla="*/ 216 w 266"/>
              <a:gd name="T35" fmla="*/ 205 h 347"/>
              <a:gd name="T36" fmla="*/ 216 w 266"/>
              <a:gd name="T37" fmla="*/ 0 h 347"/>
              <a:gd name="T38" fmla="*/ 142 w 266"/>
              <a:gd name="T39" fmla="*/ 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6" h="347">
                <a:moveTo>
                  <a:pt x="159" y="57"/>
                </a:moveTo>
                <a:lnTo>
                  <a:pt x="159" y="205"/>
                </a:lnTo>
                <a:lnTo>
                  <a:pt x="57" y="205"/>
                </a:lnTo>
                <a:lnTo>
                  <a:pt x="159" y="57"/>
                </a:lnTo>
                <a:close/>
                <a:moveTo>
                  <a:pt x="142" y="0"/>
                </a:moveTo>
                <a:lnTo>
                  <a:pt x="0" y="203"/>
                </a:lnTo>
                <a:lnTo>
                  <a:pt x="0" y="252"/>
                </a:lnTo>
                <a:lnTo>
                  <a:pt x="158" y="252"/>
                </a:lnTo>
                <a:lnTo>
                  <a:pt x="158" y="304"/>
                </a:lnTo>
                <a:lnTo>
                  <a:pt x="115" y="305"/>
                </a:lnTo>
                <a:lnTo>
                  <a:pt x="115" y="347"/>
                </a:lnTo>
                <a:lnTo>
                  <a:pt x="254" y="347"/>
                </a:lnTo>
                <a:lnTo>
                  <a:pt x="254" y="305"/>
                </a:lnTo>
                <a:lnTo>
                  <a:pt x="216" y="304"/>
                </a:lnTo>
                <a:lnTo>
                  <a:pt x="216" y="252"/>
                </a:lnTo>
                <a:lnTo>
                  <a:pt x="266" y="252"/>
                </a:lnTo>
                <a:lnTo>
                  <a:pt x="266" y="205"/>
                </a:lnTo>
                <a:lnTo>
                  <a:pt x="216" y="205"/>
                </a:lnTo>
                <a:lnTo>
                  <a:pt x="216" y="0"/>
                </a:lnTo>
                <a:lnTo>
                  <a:pt x="142" y="0"/>
                </a:lnTo>
                <a:close/>
              </a:path>
            </a:pathLst>
          </a:custGeom>
          <a:solidFill>
            <a:srgbClr val="FFFFFF"/>
          </a:solidFill>
          <a:ln>
            <a:noFill/>
          </a:ln>
        </p:spPr>
        <p:txBody>
          <a:bodyPr vert="horz" wrap="square" lIns="91392" tIns="45696" rIns="91392" bIns="45696" numCol="1" anchor="t" anchorCtr="0" compatLnSpc="1">
            <a:prstTxWarp prst="textNoShape">
              <a:avLst/>
            </a:prstTxWarp>
          </a:bodyPr>
          <a:lstStyle/>
          <a:p>
            <a:endParaRPr lang="en-US" sz="1799" dirty="0"/>
          </a:p>
        </p:txBody>
      </p:sp>
      <p:sp>
        <p:nvSpPr>
          <p:cNvPr id="13" name="Freeform 11">
            <a:extLst>
              <a:ext uri="{FF2B5EF4-FFF2-40B4-BE49-F238E27FC236}">
                <a16:creationId xmlns:a16="http://schemas.microsoft.com/office/drawing/2014/main" id="{6657C191-1C0B-4E17-85A7-D344BABA9D2A}"/>
              </a:ext>
            </a:extLst>
          </p:cNvPr>
          <p:cNvSpPr>
            <a:spLocks/>
          </p:cNvSpPr>
          <p:nvPr/>
        </p:nvSpPr>
        <p:spPr bwMode="auto">
          <a:xfrm>
            <a:off x="10296206" y="2718422"/>
            <a:ext cx="361762" cy="558509"/>
          </a:xfrm>
          <a:custGeom>
            <a:avLst/>
            <a:gdLst>
              <a:gd name="T0" fmla="*/ 0 w 546"/>
              <a:gd name="T1" fmla="*/ 793 h 844"/>
              <a:gd name="T2" fmla="*/ 240 w 546"/>
              <a:gd name="T3" fmla="*/ 844 h 844"/>
              <a:gd name="T4" fmla="*/ 461 w 546"/>
              <a:gd name="T5" fmla="*/ 773 h 844"/>
              <a:gd name="T6" fmla="*/ 546 w 546"/>
              <a:gd name="T7" fmla="*/ 559 h 844"/>
              <a:gd name="T8" fmla="*/ 269 w 546"/>
              <a:gd name="T9" fmla="*/ 294 h 844"/>
              <a:gd name="T10" fmla="*/ 180 w 546"/>
              <a:gd name="T11" fmla="*/ 303 h 844"/>
              <a:gd name="T12" fmla="*/ 186 w 546"/>
              <a:gd name="T13" fmla="*/ 118 h 844"/>
              <a:gd name="T14" fmla="*/ 516 w 546"/>
              <a:gd name="T15" fmla="*/ 118 h 844"/>
              <a:gd name="T16" fmla="*/ 516 w 546"/>
              <a:gd name="T17" fmla="*/ 0 h 844"/>
              <a:gd name="T18" fmla="*/ 47 w 546"/>
              <a:gd name="T19" fmla="*/ 0 h 844"/>
              <a:gd name="T20" fmla="*/ 34 w 546"/>
              <a:gd name="T21" fmla="*/ 441 h 844"/>
              <a:gd name="T22" fmla="*/ 223 w 546"/>
              <a:gd name="T23" fmla="*/ 406 h 844"/>
              <a:gd name="T24" fmla="*/ 400 w 546"/>
              <a:gd name="T25" fmla="*/ 557 h 844"/>
              <a:gd name="T26" fmla="*/ 227 w 546"/>
              <a:gd name="T27" fmla="*/ 727 h 844"/>
              <a:gd name="T28" fmla="*/ 40 w 546"/>
              <a:gd name="T29" fmla="*/ 673 h 844"/>
              <a:gd name="T30" fmla="*/ 0 w 546"/>
              <a:gd name="T31" fmla="*/ 793 h 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6" h="844">
                <a:moveTo>
                  <a:pt x="0" y="793"/>
                </a:moveTo>
                <a:cubicBezTo>
                  <a:pt x="76" y="828"/>
                  <a:pt x="149" y="844"/>
                  <a:pt x="240" y="844"/>
                </a:cubicBezTo>
                <a:cubicBezTo>
                  <a:pt x="340" y="844"/>
                  <a:pt x="408" y="822"/>
                  <a:pt x="461" y="773"/>
                </a:cubicBezTo>
                <a:cubicBezTo>
                  <a:pt x="516" y="721"/>
                  <a:pt x="546" y="647"/>
                  <a:pt x="546" y="559"/>
                </a:cubicBezTo>
                <a:cubicBezTo>
                  <a:pt x="546" y="390"/>
                  <a:pt x="445" y="294"/>
                  <a:pt x="269" y="294"/>
                </a:cubicBezTo>
                <a:cubicBezTo>
                  <a:pt x="235" y="294"/>
                  <a:pt x="214" y="297"/>
                  <a:pt x="180" y="303"/>
                </a:cubicBezTo>
                <a:cubicBezTo>
                  <a:pt x="186" y="118"/>
                  <a:pt x="186" y="118"/>
                  <a:pt x="186" y="118"/>
                </a:cubicBezTo>
                <a:cubicBezTo>
                  <a:pt x="516" y="118"/>
                  <a:pt x="516" y="118"/>
                  <a:pt x="516" y="118"/>
                </a:cubicBezTo>
                <a:cubicBezTo>
                  <a:pt x="516" y="0"/>
                  <a:pt x="516" y="0"/>
                  <a:pt x="516" y="0"/>
                </a:cubicBezTo>
                <a:cubicBezTo>
                  <a:pt x="47" y="0"/>
                  <a:pt x="47" y="0"/>
                  <a:pt x="47" y="0"/>
                </a:cubicBezTo>
                <a:cubicBezTo>
                  <a:pt x="34" y="441"/>
                  <a:pt x="34" y="441"/>
                  <a:pt x="34" y="441"/>
                </a:cubicBezTo>
                <a:cubicBezTo>
                  <a:pt x="112" y="415"/>
                  <a:pt x="165" y="406"/>
                  <a:pt x="223" y="406"/>
                </a:cubicBezTo>
                <a:cubicBezTo>
                  <a:pt x="336" y="406"/>
                  <a:pt x="400" y="460"/>
                  <a:pt x="400" y="557"/>
                </a:cubicBezTo>
                <a:cubicBezTo>
                  <a:pt x="400" y="661"/>
                  <a:pt x="331" y="727"/>
                  <a:pt x="227" y="727"/>
                </a:cubicBezTo>
                <a:cubicBezTo>
                  <a:pt x="166" y="727"/>
                  <a:pt x="109" y="711"/>
                  <a:pt x="40" y="673"/>
                </a:cubicBezTo>
                <a:lnTo>
                  <a:pt x="0" y="793"/>
                </a:lnTo>
                <a:close/>
              </a:path>
            </a:pathLst>
          </a:custGeom>
          <a:solidFill>
            <a:srgbClr val="FFFFFF"/>
          </a:solidFill>
          <a:ln>
            <a:noFill/>
          </a:ln>
        </p:spPr>
        <p:txBody>
          <a:bodyPr vert="horz" wrap="square" lIns="91392" tIns="45696" rIns="91392" bIns="45696" numCol="1" anchor="t" anchorCtr="0" compatLnSpc="1">
            <a:prstTxWarp prst="textNoShape">
              <a:avLst/>
            </a:prstTxWarp>
          </a:bodyPr>
          <a:lstStyle/>
          <a:p>
            <a:endParaRPr lang="en-US" sz="1799" dirty="0"/>
          </a:p>
        </p:txBody>
      </p:sp>
      <p:sp>
        <p:nvSpPr>
          <p:cNvPr id="30" name="Rechteck 18">
            <a:extLst>
              <a:ext uri="{FF2B5EF4-FFF2-40B4-BE49-F238E27FC236}">
                <a16:creationId xmlns:a16="http://schemas.microsoft.com/office/drawing/2014/main" id="{CEBFDFCA-8904-40B8-9B0F-B52DF016B017}"/>
              </a:ext>
            </a:extLst>
          </p:cNvPr>
          <p:cNvSpPr>
            <a:spLocks/>
          </p:cNvSpPr>
          <p:nvPr/>
        </p:nvSpPr>
        <p:spPr bwMode="gray">
          <a:xfrm>
            <a:off x="7642800" y="3725897"/>
            <a:ext cx="1658095" cy="2081178"/>
          </a:xfrm>
          <a:prstGeom prst="rect">
            <a:avLst/>
          </a:prstGeom>
          <a:noFill/>
          <a:ln>
            <a:noFill/>
          </a:ln>
          <a:effectLst/>
        </p:spPr>
        <p:txBody>
          <a:bodyPr wrap="square" lIns="0" tIns="0" rIns="0" bIns="0" rtlCol="0" anchor="t">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nSpc>
                <a:spcPct val="90000"/>
              </a:lnSpc>
              <a:spcBef>
                <a:spcPts val="0"/>
              </a:spcBef>
              <a:buClr>
                <a:schemeClr val="accent1"/>
              </a:buClr>
              <a:buSzPct val="120000"/>
            </a:pPr>
            <a:r>
              <a:rPr lang="en-US" sz="1599" b="1" dirty="0">
                <a:solidFill>
                  <a:srgbClr val="66667E"/>
                </a:solidFill>
                <a:latin typeface="+mn-lt"/>
              </a:rPr>
              <a:t>Duis arcur</a:t>
            </a:r>
          </a:p>
        </p:txBody>
      </p:sp>
      <p:sp>
        <p:nvSpPr>
          <p:cNvPr id="31" name="Rechteck 18">
            <a:extLst>
              <a:ext uri="{FF2B5EF4-FFF2-40B4-BE49-F238E27FC236}">
                <a16:creationId xmlns:a16="http://schemas.microsoft.com/office/drawing/2014/main" id="{9ECC3861-1316-42B4-9A11-C34568E4870C}"/>
              </a:ext>
            </a:extLst>
          </p:cNvPr>
          <p:cNvSpPr>
            <a:spLocks/>
          </p:cNvSpPr>
          <p:nvPr/>
        </p:nvSpPr>
        <p:spPr bwMode="gray">
          <a:xfrm>
            <a:off x="9450858" y="3725897"/>
            <a:ext cx="1658095" cy="2081178"/>
          </a:xfrm>
          <a:prstGeom prst="rect">
            <a:avLst/>
          </a:prstGeom>
          <a:noFill/>
          <a:ln>
            <a:noFill/>
          </a:ln>
          <a:effectLst/>
        </p:spPr>
        <p:txBody>
          <a:bodyPr wrap="square" lIns="0" tIns="0" rIns="0" bIns="0" rtlCol="0" anchor="t">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nSpc>
                <a:spcPct val="90000"/>
              </a:lnSpc>
              <a:spcBef>
                <a:spcPts val="0"/>
              </a:spcBef>
              <a:buClr>
                <a:schemeClr val="accent1"/>
              </a:buClr>
              <a:buSzPct val="120000"/>
            </a:pPr>
            <a:r>
              <a:rPr lang="en-US" sz="1599" b="1" dirty="0">
                <a:solidFill>
                  <a:srgbClr val="66667E"/>
                </a:solidFill>
                <a:latin typeface="+mn-lt"/>
              </a:rPr>
              <a:t>Phasellus sem nechtiq</a:t>
            </a:r>
          </a:p>
        </p:txBody>
      </p:sp>
      <p:sp>
        <p:nvSpPr>
          <p:cNvPr id="22" name="Rechteck 18">
            <a:extLst>
              <a:ext uri="{FF2B5EF4-FFF2-40B4-BE49-F238E27FC236}">
                <a16:creationId xmlns:a16="http://schemas.microsoft.com/office/drawing/2014/main" id="{A0E7FD98-8A84-4E08-B78D-2F9AD101239F}"/>
              </a:ext>
            </a:extLst>
          </p:cNvPr>
          <p:cNvSpPr>
            <a:spLocks/>
          </p:cNvSpPr>
          <p:nvPr/>
        </p:nvSpPr>
        <p:spPr bwMode="gray">
          <a:xfrm>
            <a:off x="4027280" y="2498400"/>
            <a:ext cx="3456000" cy="3312000"/>
          </a:xfrm>
          <a:prstGeom prst="rect">
            <a:avLst/>
          </a:prstGeom>
          <a:noFill/>
          <a:ln>
            <a:noFill/>
          </a:ln>
          <a:effectLst/>
        </p:spPr>
        <p:txBody>
          <a:bodyPr wrap="square" lIns="1044000" tIns="288000" rIns="360000" bIns="0" rtlCol="0" anchor="t">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nSpc>
                <a:spcPct val="90000"/>
              </a:lnSpc>
              <a:spcBef>
                <a:spcPts val="900"/>
              </a:spcBef>
              <a:spcAft>
                <a:spcPts val="2150"/>
              </a:spcAft>
              <a:buClr>
                <a:schemeClr val="accent1"/>
              </a:buClr>
            </a:pPr>
            <a:r>
              <a:rPr lang="en-US" sz="1999" b="1" dirty="0">
                <a:solidFill>
                  <a:schemeClr val="bg1"/>
                </a:solidFill>
                <a:latin typeface="+mn-lt"/>
              </a:rPr>
              <a:t>Duis arcu dolore </a:t>
            </a:r>
            <a:br>
              <a:rPr lang="en-US" sz="1999" b="1" dirty="0">
                <a:solidFill>
                  <a:schemeClr val="bg1"/>
                </a:solidFill>
                <a:latin typeface="+mn-lt"/>
              </a:rPr>
            </a:br>
            <a:r>
              <a:rPr lang="en-US" sz="1999" b="1" dirty="0">
                <a:solidFill>
                  <a:schemeClr val="bg1"/>
                </a:solidFill>
                <a:latin typeface="+mn-lt"/>
              </a:rPr>
              <a:t>tortor quest</a:t>
            </a:r>
          </a:p>
          <a:p>
            <a:pPr marL="180885" indent="-180885">
              <a:lnSpc>
                <a:spcPct val="90000"/>
              </a:lnSpc>
              <a:spcBef>
                <a:spcPts val="900"/>
              </a:spcBef>
              <a:buClr>
                <a:schemeClr val="accent1"/>
              </a:buClr>
              <a:buSzPct val="100000"/>
              <a:buFont typeface="Arial" panose="020B0604020202020204" pitchFamily="34" charset="0"/>
              <a:buChar char="•"/>
            </a:pPr>
            <a:r>
              <a:rPr lang="en-US" sz="1599" dirty="0">
                <a:solidFill>
                  <a:srgbClr val="66667E"/>
                </a:solidFill>
                <a:latin typeface="+mn-lt"/>
              </a:rPr>
              <a:t>Cras ultricies mi eu</a:t>
            </a:r>
          </a:p>
          <a:p>
            <a:pPr marL="180885" indent="-180885">
              <a:lnSpc>
                <a:spcPct val="90000"/>
              </a:lnSpc>
              <a:spcBef>
                <a:spcPts val="600"/>
              </a:spcBef>
              <a:buClr>
                <a:schemeClr val="accent1"/>
              </a:buClr>
              <a:buSzPct val="100000"/>
              <a:buFont typeface="Arial" panose="020B0604020202020204" pitchFamily="34" charset="0"/>
              <a:buChar char="•"/>
            </a:pPr>
            <a:r>
              <a:rPr lang="en-US" sz="1599" dirty="0">
                <a:solidFill>
                  <a:srgbClr val="66667E"/>
                </a:solidFill>
                <a:latin typeface="+mn-lt"/>
              </a:rPr>
              <a:t>Duis arcu tortor, suscipit eget</a:t>
            </a:r>
          </a:p>
          <a:p>
            <a:pPr marL="180885" indent="-180885">
              <a:lnSpc>
                <a:spcPct val="90000"/>
              </a:lnSpc>
              <a:spcBef>
                <a:spcPts val="600"/>
              </a:spcBef>
              <a:buClr>
                <a:schemeClr val="accent1"/>
              </a:buClr>
              <a:buSzPct val="100000"/>
              <a:buFont typeface="Arial" panose="020B0604020202020204" pitchFamily="34" charset="0"/>
              <a:buChar char="•"/>
            </a:pPr>
            <a:r>
              <a:rPr lang="en-US" sz="1599" dirty="0">
                <a:solidFill>
                  <a:srgbClr val="66667E"/>
                </a:solidFill>
                <a:latin typeface="+mn-lt"/>
              </a:rPr>
              <a:t>Phasellus nec sem</a:t>
            </a:r>
          </a:p>
        </p:txBody>
      </p:sp>
      <p:sp>
        <p:nvSpPr>
          <p:cNvPr id="4" name="Footer Placeholder 3">
            <a:extLst>
              <a:ext uri="{FF2B5EF4-FFF2-40B4-BE49-F238E27FC236}">
                <a16:creationId xmlns:a16="http://schemas.microsoft.com/office/drawing/2014/main" id="{260B6DCF-8927-4A36-B220-7FD69AC79A9B}"/>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5" name="Slide Number Placeholder 4">
            <a:extLst>
              <a:ext uri="{FF2B5EF4-FFF2-40B4-BE49-F238E27FC236}">
                <a16:creationId xmlns:a16="http://schemas.microsoft.com/office/drawing/2014/main" id="{4EEBF0CF-9372-4612-BE3F-A0D6E8B1B5DA}"/>
              </a:ext>
            </a:extLst>
          </p:cNvPr>
          <p:cNvSpPr>
            <a:spLocks noGrp="1"/>
          </p:cNvSpPr>
          <p:nvPr>
            <p:ph type="sldNum" sz="quarter" idx="11"/>
          </p:nvPr>
        </p:nvSpPr>
        <p:spPr/>
        <p:txBody>
          <a:bodyPr/>
          <a:lstStyle/>
          <a:p>
            <a:r>
              <a:rPr lang="en-US" dirty="0"/>
              <a:t>Page </a:t>
            </a:r>
            <a:fld id="{15EBE321-CBB1-4E91-BD14-37C8D44326FB}" type="slidenum">
              <a:rPr lang="en-US" smtClean="0"/>
              <a:pPr/>
              <a:t>118</a:t>
            </a:fld>
            <a:endParaRPr lang="en-US" dirty="0"/>
          </a:p>
        </p:txBody>
      </p:sp>
    </p:spTree>
    <p:extLst>
      <p:ext uri="{BB962C8B-B14F-4D97-AF65-F5344CB8AC3E}">
        <p14:creationId xmlns:p14="http://schemas.microsoft.com/office/powerpoint/2010/main" val="1961515983"/>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3" imgW="360" imgH="360" progId="">
                  <p:embed/>
                </p:oleObj>
              </mc:Choice>
              <mc:Fallback>
                <p:oleObj name="think-cell Folie" r:id="rId3" imgW="360" imgH="360" progId="">
                  <p:embed/>
                  <p:pic>
                    <p:nvPicPr>
                      <p:cNvPr id="3" name="Objek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en-US" dirty="0"/>
              <a:t>Process – five steps highlight (arrows)</a:t>
            </a:r>
          </a:p>
        </p:txBody>
      </p:sp>
      <p:sp>
        <p:nvSpPr>
          <p:cNvPr id="24" name="Eingebuchteter Richtungspfeil 33">
            <a:extLst>
              <a:ext uri="{FF2B5EF4-FFF2-40B4-BE49-F238E27FC236}">
                <a16:creationId xmlns:a16="http://schemas.microsoft.com/office/drawing/2014/main" id="{CEE97C04-EA30-4BA4-8BC2-E73106013414}"/>
              </a:ext>
            </a:extLst>
          </p:cNvPr>
          <p:cNvSpPr/>
          <p:nvPr/>
        </p:nvSpPr>
        <p:spPr bwMode="auto">
          <a:xfrm>
            <a:off x="4027280" y="2494550"/>
            <a:ext cx="3852000" cy="1007475"/>
          </a:xfrm>
          <a:prstGeom prst="chevron">
            <a:avLst>
              <a:gd name="adj" fmla="val 37379"/>
            </a:avLst>
          </a:prstGeom>
          <a:solidFill>
            <a:schemeClr val="accent2"/>
          </a:solidFill>
          <a:ln>
            <a:noFill/>
          </a:ln>
          <a:effectLst/>
        </p:spPr>
        <p:txBody>
          <a:bodyPr wrap="square" lIns="179906" tIns="0" rIns="179906" bIns="0" numCol="1" spcCol="72000" rtlCol="0" anchor="ctr" anchorCtr="0">
            <a:noAutofit/>
          </a:bodyPr>
          <a:lstStyle/>
          <a:p>
            <a:pPr lvl="0">
              <a:spcBef>
                <a:spcPct val="0"/>
              </a:spcBef>
            </a:pPr>
            <a:endParaRPr lang="en-US" sz="1599" b="1" kern="1400" dirty="0">
              <a:solidFill>
                <a:schemeClr val="bg1"/>
              </a:solidFill>
              <a:ea typeface="ＭＳ Ｐゴシック" pitchFamily="34" charset="-128"/>
              <a:cs typeface="Arial" charset="0"/>
            </a:endParaRPr>
          </a:p>
        </p:txBody>
      </p:sp>
      <p:sp>
        <p:nvSpPr>
          <p:cNvPr id="15" name="Richtungspfeil 14">
            <a:extLst>
              <a:ext uri="{FF2B5EF4-FFF2-40B4-BE49-F238E27FC236}">
                <a16:creationId xmlns:a16="http://schemas.microsoft.com/office/drawing/2014/main" id="{83B8E878-E814-884D-A5F6-AC2C5E720E1D}"/>
              </a:ext>
            </a:extLst>
          </p:cNvPr>
          <p:cNvSpPr/>
          <p:nvPr/>
        </p:nvSpPr>
        <p:spPr bwMode="auto">
          <a:xfrm>
            <a:off x="411163" y="2494550"/>
            <a:ext cx="2050932" cy="1007475"/>
          </a:xfrm>
          <a:prstGeom prst="homePlate">
            <a:avLst>
              <a:gd name="adj" fmla="val 37199"/>
            </a:avLst>
          </a:prstGeom>
          <a:solidFill>
            <a:srgbClr val="66667E"/>
          </a:solidFill>
          <a:ln>
            <a:noFill/>
          </a:ln>
          <a:effectLst/>
        </p:spPr>
        <p:txBody>
          <a:bodyPr wrap="square" lIns="179906" tIns="0" rIns="179906" bIns="0" numCol="1" spcCol="72000" rtlCol="0" anchor="ctr" anchorCtr="0">
            <a:noAutofit/>
          </a:bodyPr>
          <a:lstStyle/>
          <a:p>
            <a:pPr lvl="0">
              <a:spcBef>
                <a:spcPct val="0"/>
              </a:spcBef>
            </a:pPr>
            <a:endParaRPr lang="en-US" sz="1599" b="1" kern="1400" dirty="0">
              <a:solidFill>
                <a:schemeClr val="bg1"/>
              </a:solidFill>
              <a:ea typeface="ＭＳ Ｐゴシック" pitchFamily="34" charset="-128"/>
              <a:cs typeface="Arial" charset="0"/>
            </a:endParaRPr>
          </a:p>
        </p:txBody>
      </p:sp>
      <p:sp>
        <p:nvSpPr>
          <p:cNvPr id="16" name="Freeform 118">
            <a:extLst>
              <a:ext uri="{FF2B5EF4-FFF2-40B4-BE49-F238E27FC236}">
                <a16:creationId xmlns:a16="http://schemas.microsoft.com/office/drawing/2014/main" id="{55518276-19F8-F34B-98C8-2567A95DB361}"/>
              </a:ext>
            </a:extLst>
          </p:cNvPr>
          <p:cNvSpPr>
            <a:spLocks/>
          </p:cNvSpPr>
          <p:nvPr/>
        </p:nvSpPr>
        <p:spPr bwMode="gray">
          <a:xfrm>
            <a:off x="1127113" y="2724148"/>
            <a:ext cx="315798" cy="548281"/>
          </a:xfrm>
          <a:custGeom>
            <a:avLst/>
            <a:gdLst>
              <a:gd name="T0" fmla="*/ 717 w 1501"/>
              <a:gd name="T1" fmla="*/ 2270 h 2606"/>
              <a:gd name="T2" fmla="*/ 717 w 1501"/>
              <a:gd name="T3" fmla="*/ 485 h 2606"/>
              <a:gd name="T4" fmla="*/ 202 w 1501"/>
              <a:gd name="T5" fmla="*/ 814 h 2606"/>
              <a:gd name="T6" fmla="*/ 0 w 1501"/>
              <a:gd name="T7" fmla="*/ 463 h 2606"/>
              <a:gd name="T8" fmla="*/ 762 w 1501"/>
              <a:gd name="T9" fmla="*/ 0 h 2606"/>
              <a:gd name="T10" fmla="*/ 1158 w 1501"/>
              <a:gd name="T11" fmla="*/ 0 h 2606"/>
              <a:gd name="T12" fmla="*/ 1158 w 1501"/>
              <a:gd name="T13" fmla="*/ 2270 h 2606"/>
              <a:gd name="T14" fmla="*/ 1501 w 1501"/>
              <a:gd name="T15" fmla="*/ 2285 h 2606"/>
              <a:gd name="T16" fmla="*/ 1501 w 1501"/>
              <a:gd name="T17" fmla="*/ 2606 h 2606"/>
              <a:gd name="T18" fmla="*/ 381 w 1501"/>
              <a:gd name="T19" fmla="*/ 2606 h 2606"/>
              <a:gd name="T20" fmla="*/ 381 w 1501"/>
              <a:gd name="T21" fmla="*/ 2285 h 2606"/>
              <a:gd name="T22" fmla="*/ 717 w 1501"/>
              <a:gd name="T23" fmla="*/ 2270 h 2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01" h="2606">
                <a:moveTo>
                  <a:pt x="717" y="2270"/>
                </a:moveTo>
                <a:lnTo>
                  <a:pt x="717" y="485"/>
                </a:lnTo>
                <a:lnTo>
                  <a:pt x="202" y="814"/>
                </a:lnTo>
                <a:lnTo>
                  <a:pt x="0" y="463"/>
                </a:lnTo>
                <a:lnTo>
                  <a:pt x="762" y="0"/>
                </a:lnTo>
                <a:lnTo>
                  <a:pt x="1158" y="0"/>
                </a:lnTo>
                <a:lnTo>
                  <a:pt x="1158" y="2270"/>
                </a:lnTo>
                <a:lnTo>
                  <a:pt x="1501" y="2285"/>
                </a:lnTo>
                <a:lnTo>
                  <a:pt x="1501" y="2606"/>
                </a:lnTo>
                <a:lnTo>
                  <a:pt x="381" y="2606"/>
                </a:lnTo>
                <a:lnTo>
                  <a:pt x="381" y="2285"/>
                </a:lnTo>
                <a:lnTo>
                  <a:pt x="717" y="2270"/>
                </a:lnTo>
                <a:close/>
              </a:path>
            </a:pathLst>
          </a:custGeom>
          <a:solidFill>
            <a:schemeClr val="bg2"/>
          </a:solidFill>
          <a:ln>
            <a:noFill/>
          </a:ln>
        </p:spPr>
        <p:txBody>
          <a:bodyPr vert="horz" wrap="square" lIns="91392" tIns="45696" rIns="91392" bIns="45696"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endParaRPr lang="en-US" sz="1799" dirty="0">
              <a:solidFill>
                <a:srgbClr val="FFFFFF"/>
              </a:solidFill>
              <a:latin typeface="+mn-lt"/>
            </a:endParaRPr>
          </a:p>
        </p:txBody>
      </p:sp>
      <p:sp>
        <p:nvSpPr>
          <p:cNvPr id="14" name="Eingebuchteter Richtungspfeil 17">
            <a:extLst>
              <a:ext uri="{FF2B5EF4-FFF2-40B4-BE49-F238E27FC236}">
                <a16:creationId xmlns:a16="http://schemas.microsoft.com/office/drawing/2014/main" id="{9D39F594-94E0-49E7-9F09-1B97544EBA58}"/>
              </a:ext>
            </a:extLst>
          </p:cNvPr>
          <p:cNvSpPr/>
          <p:nvPr/>
        </p:nvSpPr>
        <p:spPr bwMode="auto">
          <a:xfrm>
            <a:off x="2219221" y="2494550"/>
            <a:ext cx="2050932" cy="1007475"/>
          </a:xfrm>
          <a:prstGeom prst="chevron">
            <a:avLst>
              <a:gd name="adj" fmla="val 37584"/>
            </a:avLst>
          </a:prstGeom>
          <a:solidFill>
            <a:srgbClr val="66667E"/>
          </a:solidFill>
          <a:ln>
            <a:noFill/>
          </a:ln>
          <a:effectLst/>
        </p:spPr>
        <p:txBody>
          <a:bodyPr wrap="square" lIns="179906" tIns="0" rIns="179906" bIns="0" numCol="1" spcCol="72000" rtlCol="0" anchor="ctr" anchorCtr="0">
            <a:noAutofit/>
          </a:bodyPr>
          <a:lstStyle/>
          <a:p>
            <a:pPr lvl="0">
              <a:spcBef>
                <a:spcPct val="0"/>
              </a:spcBef>
            </a:pPr>
            <a:endParaRPr lang="en-US" sz="1599" b="1" kern="1400" dirty="0">
              <a:solidFill>
                <a:schemeClr val="bg1"/>
              </a:solidFill>
              <a:ea typeface="ＭＳ Ｐゴシック" pitchFamily="34" charset="-128"/>
              <a:cs typeface="Arial" charset="0"/>
            </a:endParaRPr>
          </a:p>
        </p:txBody>
      </p:sp>
      <p:sp>
        <p:nvSpPr>
          <p:cNvPr id="11" name="Freeform 9">
            <a:extLst>
              <a:ext uri="{FF2B5EF4-FFF2-40B4-BE49-F238E27FC236}">
                <a16:creationId xmlns:a16="http://schemas.microsoft.com/office/drawing/2014/main" id="{38548C51-3041-43E4-8DC5-3255FC7D6FB1}"/>
              </a:ext>
            </a:extLst>
          </p:cNvPr>
          <p:cNvSpPr>
            <a:spLocks/>
          </p:cNvSpPr>
          <p:nvPr/>
        </p:nvSpPr>
        <p:spPr bwMode="auto">
          <a:xfrm>
            <a:off x="4540984" y="2718422"/>
            <a:ext cx="358588" cy="568029"/>
          </a:xfrm>
          <a:custGeom>
            <a:avLst/>
            <a:gdLst>
              <a:gd name="T0" fmla="*/ 0 w 540"/>
              <a:gd name="T1" fmla="*/ 814 h 858"/>
              <a:gd name="T2" fmla="*/ 237 w 540"/>
              <a:gd name="T3" fmla="*/ 858 h 858"/>
              <a:gd name="T4" fmla="*/ 454 w 540"/>
              <a:gd name="T5" fmla="*/ 796 h 858"/>
              <a:gd name="T6" fmla="*/ 540 w 540"/>
              <a:gd name="T7" fmla="*/ 607 h 858"/>
              <a:gd name="T8" fmla="*/ 361 w 540"/>
              <a:gd name="T9" fmla="*/ 412 h 858"/>
              <a:gd name="T10" fmla="*/ 531 w 540"/>
              <a:gd name="T11" fmla="*/ 215 h 858"/>
              <a:gd name="T12" fmla="*/ 261 w 540"/>
              <a:gd name="T13" fmla="*/ 0 h 858"/>
              <a:gd name="T14" fmla="*/ 25 w 540"/>
              <a:gd name="T15" fmla="*/ 45 h 858"/>
              <a:gd name="T16" fmla="*/ 54 w 540"/>
              <a:gd name="T17" fmla="*/ 162 h 858"/>
              <a:gd name="T18" fmla="*/ 243 w 540"/>
              <a:gd name="T19" fmla="*/ 117 h 858"/>
              <a:gd name="T20" fmla="*/ 385 w 540"/>
              <a:gd name="T21" fmla="*/ 228 h 858"/>
              <a:gd name="T22" fmla="*/ 168 w 540"/>
              <a:gd name="T23" fmla="*/ 358 h 858"/>
              <a:gd name="T24" fmla="*/ 112 w 540"/>
              <a:gd name="T25" fmla="*/ 355 h 858"/>
              <a:gd name="T26" fmla="*/ 112 w 540"/>
              <a:gd name="T27" fmla="*/ 468 h 858"/>
              <a:gd name="T28" fmla="*/ 182 w 540"/>
              <a:gd name="T29" fmla="*/ 466 h 858"/>
              <a:gd name="T30" fmla="*/ 393 w 540"/>
              <a:gd name="T31" fmla="*/ 601 h 858"/>
              <a:gd name="T32" fmla="*/ 228 w 540"/>
              <a:gd name="T33" fmla="*/ 742 h 858"/>
              <a:gd name="T34" fmla="*/ 30 w 540"/>
              <a:gd name="T35" fmla="*/ 695 h 858"/>
              <a:gd name="T36" fmla="*/ 0 w 540"/>
              <a:gd name="T37" fmla="*/ 814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0" h="858">
                <a:moveTo>
                  <a:pt x="0" y="814"/>
                </a:moveTo>
                <a:cubicBezTo>
                  <a:pt x="80" y="845"/>
                  <a:pt x="150" y="858"/>
                  <a:pt x="237" y="858"/>
                </a:cubicBezTo>
                <a:cubicBezTo>
                  <a:pt x="332" y="858"/>
                  <a:pt x="404" y="838"/>
                  <a:pt x="454" y="796"/>
                </a:cubicBezTo>
                <a:cubicBezTo>
                  <a:pt x="508" y="751"/>
                  <a:pt x="540" y="684"/>
                  <a:pt x="540" y="607"/>
                </a:cubicBezTo>
                <a:cubicBezTo>
                  <a:pt x="540" y="493"/>
                  <a:pt x="481" y="429"/>
                  <a:pt x="361" y="412"/>
                </a:cubicBezTo>
                <a:cubicBezTo>
                  <a:pt x="474" y="390"/>
                  <a:pt x="531" y="324"/>
                  <a:pt x="531" y="215"/>
                </a:cubicBezTo>
                <a:cubicBezTo>
                  <a:pt x="531" y="78"/>
                  <a:pt x="433" y="0"/>
                  <a:pt x="261" y="0"/>
                </a:cubicBezTo>
                <a:cubicBezTo>
                  <a:pt x="177" y="0"/>
                  <a:pt x="104" y="13"/>
                  <a:pt x="25" y="45"/>
                </a:cubicBezTo>
                <a:cubicBezTo>
                  <a:pt x="54" y="162"/>
                  <a:pt x="54" y="162"/>
                  <a:pt x="54" y="162"/>
                </a:cubicBezTo>
                <a:cubicBezTo>
                  <a:pt x="130" y="130"/>
                  <a:pt x="186" y="117"/>
                  <a:pt x="243" y="117"/>
                </a:cubicBezTo>
                <a:cubicBezTo>
                  <a:pt x="332" y="117"/>
                  <a:pt x="385" y="159"/>
                  <a:pt x="385" y="228"/>
                </a:cubicBezTo>
                <a:cubicBezTo>
                  <a:pt x="385" y="313"/>
                  <a:pt x="310" y="358"/>
                  <a:pt x="168" y="358"/>
                </a:cubicBezTo>
                <a:cubicBezTo>
                  <a:pt x="145" y="358"/>
                  <a:pt x="142" y="358"/>
                  <a:pt x="112" y="355"/>
                </a:cubicBezTo>
                <a:cubicBezTo>
                  <a:pt x="112" y="468"/>
                  <a:pt x="112" y="468"/>
                  <a:pt x="112" y="468"/>
                </a:cubicBezTo>
                <a:cubicBezTo>
                  <a:pt x="150" y="466"/>
                  <a:pt x="159" y="466"/>
                  <a:pt x="182" y="466"/>
                </a:cubicBezTo>
                <a:cubicBezTo>
                  <a:pt x="325" y="466"/>
                  <a:pt x="393" y="510"/>
                  <a:pt x="393" y="601"/>
                </a:cubicBezTo>
                <a:cubicBezTo>
                  <a:pt x="393" y="689"/>
                  <a:pt x="331" y="742"/>
                  <a:pt x="228" y="742"/>
                </a:cubicBezTo>
                <a:cubicBezTo>
                  <a:pt x="160" y="742"/>
                  <a:pt x="100" y="727"/>
                  <a:pt x="30" y="695"/>
                </a:cubicBezTo>
                <a:lnTo>
                  <a:pt x="0" y="814"/>
                </a:lnTo>
                <a:close/>
              </a:path>
            </a:pathLst>
          </a:custGeom>
          <a:solidFill>
            <a:schemeClr val="bg2"/>
          </a:solidFill>
          <a:ln>
            <a:noFill/>
          </a:ln>
        </p:spPr>
        <p:txBody>
          <a:bodyPr vert="horz" wrap="square" lIns="91392" tIns="45696" rIns="91392" bIns="45696" numCol="1" anchor="t" anchorCtr="0" compatLnSpc="1">
            <a:prstTxWarp prst="textNoShape">
              <a:avLst/>
            </a:prstTxWarp>
          </a:bodyPr>
          <a:lstStyle/>
          <a:p>
            <a:endParaRPr lang="en-US" sz="1799" dirty="0"/>
          </a:p>
        </p:txBody>
      </p:sp>
      <p:sp>
        <p:nvSpPr>
          <p:cNvPr id="33" name="Freeform 119">
            <a:extLst>
              <a:ext uri="{FF2B5EF4-FFF2-40B4-BE49-F238E27FC236}">
                <a16:creationId xmlns:a16="http://schemas.microsoft.com/office/drawing/2014/main" id="{BE2A9E55-E620-1D49-A9CD-B861AA67D804}"/>
              </a:ext>
            </a:extLst>
          </p:cNvPr>
          <p:cNvSpPr>
            <a:spLocks/>
          </p:cNvSpPr>
          <p:nvPr/>
        </p:nvSpPr>
        <p:spPr bwMode="gray">
          <a:xfrm>
            <a:off x="3065007" y="2718422"/>
            <a:ext cx="359362" cy="559733"/>
          </a:xfrm>
          <a:custGeom>
            <a:avLst/>
            <a:gdLst>
              <a:gd name="T0" fmla="*/ 0 w 228"/>
              <a:gd name="T1" fmla="*/ 355 h 355"/>
              <a:gd name="T2" fmla="*/ 0 w 228"/>
              <a:gd name="T3" fmla="*/ 307 h 355"/>
              <a:gd name="T4" fmla="*/ 105 w 228"/>
              <a:gd name="T5" fmla="*/ 203 h 355"/>
              <a:gd name="T6" fmla="*/ 153 w 228"/>
              <a:gd name="T7" fmla="*/ 141 h 355"/>
              <a:gd name="T8" fmla="*/ 164 w 228"/>
              <a:gd name="T9" fmla="*/ 100 h 355"/>
              <a:gd name="T10" fmla="*/ 148 w 228"/>
              <a:gd name="T11" fmla="*/ 64 h 355"/>
              <a:gd name="T12" fmla="*/ 104 w 228"/>
              <a:gd name="T13" fmla="*/ 49 h 355"/>
              <a:gd name="T14" fmla="*/ 20 w 228"/>
              <a:gd name="T15" fmla="*/ 75 h 355"/>
              <a:gd name="T16" fmla="*/ 5 w 228"/>
              <a:gd name="T17" fmla="*/ 24 h 355"/>
              <a:gd name="T18" fmla="*/ 111 w 228"/>
              <a:gd name="T19" fmla="*/ 0 h 355"/>
              <a:gd name="T20" fmla="*/ 193 w 228"/>
              <a:gd name="T21" fmla="*/ 23 h 355"/>
              <a:gd name="T22" fmla="*/ 225 w 228"/>
              <a:gd name="T23" fmla="*/ 97 h 355"/>
              <a:gd name="T24" fmla="*/ 195 w 228"/>
              <a:gd name="T25" fmla="*/ 183 h 355"/>
              <a:gd name="T26" fmla="*/ 80 w 228"/>
              <a:gd name="T27" fmla="*/ 306 h 355"/>
              <a:gd name="T28" fmla="*/ 228 w 228"/>
              <a:gd name="T29" fmla="*/ 306 h 355"/>
              <a:gd name="T30" fmla="*/ 228 w 228"/>
              <a:gd name="T31" fmla="*/ 355 h 355"/>
              <a:gd name="T32" fmla="*/ 0 w 228"/>
              <a:gd name="T33" fmla="*/ 355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8" h="355">
                <a:moveTo>
                  <a:pt x="0" y="355"/>
                </a:moveTo>
                <a:cubicBezTo>
                  <a:pt x="0" y="307"/>
                  <a:pt x="0" y="307"/>
                  <a:pt x="0" y="307"/>
                </a:cubicBezTo>
                <a:cubicBezTo>
                  <a:pt x="46" y="264"/>
                  <a:pt x="81" y="230"/>
                  <a:pt x="105" y="203"/>
                </a:cubicBezTo>
                <a:cubicBezTo>
                  <a:pt x="130" y="176"/>
                  <a:pt x="146" y="155"/>
                  <a:pt x="153" y="141"/>
                </a:cubicBezTo>
                <a:cubicBezTo>
                  <a:pt x="160" y="126"/>
                  <a:pt x="164" y="113"/>
                  <a:pt x="164" y="100"/>
                </a:cubicBezTo>
                <a:cubicBezTo>
                  <a:pt x="164" y="85"/>
                  <a:pt x="159" y="73"/>
                  <a:pt x="148" y="64"/>
                </a:cubicBezTo>
                <a:cubicBezTo>
                  <a:pt x="137" y="54"/>
                  <a:pt x="122" y="49"/>
                  <a:pt x="104" y="49"/>
                </a:cubicBezTo>
                <a:cubicBezTo>
                  <a:pt x="80" y="49"/>
                  <a:pt x="52" y="58"/>
                  <a:pt x="20" y="75"/>
                </a:cubicBezTo>
                <a:cubicBezTo>
                  <a:pt x="5" y="24"/>
                  <a:pt x="5" y="24"/>
                  <a:pt x="5" y="24"/>
                </a:cubicBezTo>
                <a:cubicBezTo>
                  <a:pt x="40" y="8"/>
                  <a:pt x="75" y="0"/>
                  <a:pt x="111" y="0"/>
                </a:cubicBezTo>
                <a:cubicBezTo>
                  <a:pt x="145" y="0"/>
                  <a:pt x="173" y="8"/>
                  <a:pt x="193" y="23"/>
                </a:cubicBezTo>
                <a:cubicBezTo>
                  <a:pt x="215" y="40"/>
                  <a:pt x="225" y="65"/>
                  <a:pt x="225" y="97"/>
                </a:cubicBezTo>
                <a:cubicBezTo>
                  <a:pt x="225" y="125"/>
                  <a:pt x="215" y="154"/>
                  <a:pt x="195" y="183"/>
                </a:cubicBezTo>
                <a:cubicBezTo>
                  <a:pt x="173" y="215"/>
                  <a:pt x="134" y="255"/>
                  <a:pt x="80" y="306"/>
                </a:cubicBezTo>
                <a:cubicBezTo>
                  <a:pt x="228" y="306"/>
                  <a:pt x="228" y="306"/>
                  <a:pt x="228" y="306"/>
                </a:cubicBezTo>
                <a:cubicBezTo>
                  <a:pt x="228" y="355"/>
                  <a:pt x="228" y="355"/>
                  <a:pt x="228" y="355"/>
                </a:cubicBezTo>
                <a:lnTo>
                  <a:pt x="0" y="355"/>
                </a:lnTo>
                <a:close/>
              </a:path>
            </a:pathLst>
          </a:custGeom>
          <a:solidFill>
            <a:schemeClr val="bg2"/>
          </a:solidFill>
          <a:ln>
            <a:noFill/>
          </a:ln>
        </p:spPr>
        <p:txBody>
          <a:bodyPr vert="horz" wrap="square" lIns="91392" tIns="45696" rIns="91392" bIns="45696"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endParaRPr lang="en-US" sz="1799" dirty="0">
              <a:latin typeface="+mn-lt"/>
            </a:endParaRPr>
          </a:p>
        </p:txBody>
      </p:sp>
      <p:sp>
        <p:nvSpPr>
          <p:cNvPr id="28" name="Rechteck 18">
            <a:extLst>
              <a:ext uri="{FF2B5EF4-FFF2-40B4-BE49-F238E27FC236}">
                <a16:creationId xmlns:a16="http://schemas.microsoft.com/office/drawing/2014/main" id="{F5125CC7-60CD-4484-B584-86F76B9E48AC}"/>
              </a:ext>
            </a:extLst>
          </p:cNvPr>
          <p:cNvSpPr>
            <a:spLocks/>
          </p:cNvSpPr>
          <p:nvPr/>
        </p:nvSpPr>
        <p:spPr bwMode="gray">
          <a:xfrm>
            <a:off x="410400" y="3725897"/>
            <a:ext cx="1658095" cy="2081178"/>
          </a:xfrm>
          <a:prstGeom prst="rect">
            <a:avLst/>
          </a:prstGeom>
          <a:noFill/>
          <a:ln>
            <a:noFill/>
          </a:ln>
          <a:effectLst/>
        </p:spPr>
        <p:txBody>
          <a:bodyPr wrap="square" lIns="0" tIns="0" rIns="0" bIns="0" rtlCol="0" anchor="t">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nSpc>
                <a:spcPct val="90000"/>
              </a:lnSpc>
              <a:spcBef>
                <a:spcPts val="0"/>
              </a:spcBef>
              <a:buClr>
                <a:schemeClr val="accent1"/>
              </a:buClr>
              <a:buSzPct val="120000"/>
            </a:pPr>
            <a:r>
              <a:rPr lang="en-US" sz="1599" b="1" dirty="0">
                <a:solidFill>
                  <a:srgbClr val="9999A9"/>
                </a:solidFill>
                <a:latin typeface="+mn-lt"/>
              </a:rPr>
              <a:t>Cras ultricies</a:t>
            </a:r>
          </a:p>
        </p:txBody>
      </p:sp>
      <p:sp>
        <p:nvSpPr>
          <p:cNvPr id="29" name="Rechteck 18">
            <a:extLst>
              <a:ext uri="{FF2B5EF4-FFF2-40B4-BE49-F238E27FC236}">
                <a16:creationId xmlns:a16="http://schemas.microsoft.com/office/drawing/2014/main" id="{9ED06B73-B8BE-4105-B9D9-0C184233311D}"/>
              </a:ext>
            </a:extLst>
          </p:cNvPr>
          <p:cNvSpPr>
            <a:spLocks/>
          </p:cNvSpPr>
          <p:nvPr/>
        </p:nvSpPr>
        <p:spPr bwMode="gray">
          <a:xfrm>
            <a:off x="2218458" y="3725897"/>
            <a:ext cx="1658095" cy="2081178"/>
          </a:xfrm>
          <a:prstGeom prst="rect">
            <a:avLst/>
          </a:prstGeom>
          <a:noFill/>
          <a:ln>
            <a:noFill/>
          </a:ln>
          <a:effectLst/>
        </p:spPr>
        <p:txBody>
          <a:bodyPr wrap="square" lIns="0" tIns="0" rIns="0" bIns="0" rtlCol="0" anchor="t">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nSpc>
                <a:spcPct val="90000"/>
              </a:lnSpc>
              <a:spcBef>
                <a:spcPts val="0"/>
              </a:spcBef>
              <a:buClr>
                <a:schemeClr val="accent1"/>
              </a:buClr>
              <a:buSzPct val="120000"/>
            </a:pPr>
            <a:r>
              <a:rPr lang="en-US" sz="1599" b="1" dirty="0">
                <a:solidFill>
                  <a:srgbClr val="9999A9"/>
                </a:solidFill>
                <a:latin typeface="+mn-lt"/>
              </a:rPr>
              <a:t>Tortor suscipi destrato</a:t>
            </a:r>
          </a:p>
        </p:txBody>
      </p:sp>
      <p:sp>
        <p:nvSpPr>
          <p:cNvPr id="34" name="Eingebuchteter Richtungspfeil 33">
            <a:extLst>
              <a:ext uri="{FF2B5EF4-FFF2-40B4-BE49-F238E27FC236}">
                <a16:creationId xmlns:a16="http://schemas.microsoft.com/office/drawing/2014/main" id="{328B6335-135A-DB4A-BEF5-467B5477039C}"/>
              </a:ext>
            </a:extLst>
          </p:cNvPr>
          <p:cNvSpPr/>
          <p:nvPr/>
        </p:nvSpPr>
        <p:spPr bwMode="auto">
          <a:xfrm>
            <a:off x="7643563" y="2494550"/>
            <a:ext cx="2050932" cy="1007475"/>
          </a:xfrm>
          <a:prstGeom prst="chevron">
            <a:avLst>
              <a:gd name="adj" fmla="val 37379"/>
            </a:avLst>
          </a:prstGeom>
          <a:solidFill>
            <a:srgbClr val="66667E"/>
          </a:solidFill>
          <a:ln>
            <a:noFill/>
          </a:ln>
          <a:effectLst/>
        </p:spPr>
        <p:txBody>
          <a:bodyPr wrap="square" lIns="179906" tIns="0" rIns="179906" bIns="0" numCol="1" spcCol="72000" rtlCol="0" anchor="ctr" anchorCtr="0">
            <a:noAutofit/>
          </a:bodyPr>
          <a:lstStyle/>
          <a:p>
            <a:pPr lvl="0">
              <a:spcBef>
                <a:spcPct val="0"/>
              </a:spcBef>
            </a:pPr>
            <a:endParaRPr lang="en-US" sz="1599" b="1" kern="1400" dirty="0">
              <a:solidFill>
                <a:schemeClr val="bg1"/>
              </a:solidFill>
              <a:ea typeface="ＭＳ Ｐゴシック" pitchFamily="34" charset="-128"/>
              <a:cs typeface="Arial" charset="0"/>
            </a:endParaRPr>
          </a:p>
        </p:txBody>
      </p:sp>
      <p:sp>
        <p:nvSpPr>
          <p:cNvPr id="20" name="Eingebuchteter Richtungspfeil 33">
            <a:extLst>
              <a:ext uri="{FF2B5EF4-FFF2-40B4-BE49-F238E27FC236}">
                <a16:creationId xmlns:a16="http://schemas.microsoft.com/office/drawing/2014/main" id="{43DC93BE-E11A-4483-8B19-40FCE3F83393}"/>
              </a:ext>
            </a:extLst>
          </p:cNvPr>
          <p:cNvSpPr/>
          <p:nvPr/>
        </p:nvSpPr>
        <p:spPr bwMode="auto">
          <a:xfrm>
            <a:off x="9451621" y="2494550"/>
            <a:ext cx="2050932" cy="1007475"/>
          </a:xfrm>
          <a:prstGeom prst="chevron">
            <a:avLst>
              <a:gd name="adj" fmla="val 37379"/>
            </a:avLst>
          </a:prstGeom>
          <a:solidFill>
            <a:srgbClr val="66667E"/>
          </a:solidFill>
          <a:ln>
            <a:noFill/>
          </a:ln>
          <a:effectLst/>
        </p:spPr>
        <p:txBody>
          <a:bodyPr wrap="square" lIns="179906" tIns="0" rIns="179906" bIns="0" numCol="1" spcCol="72000" rtlCol="0" anchor="ctr" anchorCtr="0">
            <a:noAutofit/>
          </a:bodyPr>
          <a:lstStyle/>
          <a:p>
            <a:pPr lvl="0">
              <a:spcBef>
                <a:spcPct val="0"/>
              </a:spcBef>
            </a:pPr>
            <a:endParaRPr lang="en-US" sz="1599" b="1" kern="1400" dirty="0">
              <a:solidFill>
                <a:schemeClr val="bg1"/>
              </a:solidFill>
              <a:ea typeface="ＭＳ Ｐゴシック" pitchFamily="34" charset="-128"/>
              <a:cs typeface="Arial" charset="0"/>
            </a:endParaRPr>
          </a:p>
        </p:txBody>
      </p:sp>
      <p:sp>
        <p:nvSpPr>
          <p:cNvPr id="12" name="Freeform 10">
            <a:extLst>
              <a:ext uri="{FF2B5EF4-FFF2-40B4-BE49-F238E27FC236}">
                <a16:creationId xmlns:a16="http://schemas.microsoft.com/office/drawing/2014/main" id="{E6F951C9-DCCF-48A8-A0D1-14F9FB116AA9}"/>
              </a:ext>
            </a:extLst>
          </p:cNvPr>
          <p:cNvSpPr>
            <a:spLocks noEditPoints="1"/>
          </p:cNvSpPr>
          <p:nvPr/>
        </p:nvSpPr>
        <p:spPr bwMode="auto">
          <a:xfrm>
            <a:off x="8458002" y="2718422"/>
            <a:ext cx="422055" cy="550576"/>
          </a:xfrm>
          <a:custGeom>
            <a:avLst/>
            <a:gdLst>
              <a:gd name="T0" fmla="*/ 159 w 266"/>
              <a:gd name="T1" fmla="*/ 57 h 347"/>
              <a:gd name="T2" fmla="*/ 159 w 266"/>
              <a:gd name="T3" fmla="*/ 205 h 347"/>
              <a:gd name="T4" fmla="*/ 57 w 266"/>
              <a:gd name="T5" fmla="*/ 205 h 347"/>
              <a:gd name="T6" fmla="*/ 159 w 266"/>
              <a:gd name="T7" fmla="*/ 57 h 347"/>
              <a:gd name="T8" fmla="*/ 142 w 266"/>
              <a:gd name="T9" fmla="*/ 0 h 347"/>
              <a:gd name="T10" fmla="*/ 0 w 266"/>
              <a:gd name="T11" fmla="*/ 203 h 347"/>
              <a:gd name="T12" fmla="*/ 0 w 266"/>
              <a:gd name="T13" fmla="*/ 252 h 347"/>
              <a:gd name="T14" fmla="*/ 158 w 266"/>
              <a:gd name="T15" fmla="*/ 252 h 347"/>
              <a:gd name="T16" fmla="*/ 158 w 266"/>
              <a:gd name="T17" fmla="*/ 304 h 347"/>
              <a:gd name="T18" fmla="*/ 115 w 266"/>
              <a:gd name="T19" fmla="*/ 305 h 347"/>
              <a:gd name="T20" fmla="*/ 115 w 266"/>
              <a:gd name="T21" fmla="*/ 347 h 347"/>
              <a:gd name="T22" fmla="*/ 254 w 266"/>
              <a:gd name="T23" fmla="*/ 347 h 347"/>
              <a:gd name="T24" fmla="*/ 254 w 266"/>
              <a:gd name="T25" fmla="*/ 305 h 347"/>
              <a:gd name="T26" fmla="*/ 216 w 266"/>
              <a:gd name="T27" fmla="*/ 304 h 347"/>
              <a:gd name="T28" fmla="*/ 216 w 266"/>
              <a:gd name="T29" fmla="*/ 252 h 347"/>
              <a:gd name="T30" fmla="*/ 266 w 266"/>
              <a:gd name="T31" fmla="*/ 252 h 347"/>
              <a:gd name="T32" fmla="*/ 266 w 266"/>
              <a:gd name="T33" fmla="*/ 205 h 347"/>
              <a:gd name="T34" fmla="*/ 216 w 266"/>
              <a:gd name="T35" fmla="*/ 205 h 347"/>
              <a:gd name="T36" fmla="*/ 216 w 266"/>
              <a:gd name="T37" fmla="*/ 0 h 347"/>
              <a:gd name="T38" fmla="*/ 142 w 266"/>
              <a:gd name="T39" fmla="*/ 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6" h="347">
                <a:moveTo>
                  <a:pt x="159" y="57"/>
                </a:moveTo>
                <a:lnTo>
                  <a:pt x="159" y="205"/>
                </a:lnTo>
                <a:lnTo>
                  <a:pt x="57" y="205"/>
                </a:lnTo>
                <a:lnTo>
                  <a:pt x="159" y="57"/>
                </a:lnTo>
                <a:close/>
                <a:moveTo>
                  <a:pt x="142" y="0"/>
                </a:moveTo>
                <a:lnTo>
                  <a:pt x="0" y="203"/>
                </a:lnTo>
                <a:lnTo>
                  <a:pt x="0" y="252"/>
                </a:lnTo>
                <a:lnTo>
                  <a:pt x="158" y="252"/>
                </a:lnTo>
                <a:lnTo>
                  <a:pt x="158" y="304"/>
                </a:lnTo>
                <a:lnTo>
                  <a:pt x="115" y="305"/>
                </a:lnTo>
                <a:lnTo>
                  <a:pt x="115" y="347"/>
                </a:lnTo>
                <a:lnTo>
                  <a:pt x="254" y="347"/>
                </a:lnTo>
                <a:lnTo>
                  <a:pt x="254" y="305"/>
                </a:lnTo>
                <a:lnTo>
                  <a:pt x="216" y="304"/>
                </a:lnTo>
                <a:lnTo>
                  <a:pt x="216" y="252"/>
                </a:lnTo>
                <a:lnTo>
                  <a:pt x="266" y="252"/>
                </a:lnTo>
                <a:lnTo>
                  <a:pt x="266" y="205"/>
                </a:lnTo>
                <a:lnTo>
                  <a:pt x="216" y="205"/>
                </a:lnTo>
                <a:lnTo>
                  <a:pt x="216" y="0"/>
                </a:lnTo>
                <a:lnTo>
                  <a:pt x="142" y="0"/>
                </a:lnTo>
                <a:close/>
              </a:path>
            </a:pathLst>
          </a:custGeom>
          <a:solidFill>
            <a:schemeClr val="bg2"/>
          </a:solidFill>
          <a:ln>
            <a:noFill/>
          </a:ln>
        </p:spPr>
        <p:txBody>
          <a:bodyPr vert="horz" wrap="square" lIns="91392" tIns="45696" rIns="91392" bIns="45696" numCol="1" anchor="t" anchorCtr="0" compatLnSpc="1">
            <a:prstTxWarp prst="textNoShape">
              <a:avLst/>
            </a:prstTxWarp>
          </a:bodyPr>
          <a:lstStyle/>
          <a:p>
            <a:endParaRPr lang="en-US" sz="1799" dirty="0"/>
          </a:p>
        </p:txBody>
      </p:sp>
      <p:sp>
        <p:nvSpPr>
          <p:cNvPr id="13" name="Freeform 11">
            <a:extLst>
              <a:ext uri="{FF2B5EF4-FFF2-40B4-BE49-F238E27FC236}">
                <a16:creationId xmlns:a16="http://schemas.microsoft.com/office/drawing/2014/main" id="{6657C191-1C0B-4E17-85A7-D344BABA9D2A}"/>
              </a:ext>
            </a:extLst>
          </p:cNvPr>
          <p:cNvSpPr>
            <a:spLocks/>
          </p:cNvSpPr>
          <p:nvPr/>
        </p:nvSpPr>
        <p:spPr bwMode="auto">
          <a:xfrm>
            <a:off x="10296206" y="2718422"/>
            <a:ext cx="361762" cy="558509"/>
          </a:xfrm>
          <a:custGeom>
            <a:avLst/>
            <a:gdLst>
              <a:gd name="T0" fmla="*/ 0 w 546"/>
              <a:gd name="T1" fmla="*/ 793 h 844"/>
              <a:gd name="T2" fmla="*/ 240 w 546"/>
              <a:gd name="T3" fmla="*/ 844 h 844"/>
              <a:gd name="T4" fmla="*/ 461 w 546"/>
              <a:gd name="T5" fmla="*/ 773 h 844"/>
              <a:gd name="T6" fmla="*/ 546 w 546"/>
              <a:gd name="T7" fmla="*/ 559 h 844"/>
              <a:gd name="T8" fmla="*/ 269 w 546"/>
              <a:gd name="T9" fmla="*/ 294 h 844"/>
              <a:gd name="T10" fmla="*/ 180 w 546"/>
              <a:gd name="T11" fmla="*/ 303 h 844"/>
              <a:gd name="T12" fmla="*/ 186 w 546"/>
              <a:gd name="T13" fmla="*/ 118 h 844"/>
              <a:gd name="T14" fmla="*/ 516 w 546"/>
              <a:gd name="T15" fmla="*/ 118 h 844"/>
              <a:gd name="T16" fmla="*/ 516 w 546"/>
              <a:gd name="T17" fmla="*/ 0 h 844"/>
              <a:gd name="T18" fmla="*/ 47 w 546"/>
              <a:gd name="T19" fmla="*/ 0 h 844"/>
              <a:gd name="T20" fmla="*/ 34 w 546"/>
              <a:gd name="T21" fmla="*/ 441 h 844"/>
              <a:gd name="T22" fmla="*/ 223 w 546"/>
              <a:gd name="T23" fmla="*/ 406 h 844"/>
              <a:gd name="T24" fmla="*/ 400 w 546"/>
              <a:gd name="T25" fmla="*/ 557 h 844"/>
              <a:gd name="T26" fmla="*/ 227 w 546"/>
              <a:gd name="T27" fmla="*/ 727 h 844"/>
              <a:gd name="T28" fmla="*/ 40 w 546"/>
              <a:gd name="T29" fmla="*/ 673 h 844"/>
              <a:gd name="T30" fmla="*/ 0 w 546"/>
              <a:gd name="T31" fmla="*/ 793 h 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6" h="844">
                <a:moveTo>
                  <a:pt x="0" y="793"/>
                </a:moveTo>
                <a:cubicBezTo>
                  <a:pt x="76" y="828"/>
                  <a:pt x="149" y="844"/>
                  <a:pt x="240" y="844"/>
                </a:cubicBezTo>
                <a:cubicBezTo>
                  <a:pt x="340" y="844"/>
                  <a:pt x="408" y="822"/>
                  <a:pt x="461" y="773"/>
                </a:cubicBezTo>
                <a:cubicBezTo>
                  <a:pt x="516" y="721"/>
                  <a:pt x="546" y="647"/>
                  <a:pt x="546" y="559"/>
                </a:cubicBezTo>
                <a:cubicBezTo>
                  <a:pt x="546" y="390"/>
                  <a:pt x="445" y="294"/>
                  <a:pt x="269" y="294"/>
                </a:cubicBezTo>
                <a:cubicBezTo>
                  <a:pt x="235" y="294"/>
                  <a:pt x="214" y="297"/>
                  <a:pt x="180" y="303"/>
                </a:cubicBezTo>
                <a:cubicBezTo>
                  <a:pt x="186" y="118"/>
                  <a:pt x="186" y="118"/>
                  <a:pt x="186" y="118"/>
                </a:cubicBezTo>
                <a:cubicBezTo>
                  <a:pt x="516" y="118"/>
                  <a:pt x="516" y="118"/>
                  <a:pt x="516" y="118"/>
                </a:cubicBezTo>
                <a:cubicBezTo>
                  <a:pt x="516" y="0"/>
                  <a:pt x="516" y="0"/>
                  <a:pt x="516" y="0"/>
                </a:cubicBezTo>
                <a:cubicBezTo>
                  <a:pt x="47" y="0"/>
                  <a:pt x="47" y="0"/>
                  <a:pt x="47" y="0"/>
                </a:cubicBezTo>
                <a:cubicBezTo>
                  <a:pt x="34" y="441"/>
                  <a:pt x="34" y="441"/>
                  <a:pt x="34" y="441"/>
                </a:cubicBezTo>
                <a:cubicBezTo>
                  <a:pt x="112" y="415"/>
                  <a:pt x="165" y="406"/>
                  <a:pt x="223" y="406"/>
                </a:cubicBezTo>
                <a:cubicBezTo>
                  <a:pt x="336" y="406"/>
                  <a:pt x="400" y="460"/>
                  <a:pt x="400" y="557"/>
                </a:cubicBezTo>
                <a:cubicBezTo>
                  <a:pt x="400" y="661"/>
                  <a:pt x="331" y="727"/>
                  <a:pt x="227" y="727"/>
                </a:cubicBezTo>
                <a:cubicBezTo>
                  <a:pt x="166" y="727"/>
                  <a:pt x="109" y="711"/>
                  <a:pt x="40" y="673"/>
                </a:cubicBezTo>
                <a:lnTo>
                  <a:pt x="0" y="793"/>
                </a:lnTo>
                <a:close/>
              </a:path>
            </a:pathLst>
          </a:custGeom>
          <a:solidFill>
            <a:schemeClr val="bg2"/>
          </a:solidFill>
          <a:ln>
            <a:noFill/>
          </a:ln>
        </p:spPr>
        <p:txBody>
          <a:bodyPr vert="horz" wrap="square" lIns="91392" tIns="45696" rIns="91392" bIns="45696" numCol="1" anchor="t" anchorCtr="0" compatLnSpc="1">
            <a:prstTxWarp prst="textNoShape">
              <a:avLst/>
            </a:prstTxWarp>
          </a:bodyPr>
          <a:lstStyle/>
          <a:p>
            <a:endParaRPr lang="en-US" sz="1799" dirty="0"/>
          </a:p>
        </p:txBody>
      </p:sp>
      <p:sp>
        <p:nvSpPr>
          <p:cNvPr id="30" name="Rechteck 18">
            <a:extLst>
              <a:ext uri="{FF2B5EF4-FFF2-40B4-BE49-F238E27FC236}">
                <a16:creationId xmlns:a16="http://schemas.microsoft.com/office/drawing/2014/main" id="{CEBFDFCA-8904-40B8-9B0F-B52DF016B017}"/>
              </a:ext>
            </a:extLst>
          </p:cNvPr>
          <p:cNvSpPr>
            <a:spLocks/>
          </p:cNvSpPr>
          <p:nvPr/>
        </p:nvSpPr>
        <p:spPr bwMode="gray">
          <a:xfrm>
            <a:off x="7642800" y="3725897"/>
            <a:ext cx="1658095" cy="2081178"/>
          </a:xfrm>
          <a:prstGeom prst="rect">
            <a:avLst/>
          </a:prstGeom>
          <a:noFill/>
          <a:ln>
            <a:noFill/>
          </a:ln>
          <a:effectLst/>
        </p:spPr>
        <p:txBody>
          <a:bodyPr wrap="square" lIns="0" tIns="0" rIns="0" bIns="0" rtlCol="0" anchor="t">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nSpc>
                <a:spcPct val="90000"/>
              </a:lnSpc>
              <a:spcBef>
                <a:spcPts val="0"/>
              </a:spcBef>
              <a:buClr>
                <a:schemeClr val="accent1"/>
              </a:buClr>
              <a:buSzPct val="120000"/>
            </a:pPr>
            <a:r>
              <a:rPr lang="en-US" sz="1599" b="1" dirty="0">
                <a:solidFill>
                  <a:srgbClr val="9999A9"/>
                </a:solidFill>
                <a:latin typeface="+mn-lt"/>
              </a:rPr>
              <a:t>Duis arcur</a:t>
            </a:r>
          </a:p>
        </p:txBody>
      </p:sp>
      <p:sp>
        <p:nvSpPr>
          <p:cNvPr id="31" name="Rechteck 18">
            <a:extLst>
              <a:ext uri="{FF2B5EF4-FFF2-40B4-BE49-F238E27FC236}">
                <a16:creationId xmlns:a16="http://schemas.microsoft.com/office/drawing/2014/main" id="{9ECC3861-1316-42B4-9A11-C34568E4870C}"/>
              </a:ext>
            </a:extLst>
          </p:cNvPr>
          <p:cNvSpPr>
            <a:spLocks/>
          </p:cNvSpPr>
          <p:nvPr/>
        </p:nvSpPr>
        <p:spPr bwMode="gray">
          <a:xfrm>
            <a:off x="9450858" y="3725897"/>
            <a:ext cx="1658095" cy="2081178"/>
          </a:xfrm>
          <a:prstGeom prst="rect">
            <a:avLst/>
          </a:prstGeom>
          <a:noFill/>
          <a:ln>
            <a:noFill/>
          </a:ln>
          <a:effectLst/>
        </p:spPr>
        <p:txBody>
          <a:bodyPr wrap="square" lIns="0" tIns="0" rIns="0" bIns="0" rtlCol="0" anchor="t">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nSpc>
                <a:spcPct val="90000"/>
              </a:lnSpc>
              <a:spcBef>
                <a:spcPts val="0"/>
              </a:spcBef>
              <a:buClr>
                <a:schemeClr val="accent1"/>
              </a:buClr>
              <a:buSzPct val="120000"/>
            </a:pPr>
            <a:r>
              <a:rPr lang="en-US" sz="1599" b="1" dirty="0">
                <a:solidFill>
                  <a:srgbClr val="9999A9"/>
                </a:solidFill>
                <a:latin typeface="+mn-lt"/>
              </a:rPr>
              <a:t>Phasellus sem nechtiq</a:t>
            </a:r>
          </a:p>
        </p:txBody>
      </p:sp>
      <p:sp>
        <p:nvSpPr>
          <p:cNvPr id="22" name="Rechteck 18">
            <a:extLst>
              <a:ext uri="{FF2B5EF4-FFF2-40B4-BE49-F238E27FC236}">
                <a16:creationId xmlns:a16="http://schemas.microsoft.com/office/drawing/2014/main" id="{A0E7FD98-8A84-4E08-B78D-2F9AD101239F}"/>
              </a:ext>
            </a:extLst>
          </p:cNvPr>
          <p:cNvSpPr>
            <a:spLocks/>
          </p:cNvSpPr>
          <p:nvPr/>
        </p:nvSpPr>
        <p:spPr bwMode="gray">
          <a:xfrm>
            <a:off x="4027280" y="2498400"/>
            <a:ext cx="3456000" cy="3312000"/>
          </a:xfrm>
          <a:prstGeom prst="rect">
            <a:avLst/>
          </a:prstGeom>
          <a:noFill/>
          <a:ln>
            <a:noFill/>
          </a:ln>
          <a:effectLst/>
        </p:spPr>
        <p:txBody>
          <a:bodyPr wrap="square" lIns="1044000" tIns="288000" rIns="360000" bIns="0" rtlCol="0" anchor="t">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nSpc>
                <a:spcPct val="90000"/>
              </a:lnSpc>
              <a:spcBef>
                <a:spcPts val="900"/>
              </a:spcBef>
              <a:spcAft>
                <a:spcPts val="2150"/>
              </a:spcAft>
              <a:buClr>
                <a:schemeClr val="accent1"/>
              </a:buClr>
            </a:pPr>
            <a:r>
              <a:rPr lang="en-US" sz="1999" b="1" dirty="0">
                <a:solidFill>
                  <a:schemeClr val="bg1"/>
                </a:solidFill>
                <a:latin typeface="+mn-lt"/>
              </a:rPr>
              <a:t>Duis arcu dolore </a:t>
            </a:r>
            <a:br>
              <a:rPr lang="en-US" sz="1999" b="1" dirty="0">
                <a:solidFill>
                  <a:schemeClr val="bg1"/>
                </a:solidFill>
                <a:latin typeface="+mn-lt"/>
              </a:rPr>
            </a:br>
            <a:r>
              <a:rPr lang="en-US" sz="1999" b="1" dirty="0">
                <a:solidFill>
                  <a:schemeClr val="bg1"/>
                </a:solidFill>
                <a:latin typeface="+mn-lt"/>
              </a:rPr>
              <a:t>tortor quest</a:t>
            </a:r>
          </a:p>
          <a:p>
            <a:pPr marL="180885" indent="-180885">
              <a:lnSpc>
                <a:spcPct val="90000"/>
              </a:lnSpc>
              <a:spcBef>
                <a:spcPts val="900"/>
              </a:spcBef>
              <a:buClr>
                <a:schemeClr val="accent1"/>
              </a:buClr>
              <a:buSzPct val="100000"/>
              <a:buFont typeface="Arial" panose="020B0604020202020204" pitchFamily="34" charset="0"/>
              <a:buChar char="•"/>
            </a:pPr>
            <a:r>
              <a:rPr lang="en-US" sz="1599" dirty="0">
                <a:solidFill>
                  <a:srgbClr val="9999A9"/>
                </a:solidFill>
                <a:latin typeface="+mn-lt"/>
              </a:rPr>
              <a:t>Cras ultricies mi eu</a:t>
            </a:r>
          </a:p>
          <a:p>
            <a:pPr marL="180885" indent="-180885">
              <a:lnSpc>
                <a:spcPct val="90000"/>
              </a:lnSpc>
              <a:spcBef>
                <a:spcPts val="600"/>
              </a:spcBef>
              <a:buClr>
                <a:schemeClr val="accent1"/>
              </a:buClr>
              <a:buSzPct val="100000"/>
              <a:buFont typeface="Arial" panose="020B0604020202020204" pitchFamily="34" charset="0"/>
              <a:buChar char="•"/>
            </a:pPr>
            <a:r>
              <a:rPr lang="en-US" sz="1599" dirty="0">
                <a:solidFill>
                  <a:srgbClr val="9999A9"/>
                </a:solidFill>
                <a:latin typeface="+mn-lt"/>
              </a:rPr>
              <a:t>Duis arcu tortor, suscipit eget</a:t>
            </a:r>
          </a:p>
          <a:p>
            <a:pPr marL="180885" indent="-180885">
              <a:lnSpc>
                <a:spcPct val="90000"/>
              </a:lnSpc>
              <a:spcBef>
                <a:spcPts val="600"/>
              </a:spcBef>
              <a:buClr>
                <a:schemeClr val="accent1"/>
              </a:buClr>
              <a:buSzPct val="100000"/>
              <a:buFont typeface="Arial" panose="020B0604020202020204" pitchFamily="34" charset="0"/>
              <a:buChar char="•"/>
            </a:pPr>
            <a:r>
              <a:rPr lang="en-US" sz="1599" dirty="0">
                <a:solidFill>
                  <a:srgbClr val="9999A9"/>
                </a:solidFill>
                <a:latin typeface="+mn-lt"/>
              </a:rPr>
              <a:t>Phasellus nec sem</a:t>
            </a:r>
          </a:p>
        </p:txBody>
      </p:sp>
      <p:sp>
        <p:nvSpPr>
          <p:cNvPr id="4" name="Footer Placeholder 3">
            <a:extLst>
              <a:ext uri="{FF2B5EF4-FFF2-40B4-BE49-F238E27FC236}">
                <a16:creationId xmlns:a16="http://schemas.microsoft.com/office/drawing/2014/main" id="{D1BC086D-9D6E-4ACA-9B11-7BA1FC43C224}"/>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5" name="Slide Number Placeholder 4">
            <a:extLst>
              <a:ext uri="{FF2B5EF4-FFF2-40B4-BE49-F238E27FC236}">
                <a16:creationId xmlns:a16="http://schemas.microsoft.com/office/drawing/2014/main" id="{B3AED506-2A3B-41BD-A77A-850181929E41}"/>
              </a:ext>
            </a:extLst>
          </p:cNvPr>
          <p:cNvSpPr>
            <a:spLocks noGrp="1"/>
          </p:cNvSpPr>
          <p:nvPr>
            <p:ph type="sldNum" sz="quarter" idx="11"/>
          </p:nvPr>
        </p:nvSpPr>
        <p:spPr/>
        <p:txBody>
          <a:bodyPr/>
          <a:lstStyle/>
          <a:p>
            <a:r>
              <a:rPr lang="en-US" dirty="0"/>
              <a:t>Page </a:t>
            </a:r>
            <a:fld id="{15EBE321-CBB1-4E91-BD14-37C8D44326FB}" type="slidenum">
              <a:rPr lang="en-US" smtClean="0"/>
              <a:pPr/>
              <a:t>119</a:t>
            </a:fld>
            <a:endParaRPr lang="en-US" dirty="0"/>
          </a:p>
        </p:txBody>
      </p:sp>
    </p:spTree>
    <p:extLst>
      <p:ext uri="{BB962C8B-B14F-4D97-AF65-F5344CB8AC3E}">
        <p14:creationId xmlns:p14="http://schemas.microsoft.com/office/powerpoint/2010/main" val="17433083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Inhaltsplatzhalter 2">
            <a:extLst>
              <a:ext uri="{FF2B5EF4-FFF2-40B4-BE49-F238E27FC236}">
                <a16:creationId xmlns:a16="http://schemas.microsoft.com/office/drawing/2014/main" id="{95789268-B0BD-48D2-A9E2-5472976E01FA}"/>
              </a:ext>
            </a:extLst>
          </p:cNvPr>
          <p:cNvSpPr txBox="1">
            <a:spLocks/>
          </p:cNvSpPr>
          <p:nvPr/>
        </p:nvSpPr>
        <p:spPr>
          <a:xfrm>
            <a:off x="7250400" y="1414463"/>
            <a:ext cx="4536000" cy="4752000"/>
          </a:xfrm>
          <a:prstGeom prst="rect">
            <a:avLst/>
          </a:prstGeom>
          <a:solidFill>
            <a:schemeClr val="tx2"/>
          </a:solidFill>
        </p:spPr>
        <p:txBody>
          <a:bodyPr vert="horz" lIns="648000" tIns="360000" rIns="432000" bIns="36000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r>
              <a:rPr lang="en-US" b="1" dirty="0">
                <a:solidFill>
                  <a:schemeClr val="bg1"/>
                </a:solidFill>
              </a:rPr>
              <a:t>Goals</a:t>
            </a:r>
          </a:p>
          <a:p>
            <a:pPr lvl="1"/>
            <a:r>
              <a:rPr lang="en-US" dirty="0">
                <a:solidFill>
                  <a:schemeClr val="bg1"/>
                </a:solidFill>
              </a:rPr>
              <a:t>Cras ultricies mi eu</a:t>
            </a:r>
          </a:p>
          <a:p>
            <a:pPr lvl="1"/>
            <a:r>
              <a:rPr lang="en-US" dirty="0">
                <a:solidFill>
                  <a:schemeClr val="bg1"/>
                </a:solidFill>
              </a:rPr>
              <a:t>Duis arcu tortor, suscipit eget, imperdiet nec, imperdiet iaculis, ipsum</a:t>
            </a:r>
          </a:p>
        </p:txBody>
      </p:sp>
      <p:sp>
        <p:nvSpPr>
          <p:cNvPr id="18" name="Dreieck 42">
            <a:extLst>
              <a:ext uri="{FF2B5EF4-FFF2-40B4-BE49-F238E27FC236}">
                <a16:creationId xmlns:a16="http://schemas.microsoft.com/office/drawing/2014/main" id="{59A90853-3777-44EA-9A25-0D994613EFA2}"/>
              </a:ext>
            </a:extLst>
          </p:cNvPr>
          <p:cNvSpPr/>
          <p:nvPr/>
        </p:nvSpPr>
        <p:spPr>
          <a:xfrm rot="5400000">
            <a:off x="5910328" y="3250801"/>
            <a:ext cx="1888819" cy="1079325"/>
          </a:xfrm>
          <a:prstGeom prst="triangle">
            <a:avLst/>
          </a:prstGeom>
          <a:solidFill>
            <a:srgbClr val="E5E5E9"/>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de-DE" dirty="0"/>
          </a:p>
        </p:txBody>
      </p:sp>
      <p:sp>
        <p:nvSpPr>
          <p:cNvPr id="17" name="Inhaltsplatzhalter 2">
            <a:extLst>
              <a:ext uri="{FF2B5EF4-FFF2-40B4-BE49-F238E27FC236}">
                <a16:creationId xmlns:a16="http://schemas.microsoft.com/office/drawing/2014/main" id="{74220BBB-432A-494D-B5B6-FDBDF93EA35E}"/>
              </a:ext>
            </a:extLst>
          </p:cNvPr>
          <p:cNvSpPr txBox="1">
            <a:spLocks/>
          </p:cNvSpPr>
          <p:nvPr/>
        </p:nvSpPr>
        <p:spPr>
          <a:xfrm>
            <a:off x="410400" y="1414463"/>
            <a:ext cx="6768000" cy="4752000"/>
          </a:xfrm>
          <a:prstGeom prst="rect">
            <a:avLst/>
          </a:prstGeom>
          <a:solidFill>
            <a:srgbClr val="E5E5E9"/>
          </a:solidFill>
        </p:spPr>
        <p:txBody>
          <a:bodyPr vert="horz" lIns="432000" tIns="360000" rIns="432000" bIns="36000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r>
              <a:rPr lang="en-US" b="1" dirty="0">
                <a:solidFill>
                  <a:schemeClr val="tx2"/>
                </a:solidFill>
              </a:rPr>
              <a:t>Achievements</a:t>
            </a:r>
          </a:p>
          <a:p>
            <a:pPr lvl="1"/>
            <a:r>
              <a:rPr lang="en-US" dirty="0">
                <a:solidFill>
                  <a:schemeClr val="tx2"/>
                </a:solidFill>
              </a:rPr>
              <a:t>Cras ultricies mi eu</a:t>
            </a:r>
          </a:p>
          <a:p>
            <a:pPr lvl="1"/>
            <a:r>
              <a:rPr lang="en-US" dirty="0">
                <a:solidFill>
                  <a:schemeClr val="tx2"/>
                </a:solidFill>
              </a:rPr>
              <a:t>At vero eos et accusam</a:t>
            </a:r>
          </a:p>
        </p:txBody>
      </p:sp>
      <p:sp>
        <p:nvSpPr>
          <p:cNvPr id="9" name="Titel 8">
            <a:extLst>
              <a:ext uri="{FF2B5EF4-FFF2-40B4-BE49-F238E27FC236}">
                <a16:creationId xmlns:a16="http://schemas.microsoft.com/office/drawing/2014/main" id="{30916218-0FE7-DA40-850A-7231E8C46B1B}"/>
              </a:ext>
            </a:extLst>
          </p:cNvPr>
          <p:cNvSpPr>
            <a:spLocks noGrp="1"/>
          </p:cNvSpPr>
          <p:nvPr>
            <p:ph type="title"/>
          </p:nvPr>
        </p:nvSpPr>
        <p:spPr/>
        <p:txBody>
          <a:bodyPr/>
          <a:lstStyle/>
          <a:p>
            <a:r>
              <a:rPr lang="en-US" dirty="0"/>
              <a:t>Achievements and goals</a:t>
            </a:r>
          </a:p>
        </p:txBody>
      </p:sp>
      <p:sp>
        <p:nvSpPr>
          <p:cNvPr id="3" name="Fußzeilenplatzhalter 2">
            <a:extLst>
              <a:ext uri="{FF2B5EF4-FFF2-40B4-BE49-F238E27FC236}">
                <a16:creationId xmlns:a16="http://schemas.microsoft.com/office/drawing/2014/main" id="{6944935C-0A56-F643-B740-58DF1DF54D92}"/>
              </a:ext>
            </a:extLst>
          </p:cNvPr>
          <p:cNvSpPr>
            <a:spLocks noGrp="1"/>
          </p:cNvSpPr>
          <p:nvPr>
            <p:ph type="ftr" sz="quarter" idx="10"/>
          </p:nvPr>
        </p:nvSpPr>
        <p:spPr/>
        <p:txBody>
          <a:bodyPr/>
          <a:lstStyle/>
          <a:p>
            <a:r>
              <a:rPr lang="en-US" dirty="0"/>
              <a:t>Restricted | © Siemens 20XX | Author | Department | YYYY-MM-DD</a:t>
            </a:r>
          </a:p>
        </p:txBody>
      </p:sp>
      <p:sp>
        <p:nvSpPr>
          <p:cNvPr id="4" name="Foliennummernplatzhalter 3">
            <a:extLst>
              <a:ext uri="{FF2B5EF4-FFF2-40B4-BE49-F238E27FC236}">
                <a16:creationId xmlns:a16="http://schemas.microsoft.com/office/drawing/2014/main" id="{47EA469E-CFF4-9C45-9AEE-0BE7E3565C9B}"/>
              </a:ext>
            </a:extLst>
          </p:cNvPr>
          <p:cNvSpPr>
            <a:spLocks noGrp="1"/>
          </p:cNvSpPr>
          <p:nvPr>
            <p:ph type="sldNum" sz="quarter" idx="11"/>
          </p:nvPr>
        </p:nvSpPr>
        <p:spPr/>
        <p:txBody>
          <a:bodyPr/>
          <a:lstStyle/>
          <a:p>
            <a:r>
              <a:rPr lang="en-US" dirty="0"/>
              <a:t>Page </a:t>
            </a:r>
            <a:fld id="{15EBE321-CBB1-4E91-BD14-37C8D44326FB}" type="slidenum">
              <a:rPr lang="en-US" smtClean="0"/>
              <a:pPr/>
              <a:t>12</a:t>
            </a:fld>
            <a:endParaRPr lang="en-US" dirty="0"/>
          </a:p>
        </p:txBody>
      </p:sp>
      <p:sp>
        <p:nvSpPr>
          <p:cNvPr id="21" name="Freeform 65">
            <a:extLst>
              <a:ext uri="{FF2B5EF4-FFF2-40B4-BE49-F238E27FC236}">
                <a16:creationId xmlns:a16="http://schemas.microsoft.com/office/drawing/2014/main" id="{CF07C68C-F3C1-A348-AF7E-D3D8B8DCED60}"/>
              </a:ext>
            </a:extLst>
          </p:cNvPr>
          <p:cNvSpPr>
            <a:spLocks noEditPoints="1"/>
          </p:cNvSpPr>
          <p:nvPr/>
        </p:nvSpPr>
        <p:spPr bwMode="auto">
          <a:xfrm>
            <a:off x="4775654" y="4988324"/>
            <a:ext cx="1539421" cy="818751"/>
          </a:xfrm>
          <a:custGeom>
            <a:avLst/>
            <a:gdLst>
              <a:gd name="T0" fmla="*/ 108 w 361"/>
              <a:gd name="T1" fmla="*/ 77 h 192"/>
              <a:gd name="T2" fmla="*/ 0 w 361"/>
              <a:gd name="T3" fmla="*/ 77 h 192"/>
              <a:gd name="T4" fmla="*/ 16 w 361"/>
              <a:gd name="T5" fmla="*/ 46 h 192"/>
              <a:gd name="T6" fmla="*/ 108 w 361"/>
              <a:gd name="T7" fmla="*/ 46 h 192"/>
              <a:gd name="T8" fmla="*/ 108 w 361"/>
              <a:gd name="T9" fmla="*/ 77 h 192"/>
              <a:gd name="T10" fmla="*/ 346 w 361"/>
              <a:gd name="T11" fmla="*/ 77 h 192"/>
              <a:gd name="T12" fmla="*/ 253 w 361"/>
              <a:gd name="T13" fmla="*/ 77 h 192"/>
              <a:gd name="T14" fmla="*/ 253 w 361"/>
              <a:gd name="T15" fmla="*/ 108 h 192"/>
              <a:gd name="T16" fmla="*/ 361 w 361"/>
              <a:gd name="T17" fmla="*/ 108 h 192"/>
              <a:gd name="T18" fmla="*/ 346 w 361"/>
              <a:gd name="T19" fmla="*/ 77 h 192"/>
              <a:gd name="T20" fmla="*/ 223 w 361"/>
              <a:gd name="T21" fmla="*/ 0 h 192"/>
              <a:gd name="T22" fmla="*/ 138 w 361"/>
              <a:gd name="T23" fmla="*/ 0 h 192"/>
              <a:gd name="T24" fmla="*/ 123 w 361"/>
              <a:gd name="T25" fmla="*/ 31 h 192"/>
              <a:gd name="T26" fmla="*/ 238 w 361"/>
              <a:gd name="T27" fmla="*/ 31 h 192"/>
              <a:gd name="T28" fmla="*/ 223 w 361"/>
              <a:gd name="T29" fmla="*/ 0 h 192"/>
              <a:gd name="T30" fmla="*/ 238 w 361"/>
              <a:gd name="T31" fmla="*/ 123 h 192"/>
              <a:gd name="T32" fmla="*/ 361 w 361"/>
              <a:gd name="T33" fmla="*/ 123 h 192"/>
              <a:gd name="T34" fmla="*/ 361 w 361"/>
              <a:gd name="T35" fmla="*/ 192 h 192"/>
              <a:gd name="T36" fmla="*/ 0 w 361"/>
              <a:gd name="T37" fmla="*/ 192 h 192"/>
              <a:gd name="T38" fmla="*/ 0 w 361"/>
              <a:gd name="T39" fmla="*/ 92 h 192"/>
              <a:gd name="T40" fmla="*/ 123 w 361"/>
              <a:gd name="T41" fmla="*/ 92 h 192"/>
              <a:gd name="T42" fmla="*/ 123 w 361"/>
              <a:gd name="T43" fmla="*/ 46 h 192"/>
              <a:gd name="T44" fmla="*/ 238 w 361"/>
              <a:gd name="T45" fmla="*/ 46 h 192"/>
              <a:gd name="T46" fmla="*/ 238 w 361"/>
              <a:gd name="T47" fmla="*/ 123 h 192"/>
              <a:gd name="T48" fmla="*/ 195 w 361"/>
              <a:gd name="T49" fmla="*/ 77 h 192"/>
              <a:gd name="T50" fmla="*/ 180 w 361"/>
              <a:gd name="T51" fmla="*/ 77 h 192"/>
              <a:gd name="T52" fmla="*/ 156 w 361"/>
              <a:gd name="T53" fmla="*/ 91 h 192"/>
              <a:gd name="T54" fmla="*/ 163 w 361"/>
              <a:gd name="T55" fmla="*/ 104 h 192"/>
              <a:gd name="T56" fmla="*/ 178 w 361"/>
              <a:gd name="T57" fmla="*/ 95 h 192"/>
              <a:gd name="T58" fmla="*/ 178 w 361"/>
              <a:gd name="T59" fmla="*/ 154 h 192"/>
              <a:gd name="T60" fmla="*/ 195 w 361"/>
              <a:gd name="T61" fmla="*/ 154 h 192"/>
              <a:gd name="T62" fmla="*/ 195 w 361"/>
              <a:gd name="T63" fmla="*/ 7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1" h="192">
                <a:moveTo>
                  <a:pt x="108" y="77"/>
                </a:moveTo>
                <a:lnTo>
                  <a:pt x="0" y="77"/>
                </a:lnTo>
                <a:lnTo>
                  <a:pt x="16" y="46"/>
                </a:lnTo>
                <a:lnTo>
                  <a:pt x="108" y="46"/>
                </a:lnTo>
                <a:lnTo>
                  <a:pt x="108" y="77"/>
                </a:lnTo>
                <a:close/>
                <a:moveTo>
                  <a:pt x="346" y="77"/>
                </a:moveTo>
                <a:lnTo>
                  <a:pt x="253" y="77"/>
                </a:lnTo>
                <a:lnTo>
                  <a:pt x="253" y="108"/>
                </a:lnTo>
                <a:lnTo>
                  <a:pt x="361" y="108"/>
                </a:lnTo>
                <a:lnTo>
                  <a:pt x="346" y="77"/>
                </a:lnTo>
                <a:close/>
                <a:moveTo>
                  <a:pt x="223" y="0"/>
                </a:moveTo>
                <a:lnTo>
                  <a:pt x="138" y="0"/>
                </a:lnTo>
                <a:lnTo>
                  <a:pt x="123" y="31"/>
                </a:lnTo>
                <a:lnTo>
                  <a:pt x="238" y="31"/>
                </a:lnTo>
                <a:lnTo>
                  <a:pt x="223" y="0"/>
                </a:lnTo>
                <a:close/>
                <a:moveTo>
                  <a:pt x="238" y="123"/>
                </a:moveTo>
                <a:lnTo>
                  <a:pt x="361" y="123"/>
                </a:lnTo>
                <a:lnTo>
                  <a:pt x="361" y="192"/>
                </a:lnTo>
                <a:lnTo>
                  <a:pt x="0" y="192"/>
                </a:lnTo>
                <a:lnTo>
                  <a:pt x="0" y="92"/>
                </a:lnTo>
                <a:lnTo>
                  <a:pt x="123" y="92"/>
                </a:lnTo>
                <a:lnTo>
                  <a:pt x="123" y="46"/>
                </a:lnTo>
                <a:lnTo>
                  <a:pt x="238" y="46"/>
                </a:lnTo>
                <a:lnTo>
                  <a:pt x="238" y="123"/>
                </a:lnTo>
                <a:close/>
                <a:moveTo>
                  <a:pt x="195" y="77"/>
                </a:moveTo>
                <a:lnTo>
                  <a:pt x="180" y="77"/>
                </a:lnTo>
                <a:lnTo>
                  <a:pt x="156" y="91"/>
                </a:lnTo>
                <a:lnTo>
                  <a:pt x="163" y="104"/>
                </a:lnTo>
                <a:lnTo>
                  <a:pt x="178" y="95"/>
                </a:lnTo>
                <a:lnTo>
                  <a:pt x="178" y="154"/>
                </a:lnTo>
                <a:lnTo>
                  <a:pt x="195" y="154"/>
                </a:lnTo>
                <a:lnTo>
                  <a:pt x="195" y="77"/>
                </a:lnTo>
                <a:close/>
              </a:path>
            </a:pathLst>
          </a:custGeom>
          <a:solidFill>
            <a:schemeClr val="accent6"/>
          </a:solidFill>
          <a:ln w="22225">
            <a:noFill/>
          </a:ln>
        </p:spPr>
        <p:txBody>
          <a:bodyPr vert="horz" wrap="square" lIns="91440" tIns="45720" rIns="91440" bIns="45720" numCol="1" anchor="t" anchorCtr="0" compatLnSpc="1">
            <a:prstTxWarp prst="textNoShape">
              <a:avLst/>
            </a:prstTxWarp>
          </a:bodyPr>
          <a:lstStyle/>
          <a:p>
            <a:endParaRPr lang="en-US" dirty="0"/>
          </a:p>
        </p:txBody>
      </p:sp>
      <p:sp>
        <p:nvSpPr>
          <p:cNvPr id="22" name="Freeform 70">
            <a:extLst>
              <a:ext uri="{FF2B5EF4-FFF2-40B4-BE49-F238E27FC236}">
                <a16:creationId xmlns:a16="http://schemas.microsoft.com/office/drawing/2014/main" id="{BB1C186A-2342-BE4D-B85B-93A639D4AAAC}"/>
              </a:ext>
            </a:extLst>
          </p:cNvPr>
          <p:cNvSpPr>
            <a:spLocks noEditPoints="1"/>
          </p:cNvSpPr>
          <p:nvPr/>
        </p:nvSpPr>
        <p:spPr bwMode="auto">
          <a:xfrm>
            <a:off x="10497628" y="4817529"/>
            <a:ext cx="758271" cy="989546"/>
          </a:xfrm>
          <a:custGeom>
            <a:avLst/>
            <a:gdLst>
              <a:gd name="T0" fmla="*/ 1439 w 1970"/>
              <a:gd name="T1" fmla="*/ 1960 h 2578"/>
              <a:gd name="T2" fmla="*/ 985 w 1970"/>
              <a:gd name="T3" fmla="*/ 2328 h 2578"/>
              <a:gd name="T4" fmla="*/ 532 w 1970"/>
              <a:gd name="T5" fmla="*/ 1960 h 2578"/>
              <a:gd name="T6" fmla="*/ 601 w 1970"/>
              <a:gd name="T7" fmla="*/ 1955 h 2578"/>
              <a:gd name="T8" fmla="*/ 651 w 1970"/>
              <a:gd name="T9" fmla="*/ 1973 h 2578"/>
              <a:gd name="T10" fmla="*/ 825 w 1970"/>
              <a:gd name="T11" fmla="*/ 2068 h 2578"/>
              <a:gd name="T12" fmla="*/ 985 w 1970"/>
              <a:gd name="T13" fmla="*/ 2014 h 2578"/>
              <a:gd name="T14" fmla="*/ 1145 w 1970"/>
              <a:gd name="T15" fmla="*/ 2068 h 2578"/>
              <a:gd name="T16" fmla="*/ 1320 w 1970"/>
              <a:gd name="T17" fmla="*/ 1973 h 2578"/>
              <a:gd name="T18" fmla="*/ 1369 w 1970"/>
              <a:gd name="T19" fmla="*/ 1955 h 2578"/>
              <a:gd name="T20" fmla="*/ 1911 w 1970"/>
              <a:gd name="T21" fmla="*/ 1316 h 2578"/>
              <a:gd name="T22" fmla="*/ 1740 w 1970"/>
              <a:gd name="T23" fmla="*/ 1613 h 2578"/>
              <a:gd name="T24" fmla="*/ 1478 w 1970"/>
              <a:gd name="T25" fmla="*/ 1833 h 2578"/>
              <a:gd name="T26" fmla="*/ 1156 w 1970"/>
              <a:gd name="T27" fmla="*/ 1950 h 2578"/>
              <a:gd name="T28" fmla="*/ 814 w 1970"/>
              <a:gd name="T29" fmla="*/ 1950 h 2578"/>
              <a:gd name="T30" fmla="*/ 492 w 1970"/>
              <a:gd name="T31" fmla="*/ 1833 h 2578"/>
              <a:gd name="T32" fmla="*/ 230 w 1970"/>
              <a:gd name="T33" fmla="*/ 1613 h 2578"/>
              <a:gd name="T34" fmla="*/ 59 w 1970"/>
              <a:gd name="T35" fmla="*/ 1316 h 2578"/>
              <a:gd name="T36" fmla="*/ 0 w 1970"/>
              <a:gd name="T37" fmla="*/ 979 h 2578"/>
              <a:gd name="T38" fmla="*/ 59 w 1970"/>
              <a:gd name="T39" fmla="*/ 642 h 2578"/>
              <a:gd name="T40" fmla="*/ 230 w 1970"/>
              <a:gd name="T41" fmla="*/ 346 h 2578"/>
              <a:gd name="T42" fmla="*/ 492 w 1970"/>
              <a:gd name="T43" fmla="*/ 126 h 2578"/>
              <a:gd name="T44" fmla="*/ 814 w 1970"/>
              <a:gd name="T45" fmla="*/ 9 h 2578"/>
              <a:gd name="T46" fmla="*/ 1156 w 1970"/>
              <a:gd name="T47" fmla="*/ 9 h 2578"/>
              <a:gd name="T48" fmla="*/ 1478 w 1970"/>
              <a:gd name="T49" fmla="*/ 126 h 2578"/>
              <a:gd name="T50" fmla="*/ 1740 w 1970"/>
              <a:gd name="T51" fmla="*/ 346 h 2578"/>
              <a:gd name="T52" fmla="*/ 1911 w 1970"/>
              <a:gd name="T53" fmla="*/ 642 h 2578"/>
              <a:gd name="T54" fmla="*/ 1970 w 1970"/>
              <a:gd name="T55" fmla="*/ 979 h 2578"/>
              <a:gd name="T56" fmla="*/ 1911 w 1970"/>
              <a:gd name="T57" fmla="*/ 1316 h 2578"/>
              <a:gd name="T58" fmla="*/ 985 w 1970"/>
              <a:gd name="T59" fmla="*/ 203 h 2578"/>
              <a:gd name="T60" fmla="*/ 985 w 1970"/>
              <a:gd name="T61" fmla="*/ 1756 h 2578"/>
              <a:gd name="T62" fmla="*/ 1645 w 1970"/>
              <a:gd name="T63" fmla="*/ 979 h 2578"/>
              <a:gd name="T64" fmla="*/ 326 w 1970"/>
              <a:gd name="T65" fmla="*/ 979 h 2578"/>
              <a:gd name="T66" fmla="*/ 1645 w 1970"/>
              <a:gd name="T67" fmla="*/ 979 h 2578"/>
              <a:gd name="T68" fmla="*/ 732 w 1970"/>
              <a:gd name="T69" fmla="*/ 925 h 2578"/>
              <a:gd name="T70" fmla="*/ 582 w 1970"/>
              <a:gd name="T71" fmla="*/ 816 h 2578"/>
              <a:gd name="T72" fmla="*/ 432 w 1970"/>
              <a:gd name="T73" fmla="*/ 925 h 2578"/>
              <a:gd name="T74" fmla="*/ 490 w 1970"/>
              <a:gd name="T75" fmla="*/ 1101 h 2578"/>
              <a:gd name="T76" fmla="*/ 675 w 1970"/>
              <a:gd name="T77" fmla="*/ 1101 h 2578"/>
              <a:gd name="T78" fmla="*/ 1042 w 1970"/>
              <a:gd name="T79" fmla="*/ 992 h 2578"/>
              <a:gd name="T80" fmla="*/ 1021 w 1970"/>
              <a:gd name="T81" fmla="*/ 925 h 2578"/>
              <a:gd name="T82" fmla="*/ 950 w 1970"/>
              <a:gd name="T83" fmla="*/ 925 h 2578"/>
              <a:gd name="T84" fmla="*/ 928 w 1970"/>
              <a:gd name="T85" fmla="*/ 992 h 2578"/>
              <a:gd name="T86" fmla="*/ 985 w 1970"/>
              <a:gd name="T87" fmla="*/ 1034 h 2578"/>
              <a:gd name="T88" fmla="*/ 1042 w 1970"/>
              <a:gd name="T89" fmla="*/ 992 h 2578"/>
              <a:gd name="T90" fmla="*/ 1538 w 1970"/>
              <a:gd name="T91" fmla="*/ 925 h 2578"/>
              <a:gd name="T92" fmla="*/ 1388 w 1970"/>
              <a:gd name="T93" fmla="*/ 816 h 2578"/>
              <a:gd name="T94" fmla="*/ 1238 w 1970"/>
              <a:gd name="T95" fmla="*/ 925 h 2578"/>
              <a:gd name="T96" fmla="*/ 1295 w 1970"/>
              <a:gd name="T97" fmla="*/ 1101 h 2578"/>
              <a:gd name="T98" fmla="*/ 1481 w 1970"/>
              <a:gd name="T99" fmla="*/ 1101 h 2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70" h="2578">
                <a:moveTo>
                  <a:pt x="1431" y="1960"/>
                </a:moveTo>
                <a:cubicBezTo>
                  <a:pt x="1434" y="1960"/>
                  <a:pt x="1436" y="1960"/>
                  <a:pt x="1439" y="1960"/>
                </a:cubicBezTo>
                <a:cubicBezTo>
                  <a:pt x="1439" y="2578"/>
                  <a:pt x="1439" y="2578"/>
                  <a:pt x="1439" y="2578"/>
                </a:cubicBezTo>
                <a:cubicBezTo>
                  <a:pt x="985" y="2328"/>
                  <a:pt x="985" y="2328"/>
                  <a:pt x="985" y="2328"/>
                </a:cubicBezTo>
                <a:cubicBezTo>
                  <a:pt x="532" y="2578"/>
                  <a:pt x="532" y="2578"/>
                  <a:pt x="532" y="2578"/>
                </a:cubicBezTo>
                <a:cubicBezTo>
                  <a:pt x="532" y="1960"/>
                  <a:pt x="532" y="1960"/>
                  <a:pt x="532" y="1960"/>
                </a:cubicBezTo>
                <a:cubicBezTo>
                  <a:pt x="534" y="1960"/>
                  <a:pt x="536" y="1960"/>
                  <a:pt x="539" y="1960"/>
                </a:cubicBezTo>
                <a:cubicBezTo>
                  <a:pt x="561" y="1960"/>
                  <a:pt x="582" y="1957"/>
                  <a:pt x="601" y="1955"/>
                </a:cubicBezTo>
                <a:cubicBezTo>
                  <a:pt x="612" y="1954"/>
                  <a:pt x="623" y="1953"/>
                  <a:pt x="631" y="1952"/>
                </a:cubicBezTo>
                <a:cubicBezTo>
                  <a:pt x="637" y="1958"/>
                  <a:pt x="645" y="1966"/>
                  <a:pt x="651" y="1973"/>
                </a:cubicBezTo>
                <a:cubicBezTo>
                  <a:pt x="682" y="2007"/>
                  <a:pt x="725" y="2053"/>
                  <a:pt x="794" y="2065"/>
                </a:cubicBezTo>
                <a:cubicBezTo>
                  <a:pt x="804" y="2067"/>
                  <a:pt x="815" y="2068"/>
                  <a:pt x="825" y="2068"/>
                </a:cubicBezTo>
                <a:cubicBezTo>
                  <a:pt x="879" y="2068"/>
                  <a:pt x="922" y="2046"/>
                  <a:pt x="957" y="2028"/>
                </a:cubicBezTo>
                <a:cubicBezTo>
                  <a:pt x="966" y="2023"/>
                  <a:pt x="977" y="2017"/>
                  <a:pt x="985" y="2014"/>
                </a:cubicBezTo>
                <a:cubicBezTo>
                  <a:pt x="993" y="2017"/>
                  <a:pt x="1005" y="2023"/>
                  <a:pt x="1013" y="2028"/>
                </a:cubicBezTo>
                <a:cubicBezTo>
                  <a:pt x="1048" y="2046"/>
                  <a:pt x="1092" y="2068"/>
                  <a:pt x="1145" y="2068"/>
                </a:cubicBezTo>
                <a:cubicBezTo>
                  <a:pt x="1156" y="2068"/>
                  <a:pt x="1166" y="2067"/>
                  <a:pt x="1176" y="2065"/>
                </a:cubicBezTo>
                <a:cubicBezTo>
                  <a:pt x="1245" y="2053"/>
                  <a:pt x="1288" y="2007"/>
                  <a:pt x="1320" y="1973"/>
                </a:cubicBezTo>
                <a:cubicBezTo>
                  <a:pt x="1325" y="1966"/>
                  <a:pt x="1334" y="1958"/>
                  <a:pt x="1339" y="1952"/>
                </a:cubicBezTo>
                <a:cubicBezTo>
                  <a:pt x="1348" y="1953"/>
                  <a:pt x="1359" y="1954"/>
                  <a:pt x="1369" y="1955"/>
                </a:cubicBezTo>
                <a:cubicBezTo>
                  <a:pt x="1388" y="1957"/>
                  <a:pt x="1409" y="1960"/>
                  <a:pt x="1431" y="1960"/>
                </a:cubicBezTo>
                <a:close/>
                <a:moveTo>
                  <a:pt x="1911" y="1316"/>
                </a:moveTo>
                <a:cubicBezTo>
                  <a:pt x="1892" y="1369"/>
                  <a:pt x="1806" y="1390"/>
                  <a:pt x="1779" y="1437"/>
                </a:cubicBezTo>
                <a:cubicBezTo>
                  <a:pt x="1751" y="1485"/>
                  <a:pt x="1775" y="1570"/>
                  <a:pt x="1740" y="1613"/>
                </a:cubicBezTo>
                <a:cubicBezTo>
                  <a:pt x="1704" y="1655"/>
                  <a:pt x="1616" y="1645"/>
                  <a:pt x="1574" y="1681"/>
                </a:cubicBezTo>
                <a:cubicBezTo>
                  <a:pt x="1532" y="1717"/>
                  <a:pt x="1526" y="1805"/>
                  <a:pt x="1478" y="1833"/>
                </a:cubicBezTo>
                <a:cubicBezTo>
                  <a:pt x="1430" y="1860"/>
                  <a:pt x="1351" y="1821"/>
                  <a:pt x="1298" y="1840"/>
                </a:cubicBezTo>
                <a:cubicBezTo>
                  <a:pt x="1247" y="1859"/>
                  <a:pt x="1211" y="1940"/>
                  <a:pt x="1156" y="1950"/>
                </a:cubicBezTo>
                <a:cubicBezTo>
                  <a:pt x="1103" y="1959"/>
                  <a:pt x="1041" y="1895"/>
                  <a:pt x="985" y="1895"/>
                </a:cubicBezTo>
                <a:cubicBezTo>
                  <a:pt x="929" y="1895"/>
                  <a:pt x="868" y="1959"/>
                  <a:pt x="814" y="1950"/>
                </a:cubicBezTo>
                <a:cubicBezTo>
                  <a:pt x="759" y="1940"/>
                  <a:pt x="723" y="1859"/>
                  <a:pt x="672" y="1840"/>
                </a:cubicBezTo>
                <a:cubicBezTo>
                  <a:pt x="619" y="1821"/>
                  <a:pt x="540" y="1860"/>
                  <a:pt x="492" y="1833"/>
                </a:cubicBezTo>
                <a:cubicBezTo>
                  <a:pt x="444" y="1805"/>
                  <a:pt x="439" y="1717"/>
                  <a:pt x="396" y="1681"/>
                </a:cubicBezTo>
                <a:cubicBezTo>
                  <a:pt x="354" y="1645"/>
                  <a:pt x="266" y="1655"/>
                  <a:pt x="230" y="1613"/>
                </a:cubicBezTo>
                <a:cubicBezTo>
                  <a:pt x="195" y="1570"/>
                  <a:pt x="219" y="1485"/>
                  <a:pt x="192" y="1437"/>
                </a:cubicBezTo>
                <a:cubicBezTo>
                  <a:pt x="164" y="1390"/>
                  <a:pt x="78" y="1369"/>
                  <a:pt x="59" y="1316"/>
                </a:cubicBezTo>
                <a:cubicBezTo>
                  <a:pt x="40" y="1265"/>
                  <a:pt x="92" y="1194"/>
                  <a:pt x="83" y="1138"/>
                </a:cubicBezTo>
                <a:cubicBezTo>
                  <a:pt x="73" y="1085"/>
                  <a:pt x="0" y="1036"/>
                  <a:pt x="0" y="979"/>
                </a:cubicBezTo>
                <a:cubicBezTo>
                  <a:pt x="0" y="923"/>
                  <a:pt x="73" y="874"/>
                  <a:pt x="83" y="820"/>
                </a:cubicBezTo>
                <a:cubicBezTo>
                  <a:pt x="92" y="765"/>
                  <a:pt x="40" y="694"/>
                  <a:pt x="59" y="642"/>
                </a:cubicBezTo>
                <a:cubicBezTo>
                  <a:pt x="78" y="590"/>
                  <a:pt x="164" y="569"/>
                  <a:pt x="192" y="521"/>
                </a:cubicBezTo>
                <a:cubicBezTo>
                  <a:pt x="219" y="473"/>
                  <a:pt x="195" y="388"/>
                  <a:pt x="230" y="346"/>
                </a:cubicBezTo>
                <a:cubicBezTo>
                  <a:pt x="266" y="304"/>
                  <a:pt x="354" y="313"/>
                  <a:pt x="396" y="278"/>
                </a:cubicBezTo>
                <a:cubicBezTo>
                  <a:pt x="439" y="242"/>
                  <a:pt x="444" y="154"/>
                  <a:pt x="492" y="126"/>
                </a:cubicBezTo>
                <a:cubicBezTo>
                  <a:pt x="540" y="98"/>
                  <a:pt x="619" y="137"/>
                  <a:pt x="672" y="118"/>
                </a:cubicBezTo>
                <a:cubicBezTo>
                  <a:pt x="723" y="100"/>
                  <a:pt x="759" y="19"/>
                  <a:pt x="814" y="9"/>
                </a:cubicBezTo>
                <a:cubicBezTo>
                  <a:pt x="868" y="0"/>
                  <a:pt x="929" y="63"/>
                  <a:pt x="985" y="63"/>
                </a:cubicBezTo>
                <a:cubicBezTo>
                  <a:pt x="1041" y="63"/>
                  <a:pt x="1103" y="0"/>
                  <a:pt x="1156" y="9"/>
                </a:cubicBezTo>
                <a:cubicBezTo>
                  <a:pt x="1211" y="19"/>
                  <a:pt x="1247" y="100"/>
                  <a:pt x="1298" y="118"/>
                </a:cubicBezTo>
                <a:cubicBezTo>
                  <a:pt x="1351" y="137"/>
                  <a:pt x="1430" y="98"/>
                  <a:pt x="1478" y="126"/>
                </a:cubicBezTo>
                <a:cubicBezTo>
                  <a:pt x="1526" y="154"/>
                  <a:pt x="1532" y="242"/>
                  <a:pt x="1574" y="278"/>
                </a:cubicBezTo>
                <a:cubicBezTo>
                  <a:pt x="1616" y="313"/>
                  <a:pt x="1704" y="304"/>
                  <a:pt x="1740" y="346"/>
                </a:cubicBezTo>
                <a:cubicBezTo>
                  <a:pt x="1775" y="388"/>
                  <a:pt x="1751" y="473"/>
                  <a:pt x="1779" y="521"/>
                </a:cubicBezTo>
                <a:cubicBezTo>
                  <a:pt x="1806" y="569"/>
                  <a:pt x="1892" y="590"/>
                  <a:pt x="1911" y="642"/>
                </a:cubicBezTo>
                <a:cubicBezTo>
                  <a:pt x="1930" y="694"/>
                  <a:pt x="1878" y="765"/>
                  <a:pt x="1887" y="820"/>
                </a:cubicBezTo>
                <a:cubicBezTo>
                  <a:pt x="1897" y="874"/>
                  <a:pt x="1970" y="923"/>
                  <a:pt x="1970" y="979"/>
                </a:cubicBezTo>
                <a:cubicBezTo>
                  <a:pt x="1970" y="1036"/>
                  <a:pt x="1897" y="1085"/>
                  <a:pt x="1887" y="1138"/>
                </a:cubicBezTo>
                <a:cubicBezTo>
                  <a:pt x="1878" y="1194"/>
                  <a:pt x="1930" y="1265"/>
                  <a:pt x="1911" y="1316"/>
                </a:cubicBezTo>
                <a:close/>
                <a:moveTo>
                  <a:pt x="1762" y="979"/>
                </a:moveTo>
                <a:cubicBezTo>
                  <a:pt x="1762" y="551"/>
                  <a:pt x="1413" y="203"/>
                  <a:pt x="985" y="203"/>
                </a:cubicBezTo>
                <a:cubicBezTo>
                  <a:pt x="557" y="203"/>
                  <a:pt x="208" y="551"/>
                  <a:pt x="208" y="979"/>
                </a:cubicBezTo>
                <a:cubicBezTo>
                  <a:pt x="208" y="1408"/>
                  <a:pt x="557" y="1756"/>
                  <a:pt x="985" y="1756"/>
                </a:cubicBezTo>
                <a:cubicBezTo>
                  <a:pt x="1413" y="1756"/>
                  <a:pt x="1762" y="1408"/>
                  <a:pt x="1762" y="979"/>
                </a:cubicBezTo>
                <a:close/>
                <a:moveTo>
                  <a:pt x="1645" y="979"/>
                </a:moveTo>
                <a:cubicBezTo>
                  <a:pt x="1645" y="1343"/>
                  <a:pt x="1349" y="1639"/>
                  <a:pt x="985" y="1639"/>
                </a:cubicBezTo>
                <a:cubicBezTo>
                  <a:pt x="621" y="1639"/>
                  <a:pt x="326" y="1343"/>
                  <a:pt x="326" y="979"/>
                </a:cubicBezTo>
                <a:cubicBezTo>
                  <a:pt x="326" y="616"/>
                  <a:pt x="621" y="320"/>
                  <a:pt x="985" y="320"/>
                </a:cubicBezTo>
                <a:cubicBezTo>
                  <a:pt x="1349" y="320"/>
                  <a:pt x="1645" y="616"/>
                  <a:pt x="1645" y="979"/>
                </a:cubicBezTo>
                <a:close/>
                <a:moveTo>
                  <a:pt x="640" y="992"/>
                </a:moveTo>
                <a:cubicBezTo>
                  <a:pt x="732" y="925"/>
                  <a:pt x="732" y="925"/>
                  <a:pt x="732" y="925"/>
                </a:cubicBezTo>
                <a:cubicBezTo>
                  <a:pt x="618" y="925"/>
                  <a:pt x="618" y="925"/>
                  <a:pt x="618" y="925"/>
                </a:cubicBezTo>
                <a:cubicBezTo>
                  <a:pt x="582" y="816"/>
                  <a:pt x="582" y="816"/>
                  <a:pt x="582" y="816"/>
                </a:cubicBezTo>
                <a:cubicBezTo>
                  <a:pt x="547" y="925"/>
                  <a:pt x="547" y="925"/>
                  <a:pt x="547" y="925"/>
                </a:cubicBezTo>
                <a:cubicBezTo>
                  <a:pt x="432" y="925"/>
                  <a:pt x="432" y="925"/>
                  <a:pt x="432" y="925"/>
                </a:cubicBezTo>
                <a:cubicBezTo>
                  <a:pt x="525" y="992"/>
                  <a:pt x="525" y="992"/>
                  <a:pt x="525" y="992"/>
                </a:cubicBezTo>
                <a:cubicBezTo>
                  <a:pt x="490" y="1101"/>
                  <a:pt x="490" y="1101"/>
                  <a:pt x="490" y="1101"/>
                </a:cubicBezTo>
                <a:cubicBezTo>
                  <a:pt x="582" y="1034"/>
                  <a:pt x="582" y="1034"/>
                  <a:pt x="582" y="1034"/>
                </a:cubicBezTo>
                <a:cubicBezTo>
                  <a:pt x="675" y="1101"/>
                  <a:pt x="675" y="1101"/>
                  <a:pt x="675" y="1101"/>
                </a:cubicBezTo>
                <a:lnTo>
                  <a:pt x="640" y="992"/>
                </a:lnTo>
                <a:close/>
                <a:moveTo>
                  <a:pt x="1042" y="992"/>
                </a:moveTo>
                <a:cubicBezTo>
                  <a:pt x="1135" y="925"/>
                  <a:pt x="1135" y="925"/>
                  <a:pt x="1135" y="925"/>
                </a:cubicBezTo>
                <a:cubicBezTo>
                  <a:pt x="1021" y="925"/>
                  <a:pt x="1021" y="925"/>
                  <a:pt x="1021" y="925"/>
                </a:cubicBezTo>
                <a:cubicBezTo>
                  <a:pt x="985" y="816"/>
                  <a:pt x="985" y="816"/>
                  <a:pt x="985" y="816"/>
                </a:cubicBezTo>
                <a:cubicBezTo>
                  <a:pt x="950" y="925"/>
                  <a:pt x="950" y="925"/>
                  <a:pt x="950" y="925"/>
                </a:cubicBezTo>
                <a:cubicBezTo>
                  <a:pt x="835" y="925"/>
                  <a:pt x="835" y="925"/>
                  <a:pt x="835" y="925"/>
                </a:cubicBezTo>
                <a:cubicBezTo>
                  <a:pt x="928" y="992"/>
                  <a:pt x="928" y="992"/>
                  <a:pt x="928" y="992"/>
                </a:cubicBezTo>
                <a:cubicBezTo>
                  <a:pt x="892" y="1101"/>
                  <a:pt x="892" y="1101"/>
                  <a:pt x="892" y="1101"/>
                </a:cubicBezTo>
                <a:cubicBezTo>
                  <a:pt x="985" y="1034"/>
                  <a:pt x="985" y="1034"/>
                  <a:pt x="985" y="1034"/>
                </a:cubicBezTo>
                <a:cubicBezTo>
                  <a:pt x="1078" y="1101"/>
                  <a:pt x="1078" y="1101"/>
                  <a:pt x="1078" y="1101"/>
                </a:cubicBezTo>
                <a:lnTo>
                  <a:pt x="1042" y="992"/>
                </a:lnTo>
                <a:close/>
                <a:moveTo>
                  <a:pt x="1445" y="992"/>
                </a:moveTo>
                <a:cubicBezTo>
                  <a:pt x="1538" y="925"/>
                  <a:pt x="1538" y="925"/>
                  <a:pt x="1538" y="925"/>
                </a:cubicBezTo>
                <a:cubicBezTo>
                  <a:pt x="1423" y="925"/>
                  <a:pt x="1423" y="925"/>
                  <a:pt x="1423" y="925"/>
                </a:cubicBezTo>
                <a:cubicBezTo>
                  <a:pt x="1388" y="816"/>
                  <a:pt x="1388" y="816"/>
                  <a:pt x="1388" y="816"/>
                </a:cubicBezTo>
                <a:cubicBezTo>
                  <a:pt x="1352" y="925"/>
                  <a:pt x="1352" y="925"/>
                  <a:pt x="1352" y="925"/>
                </a:cubicBezTo>
                <a:cubicBezTo>
                  <a:pt x="1238" y="925"/>
                  <a:pt x="1238" y="925"/>
                  <a:pt x="1238" y="925"/>
                </a:cubicBezTo>
                <a:cubicBezTo>
                  <a:pt x="1330" y="992"/>
                  <a:pt x="1330" y="992"/>
                  <a:pt x="1330" y="992"/>
                </a:cubicBezTo>
                <a:cubicBezTo>
                  <a:pt x="1295" y="1101"/>
                  <a:pt x="1295" y="1101"/>
                  <a:pt x="1295" y="1101"/>
                </a:cubicBezTo>
                <a:cubicBezTo>
                  <a:pt x="1388" y="1034"/>
                  <a:pt x="1388" y="1034"/>
                  <a:pt x="1388" y="1034"/>
                </a:cubicBezTo>
                <a:cubicBezTo>
                  <a:pt x="1481" y="1101"/>
                  <a:pt x="1481" y="1101"/>
                  <a:pt x="1481" y="1101"/>
                </a:cubicBezTo>
                <a:lnTo>
                  <a:pt x="1445" y="992"/>
                </a:lnTo>
                <a:close/>
              </a:path>
            </a:pathLst>
          </a:custGeom>
          <a:solidFill>
            <a:schemeClr val="bg2"/>
          </a:solidFill>
          <a:ln w="22225">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81181751"/>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3" imgW="360" imgH="360" progId="">
                  <p:embed/>
                </p:oleObj>
              </mc:Choice>
              <mc:Fallback>
                <p:oleObj name="think-cell Folie" r:id="rId3" imgW="360" imgH="360" progId="">
                  <p:embed/>
                  <p:pic>
                    <p:nvPicPr>
                      <p:cNvPr id="3" name="Objek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en-US" dirty="0"/>
              <a:t>Process – versioning</a:t>
            </a:r>
          </a:p>
        </p:txBody>
      </p:sp>
      <p:sp>
        <p:nvSpPr>
          <p:cNvPr id="21" name="Freeform 118">
            <a:extLst>
              <a:ext uri="{FF2B5EF4-FFF2-40B4-BE49-F238E27FC236}">
                <a16:creationId xmlns:a16="http://schemas.microsoft.com/office/drawing/2014/main" id="{D9FCE314-82A7-BA48-9DA0-342711A6C139}"/>
              </a:ext>
            </a:extLst>
          </p:cNvPr>
          <p:cNvSpPr>
            <a:spLocks/>
          </p:cNvSpPr>
          <p:nvPr/>
        </p:nvSpPr>
        <p:spPr bwMode="gray">
          <a:xfrm>
            <a:off x="1030931" y="3877998"/>
            <a:ext cx="389201" cy="675723"/>
          </a:xfrm>
          <a:custGeom>
            <a:avLst/>
            <a:gdLst>
              <a:gd name="T0" fmla="*/ 717 w 1501"/>
              <a:gd name="T1" fmla="*/ 2270 h 2606"/>
              <a:gd name="T2" fmla="*/ 717 w 1501"/>
              <a:gd name="T3" fmla="*/ 485 h 2606"/>
              <a:gd name="T4" fmla="*/ 202 w 1501"/>
              <a:gd name="T5" fmla="*/ 814 h 2606"/>
              <a:gd name="T6" fmla="*/ 0 w 1501"/>
              <a:gd name="T7" fmla="*/ 463 h 2606"/>
              <a:gd name="T8" fmla="*/ 762 w 1501"/>
              <a:gd name="T9" fmla="*/ 0 h 2606"/>
              <a:gd name="T10" fmla="*/ 1158 w 1501"/>
              <a:gd name="T11" fmla="*/ 0 h 2606"/>
              <a:gd name="T12" fmla="*/ 1158 w 1501"/>
              <a:gd name="T13" fmla="*/ 2270 h 2606"/>
              <a:gd name="T14" fmla="*/ 1501 w 1501"/>
              <a:gd name="T15" fmla="*/ 2285 h 2606"/>
              <a:gd name="T16" fmla="*/ 1501 w 1501"/>
              <a:gd name="T17" fmla="*/ 2606 h 2606"/>
              <a:gd name="T18" fmla="*/ 381 w 1501"/>
              <a:gd name="T19" fmla="*/ 2606 h 2606"/>
              <a:gd name="T20" fmla="*/ 381 w 1501"/>
              <a:gd name="T21" fmla="*/ 2285 h 2606"/>
              <a:gd name="T22" fmla="*/ 717 w 1501"/>
              <a:gd name="T23" fmla="*/ 2270 h 2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01" h="2606">
                <a:moveTo>
                  <a:pt x="717" y="2270"/>
                </a:moveTo>
                <a:lnTo>
                  <a:pt x="717" y="485"/>
                </a:lnTo>
                <a:lnTo>
                  <a:pt x="202" y="814"/>
                </a:lnTo>
                <a:lnTo>
                  <a:pt x="0" y="463"/>
                </a:lnTo>
                <a:lnTo>
                  <a:pt x="762" y="0"/>
                </a:lnTo>
                <a:lnTo>
                  <a:pt x="1158" y="0"/>
                </a:lnTo>
                <a:lnTo>
                  <a:pt x="1158" y="2270"/>
                </a:lnTo>
                <a:lnTo>
                  <a:pt x="1501" y="2285"/>
                </a:lnTo>
                <a:lnTo>
                  <a:pt x="1501" y="2606"/>
                </a:lnTo>
                <a:lnTo>
                  <a:pt x="381" y="2606"/>
                </a:lnTo>
                <a:lnTo>
                  <a:pt x="381" y="2285"/>
                </a:lnTo>
                <a:lnTo>
                  <a:pt x="717" y="2270"/>
                </a:lnTo>
                <a:close/>
              </a:path>
            </a:pathLst>
          </a:custGeom>
          <a:solidFill>
            <a:srgbClr val="00646E"/>
          </a:solidFill>
          <a:ln>
            <a:noFill/>
          </a:ln>
        </p:spPr>
        <p:txBody>
          <a:bodyPr vert="horz" wrap="square" lIns="91392" tIns="45696" rIns="91392" bIns="45696"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endParaRPr lang="en-US" sz="1799" dirty="0">
              <a:latin typeface="+mn-lt"/>
            </a:endParaRPr>
          </a:p>
        </p:txBody>
      </p:sp>
      <p:sp>
        <p:nvSpPr>
          <p:cNvPr id="22" name="Rechteck 21">
            <a:extLst>
              <a:ext uri="{FF2B5EF4-FFF2-40B4-BE49-F238E27FC236}">
                <a16:creationId xmlns:a16="http://schemas.microsoft.com/office/drawing/2014/main" id="{0CA5DC18-A890-B842-ACDE-76C0C130EBF3}"/>
              </a:ext>
            </a:extLst>
          </p:cNvPr>
          <p:cNvSpPr>
            <a:spLocks/>
          </p:cNvSpPr>
          <p:nvPr/>
        </p:nvSpPr>
        <p:spPr bwMode="gray">
          <a:xfrm>
            <a:off x="1695488" y="3932833"/>
            <a:ext cx="2315349" cy="1874921"/>
          </a:xfrm>
          <a:prstGeom prst="rect">
            <a:avLst/>
          </a:prstGeom>
          <a:noFill/>
          <a:ln>
            <a:noFill/>
          </a:ln>
          <a:effectLst/>
        </p:spPr>
        <p:txBody>
          <a:bodyPr wrap="square" lIns="0" tIns="0" rIns="0" bIns="0" rtlCol="0" anchor="t">
            <a:sp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nSpc>
                <a:spcPct val="90000"/>
              </a:lnSpc>
              <a:spcBef>
                <a:spcPts val="0"/>
              </a:spcBef>
              <a:buClr>
                <a:schemeClr val="accent1"/>
              </a:buClr>
            </a:pPr>
            <a:r>
              <a:rPr lang="en-US" sz="2599" b="1" dirty="0">
                <a:solidFill>
                  <a:srgbClr val="00646E"/>
                </a:solidFill>
                <a:latin typeface="+mn-lt"/>
              </a:rPr>
              <a:t>Lorem dela</a:t>
            </a:r>
            <a:br>
              <a:rPr lang="en-US" sz="2599" b="1" dirty="0">
                <a:solidFill>
                  <a:srgbClr val="00646E"/>
                </a:solidFill>
                <a:latin typeface="+mn-lt"/>
              </a:rPr>
            </a:br>
            <a:r>
              <a:rPr lang="en-US" sz="2599" b="1" dirty="0">
                <a:solidFill>
                  <a:srgbClr val="00646E"/>
                </a:solidFill>
                <a:latin typeface="+mn-lt"/>
              </a:rPr>
              <a:t>et ipsum</a:t>
            </a:r>
          </a:p>
          <a:p>
            <a:pPr marL="180885" indent="-180885">
              <a:lnSpc>
                <a:spcPct val="90000"/>
              </a:lnSpc>
              <a:spcBef>
                <a:spcPts val="600"/>
              </a:spcBef>
              <a:buClr>
                <a:schemeClr val="accent1"/>
              </a:buClr>
              <a:buSzPct val="100000"/>
              <a:buFont typeface="Arial" panose="020B0604020202020204" pitchFamily="34" charset="0"/>
              <a:buChar char="•"/>
            </a:pPr>
            <a:r>
              <a:rPr lang="en-US" sz="1599" dirty="0">
                <a:solidFill>
                  <a:srgbClr val="66667E"/>
                </a:solidFill>
                <a:latin typeface="+mn-lt"/>
              </a:rPr>
              <a:t>At vero eos et accusam</a:t>
            </a:r>
          </a:p>
          <a:p>
            <a:pPr marL="180885" indent="-180885">
              <a:lnSpc>
                <a:spcPct val="90000"/>
              </a:lnSpc>
              <a:spcBef>
                <a:spcPts val="600"/>
              </a:spcBef>
              <a:buClr>
                <a:schemeClr val="accent1"/>
              </a:buClr>
              <a:buSzPct val="100000"/>
              <a:buFont typeface="Arial" panose="020B0604020202020204" pitchFamily="34" charset="0"/>
              <a:buChar char="•"/>
            </a:pPr>
            <a:r>
              <a:rPr lang="en-US" sz="1599" dirty="0">
                <a:solidFill>
                  <a:srgbClr val="66667E"/>
                </a:solidFill>
                <a:latin typeface="+mn-lt"/>
              </a:rPr>
              <a:t>Consetetur sadipscing elitr, seddiam nonumy</a:t>
            </a:r>
          </a:p>
          <a:p>
            <a:pPr marL="180885" indent="-180885">
              <a:lnSpc>
                <a:spcPct val="90000"/>
              </a:lnSpc>
              <a:spcBef>
                <a:spcPts val="600"/>
              </a:spcBef>
              <a:buClr>
                <a:schemeClr val="accent1"/>
              </a:buClr>
              <a:buSzPct val="100000"/>
              <a:buFont typeface="Arial" panose="020B0604020202020204" pitchFamily="34" charset="0"/>
              <a:buChar char="•"/>
            </a:pPr>
            <a:r>
              <a:rPr lang="en-US" sz="1599" dirty="0">
                <a:solidFill>
                  <a:srgbClr val="66667E"/>
                </a:solidFill>
                <a:latin typeface="+mn-lt"/>
              </a:rPr>
              <a:t>Cras ultricies mi eu</a:t>
            </a:r>
          </a:p>
        </p:txBody>
      </p:sp>
      <p:sp>
        <p:nvSpPr>
          <p:cNvPr id="25" name="Freeform 119">
            <a:extLst>
              <a:ext uri="{FF2B5EF4-FFF2-40B4-BE49-F238E27FC236}">
                <a16:creationId xmlns:a16="http://schemas.microsoft.com/office/drawing/2014/main" id="{8CFDA767-443F-664E-B0E3-C6EB15776E89}"/>
              </a:ext>
            </a:extLst>
          </p:cNvPr>
          <p:cNvSpPr>
            <a:spLocks/>
          </p:cNvSpPr>
          <p:nvPr/>
        </p:nvSpPr>
        <p:spPr bwMode="gray">
          <a:xfrm>
            <a:off x="4762163" y="3382756"/>
            <a:ext cx="441321" cy="687392"/>
          </a:xfrm>
          <a:custGeom>
            <a:avLst/>
            <a:gdLst>
              <a:gd name="T0" fmla="*/ 0 w 228"/>
              <a:gd name="T1" fmla="*/ 355 h 355"/>
              <a:gd name="T2" fmla="*/ 0 w 228"/>
              <a:gd name="T3" fmla="*/ 307 h 355"/>
              <a:gd name="T4" fmla="*/ 105 w 228"/>
              <a:gd name="T5" fmla="*/ 203 h 355"/>
              <a:gd name="T6" fmla="*/ 153 w 228"/>
              <a:gd name="T7" fmla="*/ 141 h 355"/>
              <a:gd name="T8" fmla="*/ 164 w 228"/>
              <a:gd name="T9" fmla="*/ 100 h 355"/>
              <a:gd name="T10" fmla="*/ 148 w 228"/>
              <a:gd name="T11" fmla="*/ 64 h 355"/>
              <a:gd name="T12" fmla="*/ 104 w 228"/>
              <a:gd name="T13" fmla="*/ 49 h 355"/>
              <a:gd name="T14" fmla="*/ 20 w 228"/>
              <a:gd name="T15" fmla="*/ 75 h 355"/>
              <a:gd name="T16" fmla="*/ 5 w 228"/>
              <a:gd name="T17" fmla="*/ 24 h 355"/>
              <a:gd name="T18" fmla="*/ 111 w 228"/>
              <a:gd name="T19" fmla="*/ 0 h 355"/>
              <a:gd name="T20" fmla="*/ 193 w 228"/>
              <a:gd name="T21" fmla="*/ 23 h 355"/>
              <a:gd name="T22" fmla="*/ 225 w 228"/>
              <a:gd name="T23" fmla="*/ 97 h 355"/>
              <a:gd name="T24" fmla="*/ 195 w 228"/>
              <a:gd name="T25" fmla="*/ 183 h 355"/>
              <a:gd name="T26" fmla="*/ 80 w 228"/>
              <a:gd name="T27" fmla="*/ 306 h 355"/>
              <a:gd name="T28" fmla="*/ 228 w 228"/>
              <a:gd name="T29" fmla="*/ 306 h 355"/>
              <a:gd name="T30" fmla="*/ 228 w 228"/>
              <a:gd name="T31" fmla="*/ 355 h 355"/>
              <a:gd name="T32" fmla="*/ 0 w 228"/>
              <a:gd name="T33" fmla="*/ 355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8" h="355">
                <a:moveTo>
                  <a:pt x="0" y="355"/>
                </a:moveTo>
                <a:cubicBezTo>
                  <a:pt x="0" y="307"/>
                  <a:pt x="0" y="307"/>
                  <a:pt x="0" y="307"/>
                </a:cubicBezTo>
                <a:cubicBezTo>
                  <a:pt x="46" y="264"/>
                  <a:pt x="81" y="230"/>
                  <a:pt x="105" y="203"/>
                </a:cubicBezTo>
                <a:cubicBezTo>
                  <a:pt x="130" y="176"/>
                  <a:pt x="146" y="155"/>
                  <a:pt x="153" y="141"/>
                </a:cubicBezTo>
                <a:cubicBezTo>
                  <a:pt x="160" y="126"/>
                  <a:pt x="164" y="113"/>
                  <a:pt x="164" y="100"/>
                </a:cubicBezTo>
                <a:cubicBezTo>
                  <a:pt x="164" y="85"/>
                  <a:pt x="159" y="73"/>
                  <a:pt x="148" y="64"/>
                </a:cubicBezTo>
                <a:cubicBezTo>
                  <a:pt x="137" y="54"/>
                  <a:pt x="122" y="49"/>
                  <a:pt x="104" y="49"/>
                </a:cubicBezTo>
                <a:cubicBezTo>
                  <a:pt x="80" y="49"/>
                  <a:pt x="52" y="58"/>
                  <a:pt x="20" y="75"/>
                </a:cubicBezTo>
                <a:cubicBezTo>
                  <a:pt x="5" y="24"/>
                  <a:pt x="5" y="24"/>
                  <a:pt x="5" y="24"/>
                </a:cubicBezTo>
                <a:cubicBezTo>
                  <a:pt x="40" y="8"/>
                  <a:pt x="75" y="0"/>
                  <a:pt x="111" y="0"/>
                </a:cubicBezTo>
                <a:cubicBezTo>
                  <a:pt x="145" y="0"/>
                  <a:pt x="173" y="8"/>
                  <a:pt x="193" y="23"/>
                </a:cubicBezTo>
                <a:cubicBezTo>
                  <a:pt x="215" y="40"/>
                  <a:pt x="225" y="65"/>
                  <a:pt x="225" y="97"/>
                </a:cubicBezTo>
                <a:cubicBezTo>
                  <a:pt x="225" y="125"/>
                  <a:pt x="215" y="154"/>
                  <a:pt x="195" y="183"/>
                </a:cubicBezTo>
                <a:cubicBezTo>
                  <a:pt x="173" y="215"/>
                  <a:pt x="134" y="255"/>
                  <a:pt x="80" y="306"/>
                </a:cubicBezTo>
                <a:cubicBezTo>
                  <a:pt x="228" y="306"/>
                  <a:pt x="228" y="306"/>
                  <a:pt x="228" y="306"/>
                </a:cubicBezTo>
                <a:cubicBezTo>
                  <a:pt x="228" y="355"/>
                  <a:pt x="228" y="355"/>
                  <a:pt x="228" y="355"/>
                </a:cubicBezTo>
                <a:lnTo>
                  <a:pt x="0" y="355"/>
                </a:lnTo>
                <a:close/>
              </a:path>
            </a:pathLst>
          </a:custGeom>
          <a:solidFill>
            <a:srgbClr val="00AF8E"/>
          </a:solidFill>
          <a:ln>
            <a:noFill/>
          </a:ln>
        </p:spPr>
        <p:txBody>
          <a:bodyPr vert="horz" wrap="square" lIns="91392" tIns="45696" rIns="91392" bIns="45696"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endParaRPr lang="en-US" sz="1799" dirty="0">
              <a:latin typeface="+mn-lt"/>
            </a:endParaRPr>
          </a:p>
        </p:txBody>
      </p:sp>
      <p:sp>
        <p:nvSpPr>
          <p:cNvPr id="26" name="Freeform 120">
            <a:extLst>
              <a:ext uri="{FF2B5EF4-FFF2-40B4-BE49-F238E27FC236}">
                <a16:creationId xmlns:a16="http://schemas.microsoft.com/office/drawing/2014/main" id="{36430DE8-9B36-0349-8D19-908C8396D28D}"/>
              </a:ext>
            </a:extLst>
          </p:cNvPr>
          <p:cNvSpPr>
            <a:spLocks/>
          </p:cNvSpPr>
          <p:nvPr/>
        </p:nvSpPr>
        <p:spPr bwMode="gray">
          <a:xfrm>
            <a:off x="8540846" y="2819894"/>
            <a:ext cx="441321" cy="699058"/>
          </a:xfrm>
          <a:custGeom>
            <a:avLst/>
            <a:gdLst>
              <a:gd name="T0" fmla="*/ 0 w 228"/>
              <a:gd name="T1" fmla="*/ 343 h 361"/>
              <a:gd name="T2" fmla="*/ 13 w 228"/>
              <a:gd name="T3" fmla="*/ 292 h 361"/>
              <a:gd name="T4" fmla="*/ 96 w 228"/>
              <a:gd name="T5" fmla="*/ 312 h 361"/>
              <a:gd name="T6" fmla="*/ 151 w 228"/>
              <a:gd name="T7" fmla="*/ 293 h 361"/>
              <a:gd name="T8" fmla="*/ 166 w 228"/>
              <a:gd name="T9" fmla="*/ 253 h 361"/>
              <a:gd name="T10" fmla="*/ 139 w 228"/>
              <a:gd name="T11" fmla="*/ 207 h 361"/>
              <a:gd name="T12" fmla="*/ 77 w 228"/>
              <a:gd name="T13" fmla="*/ 196 h 361"/>
              <a:gd name="T14" fmla="*/ 48 w 228"/>
              <a:gd name="T15" fmla="*/ 197 h 361"/>
              <a:gd name="T16" fmla="*/ 48 w 228"/>
              <a:gd name="T17" fmla="*/ 149 h 361"/>
              <a:gd name="T18" fmla="*/ 71 w 228"/>
              <a:gd name="T19" fmla="*/ 151 h 361"/>
              <a:gd name="T20" fmla="*/ 138 w 228"/>
              <a:gd name="T21" fmla="*/ 137 h 361"/>
              <a:gd name="T22" fmla="*/ 162 w 228"/>
              <a:gd name="T23" fmla="*/ 96 h 361"/>
              <a:gd name="T24" fmla="*/ 147 w 228"/>
              <a:gd name="T25" fmla="*/ 61 h 361"/>
              <a:gd name="T26" fmla="*/ 103 w 228"/>
              <a:gd name="T27" fmla="*/ 49 h 361"/>
              <a:gd name="T28" fmla="*/ 23 w 228"/>
              <a:gd name="T29" fmla="*/ 68 h 361"/>
              <a:gd name="T30" fmla="*/ 11 w 228"/>
              <a:gd name="T31" fmla="*/ 19 h 361"/>
              <a:gd name="T32" fmla="*/ 110 w 228"/>
              <a:gd name="T33" fmla="*/ 0 h 361"/>
              <a:gd name="T34" fmla="*/ 193 w 228"/>
              <a:gd name="T35" fmla="*/ 23 h 361"/>
              <a:gd name="T36" fmla="*/ 224 w 228"/>
              <a:gd name="T37" fmla="*/ 90 h 361"/>
              <a:gd name="T38" fmla="*/ 193 w 228"/>
              <a:gd name="T39" fmla="*/ 157 h 361"/>
              <a:gd name="T40" fmla="*/ 153 w 228"/>
              <a:gd name="T41" fmla="*/ 173 h 361"/>
              <a:gd name="T42" fmla="*/ 205 w 228"/>
              <a:gd name="T43" fmla="*/ 195 h 361"/>
              <a:gd name="T44" fmla="*/ 228 w 228"/>
              <a:gd name="T45" fmla="*/ 255 h 361"/>
              <a:gd name="T46" fmla="*/ 192 w 228"/>
              <a:gd name="T47" fmla="*/ 335 h 361"/>
              <a:gd name="T48" fmla="*/ 101 w 228"/>
              <a:gd name="T49" fmla="*/ 361 h 361"/>
              <a:gd name="T50" fmla="*/ 0 w 228"/>
              <a:gd name="T51" fmla="*/ 343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8" h="361">
                <a:moveTo>
                  <a:pt x="0" y="343"/>
                </a:moveTo>
                <a:cubicBezTo>
                  <a:pt x="13" y="292"/>
                  <a:pt x="13" y="292"/>
                  <a:pt x="13" y="292"/>
                </a:cubicBezTo>
                <a:cubicBezTo>
                  <a:pt x="41" y="306"/>
                  <a:pt x="69" y="312"/>
                  <a:pt x="96" y="312"/>
                </a:cubicBezTo>
                <a:cubicBezTo>
                  <a:pt x="121" y="312"/>
                  <a:pt x="139" y="306"/>
                  <a:pt x="151" y="293"/>
                </a:cubicBezTo>
                <a:cubicBezTo>
                  <a:pt x="161" y="283"/>
                  <a:pt x="166" y="269"/>
                  <a:pt x="166" y="253"/>
                </a:cubicBezTo>
                <a:cubicBezTo>
                  <a:pt x="166" y="232"/>
                  <a:pt x="157" y="217"/>
                  <a:pt x="139" y="207"/>
                </a:cubicBezTo>
                <a:cubicBezTo>
                  <a:pt x="125" y="200"/>
                  <a:pt x="104" y="196"/>
                  <a:pt x="77" y="196"/>
                </a:cubicBezTo>
                <a:cubicBezTo>
                  <a:pt x="69" y="196"/>
                  <a:pt x="60" y="196"/>
                  <a:pt x="48" y="197"/>
                </a:cubicBezTo>
                <a:cubicBezTo>
                  <a:pt x="48" y="149"/>
                  <a:pt x="48" y="149"/>
                  <a:pt x="48" y="149"/>
                </a:cubicBezTo>
                <a:cubicBezTo>
                  <a:pt x="56" y="150"/>
                  <a:pt x="64" y="151"/>
                  <a:pt x="71" y="151"/>
                </a:cubicBezTo>
                <a:cubicBezTo>
                  <a:pt x="101" y="151"/>
                  <a:pt x="124" y="146"/>
                  <a:pt x="138" y="137"/>
                </a:cubicBezTo>
                <a:cubicBezTo>
                  <a:pt x="154" y="127"/>
                  <a:pt x="162" y="114"/>
                  <a:pt x="162" y="96"/>
                </a:cubicBezTo>
                <a:cubicBezTo>
                  <a:pt x="162" y="82"/>
                  <a:pt x="157" y="70"/>
                  <a:pt x="147" y="61"/>
                </a:cubicBezTo>
                <a:cubicBezTo>
                  <a:pt x="137" y="53"/>
                  <a:pt x="122" y="49"/>
                  <a:pt x="103" y="49"/>
                </a:cubicBezTo>
                <a:cubicBezTo>
                  <a:pt x="80" y="49"/>
                  <a:pt x="54" y="55"/>
                  <a:pt x="23" y="68"/>
                </a:cubicBezTo>
                <a:cubicBezTo>
                  <a:pt x="11" y="19"/>
                  <a:pt x="11" y="19"/>
                  <a:pt x="11" y="19"/>
                </a:cubicBezTo>
                <a:cubicBezTo>
                  <a:pt x="43" y="6"/>
                  <a:pt x="76" y="0"/>
                  <a:pt x="110" y="0"/>
                </a:cubicBezTo>
                <a:cubicBezTo>
                  <a:pt x="146" y="0"/>
                  <a:pt x="173" y="8"/>
                  <a:pt x="193" y="23"/>
                </a:cubicBezTo>
                <a:cubicBezTo>
                  <a:pt x="214" y="38"/>
                  <a:pt x="224" y="61"/>
                  <a:pt x="224" y="90"/>
                </a:cubicBezTo>
                <a:cubicBezTo>
                  <a:pt x="224" y="120"/>
                  <a:pt x="214" y="142"/>
                  <a:pt x="193" y="157"/>
                </a:cubicBezTo>
                <a:cubicBezTo>
                  <a:pt x="183" y="165"/>
                  <a:pt x="170" y="170"/>
                  <a:pt x="153" y="173"/>
                </a:cubicBezTo>
                <a:cubicBezTo>
                  <a:pt x="176" y="177"/>
                  <a:pt x="193" y="184"/>
                  <a:pt x="205" y="195"/>
                </a:cubicBezTo>
                <a:cubicBezTo>
                  <a:pt x="220" y="210"/>
                  <a:pt x="228" y="230"/>
                  <a:pt x="228" y="255"/>
                </a:cubicBezTo>
                <a:cubicBezTo>
                  <a:pt x="228" y="289"/>
                  <a:pt x="216" y="316"/>
                  <a:pt x="192" y="335"/>
                </a:cubicBezTo>
                <a:cubicBezTo>
                  <a:pt x="171" y="352"/>
                  <a:pt x="140" y="361"/>
                  <a:pt x="101" y="361"/>
                </a:cubicBezTo>
                <a:cubicBezTo>
                  <a:pt x="65" y="361"/>
                  <a:pt x="32" y="355"/>
                  <a:pt x="0" y="343"/>
                </a:cubicBezTo>
                <a:close/>
              </a:path>
            </a:pathLst>
          </a:custGeom>
          <a:solidFill>
            <a:srgbClr val="66667E"/>
          </a:solidFill>
          <a:ln>
            <a:noFill/>
          </a:ln>
        </p:spPr>
        <p:txBody>
          <a:bodyPr vert="horz" wrap="square" lIns="91392" tIns="45696" rIns="91392" bIns="45696"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endParaRPr lang="en-US" sz="1799" dirty="0">
              <a:solidFill>
                <a:srgbClr val="879BAA"/>
              </a:solidFill>
              <a:latin typeface="+mn-lt"/>
            </a:endParaRPr>
          </a:p>
        </p:txBody>
      </p:sp>
      <p:sp>
        <p:nvSpPr>
          <p:cNvPr id="27" name="Rechteck 26">
            <a:extLst>
              <a:ext uri="{FF2B5EF4-FFF2-40B4-BE49-F238E27FC236}">
                <a16:creationId xmlns:a16="http://schemas.microsoft.com/office/drawing/2014/main" id="{3411428E-7707-5846-9ABB-6CD51FFF6085}"/>
              </a:ext>
            </a:extLst>
          </p:cNvPr>
          <p:cNvSpPr>
            <a:spLocks/>
          </p:cNvSpPr>
          <p:nvPr/>
        </p:nvSpPr>
        <p:spPr bwMode="gray">
          <a:xfrm>
            <a:off x="5581007" y="3440272"/>
            <a:ext cx="2315349" cy="2240985"/>
          </a:xfrm>
          <a:prstGeom prst="rect">
            <a:avLst/>
          </a:prstGeom>
          <a:noFill/>
          <a:ln>
            <a:noFill/>
          </a:ln>
          <a:effectLst/>
        </p:spPr>
        <p:txBody>
          <a:bodyPr wrap="square" lIns="0" tIns="0" rIns="0" bIns="0" rtlCol="0" anchor="t">
            <a:sp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nSpc>
                <a:spcPct val="90000"/>
              </a:lnSpc>
              <a:spcBef>
                <a:spcPts val="0"/>
              </a:spcBef>
              <a:buClr>
                <a:schemeClr val="accent1"/>
              </a:buClr>
            </a:pPr>
            <a:r>
              <a:rPr lang="en-US" sz="2599" b="1" dirty="0">
                <a:solidFill>
                  <a:srgbClr val="00AF8E"/>
                </a:solidFill>
                <a:latin typeface="+mn-lt"/>
              </a:rPr>
              <a:t>Lorem dela</a:t>
            </a:r>
            <a:br>
              <a:rPr lang="en-US" sz="2599" b="1" dirty="0">
                <a:solidFill>
                  <a:srgbClr val="00AF8E"/>
                </a:solidFill>
                <a:latin typeface="+mn-lt"/>
              </a:rPr>
            </a:br>
            <a:r>
              <a:rPr lang="en-US" sz="2599" b="1" dirty="0">
                <a:solidFill>
                  <a:srgbClr val="00AF8E"/>
                </a:solidFill>
                <a:latin typeface="+mn-lt"/>
              </a:rPr>
              <a:t>et ipsum</a:t>
            </a:r>
          </a:p>
          <a:p>
            <a:pPr marL="180885" indent="-180885">
              <a:lnSpc>
                <a:spcPct val="90000"/>
              </a:lnSpc>
              <a:spcBef>
                <a:spcPts val="600"/>
              </a:spcBef>
              <a:buClr>
                <a:schemeClr val="accent1"/>
              </a:buClr>
              <a:buSzPct val="100000"/>
              <a:buFont typeface="Arial" panose="020B0604020202020204" pitchFamily="34" charset="0"/>
              <a:buChar char="•"/>
            </a:pPr>
            <a:r>
              <a:rPr lang="en-US" sz="1599" dirty="0">
                <a:solidFill>
                  <a:srgbClr val="66667E"/>
                </a:solidFill>
                <a:latin typeface="+mn-lt"/>
              </a:rPr>
              <a:t>At vero eos et accusam</a:t>
            </a:r>
          </a:p>
          <a:p>
            <a:pPr marL="180885" indent="-180885">
              <a:lnSpc>
                <a:spcPct val="90000"/>
              </a:lnSpc>
              <a:spcBef>
                <a:spcPts val="600"/>
              </a:spcBef>
              <a:buClr>
                <a:schemeClr val="accent1"/>
              </a:buClr>
              <a:buSzPct val="100000"/>
              <a:buFont typeface="Arial" panose="020B0604020202020204" pitchFamily="34" charset="0"/>
              <a:buChar char="•"/>
            </a:pPr>
            <a:r>
              <a:rPr lang="en-US" sz="1599" dirty="0">
                <a:solidFill>
                  <a:srgbClr val="66667E"/>
                </a:solidFill>
                <a:latin typeface="+mn-lt"/>
              </a:rPr>
              <a:t>Stet clita kasd gubergren, no sea takimata sanctus est lorem ipsum dolor sit amet</a:t>
            </a:r>
          </a:p>
        </p:txBody>
      </p:sp>
      <p:sp>
        <p:nvSpPr>
          <p:cNvPr id="28" name="Rechteck 27">
            <a:extLst>
              <a:ext uri="{FF2B5EF4-FFF2-40B4-BE49-F238E27FC236}">
                <a16:creationId xmlns:a16="http://schemas.microsoft.com/office/drawing/2014/main" id="{BC2E2E22-50E3-DB40-839E-DF2A0D20BAD9}"/>
              </a:ext>
            </a:extLst>
          </p:cNvPr>
          <p:cNvSpPr>
            <a:spLocks/>
          </p:cNvSpPr>
          <p:nvPr/>
        </p:nvSpPr>
        <p:spPr bwMode="gray">
          <a:xfrm>
            <a:off x="9267081" y="2884381"/>
            <a:ext cx="2315349" cy="2096405"/>
          </a:xfrm>
          <a:prstGeom prst="rect">
            <a:avLst/>
          </a:prstGeom>
          <a:noFill/>
          <a:ln>
            <a:noFill/>
          </a:ln>
          <a:effectLst/>
        </p:spPr>
        <p:txBody>
          <a:bodyPr wrap="square" lIns="0" tIns="0" rIns="0" bIns="0" rtlCol="0" anchor="t">
            <a:sp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nSpc>
                <a:spcPct val="90000"/>
              </a:lnSpc>
              <a:spcBef>
                <a:spcPts val="0"/>
              </a:spcBef>
              <a:buClr>
                <a:schemeClr val="accent1"/>
              </a:buClr>
            </a:pPr>
            <a:r>
              <a:rPr lang="en-US" sz="2599" b="1" dirty="0">
                <a:solidFill>
                  <a:srgbClr val="66667E"/>
                </a:solidFill>
                <a:latin typeface="+mn-lt"/>
              </a:rPr>
              <a:t>Lorem dela</a:t>
            </a:r>
            <a:br>
              <a:rPr lang="en-US" sz="2599" b="1" dirty="0">
                <a:solidFill>
                  <a:srgbClr val="66667E"/>
                </a:solidFill>
                <a:latin typeface="+mn-lt"/>
              </a:rPr>
            </a:br>
            <a:r>
              <a:rPr lang="en-US" sz="2599" b="1" dirty="0">
                <a:solidFill>
                  <a:srgbClr val="66667E"/>
                </a:solidFill>
                <a:latin typeface="+mn-lt"/>
              </a:rPr>
              <a:t>et ipsum</a:t>
            </a:r>
          </a:p>
          <a:p>
            <a:pPr marL="180885" indent="-180885">
              <a:lnSpc>
                <a:spcPct val="90000"/>
              </a:lnSpc>
              <a:spcBef>
                <a:spcPts val="600"/>
              </a:spcBef>
              <a:buClr>
                <a:schemeClr val="accent1"/>
              </a:buClr>
              <a:buSzPct val="100000"/>
              <a:buFont typeface="Arial" panose="020B0604020202020204" pitchFamily="34" charset="0"/>
              <a:buChar char="•"/>
            </a:pPr>
            <a:r>
              <a:rPr lang="en-US" sz="1599" dirty="0">
                <a:solidFill>
                  <a:srgbClr val="66667E"/>
                </a:solidFill>
                <a:latin typeface="+mn-lt"/>
              </a:rPr>
              <a:t>Cras ultricies mi eu</a:t>
            </a:r>
          </a:p>
          <a:p>
            <a:pPr marL="180885" indent="-180885">
              <a:lnSpc>
                <a:spcPct val="90000"/>
              </a:lnSpc>
              <a:spcBef>
                <a:spcPts val="600"/>
              </a:spcBef>
              <a:buClr>
                <a:schemeClr val="accent1"/>
              </a:buClr>
              <a:buSzPct val="100000"/>
              <a:buFont typeface="Arial" panose="020B0604020202020204" pitchFamily="34" charset="0"/>
              <a:buChar char="•"/>
            </a:pPr>
            <a:r>
              <a:rPr lang="en-US" sz="1599" dirty="0">
                <a:solidFill>
                  <a:srgbClr val="66667E"/>
                </a:solidFill>
                <a:latin typeface="+mn-lt"/>
              </a:rPr>
              <a:t>Duis arcu tortor, suscipit eget</a:t>
            </a:r>
          </a:p>
          <a:p>
            <a:pPr marL="180885" indent="-180885">
              <a:lnSpc>
                <a:spcPct val="90000"/>
              </a:lnSpc>
              <a:spcBef>
                <a:spcPts val="600"/>
              </a:spcBef>
              <a:buClr>
                <a:schemeClr val="accent1"/>
              </a:buClr>
              <a:buSzPct val="100000"/>
              <a:buFont typeface="Arial" panose="020B0604020202020204" pitchFamily="34" charset="0"/>
              <a:buChar char="•"/>
            </a:pPr>
            <a:r>
              <a:rPr lang="en-US" sz="1599" dirty="0">
                <a:solidFill>
                  <a:srgbClr val="66667E"/>
                </a:solidFill>
                <a:latin typeface="+mn-lt"/>
              </a:rPr>
              <a:t>Consetetur sadipscing elitr, seddiam nonumy</a:t>
            </a:r>
          </a:p>
        </p:txBody>
      </p:sp>
      <p:grpSp>
        <p:nvGrpSpPr>
          <p:cNvPr id="5" name="Gruppieren 4">
            <a:extLst>
              <a:ext uri="{FF2B5EF4-FFF2-40B4-BE49-F238E27FC236}">
                <a16:creationId xmlns:a16="http://schemas.microsoft.com/office/drawing/2014/main" id="{870DB736-1F5E-284D-80EA-13BACD41D25B}"/>
              </a:ext>
            </a:extLst>
          </p:cNvPr>
          <p:cNvGrpSpPr/>
          <p:nvPr/>
        </p:nvGrpSpPr>
        <p:grpSpPr>
          <a:xfrm>
            <a:off x="-29298" y="1498605"/>
            <a:ext cx="12681110" cy="6295863"/>
            <a:chOff x="113885" y="1521467"/>
            <a:chExt cx="13079133" cy="6493472"/>
          </a:xfrm>
        </p:grpSpPr>
        <p:sp>
          <p:nvSpPr>
            <p:cNvPr id="4" name="Bogen 3">
              <a:extLst>
                <a:ext uri="{FF2B5EF4-FFF2-40B4-BE49-F238E27FC236}">
                  <a16:creationId xmlns:a16="http://schemas.microsoft.com/office/drawing/2014/main" id="{13664695-97F1-7B46-9F28-FC5E746164E9}"/>
                </a:ext>
              </a:extLst>
            </p:cNvPr>
            <p:cNvSpPr/>
            <p:nvPr/>
          </p:nvSpPr>
          <p:spPr bwMode="auto">
            <a:xfrm rot="18243897">
              <a:off x="7549943" y="1521467"/>
              <a:ext cx="5643075" cy="5643075"/>
            </a:xfrm>
            <a:prstGeom prst="arc">
              <a:avLst>
                <a:gd name="adj1" fmla="val 16200000"/>
                <a:gd name="adj2" fmla="val 21289156"/>
              </a:avLst>
            </a:prstGeom>
            <a:noFill/>
            <a:ln w="63500" cap="flat" cmpd="sng" algn="ctr">
              <a:solidFill>
                <a:srgbClr val="66667E"/>
              </a:solidFill>
              <a:prstDash val="solid"/>
              <a:round/>
              <a:headEnd type="none" w="med" len="med"/>
              <a:tailEnd type="triangle" w="med" len="sm"/>
            </a:ln>
            <a:effec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8" name="Bogen 17">
              <a:extLst>
                <a:ext uri="{FF2B5EF4-FFF2-40B4-BE49-F238E27FC236}">
                  <a16:creationId xmlns:a16="http://schemas.microsoft.com/office/drawing/2014/main" id="{BB8DEB0F-E905-D045-9F42-28B2AC35829D}"/>
                </a:ext>
              </a:extLst>
            </p:cNvPr>
            <p:cNvSpPr/>
            <p:nvPr/>
          </p:nvSpPr>
          <p:spPr bwMode="auto">
            <a:xfrm rot="18243897">
              <a:off x="3831914" y="1946666"/>
              <a:ext cx="5643075" cy="5643075"/>
            </a:xfrm>
            <a:prstGeom prst="arc">
              <a:avLst>
                <a:gd name="adj1" fmla="val 16200000"/>
                <a:gd name="adj2" fmla="val 21265869"/>
              </a:avLst>
            </a:prstGeom>
            <a:noFill/>
            <a:ln w="63500" cap="flat" cmpd="sng" algn="ctr">
              <a:solidFill>
                <a:srgbClr val="00AF8E"/>
              </a:solidFill>
              <a:prstDash val="solid"/>
              <a:round/>
              <a:headEnd type="none" w="med" len="med"/>
              <a:tailEnd type="triangle" w="med" len="sm"/>
            </a:ln>
            <a:effec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9" name="Bogen 18">
              <a:extLst>
                <a:ext uri="{FF2B5EF4-FFF2-40B4-BE49-F238E27FC236}">
                  <a16:creationId xmlns:a16="http://schemas.microsoft.com/office/drawing/2014/main" id="{FFC053E9-383D-0E46-BC28-244C0FBD9EE6}"/>
                </a:ext>
              </a:extLst>
            </p:cNvPr>
            <p:cNvSpPr/>
            <p:nvPr/>
          </p:nvSpPr>
          <p:spPr bwMode="auto">
            <a:xfrm rot="18243897">
              <a:off x="113885" y="2371864"/>
              <a:ext cx="5643075" cy="5643075"/>
            </a:xfrm>
            <a:prstGeom prst="arc">
              <a:avLst>
                <a:gd name="adj1" fmla="val 16200000"/>
                <a:gd name="adj2" fmla="val 21258845"/>
              </a:avLst>
            </a:prstGeom>
            <a:noFill/>
            <a:ln w="63500" cap="flat" cmpd="sng" algn="ctr">
              <a:solidFill>
                <a:srgbClr val="00646E"/>
              </a:solidFill>
              <a:prstDash val="solid"/>
              <a:round/>
              <a:headEnd type="none" w="lg" len="sm"/>
              <a:tailEnd type="triangle" w="med" len="sm"/>
            </a:ln>
            <a:effec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grpSp>
      <p:sp>
        <p:nvSpPr>
          <p:cNvPr id="6" name="Footer Placeholder 5">
            <a:extLst>
              <a:ext uri="{FF2B5EF4-FFF2-40B4-BE49-F238E27FC236}">
                <a16:creationId xmlns:a16="http://schemas.microsoft.com/office/drawing/2014/main" id="{4571C716-0A76-41D0-9C8A-46A5681FA813}"/>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7" name="Slide Number Placeholder 6">
            <a:extLst>
              <a:ext uri="{FF2B5EF4-FFF2-40B4-BE49-F238E27FC236}">
                <a16:creationId xmlns:a16="http://schemas.microsoft.com/office/drawing/2014/main" id="{E72A8A8E-DF2B-45CA-9415-92D0C168BB7C}"/>
              </a:ext>
            </a:extLst>
          </p:cNvPr>
          <p:cNvSpPr>
            <a:spLocks noGrp="1"/>
          </p:cNvSpPr>
          <p:nvPr>
            <p:ph type="sldNum" sz="quarter" idx="11"/>
          </p:nvPr>
        </p:nvSpPr>
        <p:spPr/>
        <p:txBody>
          <a:bodyPr/>
          <a:lstStyle/>
          <a:p>
            <a:r>
              <a:rPr lang="en-US" dirty="0"/>
              <a:t>Page </a:t>
            </a:r>
            <a:fld id="{15EBE321-CBB1-4E91-BD14-37C8D44326FB}" type="slidenum">
              <a:rPr lang="en-US" smtClean="0"/>
              <a:pPr/>
              <a:t>120</a:t>
            </a:fld>
            <a:endParaRPr lang="en-US" dirty="0"/>
          </a:p>
        </p:txBody>
      </p:sp>
    </p:spTree>
    <p:extLst>
      <p:ext uri="{BB962C8B-B14F-4D97-AF65-F5344CB8AC3E}">
        <p14:creationId xmlns:p14="http://schemas.microsoft.com/office/powerpoint/2010/main" val="302633341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3" imgW="360" imgH="360" progId="">
                  <p:embed/>
                </p:oleObj>
              </mc:Choice>
              <mc:Fallback>
                <p:oleObj name="think-cell Folie" r:id="rId3" imgW="360" imgH="360" progId="">
                  <p:embed/>
                  <p:pic>
                    <p:nvPicPr>
                      <p:cNvPr id="3" name="Objek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en-US" dirty="0"/>
              <a:t>Process – versioning</a:t>
            </a:r>
          </a:p>
        </p:txBody>
      </p:sp>
      <p:sp>
        <p:nvSpPr>
          <p:cNvPr id="21" name="Freeform 118">
            <a:extLst>
              <a:ext uri="{FF2B5EF4-FFF2-40B4-BE49-F238E27FC236}">
                <a16:creationId xmlns:a16="http://schemas.microsoft.com/office/drawing/2014/main" id="{D9FCE314-82A7-BA48-9DA0-342711A6C139}"/>
              </a:ext>
            </a:extLst>
          </p:cNvPr>
          <p:cNvSpPr>
            <a:spLocks/>
          </p:cNvSpPr>
          <p:nvPr/>
        </p:nvSpPr>
        <p:spPr bwMode="gray">
          <a:xfrm>
            <a:off x="1030931" y="3877998"/>
            <a:ext cx="389201" cy="675723"/>
          </a:xfrm>
          <a:custGeom>
            <a:avLst/>
            <a:gdLst>
              <a:gd name="T0" fmla="*/ 717 w 1501"/>
              <a:gd name="T1" fmla="*/ 2270 h 2606"/>
              <a:gd name="T2" fmla="*/ 717 w 1501"/>
              <a:gd name="T3" fmla="*/ 485 h 2606"/>
              <a:gd name="T4" fmla="*/ 202 w 1501"/>
              <a:gd name="T5" fmla="*/ 814 h 2606"/>
              <a:gd name="T6" fmla="*/ 0 w 1501"/>
              <a:gd name="T7" fmla="*/ 463 h 2606"/>
              <a:gd name="T8" fmla="*/ 762 w 1501"/>
              <a:gd name="T9" fmla="*/ 0 h 2606"/>
              <a:gd name="T10" fmla="*/ 1158 w 1501"/>
              <a:gd name="T11" fmla="*/ 0 h 2606"/>
              <a:gd name="T12" fmla="*/ 1158 w 1501"/>
              <a:gd name="T13" fmla="*/ 2270 h 2606"/>
              <a:gd name="T14" fmla="*/ 1501 w 1501"/>
              <a:gd name="T15" fmla="*/ 2285 h 2606"/>
              <a:gd name="T16" fmla="*/ 1501 w 1501"/>
              <a:gd name="T17" fmla="*/ 2606 h 2606"/>
              <a:gd name="T18" fmla="*/ 381 w 1501"/>
              <a:gd name="T19" fmla="*/ 2606 h 2606"/>
              <a:gd name="T20" fmla="*/ 381 w 1501"/>
              <a:gd name="T21" fmla="*/ 2285 h 2606"/>
              <a:gd name="T22" fmla="*/ 717 w 1501"/>
              <a:gd name="T23" fmla="*/ 2270 h 2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01" h="2606">
                <a:moveTo>
                  <a:pt x="717" y="2270"/>
                </a:moveTo>
                <a:lnTo>
                  <a:pt x="717" y="485"/>
                </a:lnTo>
                <a:lnTo>
                  <a:pt x="202" y="814"/>
                </a:lnTo>
                <a:lnTo>
                  <a:pt x="0" y="463"/>
                </a:lnTo>
                <a:lnTo>
                  <a:pt x="762" y="0"/>
                </a:lnTo>
                <a:lnTo>
                  <a:pt x="1158" y="0"/>
                </a:lnTo>
                <a:lnTo>
                  <a:pt x="1158" y="2270"/>
                </a:lnTo>
                <a:lnTo>
                  <a:pt x="1501" y="2285"/>
                </a:lnTo>
                <a:lnTo>
                  <a:pt x="1501" y="2606"/>
                </a:lnTo>
                <a:lnTo>
                  <a:pt x="381" y="2606"/>
                </a:lnTo>
                <a:lnTo>
                  <a:pt x="381" y="2285"/>
                </a:lnTo>
                <a:lnTo>
                  <a:pt x="717" y="2270"/>
                </a:lnTo>
                <a:close/>
              </a:path>
            </a:pathLst>
          </a:custGeom>
          <a:solidFill>
            <a:srgbClr val="00AF8E"/>
          </a:solidFill>
          <a:ln>
            <a:noFill/>
          </a:ln>
        </p:spPr>
        <p:txBody>
          <a:bodyPr vert="horz" wrap="square" lIns="91392" tIns="45696" rIns="91392" bIns="45696"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endParaRPr lang="en-US" sz="1799" dirty="0">
              <a:latin typeface="+mn-lt"/>
            </a:endParaRPr>
          </a:p>
        </p:txBody>
      </p:sp>
      <p:sp>
        <p:nvSpPr>
          <p:cNvPr id="22" name="Rechteck 21">
            <a:extLst>
              <a:ext uri="{FF2B5EF4-FFF2-40B4-BE49-F238E27FC236}">
                <a16:creationId xmlns:a16="http://schemas.microsoft.com/office/drawing/2014/main" id="{0CA5DC18-A890-B842-ACDE-76C0C130EBF3}"/>
              </a:ext>
            </a:extLst>
          </p:cNvPr>
          <p:cNvSpPr>
            <a:spLocks/>
          </p:cNvSpPr>
          <p:nvPr/>
        </p:nvSpPr>
        <p:spPr bwMode="gray">
          <a:xfrm>
            <a:off x="1695488" y="3932833"/>
            <a:ext cx="2315349" cy="1874921"/>
          </a:xfrm>
          <a:prstGeom prst="rect">
            <a:avLst/>
          </a:prstGeom>
          <a:noFill/>
          <a:ln>
            <a:noFill/>
          </a:ln>
          <a:effectLst/>
        </p:spPr>
        <p:txBody>
          <a:bodyPr wrap="square" lIns="0" tIns="0" rIns="0" bIns="0" rtlCol="0" anchor="t">
            <a:sp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nSpc>
                <a:spcPct val="90000"/>
              </a:lnSpc>
              <a:spcBef>
                <a:spcPts val="0"/>
              </a:spcBef>
              <a:buClr>
                <a:schemeClr val="accent1"/>
              </a:buClr>
            </a:pPr>
            <a:r>
              <a:rPr lang="en-US" sz="2599" b="1" dirty="0">
                <a:solidFill>
                  <a:srgbClr val="00AF8E"/>
                </a:solidFill>
                <a:latin typeface="+mn-lt"/>
              </a:rPr>
              <a:t>Lorem dela</a:t>
            </a:r>
            <a:br>
              <a:rPr lang="en-US" sz="2599" b="1" dirty="0">
                <a:solidFill>
                  <a:srgbClr val="00AF8E"/>
                </a:solidFill>
                <a:latin typeface="+mn-lt"/>
              </a:rPr>
            </a:br>
            <a:r>
              <a:rPr lang="en-US" sz="2599" b="1" dirty="0">
                <a:solidFill>
                  <a:srgbClr val="00AF8E"/>
                </a:solidFill>
                <a:latin typeface="+mn-lt"/>
              </a:rPr>
              <a:t>et ipsum</a:t>
            </a:r>
          </a:p>
          <a:p>
            <a:pPr marL="180885" indent="-180885">
              <a:lnSpc>
                <a:spcPct val="90000"/>
              </a:lnSpc>
              <a:spcBef>
                <a:spcPts val="600"/>
              </a:spcBef>
              <a:buClr>
                <a:schemeClr val="accent1"/>
              </a:buClr>
              <a:buSzPct val="100000"/>
              <a:buFont typeface="Arial" panose="020B0604020202020204" pitchFamily="34" charset="0"/>
              <a:buChar char="•"/>
            </a:pPr>
            <a:r>
              <a:rPr lang="en-US" sz="1599" dirty="0">
                <a:solidFill>
                  <a:srgbClr val="9999A9"/>
                </a:solidFill>
                <a:latin typeface="+mn-lt"/>
              </a:rPr>
              <a:t>At vero eos et accusam</a:t>
            </a:r>
          </a:p>
          <a:p>
            <a:pPr marL="180885" indent="-180885">
              <a:lnSpc>
                <a:spcPct val="90000"/>
              </a:lnSpc>
              <a:spcBef>
                <a:spcPts val="600"/>
              </a:spcBef>
              <a:buClr>
                <a:schemeClr val="accent1"/>
              </a:buClr>
              <a:buSzPct val="100000"/>
              <a:buFont typeface="Arial" panose="020B0604020202020204" pitchFamily="34" charset="0"/>
              <a:buChar char="•"/>
            </a:pPr>
            <a:r>
              <a:rPr lang="en-US" sz="1599" dirty="0">
                <a:solidFill>
                  <a:srgbClr val="9999A9"/>
                </a:solidFill>
                <a:latin typeface="+mn-lt"/>
              </a:rPr>
              <a:t>Consetetur sadipscing elitr, seddiam nonumy</a:t>
            </a:r>
          </a:p>
          <a:p>
            <a:pPr marL="180885" indent="-180885">
              <a:lnSpc>
                <a:spcPct val="90000"/>
              </a:lnSpc>
              <a:spcBef>
                <a:spcPts val="600"/>
              </a:spcBef>
              <a:buClr>
                <a:schemeClr val="accent1"/>
              </a:buClr>
              <a:buSzPct val="100000"/>
              <a:buFont typeface="Arial" panose="020B0604020202020204" pitchFamily="34" charset="0"/>
              <a:buChar char="•"/>
            </a:pPr>
            <a:r>
              <a:rPr lang="en-US" sz="1599" dirty="0">
                <a:solidFill>
                  <a:srgbClr val="9999A9"/>
                </a:solidFill>
                <a:latin typeface="+mn-lt"/>
              </a:rPr>
              <a:t>Cras ultricies mi eu</a:t>
            </a:r>
          </a:p>
        </p:txBody>
      </p:sp>
      <p:sp>
        <p:nvSpPr>
          <p:cNvPr id="25" name="Freeform 119">
            <a:extLst>
              <a:ext uri="{FF2B5EF4-FFF2-40B4-BE49-F238E27FC236}">
                <a16:creationId xmlns:a16="http://schemas.microsoft.com/office/drawing/2014/main" id="{8CFDA767-443F-664E-B0E3-C6EB15776E89}"/>
              </a:ext>
            </a:extLst>
          </p:cNvPr>
          <p:cNvSpPr>
            <a:spLocks/>
          </p:cNvSpPr>
          <p:nvPr/>
        </p:nvSpPr>
        <p:spPr bwMode="gray">
          <a:xfrm>
            <a:off x="4762163" y="3382756"/>
            <a:ext cx="441321" cy="687392"/>
          </a:xfrm>
          <a:custGeom>
            <a:avLst/>
            <a:gdLst>
              <a:gd name="T0" fmla="*/ 0 w 228"/>
              <a:gd name="T1" fmla="*/ 355 h 355"/>
              <a:gd name="T2" fmla="*/ 0 w 228"/>
              <a:gd name="T3" fmla="*/ 307 h 355"/>
              <a:gd name="T4" fmla="*/ 105 w 228"/>
              <a:gd name="T5" fmla="*/ 203 h 355"/>
              <a:gd name="T6" fmla="*/ 153 w 228"/>
              <a:gd name="T7" fmla="*/ 141 h 355"/>
              <a:gd name="T8" fmla="*/ 164 w 228"/>
              <a:gd name="T9" fmla="*/ 100 h 355"/>
              <a:gd name="T10" fmla="*/ 148 w 228"/>
              <a:gd name="T11" fmla="*/ 64 h 355"/>
              <a:gd name="T12" fmla="*/ 104 w 228"/>
              <a:gd name="T13" fmla="*/ 49 h 355"/>
              <a:gd name="T14" fmla="*/ 20 w 228"/>
              <a:gd name="T15" fmla="*/ 75 h 355"/>
              <a:gd name="T16" fmla="*/ 5 w 228"/>
              <a:gd name="T17" fmla="*/ 24 h 355"/>
              <a:gd name="T18" fmla="*/ 111 w 228"/>
              <a:gd name="T19" fmla="*/ 0 h 355"/>
              <a:gd name="T20" fmla="*/ 193 w 228"/>
              <a:gd name="T21" fmla="*/ 23 h 355"/>
              <a:gd name="T22" fmla="*/ 225 w 228"/>
              <a:gd name="T23" fmla="*/ 97 h 355"/>
              <a:gd name="T24" fmla="*/ 195 w 228"/>
              <a:gd name="T25" fmla="*/ 183 h 355"/>
              <a:gd name="T26" fmla="*/ 80 w 228"/>
              <a:gd name="T27" fmla="*/ 306 h 355"/>
              <a:gd name="T28" fmla="*/ 228 w 228"/>
              <a:gd name="T29" fmla="*/ 306 h 355"/>
              <a:gd name="T30" fmla="*/ 228 w 228"/>
              <a:gd name="T31" fmla="*/ 355 h 355"/>
              <a:gd name="T32" fmla="*/ 0 w 228"/>
              <a:gd name="T33" fmla="*/ 355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8" h="355">
                <a:moveTo>
                  <a:pt x="0" y="355"/>
                </a:moveTo>
                <a:cubicBezTo>
                  <a:pt x="0" y="307"/>
                  <a:pt x="0" y="307"/>
                  <a:pt x="0" y="307"/>
                </a:cubicBezTo>
                <a:cubicBezTo>
                  <a:pt x="46" y="264"/>
                  <a:pt x="81" y="230"/>
                  <a:pt x="105" y="203"/>
                </a:cubicBezTo>
                <a:cubicBezTo>
                  <a:pt x="130" y="176"/>
                  <a:pt x="146" y="155"/>
                  <a:pt x="153" y="141"/>
                </a:cubicBezTo>
                <a:cubicBezTo>
                  <a:pt x="160" y="126"/>
                  <a:pt x="164" y="113"/>
                  <a:pt x="164" y="100"/>
                </a:cubicBezTo>
                <a:cubicBezTo>
                  <a:pt x="164" y="85"/>
                  <a:pt x="159" y="73"/>
                  <a:pt x="148" y="64"/>
                </a:cubicBezTo>
                <a:cubicBezTo>
                  <a:pt x="137" y="54"/>
                  <a:pt x="122" y="49"/>
                  <a:pt x="104" y="49"/>
                </a:cubicBezTo>
                <a:cubicBezTo>
                  <a:pt x="80" y="49"/>
                  <a:pt x="52" y="58"/>
                  <a:pt x="20" y="75"/>
                </a:cubicBezTo>
                <a:cubicBezTo>
                  <a:pt x="5" y="24"/>
                  <a:pt x="5" y="24"/>
                  <a:pt x="5" y="24"/>
                </a:cubicBezTo>
                <a:cubicBezTo>
                  <a:pt x="40" y="8"/>
                  <a:pt x="75" y="0"/>
                  <a:pt x="111" y="0"/>
                </a:cubicBezTo>
                <a:cubicBezTo>
                  <a:pt x="145" y="0"/>
                  <a:pt x="173" y="8"/>
                  <a:pt x="193" y="23"/>
                </a:cubicBezTo>
                <a:cubicBezTo>
                  <a:pt x="215" y="40"/>
                  <a:pt x="225" y="65"/>
                  <a:pt x="225" y="97"/>
                </a:cubicBezTo>
                <a:cubicBezTo>
                  <a:pt x="225" y="125"/>
                  <a:pt x="215" y="154"/>
                  <a:pt x="195" y="183"/>
                </a:cubicBezTo>
                <a:cubicBezTo>
                  <a:pt x="173" y="215"/>
                  <a:pt x="134" y="255"/>
                  <a:pt x="80" y="306"/>
                </a:cubicBezTo>
                <a:cubicBezTo>
                  <a:pt x="228" y="306"/>
                  <a:pt x="228" y="306"/>
                  <a:pt x="228" y="306"/>
                </a:cubicBezTo>
                <a:cubicBezTo>
                  <a:pt x="228" y="355"/>
                  <a:pt x="228" y="355"/>
                  <a:pt x="228" y="355"/>
                </a:cubicBezTo>
                <a:lnTo>
                  <a:pt x="0" y="355"/>
                </a:lnTo>
                <a:close/>
              </a:path>
            </a:pathLst>
          </a:custGeom>
          <a:solidFill>
            <a:srgbClr val="00FFB9"/>
          </a:solidFill>
          <a:ln>
            <a:noFill/>
          </a:ln>
        </p:spPr>
        <p:txBody>
          <a:bodyPr vert="horz" wrap="square" lIns="91392" tIns="45696" rIns="91392" bIns="45696"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endParaRPr lang="en-US" sz="1799" dirty="0">
              <a:latin typeface="+mn-lt"/>
            </a:endParaRPr>
          </a:p>
        </p:txBody>
      </p:sp>
      <p:sp>
        <p:nvSpPr>
          <p:cNvPr id="26" name="Freeform 120">
            <a:extLst>
              <a:ext uri="{FF2B5EF4-FFF2-40B4-BE49-F238E27FC236}">
                <a16:creationId xmlns:a16="http://schemas.microsoft.com/office/drawing/2014/main" id="{36430DE8-9B36-0349-8D19-908C8396D28D}"/>
              </a:ext>
            </a:extLst>
          </p:cNvPr>
          <p:cNvSpPr>
            <a:spLocks/>
          </p:cNvSpPr>
          <p:nvPr/>
        </p:nvSpPr>
        <p:spPr bwMode="gray">
          <a:xfrm>
            <a:off x="8540846" y="2819894"/>
            <a:ext cx="441321" cy="699058"/>
          </a:xfrm>
          <a:custGeom>
            <a:avLst/>
            <a:gdLst>
              <a:gd name="T0" fmla="*/ 0 w 228"/>
              <a:gd name="T1" fmla="*/ 343 h 361"/>
              <a:gd name="T2" fmla="*/ 13 w 228"/>
              <a:gd name="T3" fmla="*/ 292 h 361"/>
              <a:gd name="T4" fmla="*/ 96 w 228"/>
              <a:gd name="T5" fmla="*/ 312 h 361"/>
              <a:gd name="T6" fmla="*/ 151 w 228"/>
              <a:gd name="T7" fmla="*/ 293 h 361"/>
              <a:gd name="T8" fmla="*/ 166 w 228"/>
              <a:gd name="T9" fmla="*/ 253 h 361"/>
              <a:gd name="T10" fmla="*/ 139 w 228"/>
              <a:gd name="T11" fmla="*/ 207 h 361"/>
              <a:gd name="T12" fmla="*/ 77 w 228"/>
              <a:gd name="T13" fmla="*/ 196 h 361"/>
              <a:gd name="T14" fmla="*/ 48 w 228"/>
              <a:gd name="T15" fmla="*/ 197 h 361"/>
              <a:gd name="T16" fmla="*/ 48 w 228"/>
              <a:gd name="T17" fmla="*/ 149 h 361"/>
              <a:gd name="T18" fmla="*/ 71 w 228"/>
              <a:gd name="T19" fmla="*/ 151 h 361"/>
              <a:gd name="T20" fmla="*/ 138 w 228"/>
              <a:gd name="T21" fmla="*/ 137 h 361"/>
              <a:gd name="T22" fmla="*/ 162 w 228"/>
              <a:gd name="T23" fmla="*/ 96 h 361"/>
              <a:gd name="T24" fmla="*/ 147 w 228"/>
              <a:gd name="T25" fmla="*/ 61 h 361"/>
              <a:gd name="T26" fmla="*/ 103 w 228"/>
              <a:gd name="T27" fmla="*/ 49 h 361"/>
              <a:gd name="T28" fmla="*/ 23 w 228"/>
              <a:gd name="T29" fmla="*/ 68 h 361"/>
              <a:gd name="T30" fmla="*/ 11 w 228"/>
              <a:gd name="T31" fmla="*/ 19 h 361"/>
              <a:gd name="T32" fmla="*/ 110 w 228"/>
              <a:gd name="T33" fmla="*/ 0 h 361"/>
              <a:gd name="T34" fmla="*/ 193 w 228"/>
              <a:gd name="T35" fmla="*/ 23 h 361"/>
              <a:gd name="T36" fmla="*/ 224 w 228"/>
              <a:gd name="T37" fmla="*/ 90 h 361"/>
              <a:gd name="T38" fmla="*/ 193 w 228"/>
              <a:gd name="T39" fmla="*/ 157 h 361"/>
              <a:gd name="T40" fmla="*/ 153 w 228"/>
              <a:gd name="T41" fmla="*/ 173 h 361"/>
              <a:gd name="T42" fmla="*/ 205 w 228"/>
              <a:gd name="T43" fmla="*/ 195 h 361"/>
              <a:gd name="T44" fmla="*/ 228 w 228"/>
              <a:gd name="T45" fmla="*/ 255 h 361"/>
              <a:gd name="T46" fmla="*/ 192 w 228"/>
              <a:gd name="T47" fmla="*/ 335 h 361"/>
              <a:gd name="T48" fmla="*/ 101 w 228"/>
              <a:gd name="T49" fmla="*/ 361 h 361"/>
              <a:gd name="T50" fmla="*/ 0 w 228"/>
              <a:gd name="T51" fmla="*/ 343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8" h="361">
                <a:moveTo>
                  <a:pt x="0" y="343"/>
                </a:moveTo>
                <a:cubicBezTo>
                  <a:pt x="13" y="292"/>
                  <a:pt x="13" y="292"/>
                  <a:pt x="13" y="292"/>
                </a:cubicBezTo>
                <a:cubicBezTo>
                  <a:pt x="41" y="306"/>
                  <a:pt x="69" y="312"/>
                  <a:pt x="96" y="312"/>
                </a:cubicBezTo>
                <a:cubicBezTo>
                  <a:pt x="121" y="312"/>
                  <a:pt x="139" y="306"/>
                  <a:pt x="151" y="293"/>
                </a:cubicBezTo>
                <a:cubicBezTo>
                  <a:pt x="161" y="283"/>
                  <a:pt x="166" y="269"/>
                  <a:pt x="166" y="253"/>
                </a:cubicBezTo>
                <a:cubicBezTo>
                  <a:pt x="166" y="232"/>
                  <a:pt x="157" y="217"/>
                  <a:pt x="139" y="207"/>
                </a:cubicBezTo>
                <a:cubicBezTo>
                  <a:pt x="125" y="200"/>
                  <a:pt x="104" y="196"/>
                  <a:pt x="77" y="196"/>
                </a:cubicBezTo>
                <a:cubicBezTo>
                  <a:pt x="69" y="196"/>
                  <a:pt x="60" y="196"/>
                  <a:pt x="48" y="197"/>
                </a:cubicBezTo>
                <a:cubicBezTo>
                  <a:pt x="48" y="149"/>
                  <a:pt x="48" y="149"/>
                  <a:pt x="48" y="149"/>
                </a:cubicBezTo>
                <a:cubicBezTo>
                  <a:pt x="56" y="150"/>
                  <a:pt x="64" y="151"/>
                  <a:pt x="71" y="151"/>
                </a:cubicBezTo>
                <a:cubicBezTo>
                  <a:pt x="101" y="151"/>
                  <a:pt x="124" y="146"/>
                  <a:pt x="138" y="137"/>
                </a:cubicBezTo>
                <a:cubicBezTo>
                  <a:pt x="154" y="127"/>
                  <a:pt x="162" y="114"/>
                  <a:pt x="162" y="96"/>
                </a:cubicBezTo>
                <a:cubicBezTo>
                  <a:pt x="162" y="82"/>
                  <a:pt x="157" y="70"/>
                  <a:pt x="147" y="61"/>
                </a:cubicBezTo>
                <a:cubicBezTo>
                  <a:pt x="137" y="53"/>
                  <a:pt x="122" y="49"/>
                  <a:pt x="103" y="49"/>
                </a:cubicBezTo>
                <a:cubicBezTo>
                  <a:pt x="80" y="49"/>
                  <a:pt x="54" y="55"/>
                  <a:pt x="23" y="68"/>
                </a:cubicBezTo>
                <a:cubicBezTo>
                  <a:pt x="11" y="19"/>
                  <a:pt x="11" y="19"/>
                  <a:pt x="11" y="19"/>
                </a:cubicBezTo>
                <a:cubicBezTo>
                  <a:pt x="43" y="6"/>
                  <a:pt x="76" y="0"/>
                  <a:pt x="110" y="0"/>
                </a:cubicBezTo>
                <a:cubicBezTo>
                  <a:pt x="146" y="0"/>
                  <a:pt x="173" y="8"/>
                  <a:pt x="193" y="23"/>
                </a:cubicBezTo>
                <a:cubicBezTo>
                  <a:pt x="214" y="38"/>
                  <a:pt x="224" y="61"/>
                  <a:pt x="224" y="90"/>
                </a:cubicBezTo>
                <a:cubicBezTo>
                  <a:pt x="224" y="120"/>
                  <a:pt x="214" y="142"/>
                  <a:pt x="193" y="157"/>
                </a:cubicBezTo>
                <a:cubicBezTo>
                  <a:pt x="183" y="165"/>
                  <a:pt x="170" y="170"/>
                  <a:pt x="153" y="173"/>
                </a:cubicBezTo>
                <a:cubicBezTo>
                  <a:pt x="176" y="177"/>
                  <a:pt x="193" y="184"/>
                  <a:pt x="205" y="195"/>
                </a:cubicBezTo>
                <a:cubicBezTo>
                  <a:pt x="220" y="210"/>
                  <a:pt x="228" y="230"/>
                  <a:pt x="228" y="255"/>
                </a:cubicBezTo>
                <a:cubicBezTo>
                  <a:pt x="228" y="289"/>
                  <a:pt x="216" y="316"/>
                  <a:pt x="192" y="335"/>
                </a:cubicBezTo>
                <a:cubicBezTo>
                  <a:pt x="171" y="352"/>
                  <a:pt x="140" y="361"/>
                  <a:pt x="101" y="361"/>
                </a:cubicBezTo>
                <a:cubicBezTo>
                  <a:pt x="65" y="361"/>
                  <a:pt x="32" y="355"/>
                  <a:pt x="0" y="343"/>
                </a:cubicBezTo>
                <a:close/>
              </a:path>
            </a:pathLst>
          </a:custGeom>
          <a:solidFill>
            <a:srgbClr val="9999A9"/>
          </a:solidFill>
          <a:ln>
            <a:noFill/>
          </a:ln>
        </p:spPr>
        <p:txBody>
          <a:bodyPr vert="horz" wrap="square" lIns="91392" tIns="45696" rIns="91392" bIns="45696"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endParaRPr lang="en-US" sz="1799" dirty="0">
              <a:solidFill>
                <a:srgbClr val="879BAA"/>
              </a:solidFill>
              <a:latin typeface="+mn-lt"/>
            </a:endParaRPr>
          </a:p>
        </p:txBody>
      </p:sp>
      <p:sp>
        <p:nvSpPr>
          <p:cNvPr id="27" name="Rechteck 26">
            <a:extLst>
              <a:ext uri="{FF2B5EF4-FFF2-40B4-BE49-F238E27FC236}">
                <a16:creationId xmlns:a16="http://schemas.microsoft.com/office/drawing/2014/main" id="{3411428E-7707-5846-9ABB-6CD51FFF6085}"/>
              </a:ext>
            </a:extLst>
          </p:cNvPr>
          <p:cNvSpPr>
            <a:spLocks/>
          </p:cNvSpPr>
          <p:nvPr/>
        </p:nvSpPr>
        <p:spPr bwMode="gray">
          <a:xfrm>
            <a:off x="5581007" y="3440272"/>
            <a:ext cx="2315349" cy="2240985"/>
          </a:xfrm>
          <a:prstGeom prst="rect">
            <a:avLst/>
          </a:prstGeom>
          <a:noFill/>
          <a:ln>
            <a:noFill/>
          </a:ln>
          <a:effectLst/>
        </p:spPr>
        <p:txBody>
          <a:bodyPr wrap="square" lIns="0" tIns="0" rIns="0" bIns="0" rtlCol="0" anchor="t">
            <a:sp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nSpc>
                <a:spcPct val="90000"/>
              </a:lnSpc>
              <a:spcBef>
                <a:spcPts val="0"/>
              </a:spcBef>
              <a:buClr>
                <a:schemeClr val="accent1"/>
              </a:buClr>
            </a:pPr>
            <a:r>
              <a:rPr lang="en-US" sz="2599" b="1" dirty="0">
                <a:solidFill>
                  <a:srgbClr val="00FFB9"/>
                </a:solidFill>
                <a:latin typeface="+mn-lt"/>
              </a:rPr>
              <a:t>Lorem dela</a:t>
            </a:r>
            <a:br>
              <a:rPr lang="en-US" sz="2599" b="1" dirty="0">
                <a:solidFill>
                  <a:srgbClr val="00FFB9"/>
                </a:solidFill>
                <a:latin typeface="+mn-lt"/>
              </a:rPr>
            </a:br>
            <a:r>
              <a:rPr lang="en-US" sz="2599" b="1" dirty="0">
                <a:solidFill>
                  <a:srgbClr val="00FFB9"/>
                </a:solidFill>
                <a:latin typeface="+mn-lt"/>
              </a:rPr>
              <a:t>et ipsum</a:t>
            </a:r>
          </a:p>
          <a:p>
            <a:pPr marL="180885" indent="-180885">
              <a:lnSpc>
                <a:spcPct val="90000"/>
              </a:lnSpc>
              <a:spcBef>
                <a:spcPts val="600"/>
              </a:spcBef>
              <a:buClr>
                <a:schemeClr val="accent1"/>
              </a:buClr>
              <a:buSzPct val="100000"/>
              <a:buFont typeface="Arial" panose="020B0604020202020204" pitchFamily="34" charset="0"/>
              <a:buChar char="•"/>
            </a:pPr>
            <a:r>
              <a:rPr lang="en-US" sz="1599" dirty="0">
                <a:solidFill>
                  <a:srgbClr val="9999A9"/>
                </a:solidFill>
                <a:latin typeface="+mn-lt"/>
              </a:rPr>
              <a:t>At vero eos et accusam</a:t>
            </a:r>
          </a:p>
          <a:p>
            <a:pPr marL="180885" indent="-180885">
              <a:lnSpc>
                <a:spcPct val="90000"/>
              </a:lnSpc>
              <a:spcBef>
                <a:spcPts val="600"/>
              </a:spcBef>
              <a:buClr>
                <a:schemeClr val="accent1"/>
              </a:buClr>
              <a:buSzPct val="100000"/>
              <a:buFont typeface="Arial" panose="020B0604020202020204" pitchFamily="34" charset="0"/>
              <a:buChar char="•"/>
            </a:pPr>
            <a:r>
              <a:rPr lang="en-US" sz="1599" dirty="0">
                <a:solidFill>
                  <a:srgbClr val="9999A9"/>
                </a:solidFill>
                <a:latin typeface="+mn-lt"/>
              </a:rPr>
              <a:t>Stet clita kasd gubergren, no sea takimata sanctus est lorem ipsum dolor sit amet</a:t>
            </a:r>
          </a:p>
        </p:txBody>
      </p:sp>
      <p:sp>
        <p:nvSpPr>
          <p:cNvPr id="28" name="Rechteck 27">
            <a:extLst>
              <a:ext uri="{FF2B5EF4-FFF2-40B4-BE49-F238E27FC236}">
                <a16:creationId xmlns:a16="http://schemas.microsoft.com/office/drawing/2014/main" id="{BC2E2E22-50E3-DB40-839E-DF2A0D20BAD9}"/>
              </a:ext>
            </a:extLst>
          </p:cNvPr>
          <p:cNvSpPr>
            <a:spLocks/>
          </p:cNvSpPr>
          <p:nvPr/>
        </p:nvSpPr>
        <p:spPr bwMode="gray">
          <a:xfrm>
            <a:off x="9267081" y="2884381"/>
            <a:ext cx="2315349" cy="2096405"/>
          </a:xfrm>
          <a:prstGeom prst="rect">
            <a:avLst/>
          </a:prstGeom>
          <a:noFill/>
          <a:ln>
            <a:noFill/>
          </a:ln>
          <a:effectLst/>
        </p:spPr>
        <p:txBody>
          <a:bodyPr wrap="square" lIns="0" tIns="0" rIns="0" bIns="0" rtlCol="0" anchor="t">
            <a:sp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nSpc>
                <a:spcPct val="90000"/>
              </a:lnSpc>
              <a:spcBef>
                <a:spcPts val="0"/>
              </a:spcBef>
              <a:buClr>
                <a:schemeClr val="accent1"/>
              </a:buClr>
            </a:pPr>
            <a:r>
              <a:rPr lang="en-US" sz="2599" b="1" dirty="0">
                <a:solidFill>
                  <a:srgbClr val="9999A9"/>
                </a:solidFill>
                <a:latin typeface="+mn-lt"/>
              </a:rPr>
              <a:t>Lorem dela</a:t>
            </a:r>
            <a:br>
              <a:rPr lang="en-US" sz="2599" b="1" dirty="0">
                <a:solidFill>
                  <a:srgbClr val="9999A9"/>
                </a:solidFill>
                <a:latin typeface="+mn-lt"/>
              </a:rPr>
            </a:br>
            <a:r>
              <a:rPr lang="en-US" sz="2599" b="1" dirty="0">
                <a:solidFill>
                  <a:srgbClr val="9999A9"/>
                </a:solidFill>
                <a:latin typeface="+mn-lt"/>
              </a:rPr>
              <a:t>et ipsum</a:t>
            </a:r>
          </a:p>
          <a:p>
            <a:pPr marL="180885" indent="-180885">
              <a:lnSpc>
                <a:spcPct val="90000"/>
              </a:lnSpc>
              <a:spcBef>
                <a:spcPts val="600"/>
              </a:spcBef>
              <a:buClr>
                <a:schemeClr val="accent1"/>
              </a:buClr>
              <a:buSzPct val="100000"/>
              <a:buFont typeface="Arial" panose="020B0604020202020204" pitchFamily="34" charset="0"/>
              <a:buChar char="•"/>
            </a:pPr>
            <a:r>
              <a:rPr lang="en-US" sz="1599" dirty="0">
                <a:solidFill>
                  <a:srgbClr val="9999A9"/>
                </a:solidFill>
                <a:latin typeface="+mn-lt"/>
              </a:rPr>
              <a:t>Cras ultricies mi eu</a:t>
            </a:r>
          </a:p>
          <a:p>
            <a:pPr marL="180885" indent="-180885">
              <a:lnSpc>
                <a:spcPct val="90000"/>
              </a:lnSpc>
              <a:spcBef>
                <a:spcPts val="600"/>
              </a:spcBef>
              <a:buClr>
                <a:schemeClr val="accent1"/>
              </a:buClr>
              <a:buSzPct val="100000"/>
              <a:buFont typeface="Arial" panose="020B0604020202020204" pitchFamily="34" charset="0"/>
              <a:buChar char="•"/>
            </a:pPr>
            <a:r>
              <a:rPr lang="en-US" sz="1599" dirty="0">
                <a:solidFill>
                  <a:srgbClr val="9999A9"/>
                </a:solidFill>
                <a:latin typeface="+mn-lt"/>
              </a:rPr>
              <a:t>Duis arcu tortor, suscipit eget</a:t>
            </a:r>
          </a:p>
          <a:p>
            <a:pPr marL="180885" indent="-180885">
              <a:lnSpc>
                <a:spcPct val="90000"/>
              </a:lnSpc>
              <a:spcBef>
                <a:spcPts val="600"/>
              </a:spcBef>
              <a:buClr>
                <a:schemeClr val="accent1"/>
              </a:buClr>
              <a:buSzPct val="100000"/>
              <a:buFont typeface="Arial" panose="020B0604020202020204" pitchFamily="34" charset="0"/>
              <a:buChar char="•"/>
            </a:pPr>
            <a:r>
              <a:rPr lang="en-US" sz="1599" dirty="0">
                <a:solidFill>
                  <a:srgbClr val="9999A9"/>
                </a:solidFill>
                <a:latin typeface="+mn-lt"/>
              </a:rPr>
              <a:t>Consetetur sadipscing elitr, seddiam nonumy</a:t>
            </a:r>
          </a:p>
        </p:txBody>
      </p:sp>
      <p:grpSp>
        <p:nvGrpSpPr>
          <p:cNvPr id="5" name="Gruppieren 4">
            <a:extLst>
              <a:ext uri="{FF2B5EF4-FFF2-40B4-BE49-F238E27FC236}">
                <a16:creationId xmlns:a16="http://schemas.microsoft.com/office/drawing/2014/main" id="{870DB736-1F5E-284D-80EA-13BACD41D25B}"/>
              </a:ext>
            </a:extLst>
          </p:cNvPr>
          <p:cNvGrpSpPr/>
          <p:nvPr/>
        </p:nvGrpSpPr>
        <p:grpSpPr>
          <a:xfrm>
            <a:off x="-29298" y="1498605"/>
            <a:ext cx="12681110" cy="6295863"/>
            <a:chOff x="113885" y="1521467"/>
            <a:chExt cx="13079133" cy="6493472"/>
          </a:xfrm>
        </p:grpSpPr>
        <p:sp>
          <p:nvSpPr>
            <p:cNvPr id="4" name="Bogen 3">
              <a:extLst>
                <a:ext uri="{FF2B5EF4-FFF2-40B4-BE49-F238E27FC236}">
                  <a16:creationId xmlns:a16="http://schemas.microsoft.com/office/drawing/2014/main" id="{13664695-97F1-7B46-9F28-FC5E746164E9}"/>
                </a:ext>
              </a:extLst>
            </p:cNvPr>
            <p:cNvSpPr/>
            <p:nvPr/>
          </p:nvSpPr>
          <p:spPr bwMode="auto">
            <a:xfrm rot="18243897">
              <a:off x="7549943" y="1521467"/>
              <a:ext cx="5643075" cy="5643075"/>
            </a:xfrm>
            <a:prstGeom prst="arc">
              <a:avLst>
                <a:gd name="adj1" fmla="val 16200000"/>
                <a:gd name="adj2" fmla="val 21289156"/>
              </a:avLst>
            </a:prstGeom>
            <a:noFill/>
            <a:ln w="63500" cap="flat" cmpd="sng" algn="ctr">
              <a:solidFill>
                <a:srgbClr val="9999A9"/>
              </a:solidFill>
              <a:prstDash val="solid"/>
              <a:round/>
              <a:headEnd type="none" w="med" len="med"/>
              <a:tailEnd type="triangle" w="med" len="sm"/>
            </a:ln>
            <a:effec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8" name="Bogen 17">
              <a:extLst>
                <a:ext uri="{FF2B5EF4-FFF2-40B4-BE49-F238E27FC236}">
                  <a16:creationId xmlns:a16="http://schemas.microsoft.com/office/drawing/2014/main" id="{BB8DEB0F-E905-D045-9F42-28B2AC35829D}"/>
                </a:ext>
              </a:extLst>
            </p:cNvPr>
            <p:cNvSpPr/>
            <p:nvPr/>
          </p:nvSpPr>
          <p:spPr bwMode="auto">
            <a:xfrm rot="18243897">
              <a:off x="3831914" y="1946666"/>
              <a:ext cx="5643075" cy="5643075"/>
            </a:xfrm>
            <a:prstGeom prst="arc">
              <a:avLst>
                <a:gd name="adj1" fmla="val 16200000"/>
                <a:gd name="adj2" fmla="val 21265869"/>
              </a:avLst>
            </a:prstGeom>
            <a:noFill/>
            <a:ln w="63500" cap="flat" cmpd="sng" algn="ctr">
              <a:solidFill>
                <a:srgbClr val="00FFB9"/>
              </a:solidFill>
              <a:prstDash val="solid"/>
              <a:round/>
              <a:headEnd type="none" w="med" len="med"/>
              <a:tailEnd type="triangle" w="med" len="sm"/>
            </a:ln>
            <a:effec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9" name="Bogen 18">
              <a:extLst>
                <a:ext uri="{FF2B5EF4-FFF2-40B4-BE49-F238E27FC236}">
                  <a16:creationId xmlns:a16="http://schemas.microsoft.com/office/drawing/2014/main" id="{FFC053E9-383D-0E46-BC28-244C0FBD9EE6}"/>
                </a:ext>
              </a:extLst>
            </p:cNvPr>
            <p:cNvSpPr/>
            <p:nvPr/>
          </p:nvSpPr>
          <p:spPr bwMode="auto">
            <a:xfrm rot="18243897">
              <a:off x="113885" y="2371864"/>
              <a:ext cx="5643075" cy="5643075"/>
            </a:xfrm>
            <a:prstGeom prst="arc">
              <a:avLst>
                <a:gd name="adj1" fmla="val 16200000"/>
                <a:gd name="adj2" fmla="val 21258845"/>
              </a:avLst>
            </a:prstGeom>
            <a:noFill/>
            <a:ln w="63500" cap="flat" cmpd="sng" algn="ctr">
              <a:solidFill>
                <a:srgbClr val="00AF8E"/>
              </a:solidFill>
              <a:prstDash val="solid"/>
              <a:round/>
              <a:headEnd type="none" w="lg" len="sm"/>
              <a:tailEnd type="triangle" w="med" len="sm"/>
            </a:ln>
            <a:effec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grpSp>
      <p:sp>
        <p:nvSpPr>
          <p:cNvPr id="6" name="Footer Placeholder 5">
            <a:extLst>
              <a:ext uri="{FF2B5EF4-FFF2-40B4-BE49-F238E27FC236}">
                <a16:creationId xmlns:a16="http://schemas.microsoft.com/office/drawing/2014/main" id="{A23C9547-3CE4-4C00-BEDC-9BD75585B250}"/>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7" name="Slide Number Placeholder 6">
            <a:extLst>
              <a:ext uri="{FF2B5EF4-FFF2-40B4-BE49-F238E27FC236}">
                <a16:creationId xmlns:a16="http://schemas.microsoft.com/office/drawing/2014/main" id="{9045A31E-D252-4B34-8983-4762DDA339DE}"/>
              </a:ext>
            </a:extLst>
          </p:cNvPr>
          <p:cNvSpPr>
            <a:spLocks noGrp="1"/>
          </p:cNvSpPr>
          <p:nvPr>
            <p:ph type="sldNum" sz="quarter" idx="11"/>
          </p:nvPr>
        </p:nvSpPr>
        <p:spPr/>
        <p:txBody>
          <a:bodyPr/>
          <a:lstStyle/>
          <a:p>
            <a:r>
              <a:rPr lang="en-US" dirty="0"/>
              <a:t>Page </a:t>
            </a:r>
            <a:fld id="{15EBE321-CBB1-4E91-BD14-37C8D44326FB}" type="slidenum">
              <a:rPr lang="en-US" smtClean="0"/>
              <a:pPr/>
              <a:t>121</a:t>
            </a:fld>
            <a:endParaRPr lang="en-US" dirty="0"/>
          </a:p>
        </p:txBody>
      </p:sp>
    </p:spTree>
    <p:extLst>
      <p:ext uri="{BB962C8B-B14F-4D97-AF65-F5344CB8AC3E}">
        <p14:creationId xmlns:p14="http://schemas.microsoft.com/office/powerpoint/2010/main" val="4289174430"/>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30916218-0FE7-DA40-850A-7231E8C46B1B}"/>
              </a:ext>
            </a:extLst>
          </p:cNvPr>
          <p:cNvSpPr>
            <a:spLocks noGrp="1"/>
          </p:cNvSpPr>
          <p:nvPr>
            <p:ph type="title"/>
          </p:nvPr>
        </p:nvSpPr>
        <p:spPr/>
        <p:txBody>
          <a:bodyPr anchor="t"/>
          <a:lstStyle/>
          <a:p>
            <a:r>
              <a:rPr lang="en-US" dirty="0"/>
              <a:t>Process – countdown</a:t>
            </a:r>
            <a:endParaRPr lang="de-DE" dirty="0"/>
          </a:p>
        </p:txBody>
      </p:sp>
      <p:sp>
        <p:nvSpPr>
          <p:cNvPr id="16" name="Richtungspfeil 15">
            <a:extLst>
              <a:ext uri="{FF2B5EF4-FFF2-40B4-BE49-F238E27FC236}">
                <a16:creationId xmlns:a16="http://schemas.microsoft.com/office/drawing/2014/main" id="{917B2565-9ACD-9546-B70E-5B2A77F0A51E}"/>
              </a:ext>
            </a:extLst>
          </p:cNvPr>
          <p:cNvSpPr/>
          <p:nvPr/>
        </p:nvSpPr>
        <p:spPr bwMode="auto">
          <a:xfrm>
            <a:off x="1346400" y="3790800"/>
            <a:ext cx="8028000" cy="792000"/>
          </a:xfrm>
          <a:prstGeom prst="homePlate">
            <a:avLst>
              <a:gd name="adj" fmla="val 32106"/>
            </a:avLst>
          </a:prstGeom>
          <a:solidFill>
            <a:schemeClr val="accent2"/>
          </a:solidFill>
          <a:ln>
            <a:noFill/>
          </a:ln>
          <a:effectLst/>
        </p:spPr>
        <p:txBody>
          <a:bodyPr wrap="square" lIns="180000" tIns="72000" rIns="180000" bIns="72000" numCol="1" spcCol="72000" rtlCol="0" anchor="ctr">
            <a:noAutofit/>
          </a:bodyPr>
          <a:lstStyle/>
          <a:p>
            <a:r>
              <a:rPr lang="en-US" dirty="0">
                <a:solidFill>
                  <a:schemeClr val="tx2"/>
                </a:solidFill>
              </a:rPr>
              <a:t>Consetetur sadipscing elitr, </a:t>
            </a:r>
            <a:br>
              <a:rPr lang="en-US" dirty="0">
                <a:solidFill>
                  <a:schemeClr val="tx2"/>
                </a:solidFill>
              </a:rPr>
            </a:br>
            <a:r>
              <a:rPr lang="en-US" dirty="0">
                <a:solidFill>
                  <a:schemeClr val="tx2"/>
                </a:solidFill>
              </a:rPr>
              <a:t>seddiam nonumy</a:t>
            </a:r>
          </a:p>
        </p:txBody>
      </p:sp>
      <p:sp>
        <p:nvSpPr>
          <p:cNvPr id="21" name="Rechteck 16">
            <a:extLst>
              <a:ext uri="{FF2B5EF4-FFF2-40B4-BE49-F238E27FC236}">
                <a16:creationId xmlns:a16="http://schemas.microsoft.com/office/drawing/2014/main" id="{9CFAA997-A47D-574D-99CB-103A638409C1}"/>
              </a:ext>
            </a:extLst>
          </p:cNvPr>
          <p:cNvSpPr>
            <a:spLocks noChangeAspect="1"/>
          </p:cNvSpPr>
          <p:nvPr/>
        </p:nvSpPr>
        <p:spPr bwMode="auto">
          <a:xfrm>
            <a:off x="410400" y="3790800"/>
            <a:ext cx="792000" cy="792000"/>
          </a:xfrm>
          <a:prstGeom prst="rect">
            <a:avLst/>
          </a:prstGeom>
          <a:solidFill>
            <a:schemeClr val="accent2"/>
          </a:solidFill>
          <a:ln>
            <a:noFill/>
          </a:ln>
          <a:effectLst/>
        </p:spPr>
        <p:txBody>
          <a:bodyPr wrap="square" lIns="0" tIns="0" rIns="0" bIns="0" numCol="1" spcCol="72000" rtlCol="0" anchor="ctr">
            <a:noAutofit/>
          </a:bodyPr>
          <a:lstStyle/>
          <a:p>
            <a:pPr algn="ctr">
              <a:lnSpc>
                <a:spcPct val="110000"/>
              </a:lnSpc>
              <a:spcBef>
                <a:spcPct val="0"/>
              </a:spcBef>
              <a:buFont typeface="Wingdings" charset="0"/>
              <a:buNone/>
            </a:pPr>
            <a:r>
              <a:rPr lang="en-US" sz="3600" b="1" dirty="0">
                <a:solidFill>
                  <a:schemeClr val="tx2"/>
                </a:solidFill>
              </a:rPr>
              <a:t>2</a:t>
            </a:r>
          </a:p>
        </p:txBody>
      </p:sp>
      <p:sp>
        <p:nvSpPr>
          <p:cNvPr id="22" name="Richtungspfeil 21">
            <a:extLst>
              <a:ext uri="{FF2B5EF4-FFF2-40B4-BE49-F238E27FC236}">
                <a16:creationId xmlns:a16="http://schemas.microsoft.com/office/drawing/2014/main" id="{1C759DFA-FC07-CC41-B606-3C90CE8F7F2E}"/>
              </a:ext>
            </a:extLst>
          </p:cNvPr>
          <p:cNvSpPr/>
          <p:nvPr/>
        </p:nvSpPr>
        <p:spPr bwMode="auto">
          <a:xfrm>
            <a:off x="1346400" y="2854801"/>
            <a:ext cx="8856000" cy="792000"/>
          </a:xfrm>
          <a:prstGeom prst="homePlate">
            <a:avLst>
              <a:gd name="adj" fmla="val 32106"/>
            </a:avLst>
          </a:prstGeom>
          <a:solidFill>
            <a:srgbClr val="00AF8E"/>
          </a:solidFill>
          <a:ln>
            <a:noFill/>
          </a:ln>
          <a:effectLst/>
        </p:spPr>
        <p:txBody>
          <a:bodyPr wrap="square" lIns="180000" tIns="72000" rIns="180000" bIns="72000" numCol="1" spcCol="72000" rtlCol="0" anchor="ctr">
            <a:noAutofit/>
          </a:bodyPr>
          <a:lstStyle/>
          <a:p>
            <a:pPr>
              <a:lnSpc>
                <a:spcPct val="110000"/>
              </a:lnSpc>
              <a:spcBef>
                <a:spcPct val="0"/>
              </a:spcBef>
            </a:pPr>
            <a:r>
              <a:rPr lang="en-US" dirty="0">
                <a:solidFill>
                  <a:schemeClr val="tx2"/>
                </a:solidFill>
              </a:rPr>
              <a:t>Duis arcu tortor, suscipit eget</a:t>
            </a:r>
            <a:br>
              <a:rPr lang="en-US" dirty="0">
                <a:solidFill>
                  <a:schemeClr val="tx2"/>
                </a:solidFill>
              </a:rPr>
            </a:br>
            <a:r>
              <a:rPr lang="en-US" dirty="0">
                <a:solidFill>
                  <a:schemeClr val="tx2"/>
                </a:solidFill>
              </a:rPr>
              <a:t>Arcu tortor</a:t>
            </a:r>
          </a:p>
        </p:txBody>
      </p:sp>
      <p:sp>
        <p:nvSpPr>
          <p:cNvPr id="23" name="Rechteck 16">
            <a:extLst>
              <a:ext uri="{FF2B5EF4-FFF2-40B4-BE49-F238E27FC236}">
                <a16:creationId xmlns:a16="http://schemas.microsoft.com/office/drawing/2014/main" id="{EABF575D-C18F-8746-9E3C-5846F4D2C726}"/>
              </a:ext>
            </a:extLst>
          </p:cNvPr>
          <p:cNvSpPr>
            <a:spLocks noChangeAspect="1"/>
          </p:cNvSpPr>
          <p:nvPr/>
        </p:nvSpPr>
        <p:spPr bwMode="auto">
          <a:xfrm>
            <a:off x="410400" y="2854801"/>
            <a:ext cx="792000" cy="792000"/>
          </a:xfrm>
          <a:prstGeom prst="rect">
            <a:avLst/>
          </a:prstGeom>
          <a:solidFill>
            <a:srgbClr val="00AF8E"/>
          </a:solidFill>
          <a:ln>
            <a:noFill/>
          </a:ln>
          <a:effectLst/>
        </p:spPr>
        <p:txBody>
          <a:bodyPr wrap="square" lIns="0" tIns="0" rIns="0" bIns="0" numCol="1" spcCol="72000" rtlCol="0" anchor="ctr">
            <a:noAutofit/>
          </a:bodyPr>
          <a:lstStyle/>
          <a:p>
            <a:pPr algn="ctr">
              <a:lnSpc>
                <a:spcPct val="110000"/>
              </a:lnSpc>
              <a:spcBef>
                <a:spcPct val="0"/>
              </a:spcBef>
              <a:buFont typeface="Wingdings" charset="0"/>
              <a:buNone/>
            </a:pPr>
            <a:r>
              <a:rPr lang="en-US" sz="3600" b="1" dirty="0">
                <a:solidFill>
                  <a:schemeClr val="tx2"/>
                </a:solidFill>
              </a:rPr>
              <a:t>3</a:t>
            </a:r>
          </a:p>
        </p:txBody>
      </p:sp>
      <p:sp>
        <p:nvSpPr>
          <p:cNvPr id="24" name="Richtungspfeil 23">
            <a:extLst>
              <a:ext uri="{FF2B5EF4-FFF2-40B4-BE49-F238E27FC236}">
                <a16:creationId xmlns:a16="http://schemas.microsoft.com/office/drawing/2014/main" id="{791B605A-86E0-444E-8403-DF0C3A40B1D1}"/>
              </a:ext>
            </a:extLst>
          </p:cNvPr>
          <p:cNvSpPr/>
          <p:nvPr/>
        </p:nvSpPr>
        <p:spPr bwMode="auto">
          <a:xfrm>
            <a:off x="1346400" y="4726800"/>
            <a:ext cx="7128000" cy="792000"/>
          </a:xfrm>
          <a:prstGeom prst="homePlate">
            <a:avLst>
              <a:gd name="adj" fmla="val 32106"/>
            </a:avLst>
          </a:prstGeom>
          <a:solidFill>
            <a:srgbClr val="00FFB9"/>
          </a:solidFill>
          <a:ln>
            <a:noFill/>
          </a:ln>
          <a:effectLst/>
        </p:spPr>
        <p:txBody>
          <a:bodyPr wrap="square" lIns="180000" tIns="72000" rIns="180000" bIns="72000" numCol="1" spcCol="72000" rtlCol="0" anchor="ctr">
            <a:noAutofit/>
          </a:bodyPr>
          <a:lstStyle/>
          <a:p>
            <a:pPr>
              <a:lnSpc>
                <a:spcPct val="110000"/>
              </a:lnSpc>
              <a:spcBef>
                <a:spcPct val="0"/>
              </a:spcBef>
            </a:pPr>
            <a:r>
              <a:rPr lang="en-US" dirty="0">
                <a:solidFill>
                  <a:schemeClr val="tx2"/>
                </a:solidFill>
              </a:rPr>
              <a:t>Cras ultricies mi eu</a:t>
            </a:r>
          </a:p>
        </p:txBody>
      </p:sp>
      <p:sp>
        <p:nvSpPr>
          <p:cNvPr id="25" name="Rechteck 16">
            <a:extLst>
              <a:ext uri="{FF2B5EF4-FFF2-40B4-BE49-F238E27FC236}">
                <a16:creationId xmlns:a16="http://schemas.microsoft.com/office/drawing/2014/main" id="{8F9FC897-4276-EF43-8D34-1CCADA69D14B}"/>
              </a:ext>
            </a:extLst>
          </p:cNvPr>
          <p:cNvSpPr>
            <a:spLocks noChangeAspect="1"/>
          </p:cNvSpPr>
          <p:nvPr/>
        </p:nvSpPr>
        <p:spPr bwMode="auto">
          <a:xfrm>
            <a:off x="410400" y="4726800"/>
            <a:ext cx="792000" cy="792000"/>
          </a:xfrm>
          <a:prstGeom prst="rect">
            <a:avLst/>
          </a:prstGeom>
          <a:solidFill>
            <a:srgbClr val="00FFB9"/>
          </a:solidFill>
          <a:ln>
            <a:noFill/>
          </a:ln>
          <a:effectLst/>
        </p:spPr>
        <p:txBody>
          <a:bodyPr wrap="square" lIns="0" tIns="0" rIns="0" bIns="0" numCol="1" spcCol="72000" rtlCol="0" anchor="ctr">
            <a:noAutofit/>
          </a:bodyPr>
          <a:lstStyle/>
          <a:p>
            <a:pPr algn="ctr">
              <a:lnSpc>
                <a:spcPct val="110000"/>
              </a:lnSpc>
              <a:spcBef>
                <a:spcPct val="0"/>
              </a:spcBef>
              <a:buFont typeface="Wingdings" charset="0"/>
              <a:buNone/>
            </a:pPr>
            <a:r>
              <a:rPr lang="en-US" sz="3600" b="1" dirty="0">
                <a:solidFill>
                  <a:schemeClr val="tx2"/>
                </a:solidFill>
              </a:rPr>
              <a:t>1</a:t>
            </a:r>
          </a:p>
        </p:txBody>
      </p:sp>
      <p:sp>
        <p:nvSpPr>
          <p:cNvPr id="26" name="TextBox 48">
            <a:extLst>
              <a:ext uri="{FF2B5EF4-FFF2-40B4-BE49-F238E27FC236}">
                <a16:creationId xmlns:a16="http://schemas.microsoft.com/office/drawing/2014/main" id="{47962478-1789-CD4F-9F52-7FAA5A8B7BF8}"/>
              </a:ext>
            </a:extLst>
          </p:cNvPr>
          <p:cNvSpPr txBox="1">
            <a:spLocks noChangeArrowheads="1"/>
          </p:cNvSpPr>
          <p:nvPr/>
        </p:nvSpPr>
        <p:spPr bwMode="gray">
          <a:xfrm flipH="1">
            <a:off x="410399" y="1414800"/>
            <a:ext cx="7488000" cy="360000"/>
          </a:xfrm>
          <a:prstGeom prst="rect">
            <a:avLst/>
          </a:prstGeom>
          <a:noFill/>
          <a:ln w="9525">
            <a:noFill/>
            <a:miter lim="800000"/>
            <a:headEnd/>
            <a:tailEnd/>
          </a:ln>
        </p:spPr>
        <p:txBody>
          <a:bodyPr vert="horz" wrap="none" lIns="0" tIns="0" rIns="0" bIns="0" numCol="1" anchor="t" anchorCtr="0" compatLnSpc="1">
            <a:prstTxWarp prst="textNoShape">
              <a:avLst/>
            </a:prstTxWarp>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r>
              <a:rPr lang="en-US" b="1" kern="0" dirty="0">
                <a:solidFill>
                  <a:schemeClr val="tx1"/>
                </a:solidFill>
                <a:latin typeface="+mn-lt"/>
              </a:rPr>
              <a:t>Duis arcu tortor, suscipit eget</a:t>
            </a:r>
          </a:p>
        </p:txBody>
      </p:sp>
      <p:sp>
        <p:nvSpPr>
          <p:cNvPr id="27" name="Rechteck 16">
            <a:extLst>
              <a:ext uri="{FF2B5EF4-FFF2-40B4-BE49-F238E27FC236}">
                <a16:creationId xmlns:a16="http://schemas.microsoft.com/office/drawing/2014/main" id="{A79C157A-0DEE-0545-B44F-614A83E0A1D5}"/>
              </a:ext>
            </a:extLst>
          </p:cNvPr>
          <p:cNvSpPr>
            <a:spLocks noChangeAspect="1"/>
          </p:cNvSpPr>
          <p:nvPr/>
        </p:nvSpPr>
        <p:spPr bwMode="auto">
          <a:xfrm>
            <a:off x="410400" y="1918800"/>
            <a:ext cx="792000" cy="792000"/>
          </a:xfrm>
          <a:prstGeom prst="rect">
            <a:avLst/>
          </a:prstGeom>
          <a:solidFill>
            <a:srgbClr val="00646E"/>
          </a:solidFill>
          <a:ln>
            <a:noFill/>
          </a:ln>
          <a:effectLst/>
        </p:spPr>
        <p:txBody>
          <a:bodyPr wrap="square" lIns="0" tIns="0" rIns="0" bIns="0" numCol="1" spcCol="72000" rtlCol="0" anchor="ctr">
            <a:noAutofit/>
          </a:bodyPr>
          <a:lstStyle/>
          <a:p>
            <a:pPr algn="ctr">
              <a:lnSpc>
                <a:spcPct val="110000"/>
              </a:lnSpc>
              <a:spcBef>
                <a:spcPct val="0"/>
              </a:spcBef>
              <a:buFont typeface="Wingdings" charset="0"/>
              <a:buNone/>
            </a:pPr>
            <a:r>
              <a:rPr lang="en-US" sz="3600" b="1" dirty="0">
                <a:solidFill>
                  <a:schemeClr val="bg1"/>
                </a:solidFill>
              </a:rPr>
              <a:t>4</a:t>
            </a:r>
          </a:p>
        </p:txBody>
      </p:sp>
      <p:sp>
        <p:nvSpPr>
          <p:cNvPr id="28" name="Richtungspfeil 27">
            <a:extLst>
              <a:ext uri="{FF2B5EF4-FFF2-40B4-BE49-F238E27FC236}">
                <a16:creationId xmlns:a16="http://schemas.microsoft.com/office/drawing/2014/main" id="{B718DDE3-CD40-CF4D-BE75-D238CB601CF1}"/>
              </a:ext>
            </a:extLst>
          </p:cNvPr>
          <p:cNvSpPr/>
          <p:nvPr/>
        </p:nvSpPr>
        <p:spPr bwMode="auto">
          <a:xfrm>
            <a:off x="1346399" y="1918800"/>
            <a:ext cx="9720000" cy="792000"/>
          </a:xfrm>
          <a:prstGeom prst="homePlate">
            <a:avLst>
              <a:gd name="adj" fmla="val 32106"/>
            </a:avLst>
          </a:prstGeom>
          <a:solidFill>
            <a:srgbClr val="00646E"/>
          </a:solidFill>
          <a:ln>
            <a:noFill/>
          </a:ln>
          <a:effectLst/>
        </p:spPr>
        <p:txBody>
          <a:bodyPr wrap="square" lIns="180000" tIns="72000" rIns="180000" bIns="72000" numCol="1" spcCol="72000" rtlCol="0" anchor="ctr">
            <a:noAutofit/>
          </a:bodyPr>
          <a:lstStyle/>
          <a:p>
            <a:pPr>
              <a:lnSpc>
                <a:spcPct val="110000"/>
              </a:lnSpc>
              <a:spcBef>
                <a:spcPct val="0"/>
              </a:spcBef>
            </a:pPr>
            <a:r>
              <a:rPr lang="en-US" dirty="0">
                <a:solidFill>
                  <a:schemeClr val="bg1"/>
                </a:solidFill>
              </a:rPr>
              <a:t>Phasellus nec sem</a:t>
            </a:r>
            <a:br>
              <a:rPr lang="en-US" dirty="0">
                <a:solidFill>
                  <a:schemeClr val="bg1"/>
                </a:solidFill>
              </a:rPr>
            </a:br>
            <a:r>
              <a:rPr lang="en-US" dirty="0">
                <a:solidFill>
                  <a:schemeClr val="bg1"/>
                </a:solidFill>
              </a:rPr>
              <a:t>Maecenas nec odio</a:t>
            </a:r>
          </a:p>
        </p:txBody>
      </p:sp>
      <p:sp>
        <p:nvSpPr>
          <p:cNvPr id="2" name="Fußzeilenplatzhalter 1">
            <a:extLst>
              <a:ext uri="{FF2B5EF4-FFF2-40B4-BE49-F238E27FC236}">
                <a16:creationId xmlns:a16="http://schemas.microsoft.com/office/drawing/2014/main" id="{E07D384E-9C5E-BD48-8467-1BEB8A948178}"/>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3" name="Foliennummernplatzhalter 2">
            <a:extLst>
              <a:ext uri="{FF2B5EF4-FFF2-40B4-BE49-F238E27FC236}">
                <a16:creationId xmlns:a16="http://schemas.microsoft.com/office/drawing/2014/main" id="{95D5C43A-464E-9D4F-B31C-5CE36588CCF1}"/>
              </a:ext>
            </a:extLst>
          </p:cNvPr>
          <p:cNvSpPr>
            <a:spLocks noGrp="1"/>
          </p:cNvSpPr>
          <p:nvPr>
            <p:ph type="sldNum" sz="quarter" idx="11"/>
          </p:nvPr>
        </p:nvSpPr>
        <p:spPr/>
        <p:txBody>
          <a:bodyPr/>
          <a:lstStyle/>
          <a:p>
            <a:r>
              <a:rPr lang="en-US" dirty="0"/>
              <a:t>Page </a:t>
            </a:r>
            <a:fld id="{15EBE321-CBB1-4E91-BD14-37C8D44326FB}" type="slidenum">
              <a:rPr lang="en-US" smtClean="0"/>
              <a:pPr/>
              <a:t>122</a:t>
            </a:fld>
            <a:endParaRPr lang="en-US" dirty="0"/>
          </a:p>
        </p:txBody>
      </p:sp>
    </p:spTree>
    <p:extLst>
      <p:ext uri="{BB962C8B-B14F-4D97-AF65-F5344CB8AC3E}">
        <p14:creationId xmlns:p14="http://schemas.microsoft.com/office/powerpoint/2010/main" val="4241660586"/>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30916218-0FE7-DA40-850A-7231E8C46B1B}"/>
              </a:ext>
            </a:extLst>
          </p:cNvPr>
          <p:cNvSpPr>
            <a:spLocks noGrp="1"/>
          </p:cNvSpPr>
          <p:nvPr>
            <p:ph type="title"/>
          </p:nvPr>
        </p:nvSpPr>
        <p:spPr/>
        <p:txBody>
          <a:bodyPr anchor="t"/>
          <a:lstStyle/>
          <a:p>
            <a:r>
              <a:rPr lang="en-US" dirty="0"/>
              <a:t>Process – countdown</a:t>
            </a:r>
            <a:endParaRPr lang="de-DE" dirty="0"/>
          </a:p>
        </p:txBody>
      </p:sp>
      <p:sp>
        <p:nvSpPr>
          <p:cNvPr id="2" name="Fußzeilenplatzhalter 1">
            <a:extLst>
              <a:ext uri="{FF2B5EF4-FFF2-40B4-BE49-F238E27FC236}">
                <a16:creationId xmlns:a16="http://schemas.microsoft.com/office/drawing/2014/main" id="{E07D384E-9C5E-BD48-8467-1BEB8A948178}"/>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3" name="Foliennummernplatzhalter 2">
            <a:extLst>
              <a:ext uri="{FF2B5EF4-FFF2-40B4-BE49-F238E27FC236}">
                <a16:creationId xmlns:a16="http://schemas.microsoft.com/office/drawing/2014/main" id="{95D5C43A-464E-9D4F-B31C-5CE36588CCF1}"/>
              </a:ext>
            </a:extLst>
          </p:cNvPr>
          <p:cNvSpPr>
            <a:spLocks noGrp="1"/>
          </p:cNvSpPr>
          <p:nvPr>
            <p:ph type="sldNum" sz="quarter" idx="11"/>
          </p:nvPr>
        </p:nvSpPr>
        <p:spPr/>
        <p:txBody>
          <a:bodyPr/>
          <a:lstStyle/>
          <a:p>
            <a:r>
              <a:rPr lang="en-US" dirty="0"/>
              <a:t>Page </a:t>
            </a:r>
            <a:fld id="{15EBE321-CBB1-4E91-BD14-37C8D44326FB}" type="slidenum">
              <a:rPr lang="en-US" smtClean="0"/>
              <a:pPr/>
              <a:t>123</a:t>
            </a:fld>
            <a:endParaRPr lang="en-US" dirty="0"/>
          </a:p>
        </p:txBody>
      </p:sp>
      <p:sp>
        <p:nvSpPr>
          <p:cNvPr id="16" name="Richtungspfeil 15">
            <a:extLst>
              <a:ext uri="{FF2B5EF4-FFF2-40B4-BE49-F238E27FC236}">
                <a16:creationId xmlns:a16="http://schemas.microsoft.com/office/drawing/2014/main" id="{917B2565-9ACD-9546-B70E-5B2A77F0A51E}"/>
              </a:ext>
            </a:extLst>
          </p:cNvPr>
          <p:cNvSpPr/>
          <p:nvPr/>
        </p:nvSpPr>
        <p:spPr bwMode="auto">
          <a:xfrm>
            <a:off x="1346400" y="3790800"/>
            <a:ext cx="8028000" cy="792000"/>
          </a:xfrm>
          <a:prstGeom prst="homePlate">
            <a:avLst>
              <a:gd name="adj" fmla="val 32106"/>
            </a:avLst>
          </a:prstGeom>
          <a:solidFill>
            <a:schemeClr val="accent2"/>
          </a:solidFill>
          <a:ln>
            <a:noFill/>
          </a:ln>
          <a:effectLst/>
        </p:spPr>
        <p:txBody>
          <a:bodyPr wrap="square" lIns="180000" tIns="72000" rIns="180000" bIns="72000" numCol="1" spcCol="72000" rtlCol="0" anchor="ctr">
            <a:noAutofit/>
          </a:bodyPr>
          <a:lstStyle/>
          <a:p>
            <a:r>
              <a:rPr lang="en-US" dirty="0">
                <a:solidFill>
                  <a:schemeClr val="bg2"/>
                </a:solidFill>
              </a:rPr>
              <a:t>Consetetur sadipscing elitr, </a:t>
            </a:r>
            <a:br>
              <a:rPr lang="en-US" dirty="0">
                <a:solidFill>
                  <a:schemeClr val="bg2"/>
                </a:solidFill>
              </a:rPr>
            </a:br>
            <a:r>
              <a:rPr lang="en-US" dirty="0">
                <a:solidFill>
                  <a:schemeClr val="bg2"/>
                </a:solidFill>
              </a:rPr>
              <a:t>seddiam nonumy</a:t>
            </a:r>
          </a:p>
        </p:txBody>
      </p:sp>
      <p:sp>
        <p:nvSpPr>
          <p:cNvPr id="21" name="Rechteck 16">
            <a:extLst>
              <a:ext uri="{FF2B5EF4-FFF2-40B4-BE49-F238E27FC236}">
                <a16:creationId xmlns:a16="http://schemas.microsoft.com/office/drawing/2014/main" id="{9CFAA997-A47D-574D-99CB-103A638409C1}"/>
              </a:ext>
            </a:extLst>
          </p:cNvPr>
          <p:cNvSpPr>
            <a:spLocks noChangeAspect="1"/>
          </p:cNvSpPr>
          <p:nvPr/>
        </p:nvSpPr>
        <p:spPr bwMode="auto">
          <a:xfrm>
            <a:off x="410400" y="3790800"/>
            <a:ext cx="792000" cy="792000"/>
          </a:xfrm>
          <a:prstGeom prst="rect">
            <a:avLst/>
          </a:prstGeom>
          <a:solidFill>
            <a:schemeClr val="accent2"/>
          </a:solidFill>
          <a:ln>
            <a:noFill/>
          </a:ln>
          <a:effectLst/>
        </p:spPr>
        <p:txBody>
          <a:bodyPr wrap="square" lIns="0" tIns="0" rIns="0" bIns="0" numCol="1" spcCol="72000" rtlCol="0" anchor="ctr">
            <a:noAutofit/>
          </a:bodyPr>
          <a:lstStyle/>
          <a:p>
            <a:pPr algn="ctr">
              <a:lnSpc>
                <a:spcPct val="110000"/>
              </a:lnSpc>
              <a:spcBef>
                <a:spcPct val="0"/>
              </a:spcBef>
              <a:buFont typeface="Wingdings" charset="0"/>
              <a:buNone/>
            </a:pPr>
            <a:r>
              <a:rPr lang="en-US" sz="3600" b="1" dirty="0">
                <a:solidFill>
                  <a:schemeClr val="bg2"/>
                </a:solidFill>
              </a:rPr>
              <a:t>2</a:t>
            </a:r>
          </a:p>
        </p:txBody>
      </p:sp>
      <p:sp>
        <p:nvSpPr>
          <p:cNvPr id="22" name="Richtungspfeil 21">
            <a:extLst>
              <a:ext uri="{FF2B5EF4-FFF2-40B4-BE49-F238E27FC236}">
                <a16:creationId xmlns:a16="http://schemas.microsoft.com/office/drawing/2014/main" id="{1C759DFA-FC07-CC41-B606-3C90CE8F7F2E}"/>
              </a:ext>
            </a:extLst>
          </p:cNvPr>
          <p:cNvSpPr/>
          <p:nvPr/>
        </p:nvSpPr>
        <p:spPr bwMode="auto">
          <a:xfrm>
            <a:off x="1346400" y="2854801"/>
            <a:ext cx="8856000" cy="792000"/>
          </a:xfrm>
          <a:prstGeom prst="homePlate">
            <a:avLst>
              <a:gd name="adj" fmla="val 32106"/>
            </a:avLst>
          </a:prstGeom>
          <a:solidFill>
            <a:srgbClr val="00AF8E"/>
          </a:solidFill>
          <a:ln>
            <a:noFill/>
          </a:ln>
          <a:effectLst/>
        </p:spPr>
        <p:txBody>
          <a:bodyPr wrap="square" lIns="180000" tIns="72000" rIns="180000" bIns="72000" numCol="1" spcCol="72000" rtlCol="0" anchor="ctr">
            <a:noAutofit/>
          </a:bodyPr>
          <a:lstStyle/>
          <a:p>
            <a:pPr>
              <a:lnSpc>
                <a:spcPct val="110000"/>
              </a:lnSpc>
              <a:spcBef>
                <a:spcPct val="0"/>
              </a:spcBef>
            </a:pPr>
            <a:r>
              <a:rPr lang="en-US" dirty="0">
                <a:solidFill>
                  <a:schemeClr val="bg2"/>
                </a:solidFill>
              </a:rPr>
              <a:t>Duis arcu tortor, suscipit eget</a:t>
            </a:r>
            <a:br>
              <a:rPr lang="en-US" dirty="0">
                <a:solidFill>
                  <a:schemeClr val="bg2"/>
                </a:solidFill>
              </a:rPr>
            </a:br>
            <a:r>
              <a:rPr lang="en-US" dirty="0">
                <a:solidFill>
                  <a:schemeClr val="bg2"/>
                </a:solidFill>
              </a:rPr>
              <a:t>Arcu tortor</a:t>
            </a:r>
          </a:p>
        </p:txBody>
      </p:sp>
      <p:sp>
        <p:nvSpPr>
          <p:cNvPr id="23" name="Rechteck 16">
            <a:extLst>
              <a:ext uri="{FF2B5EF4-FFF2-40B4-BE49-F238E27FC236}">
                <a16:creationId xmlns:a16="http://schemas.microsoft.com/office/drawing/2014/main" id="{EABF575D-C18F-8746-9E3C-5846F4D2C726}"/>
              </a:ext>
            </a:extLst>
          </p:cNvPr>
          <p:cNvSpPr>
            <a:spLocks noChangeAspect="1"/>
          </p:cNvSpPr>
          <p:nvPr/>
        </p:nvSpPr>
        <p:spPr bwMode="auto">
          <a:xfrm>
            <a:off x="410400" y="2854801"/>
            <a:ext cx="792000" cy="792000"/>
          </a:xfrm>
          <a:prstGeom prst="rect">
            <a:avLst/>
          </a:prstGeom>
          <a:solidFill>
            <a:srgbClr val="00AF8E"/>
          </a:solidFill>
          <a:ln>
            <a:noFill/>
          </a:ln>
          <a:effectLst/>
        </p:spPr>
        <p:txBody>
          <a:bodyPr wrap="square" lIns="0" tIns="0" rIns="0" bIns="0" numCol="1" spcCol="72000" rtlCol="0" anchor="ctr">
            <a:noAutofit/>
          </a:bodyPr>
          <a:lstStyle/>
          <a:p>
            <a:pPr algn="ctr">
              <a:lnSpc>
                <a:spcPct val="110000"/>
              </a:lnSpc>
              <a:spcBef>
                <a:spcPct val="0"/>
              </a:spcBef>
              <a:buFont typeface="Wingdings" charset="0"/>
              <a:buNone/>
            </a:pPr>
            <a:r>
              <a:rPr lang="en-US" sz="3600" b="1" dirty="0">
                <a:solidFill>
                  <a:schemeClr val="bg2"/>
                </a:solidFill>
              </a:rPr>
              <a:t>3</a:t>
            </a:r>
          </a:p>
        </p:txBody>
      </p:sp>
      <p:sp>
        <p:nvSpPr>
          <p:cNvPr id="24" name="Richtungspfeil 23">
            <a:extLst>
              <a:ext uri="{FF2B5EF4-FFF2-40B4-BE49-F238E27FC236}">
                <a16:creationId xmlns:a16="http://schemas.microsoft.com/office/drawing/2014/main" id="{791B605A-86E0-444E-8403-DF0C3A40B1D1}"/>
              </a:ext>
            </a:extLst>
          </p:cNvPr>
          <p:cNvSpPr/>
          <p:nvPr/>
        </p:nvSpPr>
        <p:spPr bwMode="auto">
          <a:xfrm>
            <a:off x="1346400" y="4726800"/>
            <a:ext cx="7128000" cy="792000"/>
          </a:xfrm>
          <a:prstGeom prst="homePlate">
            <a:avLst>
              <a:gd name="adj" fmla="val 32106"/>
            </a:avLst>
          </a:prstGeom>
          <a:solidFill>
            <a:srgbClr val="00FFB9"/>
          </a:solidFill>
          <a:ln>
            <a:noFill/>
          </a:ln>
          <a:effectLst/>
        </p:spPr>
        <p:txBody>
          <a:bodyPr wrap="square" lIns="180000" tIns="72000" rIns="180000" bIns="72000" numCol="1" spcCol="72000" rtlCol="0" anchor="ctr">
            <a:noAutofit/>
          </a:bodyPr>
          <a:lstStyle/>
          <a:p>
            <a:pPr>
              <a:lnSpc>
                <a:spcPct val="110000"/>
              </a:lnSpc>
              <a:spcBef>
                <a:spcPct val="0"/>
              </a:spcBef>
            </a:pPr>
            <a:r>
              <a:rPr lang="en-US" dirty="0">
                <a:solidFill>
                  <a:schemeClr val="bg2"/>
                </a:solidFill>
              </a:rPr>
              <a:t>Cras ultricies mi eu</a:t>
            </a:r>
          </a:p>
        </p:txBody>
      </p:sp>
      <p:sp>
        <p:nvSpPr>
          <p:cNvPr id="25" name="Rechteck 16">
            <a:extLst>
              <a:ext uri="{FF2B5EF4-FFF2-40B4-BE49-F238E27FC236}">
                <a16:creationId xmlns:a16="http://schemas.microsoft.com/office/drawing/2014/main" id="{8F9FC897-4276-EF43-8D34-1CCADA69D14B}"/>
              </a:ext>
            </a:extLst>
          </p:cNvPr>
          <p:cNvSpPr>
            <a:spLocks noChangeAspect="1"/>
          </p:cNvSpPr>
          <p:nvPr/>
        </p:nvSpPr>
        <p:spPr bwMode="auto">
          <a:xfrm>
            <a:off x="410400" y="4726800"/>
            <a:ext cx="792000" cy="792000"/>
          </a:xfrm>
          <a:prstGeom prst="rect">
            <a:avLst/>
          </a:prstGeom>
          <a:solidFill>
            <a:srgbClr val="00FFB9"/>
          </a:solidFill>
          <a:ln>
            <a:noFill/>
          </a:ln>
          <a:effectLst/>
        </p:spPr>
        <p:txBody>
          <a:bodyPr wrap="square" lIns="0" tIns="0" rIns="0" bIns="0" numCol="1" spcCol="72000" rtlCol="0" anchor="ctr">
            <a:noAutofit/>
          </a:bodyPr>
          <a:lstStyle/>
          <a:p>
            <a:pPr algn="ctr">
              <a:lnSpc>
                <a:spcPct val="110000"/>
              </a:lnSpc>
              <a:spcBef>
                <a:spcPct val="0"/>
              </a:spcBef>
              <a:buFont typeface="Wingdings" charset="0"/>
              <a:buNone/>
            </a:pPr>
            <a:r>
              <a:rPr lang="en-US" sz="3600" b="1" dirty="0">
                <a:solidFill>
                  <a:schemeClr val="bg2"/>
                </a:solidFill>
              </a:rPr>
              <a:t>1</a:t>
            </a:r>
          </a:p>
        </p:txBody>
      </p:sp>
      <p:sp>
        <p:nvSpPr>
          <p:cNvPr id="26" name="TextBox 48">
            <a:extLst>
              <a:ext uri="{FF2B5EF4-FFF2-40B4-BE49-F238E27FC236}">
                <a16:creationId xmlns:a16="http://schemas.microsoft.com/office/drawing/2014/main" id="{47962478-1789-CD4F-9F52-7FAA5A8B7BF8}"/>
              </a:ext>
            </a:extLst>
          </p:cNvPr>
          <p:cNvSpPr txBox="1">
            <a:spLocks noChangeArrowheads="1"/>
          </p:cNvSpPr>
          <p:nvPr/>
        </p:nvSpPr>
        <p:spPr bwMode="gray">
          <a:xfrm flipH="1">
            <a:off x="410399" y="1414800"/>
            <a:ext cx="7488000" cy="360000"/>
          </a:xfrm>
          <a:prstGeom prst="rect">
            <a:avLst/>
          </a:prstGeom>
          <a:noFill/>
          <a:ln w="9525">
            <a:noFill/>
            <a:miter lim="800000"/>
            <a:headEnd/>
            <a:tailEnd/>
          </a:ln>
        </p:spPr>
        <p:txBody>
          <a:bodyPr vert="horz" wrap="none" lIns="0" tIns="0" rIns="0" bIns="0" numCol="1" anchor="t" anchorCtr="0" compatLnSpc="1">
            <a:prstTxWarp prst="textNoShape">
              <a:avLst/>
            </a:prstTxWarp>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r>
              <a:rPr lang="en-US" b="1" kern="0" dirty="0">
                <a:solidFill>
                  <a:schemeClr val="tx1"/>
                </a:solidFill>
                <a:latin typeface="+mn-lt"/>
              </a:rPr>
              <a:t>Duis arcu tortor, suscipit eget</a:t>
            </a:r>
          </a:p>
        </p:txBody>
      </p:sp>
      <p:sp>
        <p:nvSpPr>
          <p:cNvPr id="27" name="Rechteck 16">
            <a:extLst>
              <a:ext uri="{FF2B5EF4-FFF2-40B4-BE49-F238E27FC236}">
                <a16:creationId xmlns:a16="http://schemas.microsoft.com/office/drawing/2014/main" id="{A79C157A-0DEE-0545-B44F-614A83E0A1D5}"/>
              </a:ext>
            </a:extLst>
          </p:cNvPr>
          <p:cNvSpPr>
            <a:spLocks noChangeAspect="1"/>
          </p:cNvSpPr>
          <p:nvPr/>
        </p:nvSpPr>
        <p:spPr bwMode="auto">
          <a:xfrm>
            <a:off x="410400" y="1918800"/>
            <a:ext cx="792000" cy="792000"/>
          </a:xfrm>
          <a:prstGeom prst="rect">
            <a:avLst/>
          </a:prstGeom>
          <a:solidFill>
            <a:srgbClr val="00646E"/>
          </a:solidFill>
          <a:ln>
            <a:noFill/>
          </a:ln>
          <a:effectLst/>
        </p:spPr>
        <p:txBody>
          <a:bodyPr wrap="square" lIns="0" tIns="0" rIns="0" bIns="0" numCol="1" spcCol="72000" rtlCol="0" anchor="ctr">
            <a:noAutofit/>
          </a:bodyPr>
          <a:lstStyle/>
          <a:p>
            <a:pPr algn="ctr">
              <a:lnSpc>
                <a:spcPct val="110000"/>
              </a:lnSpc>
              <a:spcBef>
                <a:spcPct val="0"/>
              </a:spcBef>
              <a:buFont typeface="Wingdings" charset="0"/>
              <a:buNone/>
            </a:pPr>
            <a:r>
              <a:rPr lang="en-US" sz="3600" b="1" dirty="0"/>
              <a:t>4</a:t>
            </a:r>
          </a:p>
        </p:txBody>
      </p:sp>
      <p:sp>
        <p:nvSpPr>
          <p:cNvPr id="28" name="Richtungspfeil 27">
            <a:extLst>
              <a:ext uri="{FF2B5EF4-FFF2-40B4-BE49-F238E27FC236}">
                <a16:creationId xmlns:a16="http://schemas.microsoft.com/office/drawing/2014/main" id="{B718DDE3-CD40-CF4D-BE75-D238CB601CF1}"/>
              </a:ext>
            </a:extLst>
          </p:cNvPr>
          <p:cNvSpPr/>
          <p:nvPr/>
        </p:nvSpPr>
        <p:spPr bwMode="auto">
          <a:xfrm>
            <a:off x="1346399" y="1918800"/>
            <a:ext cx="9720000" cy="792000"/>
          </a:xfrm>
          <a:prstGeom prst="homePlate">
            <a:avLst>
              <a:gd name="adj" fmla="val 32106"/>
            </a:avLst>
          </a:prstGeom>
          <a:solidFill>
            <a:srgbClr val="00646E"/>
          </a:solidFill>
          <a:ln>
            <a:noFill/>
          </a:ln>
          <a:effectLst/>
        </p:spPr>
        <p:txBody>
          <a:bodyPr wrap="square" lIns="180000" tIns="72000" rIns="180000" bIns="72000" numCol="1" spcCol="72000" rtlCol="0" anchor="ctr">
            <a:noAutofit/>
          </a:bodyPr>
          <a:lstStyle/>
          <a:p>
            <a:pPr>
              <a:lnSpc>
                <a:spcPct val="110000"/>
              </a:lnSpc>
              <a:spcBef>
                <a:spcPct val="0"/>
              </a:spcBef>
            </a:pPr>
            <a:r>
              <a:rPr lang="en-US" dirty="0"/>
              <a:t>Phasellus nec sem</a:t>
            </a:r>
            <a:br>
              <a:rPr lang="en-US" dirty="0"/>
            </a:br>
            <a:r>
              <a:rPr lang="en-US" dirty="0"/>
              <a:t>Maecenas nec odio</a:t>
            </a:r>
          </a:p>
        </p:txBody>
      </p:sp>
    </p:spTree>
    <p:extLst>
      <p:ext uri="{BB962C8B-B14F-4D97-AF65-F5344CB8AC3E}">
        <p14:creationId xmlns:p14="http://schemas.microsoft.com/office/powerpoint/2010/main" val="3631155120"/>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10400" y="478800"/>
            <a:ext cx="9863997" cy="576000"/>
          </a:xfrm>
        </p:spPr>
        <p:txBody>
          <a:bodyPr/>
          <a:lstStyle/>
          <a:p>
            <a:r>
              <a:rPr lang="en-US" dirty="0"/>
              <a:t>Process – cards</a:t>
            </a:r>
          </a:p>
        </p:txBody>
      </p:sp>
      <p:sp>
        <p:nvSpPr>
          <p:cNvPr id="3" name="Rechteck 2"/>
          <p:cNvSpPr>
            <a:spLocks/>
          </p:cNvSpPr>
          <p:nvPr/>
        </p:nvSpPr>
        <p:spPr bwMode="gray">
          <a:xfrm>
            <a:off x="411063" y="1846800"/>
            <a:ext cx="2878226" cy="3960000"/>
          </a:xfrm>
          <a:prstGeom prst="rect">
            <a:avLst/>
          </a:prstGeom>
          <a:solidFill>
            <a:schemeClr val="accent1"/>
          </a:solidFill>
          <a:ln w="9525">
            <a:noFill/>
            <a:miter lim="800000"/>
            <a:headEnd/>
            <a:tailEnd/>
          </a:ln>
        </p:spPr>
        <p:txBody>
          <a:bodyPr vert="horz" wrap="square" lIns="179906" tIns="107944" rIns="179906" bIns="1799063" numCol="1" anchor="t" anchorCtr="0" compatLnSpc="1">
            <a:prstTxWarp prst="textNoShape">
              <a:avLst/>
            </a:prstTxWarp>
            <a:noAutofit/>
          </a:bodyPr>
          <a:lstStyle/>
          <a:p>
            <a:r>
              <a:rPr lang="en-US" sz="3598" b="1" dirty="0">
                <a:solidFill>
                  <a:srgbClr val="FFFFFF"/>
                </a:solidFill>
              </a:rPr>
              <a:t>Lorem</a:t>
            </a:r>
          </a:p>
          <a:p>
            <a:pPr>
              <a:spcBef>
                <a:spcPts val="300"/>
              </a:spcBef>
            </a:pPr>
            <a:r>
              <a:rPr lang="en-US" sz="1599" dirty="0">
                <a:solidFill>
                  <a:srgbClr val="FFFFFF"/>
                </a:solidFill>
              </a:rPr>
              <a:t>At vero eos et </a:t>
            </a:r>
            <a:br>
              <a:rPr lang="en-US" sz="1599" dirty="0">
                <a:solidFill>
                  <a:srgbClr val="FFFFFF"/>
                </a:solidFill>
              </a:rPr>
            </a:br>
            <a:r>
              <a:rPr lang="en-US" sz="1599" dirty="0">
                <a:solidFill>
                  <a:srgbClr val="FFFFFF"/>
                </a:solidFill>
              </a:rPr>
              <a:t>accusam</a:t>
            </a:r>
          </a:p>
        </p:txBody>
      </p:sp>
      <p:sp>
        <p:nvSpPr>
          <p:cNvPr id="6" name="TextBox 2"/>
          <p:cNvSpPr txBox="1">
            <a:spLocks noChangeArrowheads="1"/>
          </p:cNvSpPr>
          <p:nvPr>
            <p:custDataLst>
              <p:tags r:id="rId1"/>
            </p:custDataLst>
          </p:nvPr>
        </p:nvSpPr>
        <p:spPr bwMode="gray">
          <a:xfrm>
            <a:off x="411062" y="5806800"/>
            <a:ext cx="2878501" cy="360000"/>
          </a:xfrm>
          <a:prstGeom prst="rect">
            <a:avLst/>
          </a:prstGeom>
          <a:noFill/>
          <a:ln w="9525">
            <a:noFill/>
            <a:miter lim="800000"/>
            <a:headEnd/>
            <a:tailEnd/>
          </a:ln>
        </p:spPr>
        <p:txBody>
          <a:bodyPr vert="horz" wrap="square" lIns="0" tIns="0" rIns="0" bIns="0" numCol="1" anchor="b" anchorCtr="0" compatLnSpc="1">
            <a:prstTxWarp prst="textNoShape">
              <a:avLst/>
            </a:prstTxWarp>
            <a:noAutofit/>
          </a:bodyPr>
          <a:lstStyle>
            <a:lvl1pPr marL="0" indent="0" algn="l" rtl="0" fontAlgn="base">
              <a:lnSpc>
                <a:spcPct val="100000"/>
              </a:lnSpc>
              <a:spcBef>
                <a:spcPts val="30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00000"/>
              </a:lnSpc>
              <a:spcBef>
                <a:spcPts val="300"/>
              </a:spcBef>
              <a:spcAft>
                <a:spcPct val="0"/>
              </a:spcAft>
              <a:buClr>
                <a:srgbClr val="3C464B"/>
              </a:buClr>
              <a:buFont typeface="Arial" panose="020B0604020202020204" pitchFamily="34" charset="0"/>
              <a:buChar char="‒"/>
              <a:tabLst/>
              <a:defRPr>
                <a:solidFill>
                  <a:schemeClr val="tx1"/>
                </a:solidFill>
                <a:latin typeface="Arial" pitchFamily="34" charset="0"/>
                <a:ea typeface="+mn-ea"/>
                <a:cs typeface="Arial" pitchFamily="34" charset="0"/>
              </a:defRPr>
            </a:lvl2pPr>
            <a:lvl3pPr marL="358775" indent="-177800" algn="l" rtl="0" fontAlgn="base">
              <a:lnSpc>
                <a:spcPct val="100000"/>
              </a:lnSpc>
              <a:spcBef>
                <a:spcPts val="300"/>
              </a:spcBef>
              <a:spcAft>
                <a:spcPct val="0"/>
              </a:spcAft>
              <a:buClr>
                <a:srgbClr val="3C464B"/>
              </a:buClr>
              <a:buFont typeface="Arial" panose="020B0604020202020204" pitchFamily="34" charset="0"/>
              <a:buChar char="‒"/>
              <a:tabLst/>
              <a:defRPr>
                <a:solidFill>
                  <a:schemeClr val="tx1"/>
                </a:solidFill>
                <a:latin typeface="Arial" pitchFamily="34" charset="0"/>
                <a:ea typeface="+mn-ea"/>
                <a:cs typeface="Arial" pitchFamily="34" charset="0"/>
              </a:defRPr>
            </a:lvl3pPr>
            <a:lvl4pPr marL="538163" indent="-177800" algn="l" rtl="0" fontAlgn="base">
              <a:lnSpc>
                <a:spcPct val="100000"/>
              </a:lnSpc>
              <a:spcBef>
                <a:spcPts val="300"/>
              </a:spcBef>
              <a:spcAft>
                <a:spcPct val="0"/>
              </a:spcAft>
              <a:buClr>
                <a:srgbClr val="3C464B"/>
              </a:buClr>
              <a:buFont typeface="Arial" panose="020B0604020202020204" pitchFamily="34" charset="0"/>
              <a:buChar char="‒"/>
              <a:tabLst/>
              <a:defRPr>
                <a:solidFill>
                  <a:schemeClr val="tx1"/>
                </a:solidFill>
                <a:latin typeface="Arial" pitchFamily="34" charset="0"/>
                <a:ea typeface="+mn-ea"/>
                <a:cs typeface="Arial" pitchFamily="34" charset="0"/>
              </a:defRPr>
            </a:lvl4pPr>
            <a:lvl5pPr marL="717550" indent="-177800" algn="l" rtl="0" fontAlgn="base">
              <a:lnSpc>
                <a:spcPct val="100000"/>
              </a:lnSpc>
              <a:spcBef>
                <a:spcPts val="300"/>
              </a:spcBef>
              <a:spcAft>
                <a:spcPct val="0"/>
              </a:spcAft>
              <a:buClr>
                <a:srgbClr val="3C464B"/>
              </a:buClr>
              <a:buFont typeface="Arial" panose="020B0604020202020204" pitchFamily="34" charset="0"/>
              <a:buChar char="‒"/>
              <a:tabLst/>
              <a:defRPr baseline="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spcBef>
                <a:spcPts val="0"/>
              </a:spcBef>
            </a:pPr>
            <a:r>
              <a:rPr lang="en-US" sz="1799" b="1" dirty="0">
                <a:solidFill>
                  <a:srgbClr val="66667E"/>
                </a:solidFill>
                <a:latin typeface="+mn-lt"/>
                <a:ea typeface="Arial Unicode MS" panose="020B0604020202020204" pitchFamily="34" charset="-128"/>
                <a:cs typeface="Arial Unicode MS" panose="020B0604020202020204" pitchFamily="34" charset="-128"/>
              </a:rPr>
              <a:t>Duis arcu tortor</a:t>
            </a:r>
            <a:endParaRPr lang="en-US" sz="1799" dirty="0">
              <a:solidFill>
                <a:srgbClr val="66667E"/>
              </a:solidFill>
              <a:latin typeface="+mn-lt"/>
              <a:ea typeface="Arial Unicode MS" panose="020B0604020202020204" pitchFamily="34" charset="-128"/>
              <a:cs typeface="Arial Unicode MS" panose="020B0604020202020204" pitchFamily="34" charset="-128"/>
            </a:endParaRPr>
          </a:p>
        </p:txBody>
      </p:sp>
      <p:sp>
        <p:nvSpPr>
          <p:cNvPr id="7" name="Rechteck 6"/>
          <p:cNvSpPr>
            <a:spLocks/>
          </p:cNvSpPr>
          <p:nvPr/>
        </p:nvSpPr>
        <p:spPr bwMode="gray">
          <a:xfrm>
            <a:off x="411062" y="3963010"/>
            <a:ext cx="2880000" cy="1843790"/>
          </a:xfrm>
          <a:prstGeom prst="rect">
            <a:avLst/>
          </a:prstGeom>
          <a:noFill/>
          <a:ln>
            <a:noFill/>
          </a:ln>
          <a:effectLst/>
        </p:spPr>
        <p:txBody>
          <a:bodyPr wrap="square" lIns="179906" tIns="107944" rIns="179906" bIns="179906" rtlCol="0" anchor="b" anchorCtr="0">
            <a:noAutofit/>
          </a:bodyPr>
          <a:lstStyle/>
          <a:p>
            <a:r>
              <a:rPr lang="en-US" sz="3598" b="1" dirty="0">
                <a:solidFill>
                  <a:srgbClr val="FFFFFF"/>
                </a:solidFill>
              </a:rPr>
              <a:t>Ultricies</a:t>
            </a:r>
          </a:p>
          <a:p>
            <a:pPr>
              <a:spcBef>
                <a:spcPts val="300"/>
              </a:spcBef>
            </a:pPr>
            <a:r>
              <a:rPr lang="en-US" sz="1599" dirty="0">
                <a:solidFill>
                  <a:srgbClr val="FFFFFF"/>
                </a:solidFill>
              </a:rPr>
              <a:t>Stet clita kasd gubergren, no sea takimata sanctus</a:t>
            </a:r>
          </a:p>
        </p:txBody>
      </p:sp>
      <p:cxnSp>
        <p:nvCxnSpPr>
          <p:cNvPr id="8" name="Straight Connector 40"/>
          <p:cNvCxnSpPr>
            <a:cxnSpLocks/>
          </p:cNvCxnSpPr>
          <p:nvPr/>
        </p:nvCxnSpPr>
        <p:spPr bwMode="gray">
          <a:xfrm>
            <a:off x="411063" y="3826800"/>
            <a:ext cx="2878226"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platzhalter 2"/>
          <p:cNvSpPr txBox="1">
            <a:spLocks/>
          </p:cNvSpPr>
          <p:nvPr/>
        </p:nvSpPr>
        <p:spPr bwMode="gray">
          <a:xfrm>
            <a:off x="3650400" y="3971197"/>
            <a:ext cx="1512000" cy="1835603"/>
          </a:xfrm>
          <a:prstGeom prst="rect">
            <a:avLst/>
          </a:prstGeom>
          <a:solidFill>
            <a:srgbClr val="E5E5E9"/>
          </a:solidFill>
          <a:ln>
            <a:noFill/>
          </a:ln>
        </p:spPr>
        <p:txBody>
          <a:bodyPr vert="horz" wrap="square" lIns="143925" tIns="107944" rIns="143925" bIns="107944"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marL="0" lvl="1" indent="0">
              <a:spcBef>
                <a:spcPts val="0"/>
              </a:spcBef>
              <a:buNone/>
            </a:pPr>
            <a:r>
              <a:rPr lang="en-US" sz="1599" b="1" dirty="0">
                <a:solidFill>
                  <a:srgbClr val="333353"/>
                </a:solidFill>
              </a:rPr>
              <a:t>Phasellus nec sem</a:t>
            </a:r>
          </a:p>
        </p:txBody>
      </p:sp>
      <p:sp>
        <p:nvSpPr>
          <p:cNvPr id="10" name="Textplatzhalter 2"/>
          <p:cNvSpPr txBox="1">
            <a:spLocks/>
          </p:cNvSpPr>
          <p:nvPr/>
        </p:nvSpPr>
        <p:spPr bwMode="gray">
          <a:xfrm>
            <a:off x="3650400" y="5096618"/>
            <a:ext cx="1512000" cy="710182"/>
          </a:xfrm>
          <a:prstGeom prst="rect">
            <a:avLst/>
          </a:prstGeom>
          <a:noFill/>
          <a:ln>
            <a:noFill/>
          </a:ln>
        </p:spPr>
        <p:txBody>
          <a:bodyPr vert="horz" wrap="square" lIns="107944" tIns="107944" rIns="107944" bIns="107944" rtlCol="0" anchor="b">
            <a:sp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a:spcBef>
                <a:spcPts val="300"/>
              </a:spcBef>
            </a:pPr>
            <a:r>
              <a:rPr lang="en-US" sz="1599" spc="-20" dirty="0">
                <a:solidFill>
                  <a:srgbClr val="333353"/>
                </a:solidFill>
              </a:rPr>
              <a:t>At vero eos et accusam</a:t>
            </a:r>
          </a:p>
        </p:txBody>
      </p:sp>
      <p:sp>
        <p:nvSpPr>
          <p:cNvPr id="11" name="Textplatzhalter 2"/>
          <p:cNvSpPr txBox="1">
            <a:spLocks/>
          </p:cNvSpPr>
          <p:nvPr/>
        </p:nvSpPr>
        <p:spPr bwMode="gray">
          <a:xfrm>
            <a:off x="5306400" y="3477277"/>
            <a:ext cx="1512000" cy="2329523"/>
          </a:xfrm>
          <a:prstGeom prst="rect">
            <a:avLst/>
          </a:prstGeom>
          <a:solidFill>
            <a:srgbClr val="E5E5E9"/>
          </a:solidFill>
          <a:ln>
            <a:noFill/>
          </a:ln>
        </p:spPr>
        <p:txBody>
          <a:bodyPr vert="horz" wrap="square" lIns="143925" tIns="107944" rIns="143925" bIns="107944"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marL="0" lvl="1" indent="0">
              <a:spcBef>
                <a:spcPts val="0"/>
              </a:spcBef>
              <a:buNone/>
            </a:pPr>
            <a:r>
              <a:rPr lang="en-US" sz="1599" b="1" dirty="0">
                <a:solidFill>
                  <a:srgbClr val="333353"/>
                </a:solidFill>
              </a:rPr>
              <a:t>Cras ultricies</a:t>
            </a:r>
          </a:p>
        </p:txBody>
      </p:sp>
      <p:sp>
        <p:nvSpPr>
          <p:cNvPr id="12" name="Textplatzhalter 2"/>
          <p:cNvSpPr txBox="1">
            <a:spLocks/>
          </p:cNvSpPr>
          <p:nvPr/>
        </p:nvSpPr>
        <p:spPr bwMode="gray">
          <a:xfrm>
            <a:off x="5306400" y="5096618"/>
            <a:ext cx="1512000" cy="710182"/>
          </a:xfrm>
          <a:prstGeom prst="rect">
            <a:avLst/>
          </a:prstGeom>
          <a:noFill/>
          <a:ln>
            <a:noFill/>
          </a:ln>
        </p:spPr>
        <p:txBody>
          <a:bodyPr vert="horz" wrap="square" lIns="107944" tIns="107944" rIns="107944" bIns="107944" rtlCol="0" anchor="b">
            <a:spAutoFit/>
          </a:bodyPr>
          <a:lstStyle>
            <a:defPPr>
              <a:defRPr lang="de-DE"/>
            </a:defPPr>
            <a:lvl1pPr marL="0" marR="0" indent="0" defTabSz="914400" eaLnBrk="0" latinLnBrk="0" hangingPunct="0">
              <a:lnSpc>
                <a:spcPct val="100000"/>
              </a:lnSpc>
              <a:spcBef>
                <a:spcPts val="0"/>
              </a:spcBef>
              <a:buClrTx/>
              <a:buSzTx/>
              <a:buFont typeface="Wingdings" pitchFamily="2" charset="2"/>
              <a:buNone/>
              <a:tabLst/>
              <a:defRPr sz="1600" baseline="0">
                <a:solidFill>
                  <a:schemeClr val="bg1"/>
                </a:solidFill>
                <a:latin typeface="+mn-lt"/>
                <a:ea typeface="+mn-ea"/>
              </a:defRPr>
            </a:lvl1pPr>
            <a:lvl2pPr marL="179388" indent="-179388" eaLnBrk="0" hangingPunct="0">
              <a:lnSpc>
                <a:spcPct val="100000"/>
              </a:lnSpc>
              <a:spcBef>
                <a:spcPts val="600"/>
              </a:spcBef>
              <a:buClr>
                <a:schemeClr val="accent1"/>
              </a:buClr>
              <a:buFont typeface="Arial" pitchFamily="34" charset="0"/>
              <a:buChar char="•"/>
              <a:defRPr sz="1400">
                <a:solidFill>
                  <a:schemeClr val="tx1"/>
                </a:solidFill>
                <a:latin typeface="+mn-lt"/>
                <a:ea typeface="+mn-ea"/>
              </a:defRPr>
            </a:lvl2pPr>
            <a:lvl3pPr marL="358775" indent="-177800" eaLnBrk="0" hangingPunct="0">
              <a:lnSpc>
                <a:spcPct val="100000"/>
              </a:lnSpc>
              <a:spcBef>
                <a:spcPts val="600"/>
              </a:spcBef>
              <a:buClr>
                <a:srgbClr val="879BAA"/>
              </a:buClr>
              <a:buChar char="•"/>
              <a:defRPr sz="1400">
                <a:solidFill>
                  <a:schemeClr val="tx1"/>
                </a:solidFill>
                <a:latin typeface="+mn-lt"/>
                <a:ea typeface="+mn-ea"/>
              </a:defRPr>
            </a:lvl3pPr>
            <a:lvl4pPr marL="538163" indent="-177800" eaLnBrk="0" hangingPunct="0">
              <a:lnSpc>
                <a:spcPct val="100000"/>
              </a:lnSpc>
              <a:spcBef>
                <a:spcPts val="600"/>
              </a:spcBef>
              <a:buClr>
                <a:srgbClr val="879BAA"/>
              </a:buClr>
              <a:buChar char="•"/>
              <a:defRPr sz="1400">
                <a:solidFill>
                  <a:schemeClr val="tx1"/>
                </a:solidFill>
                <a:latin typeface="+mn-lt"/>
                <a:ea typeface="+mn-ea"/>
              </a:defRPr>
            </a:lvl4pPr>
            <a:lvl5pPr marL="717550" indent="-177800" eaLnBrk="0" hangingPunct="0">
              <a:lnSpc>
                <a:spcPct val="100000"/>
              </a:lnSpc>
              <a:spcBef>
                <a:spcPts val="600"/>
              </a:spcBef>
              <a:buClr>
                <a:srgbClr val="879BAA"/>
              </a:buClr>
              <a:buChar char="•"/>
              <a:defRPr sz="1400">
                <a:solidFill>
                  <a:schemeClr val="tx1"/>
                </a:solidFill>
                <a:latin typeface="+mn-lt"/>
                <a:ea typeface="+mn-ea"/>
              </a:defRPr>
            </a:lvl5pPr>
            <a:lvl6pPr marL="1174750" indent="-17780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fontAlgn="base">
              <a:lnSpc>
                <a:spcPct val="110000"/>
              </a:lnSpc>
              <a:spcBef>
                <a:spcPct val="0"/>
              </a:spcBef>
              <a:spcAft>
                <a:spcPct val="0"/>
              </a:spcAft>
              <a:buClr>
                <a:srgbClr val="879BAA"/>
              </a:buClr>
              <a:buChar char="•"/>
              <a:defRPr>
                <a:solidFill>
                  <a:schemeClr val="tx1"/>
                </a:solidFill>
                <a:latin typeface="+mn-lt"/>
                <a:ea typeface="+mn-ea"/>
              </a:defRPr>
            </a:lvl9pPr>
          </a:lstStyle>
          <a:p>
            <a:pPr>
              <a:spcBef>
                <a:spcPts val="300"/>
              </a:spcBef>
            </a:pPr>
            <a:r>
              <a:rPr lang="en-US" sz="1599" spc="-20" dirty="0">
                <a:solidFill>
                  <a:srgbClr val="333353"/>
                </a:solidFill>
              </a:rPr>
              <a:t>Cras ultricies mi eu</a:t>
            </a:r>
          </a:p>
        </p:txBody>
      </p:sp>
      <p:sp>
        <p:nvSpPr>
          <p:cNvPr id="13" name="Textplatzhalter 2"/>
          <p:cNvSpPr txBox="1">
            <a:spLocks/>
          </p:cNvSpPr>
          <p:nvPr/>
        </p:nvSpPr>
        <p:spPr bwMode="gray">
          <a:xfrm>
            <a:off x="6962400" y="2983356"/>
            <a:ext cx="1512000" cy="2823444"/>
          </a:xfrm>
          <a:prstGeom prst="rect">
            <a:avLst/>
          </a:prstGeom>
          <a:solidFill>
            <a:srgbClr val="E5E5E9"/>
          </a:solidFill>
          <a:ln>
            <a:noFill/>
          </a:ln>
        </p:spPr>
        <p:txBody>
          <a:bodyPr vert="horz" wrap="square" lIns="143925" tIns="107944" rIns="143925" bIns="107944"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marL="0" lvl="1" indent="0">
              <a:spcBef>
                <a:spcPts val="0"/>
              </a:spcBef>
              <a:buNone/>
            </a:pPr>
            <a:r>
              <a:rPr lang="en-US" sz="1599" b="1" dirty="0">
                <a:solidFill>
                  <a:srgbClr val="333353"/>
                </a:solidFill>
              </a:rPr>
              <a:t>At vero eos et accusam</a:t>
            </a:r>
          </a:p>
        </p:txBody>
      </p:sp>
      <p:sp>
        <p:nvSpPr>
          <p:cNvPr id="14" name="Textplatzhalter 2"/>
          <p:cNvSpPr txBox="1">
            <a:spLocks/>
          </p:cNvSpPr>
          <p:nvPr/>
        </p:nvSpPr>
        <p:spPr bwMode="gray">
          <a:xfrm>
            <a:off x="6962400" y="4604432"/>
            <a:ext cx="1512000" cy="1202368"/>
          </a:xfrm>
          <a:prstGeom prst="rect">
            <a:avLst/>
          </a:prstGeom>
          <a:noFill/>
          <a:ln>
            <a:noFill/>
          </a:ln>
        </p:spPr>
        <p:txBody>
          <a:bodyPr vert="horz" wrap="square" lIns="107944" tIns="107944" rIns="107944" bIns="107944" rtlCol="0" anchor="b">
            <a:spAutoFit/>
          </a:bodyPr>
          <a:lstStyle>
            <a:defPPr>
              <a:defRPr lang="de-DE"/>
            </a:defPPr>
            <a:lvl1pPr marL="0" marR="0" indent="0" defTabSz="914400" eaLnBrk="0" latinLnBrk="0" hangingPunct="0">
              <a:lnSpc>
                <a:spcPct val="100000"/>
              </a:lnSpc>
              <a:spcBef>
                <a:spcPts val="0"/>
              </a:spcBef>
              <a:buClrTx/>
              <a:buSzTx/>
              <a:buFont typeface="Wingdings" pitchFamily="2" charset="2"/>
              <a:buNone/>
              <a:tabLst/>
              <a:defRPr sz="1600" baseline="0">
                <a:solidFill>
                  <a:schemeClr val="bg1"/>
                </a:solidFill>
                <a:latin typeface="+mn-lt"/>
                <a:ea typeface="+mn-ea"/>
              </a:defRPr>
            </a:lvl1pPr>
            <a:lvl2pPr marL="179388" indent="-179388" eaLnBrk="0" hangingPunct="0">
              <a:lnSpc>
                <a:spcPct val="100000"/>
              </a:lnSpc>
              <a:spcBef>
                <a:spcPts val="600"/>
              </a:spcBef>
              <a:buClr>
                <a:schemeClr val="accent1"/>
              </a:buClr>
              <a:buFont typeface="Arial" pitchFamily="34" charset="0"/>
              <a:buChar char="•"/>
              <a:defRPr sz="1400">
                <a:solidFill>
                  <a:schemeClr val="tx1"/>
                </a:solidFill>
                <a:latin typeface="+mn-lt"/>
                <a:ea typeface="+mn-ea"/>
              </a:defRPr>
            </a:lvl2pPr>
            <a:lvl3pPr marL="358775" indent="-177800" eaLnBrk="0" hangingPunct="0">
              <a:lnSpc>
                <a:spcPct val="100000"/>
              </a:lnSpc>
              <a:spcBef>
                <a:spcPts val="600"/>
              </a:spcBef>
              <a:buClr>
                <a:srgbClr val="879BAA"/>
              </a:buClr>
              <a:buChar char="•"/>
              <a:defRPr sz="1400">
                <a:solidFill>
                  <a:schemeClr val="tx1"/>
                </a:solidFill>
                <a:latin typeface="+mn-lt"/>
                <a:ea typeface="+mn-ea"/>
              </a:defRPr>
            </a:lvl3pPr>
            <a:lvl4pPr marL="538163" indent="-177800" eaLnBrk="0" hangingPunct="0">
              <a:lnSpc>
                <a:spcPct val="100000"/>
              </a:lnSpc>
              <a:spcBef>
                <a:spcPts val="600"/>
              </a:spcBef>
              <a:buClr>
                <a:srgbClr val="879BAA"/>
              </a:buClr>
              <a:buChar char="•"/>
              <a:defRPr sz="1400">
                <a:solidFill>
                  <a:schemeClr val="tx1"/>
                </a:solidFill>
                <a:latin typeface="+mn-lt"/>
                <a:ea typeface="+mn-ea"/>
              </a:defRPr>
            </a:lvl4pPr>
            <a:lvl5pPr marL="717550" indent="-177800" eaLnBrk="0" hangingPunct="0">
              <a:lnSpc>
                <a:spcPct val="100000"/>
              </a:lnSpc>
              <a:spcBef>
                <a:spcPts val="600"/>
              </a:spcBef>
              <a:buClr>
                <a:srgbClr val="879BAA"/>
              </a:buClr>
              <a:buChar char="•"/>
              <a:defRPr sz="1400">
                <a:solidFill>
                  <a:schemeClr val="tx1"/>
                </a:solidFill>
                <a:latin typeface="+mn-lt"/>
                <a:ea typeface="+mn-ea"/>
              </a:defRPr>
            </a:lvl5pPr>
            <a:lvl6pPr marL="1174750" indent="-17780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fontAlgn="base">
              <a:lnSpc>
                <a:spcPct val="110000"/>
              </a:lnSpc>
              <a:spcBef>
                <a:spcPct val="0"/>
              </a:spcBef>
              <a:spcAft>
                <a:spcPct val="0"/>
              </a:spcAft>
              <a:buClr>
                <a:srgbClr val="879BAA"/>
              </a:buClr>
              <a:buChar char="•"/>
              <a:defRPr>
                <a:solidFill>
                  <a:schemeClr val="tx1"/>
                </a:solidFill>
                <a:latin typeface="+mn-lt"/>
                <a:ea typeface="+mn-ea"/>
              </a:defRPr>
            </a:lvl9pPr>
          </a:lstStyle>
          <a:p>
            <a:pPr>
              <a:spcBef>
                <a:spcPts val="300"/>
              </a:spcBef>
            </a:pPr>
            <a:r>
              <a:rPr lang="en-US" sz="1599" spc="-20" dirty="0">
                <a:solidFill>
                  <a:srgbClr val="333353"/>
                </a:solidFill>
              </a:rPr>
              <a:t>Consetetur sadipscing elitr, seddiam nonumy</a:t>
            </a:r>
          </a:p>
        </p:txBody>
      </p:sp>
      <p:sp>
        <p:nvSpPr>
          <p:cNvPr id="15" name="Textplatzhalter 2"/>
          <p:cNvSpPr txBox="1">
            <a:spLocks/>
          </p:cNvSpPr>
          <p:nvPr/>
        </p:nvSpPr>
        <p:spPr bwMode="gray">
          <a:xfrm>
            <a:off x="8618400" y="2489440"/>
            <a:ext cx="1512000" cy="3317360"/>
          </a:xfrm>
          <a:prstGeom prst="rect">
            <a:avLst/>
          </a:prstGeom>
          <a:solidFill>
            <a:srgbClr val="E5E5E9"/>
          </a:solidFill>
          <a:ln>
            <a:noFill/>
          </a:ln>
        </p:spPr>
        <p:txBody>
          <a:bodyPr vert="horz" wrap="square" lIns="143925" tIns="107944" rIns="143925" bIns="107944"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marL="0" lvl="1" indent="0">
              <a:spcBef>
                <a:spcPts val="0"/>
              </a:spcBef>
              <a:buNone/>
            </a:pPr>
            <a:r>
              <a:rPr lang="en-US" sz="1599" b="1" dirty="0">
                <a:solidFill>
                  <a:srgbClr val="333353"/>
                </a:solidFill>
              </a:rPr>
              <a:t>Est lorem ipsum dolor sit amet</a:t>
            </a:r>
          </a:p>
        </p:txBody>
      </p:sp>
      <p:sp>
        <p:nvSpPr>
          <p:cNvPr id="16" name="Textplatzhalter 2"/>
          <p:cNvSpPr txBox="1">
            <a:spLocks/>
          </p:cNvSpPr>
          <p:nvPr/>
        </p:nvSpPr>
        <p:spPr bwMode="gray">
          <a:xfrm>
            <a:off x="8618400" y="5096618"/>
            <a:ext cx="1512000" cy="710182"/>
          </a:xfrm>
          <a:prstGeom prst="rect">
            <a:avLst/>
          </a:prstGeom>
          <a:noFill/>
          <a:ln>
            <a:noFill/>
          </a:ln>
        </p:spPr>
        <p:txBody>
          <a:bodyPr vert="horz" wrap="square" lIns="107944" tIns="107944" rIns="107944" bIns="107944" rtlCol="0" anchor="b">
            <a:spAutoFit/>
          </a:bodyPr>
          <a:lstStyle>
            <a:defPPr>
              <a:defRPr lang="de-DE"/>
            </a:defPPr>
            <a:lvl1pPr marL="0" marR="0" indent="0" defTabSz="914400" eaLnBrk="0" latinLnBrk="0" hangingPunct="0">
              <a:lnSpc>
                <a:spcPct val="100000"/>
              </a:lnSpc>
              <a:spcBef>
                <a:spcPts val="0"/>
              </a:spcBef>
              <a:buClrTx/>
              <a:buSzTx/>
              <a:buFont typeface="Wingdings" pitchFamily="2" charset="2"/>
              <a:buNone/>
              <a:tabLst/>
              <a:defRPr sz="1600" baseline="0">
                <a:solidFill>
                  <a:schemeClr val="bg1"/>
                </a:solidFill>
                <a:latin typeface="+mn-lt"/>
                <a:ea typeface="+mn-ea"/>
              </a:defRPr>
            </a:lvl1pPr>
            <a:lvl2pPr marL="179388" indent="-179388" eaLnBrk="0" hangingPunct="0">
              <a:lnSpc>
                <a:spcPct val="100000"/>
              </a:lnSpc>
              <a:spcBef>
                <a:spcPts val="600"/>
              </a:spcBef>
              <a:buClr>
                <a:schemeClr val="accent1"/>
              </a:buClr>
              <a:buFont typeface="Arial" pitchFamily="34" charset="0"/>
              <a:buChar char="•"/>
              <a:defRPr sz="1400">
                <a:solidFill>
                  <a:schemeClr val="tx1"/>
                </a:solidFill>
                <a:latin typeface="+mn-lt"/>
                <a:ea typeface="+mn-ea"/>
              </a:defRPr>
            </a:lvl2pPr>
            <a:lvl3pPr marL="358775" indent="-177800" eaLnBrk="0" hangingPunct="0">
              <a:lnSpc>
                <a:spcPct val="100000"/>
              </a:lnSpc>
              <a:spcBef>
                <a:spcPts val="600"/>
              </a:spcBef>
              <a:buClr>
                <a:srgbClr val="879BAA"/>
              </a:buClr>
              <a:buChar char="•"/>
              <a:defRPr sz="1400">
                <a:solidFill>
                  <a:schemeClr val="tx1"/>
                </a:solidFill>
                <a:latin typeface="+mn-lt"/>
                <a:ea typeface="+mn-ea"/>
              </a:defRPr>
            </a:lvl3pPr>
            <a:lvl4pPr marL="538163" indent="-177800" eaLnBrk="0" hangingPunct="0">
              <a:lnSpc>
                <a:spcPct val="100000"/>
              </a:lnSpc>
              <a:spcBef>
                <a:spcPts val="600"/>
              </a:spcBef>
              <a:buClr>
                <a:srgbClr val="879BAA"/>
              </a:buClr>
              <a:buChar char="•"/>
              <a:defRPr sz="1400">
                <a:solidFill>
                  <a:schemeClr val="tx1"/>
                </a:solidFill>
                <a:latin typeface="+mn-lt"/>
                <a:ea typeface="+mn-ea"/>
              </a:defRPr>
            </a:lvl4pPr>
            <a:lvl5pPr marL="717550" indent="-177800" eaLnBrk="0" hangingPunct="0">
              <a:lnSpc>
                <a:spcPct val="100000"/>
              </a:lnSpc>
              <a:spcBef>
                <a:spcPts val="600"/>
              </a:spcBef>
              <a:buClr>
                <a:srgbClr val="879BAA"/>
              </a:buClr>
              <a:buChar char="•"/>
              <a:defRPr sz="1400">
                <a:solidFill>
                  <a:schemeClr val="tx1"/>
                </a:solidFill>
                <a:latin typeface="+mn-lt"/>
                <a:ea typeface="+mn-ea"/>
              </a:defRPr>
            </a:lvl5pPr>
            <a:lvl6pPr marL="1174750" indent="-17780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fontAlgn="base">
              <a:lnSpc>
                <a:spcPct val="110000"/>
              </a:lnSpc>
              <a:spcBef>
                <a:spcPct val="0"/>
              </a:spcBef>
              <a:spcAft>
                <a:spcPct val="0"/>
              </a:spcAft>
              <a:buClr>
                <a:srgbClr val="879BAA"/>
              </a:buClr>
              <a:buChar char="•"/>
              <a:defRPr>
                <a:solidFill>
                  <a:schemeClr val="tx1"/>
                </a:solidFill>
                <a:latin typeface="+mn-lt"/>
                <a:ea typeface="+mn-ea"/>
              </a:defRPr>
            </a:lvl9pPr>
          </a:lstStyle>
          <a:p>
            <a:pPr>
              <a:spcBef>
                <a:spcPts val="300"/>
              </a:spcBef>
            </a:pPr>
            <a:r>
              <a:rPr lang="en-US" sz="1599" spc="-20" dirty="0">
                <a:solidFill>
                  <a:srgbClr val="333353"/>
                </a:solidFill>
              </a:rPr>
              <a:t>Duis arcu tortor</a:t>
            </a:r>
          </a:p>
        </p:txBody>
      </p:sp>
      <p:sp>
        <p:nvSpPr>
          <p:cNvPr id="17" name="Textplatzhalter 2"/>
          <p:cNvSpPr txBox="1">
            <a:spLocks/>
          </p:cNvSpPr>
          <p:nvPr/>
        </p:nvSpPr>
        <p:spPr bwMode="gray">
          <a:xfrm>
            <a:off x="10274400" y="1990800"/>
            <a:ext cx="1512000" cy="3816000"/>
          </a:xfrm>
          <a:prstGeom prst="rect">
            <a:avLst/>
          </a:prstGeom>
          <a:solidFill>
            <a:srgbClr val="E5E5E9"/>
          </a:solidFill>
          <a:ln>
            <a:noFill/>
          </a:ln>
        </p:spPr>
        <p:txBody>
          <a:bodyPr vert="horz" wrap="square" lIns="143925" tIns="107944" rIns="143925" bIns="107944"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marL="0" lvl="1" indent="0">
              <a:spcBef>
                <a:spcPts val="0"/>
              </a:spcBef>
              <a:buNone/>
            </a:pPr>
            <a:r>
              <a:rPr lang="en-US" sz="1599" b="1" dirty="0">
                <a:solidFill>
                  <a:srgbClr val="333353"/>
                </a:solidFill>
              </a:rPr>
              <a:t>Consetetur sadipscing elitr, seddiam nonumy</a:t>
            </a:r>
          </a:p>
        </p:txBody>
      </p:sp>
      <p:sp>
        <p:nvSpPr>
          <p:cNvPr id="18" name="Textplatzhalter 2"/>
          <p:cNvSpPr txBox="1">
            <a:spLocks/>
          </p:cNvSpPr>
          <p:nvPr/>
        </p:nvSpPr>
        <p:spPr bwMode="gray">
          <a:xfrm>
            <a:off x="10274400" y="5096618"/>
            <a:ext cx="1512000" cy="710182"/>
          </a:xfrm>
          <a:prstGeom prst="rect">
            <a:avLst/>
          </a:prstGeom>
          <a:noFill/>
          <a:ln>
            <a:noFill/>
          </a:ln>
        </p:spPr>
        <p:txBody>
          <a:bodyPr vert="horz" wrap="square" lIns="107944" tIns="107944" rIns="107944" bIns="107944" rtlCol="0" anchor="b">
            <a:spAutoFit/>
          </a:bodyPr>
          <a:lstStyle>
            <a:defPPr>
              <a:defRPr lang="de-DE"/>
            </a:defPPr>
            <a:lvl1pPr marL="0" marR="0" indent="0" defTabSz="914400" eaLnBrk="0" latinLnBrk="0" hangingPunct="0">
              <a:lnSpc>
                <a:spcPct val="100000"/>
              </a:lnSpc>
              <a:spcBef>
                <a:spcPts val="0"/>
              </a:spcBef>
              <a:buClrTx/>
              <a:buSzTx/>
              <a:buFont typeface="Wingdings" pitchFamily="2" charset="2"/>
              <a:buNone/>
              <a:tabLst/>
              <a:defRPr sz="1600" baseline="0">
                <a:solidFill>
                  <a:schemeClr val="bg1"/>
                </a:solidFill>
                <a:latin typeface="+mn-lt"/>
                <a:ea typeface="+mn-ea"/>
              </a:defRPr>
            </a:lvl1pPr>
            <a:lvl2pPr marL="179388" indent="-179388" eaLnBrk="0" hangingPunct="0">
              <a:lnSpc>
                <a:spcPct val="100000"/>
              </a:lnSpc>
              <a:spcBef>
                <a:spcPts val="600"/>
              </a:spcBef>
              <a:buClr>
                <a:schemeClr val="accent1"/>
              </a:buClr>
              <a:buFont typeface="Arial" pitchFamily="34" charset="0"/>
              <a:buChar char="•"/>
              <a:defRPr sz="1400">
                <a:solidFill>
                  <a:schemeClr val="tx1"/>
                </a:solidFill>
                <a:latin typeface="+mn-lt"/>
                <a:ea typeface="+mn-ea"/>
              </a:defRPr>
            </a:lvl2pPr>
            <a:lvl3pPr marL="358775" indent="-177800" eaLnBrk="0" hangingPunct="0">
              <a:lnSpc>
                <a:spcPct val="100000"/>
              </a:lnSpc>
              <a:spcBef>
                <a:spcPts val="600"/>
              </a:spcBef>
              <a:buClr>
                <a:srgbClr val="879BAA"/>
              </a:buClr>
              <a:buChar char="•"/>
              <a:defRPr sz="1400">
                <a:solidFill>
                  <a:schemeClr val="tx1"/>
                </a:solidFill>
                <a:latin typeface="+mn-lt"/>
                <a:ea typeface="+mn-ea"/>
              </a:defRPr>
            </a:lvl3pPr>
            <a:lvl4pPr marL="538163" indent="-177800" eaLnBrk="0" hangingPunct="0">
              <a:lnSpc>
                <a:spcPct val="100000"/>
              </a:lnSpc>
              <a:spcBef>
                <a:spcPts val="600"/>
              </a:spcBef>
              <a:buClr>
                <a:srgbClr val="879BAA"/>
              </a:buClr>
              <a:buChar char="•"/>
              <a:defRPr sz="1400">
                <a:solidFill>
                  <a:schemeClr val="tx1"/>
                </a:solidFill>
                <a:latin typeface="+mn-lt"/>
                <a:ea typeface="+mn-ea"/>
              </a:defRPr>
            </a:lvl4pPr>
            <a:lvl5pPr marL="717550" indent="-177800" eaLnBrk="0" hangingPunct="0">
              <a:lnSpc>
                <a:spcPct val="100000"/>
              </a:lnSpc>
              <a:spcBef>
                <a:spcPts val="600"/>
              </a:spcBef>
              <a:buClr>
                <a:srgbClr val="879BAA"/>
              </a:buClr>
              <a:buChar char="•"/>
              <a:defRPr sz="1400">
                <a:solidFill>
                  <a:schemeClr val="tx1"/>
                </a:solidFill>
                <a:latin typeface="+mn-lt"/>
                <a:ea typeface="+mn-ea"/>
              </a:defRPr>
            </a:lvl5pPr>
            <a:lvl6pPr marL="1174750" indent="-17780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fontAlgn="base">
              <a:lnSpc>
                <a:spcPct val="110000"/>
              </a:lnSpc>
              <a:spcBef>
                <a:spcPct val="0"/>
              </a:spcBef>
              <a:spcAft>
                <a:spcPct val="0"/>
              </a:spcAft>
              <a:buClr>
                <a:srgbClr val="879BAA"/>
              </a:buClr>
              <a:buChar char="•"/>
              <a:defRPr>
                <a:solidFill>
                  <a:schemeClr val="tx1"/>
                </a:solidFill>
                <a:latin typeface="+mn-lt"/>
                <a:ea typeface="+mn-ea"/>
              </a:defRPr>
            </a:lvl9pPr>
          </a:lstStyle>
          <a:p>
            <a:pPr>
              <a:spcBef>
                <a:spcPts val="300"/>
              </a:spcBef>
            </a:pPr>
            <a:r>
              <a:rPr lang="en-US" sz="1599" spc="-20" dirty="0">
                <a:solidFill>
                  <a:srgbClr val="333353"/>
                </a:solidFill>
              </a:rPr>
              <a:t>Cras ultricies mi eu</a:t>
            </a:r>
          </a:p>
        </p:txBody>
      </p:sp>
      <p:sp>
        <p:nvSpPr>
          <p:cNvPr id="19" name="TextBox 48">
            <a:extLst>
              <a:ext uri="{FF2B5EF4-FFF2-40B4-BE49-F238E27FC236}">
                <a16:creationId xmlns:a16="http://schemas.microsoft.com/office/drawing/2014/main" id="{6880FA51-CF89-42F5-AAD7-B18CBD2F6BAD}"/>
              </a:ext>
            </a:extLst>
          </p:cNvPr>
          <p:cNvSpPr txBox="1">
            <a:spLocks noChangeArrowheads="1"/>
          </p:cNvSpPr>
          <p:nvPr/>
        </p:nvSpPr>
        <p:spPr bwMode="gray">
          <a:xfrm flipH="1">
            <a:off x="410400" y="1415848"/>
            <a:ext cx="2878501" cy="359813"/>
          </a:xfrm>
          <a:prstGeom prst="rect">
            <a:avLst/>
          </a:prstGeom>
          <a:noFill/>
          <a:ln w="9525">
            <a:noFill/>
            <a:miter lim="800000"/>
            <a:headEnd/>
            <a:tailEnd/>
          </a:ln>
        </p:spPr>
        <p:txBody>
          <a:bodyPr vert="horz" wrap="none" lIns="0" tIns="0" rIns="0" bIns="0" numCol="1" anchor="t" anchorCtr="0" compatLnSpc="1">
            <a:prstTxWarp prst="textNoShape">
              <a:avLst/>
            </a:prstTxWarp>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r>
              <a:rPr lang="en-US" sz="1799" b="1" kern="0" dirty="0">
                <a:solidFill>
                  <a:srgbClr val="66667E"/>
                </a:solidFill>
                <a:latin typeface="+mn-lt"/>
              </a:rPr>
              <a:t>Duis arcu tortor, suscip</a:t>
            </a:r>
          </a:p>
        </p:txBody>
      </p:sp>
      <p:sp>
        <p:nvSpPr>
          <p:cNvPr id="4" name="Footer Placeholder 3">
            <a:extLst>
              <a:ext uri="{FF2B5EF4-FFF2-40B4-BE49-F238E27FC236}">
                <a16:creationId xmlns:a16="http://schemas.microsoft.com/office/drawing/2014/main" id="{F9C57E45-94EA-4BF1-B4A0-AF30B8B2E66B}"/>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5" name="Slide Number Placeholder 4">
            <a:extLst>
              <a:ext uri="{FF2B5EF4-FFF2-40B4-BE49-F238E27FC236}">
                <a16:creationId xmlns:a16="http://schemas.microsoft.com/office/drawing/2014/main" id="{012EE3AC-BA75-469D-BCE8-91C51B651EAA}"/>
              </a:ext>
            </a:extLst>
          </p:cNvPr>
          <p:cNvSpPr>
            <a:spLocks noGrp="1"/>
          </p:cNvSpPr>
          <p:nvPr>
            <p:ph type="sldNum" sz="quarter" idx="11"/>
          </p:nvPr>
        </p:nvSpPr>
        <p:spPr/>
        <p:txBody>
          <a:bodyPr/>
          <a:lstStyle/>
          <a:p>
            <a:r>
              <a:rPr lang="en-US" dirty="0"/>
              <a:t>Page </a:t>
            </a:r>
            <a:fld id="{15EBE321-CBB1-4E91-BD14-37C8D44326FB}" type="slidenum">
              <a:rPr lang="en-US" smtClean="0"/>
              <a:pPr/>
              <a:t>124</a:t>
            </a:fld>
            <a:endParaRPr lang="en-US" dirty="0"/>
          </a:p>
        </p:txBody>
      </p:sp>
    </p:spTree>
    <p:extLst>
      <p:ext uri="{BB962C8B-B14F-4D97-AF65-F5344CB8AC3E}">
        <p14:creationId xmlns:p14="http://schemas.microsoft.com/office/powerpoint/2010/main" val="3879663864"/>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Process – cards</a:t>
            </a:r>
          </a:p>
        </p:txBody>
      </p:sp>
      <p:sp>
        <p:nvSpPr>
          <p:cNvPr id="3" name="Rechteck 2"/>
          <p:cNvSpPr>
            <a:spLocks/>
          </p:cNvSpPr>
          <p:nvPr/>
        </p:nvSpPr>
        <p:spPr bwMode="gray">
          <a:xfrm>
            <a:off x="411063" y="1846800"/>
            <a:ext cx="2878226" cy="3960000"/>
          </a:xfrm>
          <a:prstGeom prst="rect">
            <a:avLst/>
          </a:prstGeom>
          <a:solidFill>
            <a:srgbClr val="00FFB9"/>
          </a:solidFill>
          <a:ln w="9525">
            <a:noFill/>
            <a:miter lim="800000"/>
            <a:headEnd/>
            <a:tailEnd/>
          </a:ln>
        </p:spPr>
        <p:txBody>
          <a:bodyPr vert="horz" wrap="square" lIns="179906" tIns="107944" rIns="179906" bIns="1799063" numCol="1" anchor="t" anchorCtr="0" compatLnSpc="1">
            <a:prstTxWarp prst="textNoShape">
              <a:avLst/>
            </a:prstTxWarp>
            <a:noAutofit/>
          </a:bodyPr>
          <a:lstStyle/>
          <a:p>
            <a:r>
              <a:rPr lang="en-US" sz="3598" b="1" dirty="0">
                <a:solidFill>
                  <a:schemeClr val="bg2"/>
                </a:solidFill>
              </a:rPr>
              <a:t>Lorem</a:t>
            </a:r>
          </a:p>
          <a:p>
            <a:pPr>
              <a:spcBef>
                <a:spcPts val="300"/>
              </a:spcBef>
            </a:pPr>
            <a:r>
              <a:rPr lang="en-US" sz="1599" dirty="0">
                <a:solidFill>
                  <a:schemeClr val="bg2"/>
                </a:solidFill>
              </a:rPr>
              <a:t>At vero eos et </a:t>
            </a:r>
            <a:br>
              <a:rPr lang="en-US" sz="1599" dirty="0">
                <a:solidFill>
                  <a:schemeClr val="bg2"/>
                </a:solidFill>
              </a:rPr>
            </a:br>
            <a:r>
              <a:rPr lang="en-US" sz="1599" dirty="0">
                <a:solidFill>
                  <a:schemeClr val="bg2"/>
                </a:solidFill>
              </a:rPr>
              <a:t>accusam</a:t>
            </a:r>
          </a:p>
        </p:txBody>
      </p:sp>
      <p:sp>
        <p:nvSpPr>
          <p:cNvPr id="6" name="TextBox 2"/>
          <p:cNvSpPr txBox="1">
            <a:spLocks noChangeArrowheads="1"/>
          </p:cNvSpPr>
          <p:nvPr>
            <p:custDataLst>
              <p:tags r:id="rId1"/>
            </p:custDataLst>
          </p:nvPr>
        </p:nvSpPr>
        <p:spPr bwMode="gray">
          <a:xfrm>
            <a:off x="411062" y="5806800"/>
            <a:ext cx="2878501" cy="360000"/>
          </a:xfrm>
          <a:prstGeom prst="rect">
            <a:avLst/>
          </a:prstGeom>
          <a:noFill/>
          <a:ln w="9525">
            <a:noFill/>
            <a:miter lim="800000"/>
            <a:headEnd/>
            <a:tailEnd/>
          </a:ln>
        </p:spPr>
        <p:txBody>
          <a:bodyPr vert="horz" wrap="square" lIns="0" tIns="0" rIns="0" bIns="0" numCol="1" anchor="b" anchorCtr="0" compatLnSpc="1">
            <a:prstTxWarp prst="textNoShape">
              <a:avLst/>
            </a:prstTxWarp>
            <a:noAutofit/>
          </a:bodyPr>
          <a:lstStyle>
            <a:lvl1pPr marL="0" indent="0" algn="l" rtl="0" fontAlgn="base">
              <a:lnSpc>
                <a:spcPct val="100000"/>
              </a:lnSpc>
              <a:spcBef>
                <a:spcPts val="30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00000"/>
              </a:lnSpc>
              <a:spcBef>
                <a:spcPts val="300"/>
              </a:spcBef>
              <a:spcAft>
                <a:spcPct val="0"/>
              </a:spcAft>
              <a:buClr>
                <a:srgbClr val="3C464B"/>
              </a:buClr>
              <a:buFont typeface="Arial" panose="020B0604020202020204" pitchFamily="34" charset="0"/>
              <a:buChar char="‒"/>
              <a:tabLst/>
              <a:defRPr>
                <a:solidFill>
                  <a:schemeClr val="tx1"/>
                </a:solidFill>
                <a:latin typeface="Arial" pitchFamily="34" charset="0"/>
                <a:ea typeface="+mn-ea"/>
                <a:cs typeface="Arial" pitchFamily="34" charset="0"/>
              </a:defRPr>
            </a:lvl2pPr>
            <a:lvl3pPr marL="358775" indent="-177800" algn="l" rtl="0" fontAlgn="base">
              <a:lnSpc>
                <a:spcPct val="100000"/>
              </a:lnSpc>
              <a:spcBef>
                <a:spcPts val="300"/>
              </a:spcBef>
              <a:spcAft>
                <a:spcPct val="0"/>
              </a:spcAft>
              <a:buClr>
                <a:srgbClr val="3C464B"/>
              </a:buClr>
              <a:buFont typeface="Arial" panose="020B0604020202020204" pitchFamily="34" charset="0"/>
              <a:buChar char="‒"/>
              <a:tabLst/>
              <a:defRPr>
                <a:solidFill>
                  <a:schemeClr val="tx1"/>
                </a:solidFill>
                <a:latin typeface="Arial" pitchFamily="34" charset="0"/>
                <a:ea typeface="+mn-ea"/>
                <a:cs typeface="Arial" pitchFamily="34" charset="0"/>
              </a:defRPr>
            </a:lvl3pPr>
            <a:lvl4pPr marL="538163" indent="-177800" algn="l" rtl="0" fontAlgn="base">
              <a:lnSpc>
                <a:spcPct val="100000"/>
              </a:lnSpc>
              <a:spcBef>
                <a:spcPts val="300"/>
              </a:spcBef>
              <a:spcAft>
                <a:spcPct val="0"/>
              </a:spcAft>
              <a:buClr>
                <a:srgbClr val="3C464B"/>
              </a:buClr>
              <a:buFont typeface="Arial" panose="020B0604020202020204" pitchFamily="34" charset="0"/>
              <a:buChar char="‒"/>
              <a:tabLst/>
              <a:defRPr>
                <a:solidFill>
                  <a:schemeClr val="tx1"/>
                </a:solidFill>
                <a:latin typeface="Arial" pitchFamily="34" charset="0"/>
                <a:ea typeface="+mn-ea"/>
                <a:cs typeface="Arial" pitchFamily="34" charset="0"/>
              </a:defRPr>
            </a:lvl4pPr>
            <a:lvl5pPr marL="717550" indent="-177800" algn="l" rtl="0" fontAlgn="base">
              <a:lnSpc>
                <a:spcPct val="100000"/>
              </a:lnSpc>
              <a:spcBef>
                <a:spcPts val="300"/>
              </a:spcBef>
              <a:spcAft>
                <a:spcPct val="0"/>
              </a:spcAft>
              <a:buClr>
                <a:srgbClr val="3C464B"/>
              </a:buClr>
              <a:buFont typeface="Arial" panose="020B0604020202020204" pitchFamily="34" charset="0"/>
              <a:buChar char="‒"/>
              <a:tabLst/>
              <a:defRPr baseline="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spcBef>
                <a:spcPts val="0"/>
              </a:spcBef>
            </a:pPr>
            <a:r>
              <a:rPr lang="en-US" sz="1799" b="1" dirty="0">
                <a:solidFill>
                  <a:srgbClr val="9999A9"/>
                </a:solidFill>
                <a:latin typeface="+mn-lt"/>
                <a:ea typeface="Arial Unicode MS" panose="020B0604020202020204" pitchFamily="34" charset="-128"/>
                <a:cs typeface="Arial Unicode MS" panose="020B0604020202020204" pitchFamily="34" charset="-128"/>
              </a:rPr>
              <a:t>Duis arcu tortor</a:t>
            </a:r>
            <a:endParaRPr lang="en-US" sz="1799" dirty="0">
              <a:solidFill>
                <a:srgbClr val="9999A9"/>
              </a:solidFill>
              <a:latin typeface="+mn-lt"/>
              <a:ea typeface="Arial Unicode MS" panose="020B0604020202020204" pitchFamily="34" charset="-128"/>
              <a:cs typeface="Arial Unicode MS" panose="020B0604020202020204" pitchFamily="34" charset="-128"/>
            </a:endParaRPr>
          </a:p>
        </p:txBody>
      </p:sp>
      <p:sp>
        <p:nvSpPr>
          <p:cNvPr id="7" name="Rechteck 6"/>
          <p:cNvSpPr>
            <a:spLocks/>
          </p:cNvSpPr>
          <p:nvPr/>
        </p:nvSpPr>
        <p:spPr bwMode="gray">
          <a:xfrm>
            <a:off x="411062" y="3963010"/>
            <a:ext cx="2880000" cy="1843790"/>
          </a:xfrm>
          <a:prstGeom prst="rect">
            <a:avLst/>
          </a:prstGeom>
          <a:noFill/>
          <a:ln>
            <a:noFill/>
          </a:ln>
          <a:effectLst/>
        </p:spPr>
        <p:txBody>
          <a:bodyPr wrap="square" lIns="179906" tIns="107944" rIns="179906" bIns="179906" rtlCol="0" anchor="b" anchorCtr="0">
            <a:noAutofit/>
          </a:bodyPr>
          <a:lstStyle/>
          <a:p>
            <a:r>
              <a:rPr lang="en-US" sz="3598" b="1" dirty="0">
                <a:solidFill>
                  <a:schemeClr val="bg2"/>
                </a:solidFill>
              </a:rPr>
              <a:t>Ultricies</a:t>
            </a:r>
          </a:p>
          <a:p>
            <a:pPr>
              <a:spcBef>
                <a:spcPts val="300"/>
              </a:spcBef>
            </a:pPr>
            <a:r>
              <a:rPr lang="en-US" sz="1599" dirty="0">
                <a:solidFill>
                  <a:schemeClr val="bg2"/>
                </a:solidFill>
              </a:rPr>
              <a:t>Stet clita kasd gubergren, no sea takimata sanctus</a:t>
            </a:r>
          </a:p>
        </p:txBody>
      </p:sp>
      <p:cxnSp>
        <p:nvCxnSpPr>
          <p:cNvPr id="8" name="Straight Connector 40"/>
          <p:cNvCxnSpPr>
            <a:cxnSpLocks/>
          </p:cNvCxnSpPr>
          <p:nvPr/>
        </p:nvCxnSpPr>
        <p:spPr bwMode="gray">
          <a:xfrm>
            <a:off x="411063" y="3826800"/>
            <a:ext cx="2878226"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platzhalter 2"/>
          <p:cNvSpPr txBox="1">
            <a:spLocks/>
          </p:cNvSpPr>
          <p:nvPr/>
        </p:nvSpPr>
        <p:spPr bwMode="gray">
          <a:xfrm>
            <a:off x="3650400" y="3971197"/>
            <a:ext cx="1512000" cy="1835603"/>
          </a:xfrm>
          <a:prstGeom prst="rect">
            <a:avLst/>
          </a:prstGeom>
          <a:solidFill>
            <a:srgbClr val="333353"/>
          </a:solidFill>
          <a:ln>
            <a:noFill/>
          </a:ln>
        </p:spPr>
        <p:txBody>
          <a:bodyPr vert="horz" wrap="square" lIns="143925" tIns="107944" rIns="143925" bIns="107944"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marL="0" lvl="1" indent="0">
              <a:spcBef>
                <a:spcPts val="0"/>
              </a:spcBef>
              <a:buNone/>
            </a:pPr>
            <a:r>
              <a:rPr lang="en-US" sz="1599" b="1" dirty="0">
                <a:solidFill>
                  <a:schemeClr val="tx2"/>
                </a:solidFill>
              </a:rPr>
              <a:t>Phasellus nec sem</a:t>
            </a:r>
          </a:p>
        </p:txBody>
      </p:sp>
      <p:sp>
        <p:nvSpPr>
          <p:cNvPr id="10" name="Textplatzhalter 2"/>
          <p:cNvSpPr txBox="1">
            <a:spLocks/>
          </p:cNvSpPr>
          <p:nvPr/>
        </p:nvSpPr>
        <p:spPr bwMode="gray">
          <a:xfrm>
            <a:off x="3650400" y="5096618"/>
            <a:ext cx="1512000" cy="710182"/>
          </a:xfrm>
          <a:prstGeom prst="rect">
            <a:avLst/>
          </a:prstGeom>
          <a:noFill/>
          <a:ln>
            <a:noFill/>
          </a:ln>
        </p:spPr>
        <p:txBody>
          <a:bodyPr vert="horz" wrap="square" lIns="107944" tIns="107944" rIns="107944" bIns="107944" rtlCol="0" anchor="b">
            <a:sp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a:spcBef>
                <a:spcPts val="300"/>
              </a:spcBef>
            </a:pPr>
            <a:r>
              <a:rPr lang="en-US" sz="1599" spc="-20" dirty="0">
                <a:solidFill>
                  <a:schemeClr val="tx2"/>
                </a:solidFill>
              </a:rPr>
              <a:t>At vero eos et accusam</a:t>
            </a:r>
          </a:p>
        </p:txBody>
      </p:sp>
      <p:sp>
        <p:nvSpPr>
          <p:cNvPr id="11" name="Textplatzhalter 2"/>
          <p:cNvSpPr txBox="1">
            <a:spLocks/>
          </p:cNvSpPr>
          <p:nvPr/>
        </p:nvSpPr>
        <p:spPr bwMode="gray">
          <a:xfrm>
            <a:off x="5306400" y="3477277"/>
            <a:ext cx="1512000" cy="2329523"/>
          </a:xfrm>
          <a:prstGeom prst="rect">
            <a:avLst/>
          </a:prstGeom>
          <a:solidFill>
            <a:srgbClr val="333353"/>
          </a:solidFill>
          <a:ln>
            <a:noFill/>
          </a:ln>
        </p:spPr>
        <p:txBody>
          <a:bodyPr vert="horz" wrap="square" lIns="143925" tIns="107944" rIns="143925" bIns="107944"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marL="0" lvl="1" indent="0">
              <a:spcBef>
                <a:spcPts val="0"/>
              </a:spcBef>
              <a:buNone/>
            </a:pPr>
            <a:r>
              <a:rPr lang="en-US" sz="1599" b="1" dirty="0">
                <a:solidFill>
                  <a:schemeClr val="tx2"/>
                </a:solidFill>
              </a:rPr>
              <a:t>Cras ultricies</a:t>
            </a:r>
          </a:p>
        </p:txBody>
      </p:sp>
      <p:sp>
        <p:nvSpPr>
          <p:cNvPr id="12" name="Textplatzhalter 2"/>
          <p:cNvSpPr txBox="1">
            <a:spLocks/>
          </p:cNvSpPr>
          <p:nvPr/>
        </p:nvSpPr>
        <p:spPr bwMode="gray">
          <a:xfrm>
            <a:off x="5306400" y="5096618"/>
            <a:ext cx="1512000" cy="710182"/>
          </a:xfrm>
          <a:prstGeom prst="rect">
            <a:avLst/>
          </a:prstGeom>
          <a:noFill/>
          <a:ln>
            <a:noFill/>
          </a:ln>
        </p:spPr>
        <p:txBody>
          <a:bodyPr vert="horz" wrap="square" lIns="107944" tIns="107944" rIns="107944" bIns="107944" rtlCol="0" anchor="b">
            <a:spAutoFit/>
          </a:bodyPr>
          <a:lstStyle>
            <a:defPPr>
              <a:defRPr lang="de-DE"/>
            </a:defPPr>
            <a:lvl1pPr marL="0" marR="0" indent="0" defTabSz="914400" eaLnBrk="0" latinLnBrk="0" hangingPunct="0">
              <a:lnSpc>
                <a:spcPct val="100000"/>
              </a:lnSpc>
              <a:spcBef>
                <a:spcPts val="0"/>
              </a:spcBef>
              <a:buClrTx/>
              <a:buSzTx/>
              <a:buFont typeface="Wingdings" pitchFamily="2" charset="2"/>
              <a:buNone/>
              <a:tabLst/>
              <a:defRPr sz="1600" baseline="0">
                <a:solidFill>
                  <a:schemeClr val="bg1"/>
                </a:solidFill>
                <a:latin typeface="+mn-lt"/>
                <a:ea typeface="+mn-ea"/>
              </a:defRPr>
            </a:lvl1pPr>
            <a:lvl2pPr marL="179388" indent="-179388" eaLnBrk="0" hangingPunct="0">
              <a:lnSpc>
                <a:spcPct val="100000"/>
              </a:lnSpc>
              <a:spcBef>
                <a:spcPts val="600"/>
              </a:spcBef>
              <a:buClr>
                <a:schemeClr val="accent1"/>
              </a:buClr>
              <a:buFont typeface="Arial" pitchFamily="34" charset="0"/>
              <a:buChar char="•"/>
              <a:defRPr sz="1400">
                <a:solidFill>
                  <a:schemeClr val="tx1"/>
                </a:solidFill>
                <a:latin typeface="+mn-lt"/>
                <a:ea typeface="+mn-ea"/>
              </a:defRPr>
            </a:lvl2pPr>
            <a:lvl3pPr marL="358775" indent="-177800" eaLnBrk="0" hangingPunct="0">
              <a:lnSpc>
                <a:spcPct val="100000"/>
              </a:lnSpc>
              <a:spcBef>
                <a:spcPts val="600"/>
              </a:spcBef>
              <a:buClr>
                <a:srgbClr val="879BAA"/>
              </a:buClr>
              <a:buChar char="•"/>
              <a:defRPr sz="1400">
                <a:solidFill>
                  <a:schemeClr val="tx1"/>
                </a:solidFill>
                <a:latin typeface="+mn-lt"/>
                <a:ea typeface="+mn-ea"/>
              </a:defRPr>
            </a:lvl3pPr>
            <a:lvl4pPr marL="538163" indent="-177800" eaLnBrk="0" hangingPunct="0">
              <a:lnSpc>
                <a:spcPct val="100000"/>
              </a:lnSpc>
              <a:spcBef>
                <a:spcPts val="600"/>
              </a:spcBef>
              <a:buClr>
                <a:srgbClr val="879BAA"/>
              </a:buClr>
              <a:buChar char="•"/>
              <a:defRPr sz="1400">
                <a:solidFill>
                  <a:schemeClr val="tx1"/>
                </a:solidFill>
                <a:latin typeface="+mn-lt"/>
                <a:ea typeface="+mn-ea"/>
              </a:defRPr>
            </a:lvl4pPr>
            <a:lvl5pPr marL="717550" indent="-177800" eaLnBrk="0" hangingPunct="0">
              <a:lnSpc>
                <a:spcPct val="100000"/>
              </a:lnSpc>
              <a:spcBef>
                <a:spcPts val="600"/>
              </a:spcBef>
              <a:buClr>
                <a:srgbClr val="879BAA"/>
              </a:buClr>
              <a:buChar char="•"/>
              <a:defRPr sz="1400">
                <a:solidFill>
                  <a:schemeClr val="tx1"/>
                </a:solidFill>
                <a:latin typeface="+mn-lt"/>
                <a:ea typeface="+mn-ea"/>
              </a:defRPr>
            </a:lvl5pPr>
            <a:lvl6pPr marL="1174750" indent="-17780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fontAlgn="base">
              <a:lnSpc>
                <a:spcPct val="110000"/>
              </a:lnSpc>
              <a:spcBef>
                <a:spcPct val="0"/>
              </a:spcBef>
              <a:spcAft>
                <a:spcPct val="0"/>
              </a:spcAft>
              <a:buClr>
                <a:srgbClr val="879BAA"/>
              </a:buClr>
              <a:buChar char="•"/>
              <a:defRPr>
                <a:solidFill>
                  <a:schemeClr val="tx1"/>
                </a:solidFill>
                <a:latin typeface="+mn-lt"/>
                <a:ea typeface="+mn-ea"/>
              </a:defRPr>
            </a:lvl9pPr>
          </a:lstStyle>
          <a:p>
            <a:pPr>
              <a:spcBef>
                <a:spcPts val="300"/>
              </a:spcBef>
            </a:pPr>
            <a:r>
              <a:rPr lang="en-US" sz="1599" spc="-20" dirty="0">
                <a:solidFill>
                  <a:schemeClr val="tx2"/>
                </a:solidFill>
              </a:rPr>
              <a:t>Cras ultricies mi eu</a:t>
            </a:r>
          </a:p>
        </p:txBody>
      </p:sp>
      <p:sp>
        <p:nvSpPr>
          <p:cNvPr id="13" name="Textplatzhalter 2"/>
          <p:cNvSpPr txBox="1">
            <a:spLocks/>
          </p:cNvSpPr>
          <p:nvPr/>
        </p:nvSpPr>
        <p:spPr bwMode="gray">
          <a:xfrm>
            <a:off x="6962400" y="2983356"/>
            <a:ext cx="1512000" cy="2823444"/>
          </a:xfrm>
          <a:prstGeom prst="rect">
            <a:avLst/>
          </a:prstGeom>
          <a:solidFill>
            <a:srgbClr val="333353"/>
          </a:solidFill>
          <a:ln>
            <a:noFill/>
          </a:ln>
        </p:spPr>
        <p:txBody>
          <a:bodyPr vert="horz" wrap="square" lIns="143925" tIns="107944" rIns="143925" bIns="107944"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marL="0" lvl="1" indent="0">
              <a:spcBef>
                <a:spcPts val="0"/>
              </a:spcBef>
              <a:buNone/>
            </a:pPr>
            <a:r>
              <a:rPr lang="en-US" sz="1599" b="1" dirty="0">
                <a:solidFill>
                  <a:schemeClr val="tx2"/>
                </a:solidFill>
              </a:rPr>
              <a:t>At vero eos et accusam</a:t>
            </a:r>
          </a:p>
        </p:txBody>
      </p:sp>
      <p:sp>
        <p:nvSpPr>
          <p:cNvPr id="14" name="Textplatzhalter 2"/>
          <p:cNvSpPr txBox="1">
            <a:spLocks/>
          </p:cNvSpPr>
          <p:nvPr/>
        </p:nvSpPr>
        <p:spPr bwMode="gray">
          <a:xfrm>
            <a:off x="6962400" y="4604432"/>
            <a:ext cx="1512000" cy="1202368"/>
          </a:xfrm>
          <a:prstGeom prst="rect">
            <a:avLst/>
          </a:prstGeom>
          <a:noFill/>
          <a:ln>
            <a:noFill/>
          </a:ln>
        </p:spPr>
        <p:txBody>
          <a:bodyPr vert="horz" wrap="square" lIns="107944" tIns="107944" rIns="107944" bIns="107944" rtlCol="0" anchor="b">
            <a:spAutoFit/>
          </a:bodyPr>
          <a:lstStyle>
            <a:defPPr>
              <a:defRPr lang="de-DE"/>
            </a:defPPr>
            <a:lvl1pPr marL="0" marR="0" indent="0" defTabSz="914400" eaLnBrk="0" latinLnBrk="0" hangingPunct="0">
              <a:lnSpc>
                <a:spcPct val="100000"/>
              </a:lnSpc>
              <a:spcBef>
                <a:spcPts val="0"/>
              </a:spcBef>
              <a:buClrTx/>
              <a:buSzTx/>
              <a:buFont typeface="Wingdings" pitchFamily="2" charset="2"/>
              <a:buNone/>
              <a:tabLst/>
              <a:defRPr sz="1600" baseline="0">
                <a:solidFill>
                  <a:schemeClr val="bg1"/>
                </a:solidFill>
                <a:latin typeface="+mn-lt"/>
                <a:ea typeface="+mn-ea"/>
              </a:defRPr>
            </a:lvl1pPr>
            <a:lvl2pPr marL="179388" indent="-179388" eaLnBrk="0" hangingPunct="0">
              <a:lnSpc>
                <a:spcPct val="100000"/>
              </a:lnSpc>
              <a:spcBef>
                <a:spcPts val="600"/>
              </a:spcBef>
              <a:buClr>
                <a:schemeClr val="accent1"/>
              </a:buClr>
              <a:buFont typeface="Arial" pitchFamily="34" charset="0"/>
              <a:buChar char="•"/>
              <a:defRPr sz="1400">
                <a:solidFill>
                  <a:schemeClr val="tx1"/>
                </a:solidFill>
                <a:latin typeface="+mn-lt"/>
                <a:ea typeface="+mn-ea"/>
              </a:defRPr>
            </a:lvl2pPr>
            <a:lvl3pPr marL="358775" indent="-177800" eaLnBrk="0" hangingPunct="0">
              <a:lnSpc>
                <a:spcPct val="100000"/>
              </a:lnSpc>
              <a:spcBef>
                <a:spcPts val="600"/>
              </a:spcBef>
              <a:buClr>
                <a:srgbClr val="879BAA"/>
              </a:buClr>
              <a:buChar char="•"/>
              <a:defRPr sz="1400">
                <a:solidFill>
                  <a:schemeClr val="tx1"/>
                </a:solidFill>
                <a:latin typeface="+mn-lt"/>
                <a:ea typeface="+mn-ea"/>
              </a:defRPr>
            </a:lvl3pPr>
            <a:lvl4pPr marL="538163" indent="-177800" eaLnBrk="0" hangingPunct="0">
              <a:lnSpc>
                <a:spcPct val="100000"/>
              </a:lnSpc>
              <a:spcBef>
                <a:spcPts val="600"/>
              </a:spcBef>
              <a:buClr>
                <a:srgbClr val="879BAA"/>
              </a:buClr>
              <a:buChar char="•"/>
              <a:defRPr sz="1400">
                <a:solidFill>
                  <a:schemeClr val="tx1"/>
                </a:solidFill>
                <a:latin typeface="+mn-lt"/>
                <a:ea typeface="+mn-ea"/>
              </a:defRPr>
            </a:lvl4pPr>
            <a:lvl5pPr marL="717550" indent="-177800" eaLnBrk="0" hangingPunct="0">
              <a:lnSpc>
                <a:spcPct val="100000"/>
              </a:lnSpc>
              <a:spcBef>
                <a:spcPts val="600"/>
              </a:spcBef>
              <a:buClr>
                <a:srgbClr val="879BAA"/>
              </a:buClr>
              <a:buChar char="•"/>
              <a:defRPr sz="1400">
                <a:solidFill>
                  <a:schemeClr val="tx1"/>
                </a:solidFill>
                <a:latin typeface="+mn-lt"/>
                <a:ea typeface="+mn-ea"/>
              </a:defRPr>
            </a:lvl5pPr>
            <a:lvl6pPr marL="1174750" indent="-17780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fontAlgn="base">
              <a:lnSpc>
                <a:spcPct val="110000"/>
              </a:lnSpc>
              <a:spcBef>
                <a:spcPct val="0"/>
              </a:spcBef>
              <a:spcAft>
                <a:spcPct val="0"/>
              </a:spcAft>
              <a:buClr>
                <a:srgbClr val="879BAA"/>
              </a:buClr>
              <a:buChar char="•"/>
              <a:defRPr>
                <a:solidFill>
                  <a:schemeClr val="tx1"/>
                </a:solidFill>
                <a:latin typeface="+mn-lt"/>
                <a:ea typeface="+mn-ea"/>
              </a:defRPr>
            </a:lvl9pPr>
          </a:lstStyle>
          <a:p>
            <a:pPr>
              <a:spcBef>
                <a:spcPts val="300"/>
              </a:spcBef>
            </a:pPr>
            <a:r>
              <a:rPr lang="en-US" sz="1599" spc="-20" dirty="0">
                <a:solidFill>
                  <a:schemeClr val="tx2"/>
                </a:solidFill>
              </a:rPr>
              <a:t>Consetetur sadipscing elitr, seddiam nonumy</a:t>
            </a:r>
          </a:p>
        </p:txBody>
      </p:sp>
      <p:sp>
        <p:nvSpPr>
          <p:cNvPr id="15" name="Textplatzhalter 2"/>
          <p:cNvSpPr txBox="1">
            <a:spLocks/>
          </p:cNvSpPr>
          <p:nvPr/>
        </p:nvSpPr>
        <p:spPr bwMode="gray">
          <a:xfrm>
            <a:off x="8618400" y="2489440"/>
            <a:ext cx="1512000" cy="3317360"/>
          </a:xfrm>
          <a:prstGeom prst="rect">
            <a:avLst/>
          </a:prstGeom>
          <a:solidFill>
            <a:srgbClr val="333353"/>
          </a:solidFill>
          <a:ln>
            <a:noFill/>
          </a:ln>
        </p:spPr>
        <p:txBody>
          <a:bodyPr vert="horz" wrap="square" lIns="143925" tIns="107944" rIns="143925" bIns="107944"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marL="0" lvl="1" indent="0">
              <a:spcBef>
                <a:spcPts val="0"/>
              </a:spcBef>
              <a:buNone/>
            </a:pPr>
            <a:r>
              <a:rPr lang="en-US" sz="1599" b="1" dirty="0">
                <a:solidFill>
                  <a:schemeClr val="tx2"/>
                </a:solidFill>
              </a:rPr>
              <a:t>Est lorem ipsum dolor sit amet</a:t>
            </a:r>
          </a:p>
        </p:txBody>
      </p:sp>
      <p:sp>
        <p:nvSpPr>
          <p:cNvPr id="16" name="Textplatzhalter 2"/>
          <p:cNvSpPr txBox="1">
            <a:spLocks/>
          </p:cNvSpPr>
          <p:nvPr/>
        </p:nvSpPr>
        <p:spPr bwMode="gray">
          <a:xfrm>
            <a:off x="8618400" y="5096618"/>
            <a:ext cx="1512000" cy="710182"/>
          </a:xfrm>
          <a:prstGeom prst="rect">
            <a:avLst/>
          </a:prstGeom>
          <a:noFill/>
          <a:ln>
            <a:noFill/>
          </a:ln>
        </p:spPr>
        <p:txBody>
          <a:bodyPr vert="horz" wrap="square" lIns="107944" tIns="107944" rIns="107944" bIns="107944" rtlCol="0" anchor="b">
            <a:spAutoFit/>
          </a:bodyPr>
          <a:lstStyle>
            <a:defPPr>
              <a:defRPr lang="de-DE"/>
            </a:defPPr>
            <a:lvl1pPr marL="0" marR="0" indent="0" defTabSz="914400" eaLnBrk="0" latinLnBrk="0" hangingPunct="0">
              <a:lnSpc>
                <a:spcPct val="100000"/>
              </a:lnSpc>
              <a:spcBef>
                <a:spcPts val="0"/>
              </a:spcBef>
              <a:buClrTx/>
              <a:buSzTx/>
              <a:buFont typeface="Wingdings" pitchFamily="2" charset="2"/>
              <a:buNone/>
              <a:tabLst/>
              <a:defRPr sz="1600" baseline="0">
                <a:solidFill>
                  <a:schemeClr val="bg1"/>
                </a:solidFill>
                <a:latin typeface="+mn-lt"/>
                <a:ea typeface="+mn-ea"/>
              </a:defRPr>
            </a:lvl1pPr>
            <a:lvl2pPr marL="179388" indent="-179388" eaLnBrk="0" hangingPunct="0">
              <a:lnSpc>
                <a:spcPct val="100000"/>
              </a:lnSpc>
              <a:spcBef>
                <a:spcPts val="600"/>
              </a:spcBef>
              <a:buClr>
                <a:schemeClr val="accent1"/>
              </a:buClr>
              <a:buFont typeface="Arial" pitchFamily="34" charset="0"/>
              <a:buChar char="•"/>
              <a:defRPr sz="1400">
                <a:solidFill>
                  <a:schemeClr val="tx1"/>
                </a:solidFill>
                <a:latin typeface="+mn-lt"/>
                <a:ea typeface="+mn-ea"/>
              </a:defRPr>
            </a:lvl2pPr>
            <a:lvl3pPr marL="358775" indent="-177800" eaLnBrk="0" hangingPunct="0">
              <a:lnSpc>
                <a:spcPct val="100000"/>
              </a:lnSpc>
              <a:spcBef>
                <a:spcPts val="600"/>
              </a:spcBef>
              <a:buClr>
                <a:srgbClr val="879BAA"/>
              </a:buClr>
              <a:buChar char="•"/>
              <a:defRPr sz="1400">
                <a:solidFill>
                  <a:schemeClr val="tx1"/>
                </a:solidFill>
                <a:latin typeface="+mn-lt"/>
                <a:ea typeface="+mn-ea"/>
              </a:defRPr>
            </a:lvl3pPr>
            <a:lvl4pPr marL="538163" indent="-177800" eaLnBrk="0" hangingPunct="0">
              <a:lnSpc>
                <a:spcPct val="100000"/>
              </a:lnSpc>
              <a:spcBef>
                <a:spcPts val="600"/>
              </a:spcBef>
              <a:buClr>
                <a:srgbClr val="879BAA"/>
              </a:buClr>
              <a:buChar char="•"/>
              <a:defRPr sz="1400">
                <a:solidFill>
                  <a:schemeClr val="tx1"/>
                </a:solidFill>
                <a:latin typeface="+mn-lt"/>
                <a:ea typeface="+mn-ea"/>
              </a:defRPr>
            </a:lvl4pPr>
            <a:lvl5pPr marL="717550" indent="-177800" eaLnBrk="0" hangingPunct="0">
              <a:lnSpc>
                <a:spcPct val="100000"/>
              </a:lnSpc>
              <a:spcBef>
                <a:spcPts val="600"/>
              </a:spcBef>
              <a:buClr>
                <a:srgbClr val="879BAA"/>
              </a:buClr>
              <a:buChar char="•"/>
              <a:defRPr sz="1400">
                <a:solidFill>
                  <a:schemeClr val="tx1"/>
                </a:solidFill>
                <a:latin typeface="+mn-lt"/>
                <a:ea typeface="+mn-ea"/>
              </a:defRPr>
            </a:lvl5pPr>
            <a:lvl6pPr marL="1174750" indent="-17780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fontAlgn="base">
              <a:lnSpc>
                <a:spcPct val="110000"/>
              </a:lnSpc>
              <a:spcBef>
                <a:spcPct val="0"/>
              </a:spcBef>
              <a:spcAft>
                <a:spcPct val="0"/>
              </a:spcAft>
              <a:buClr>
                <a:srgbClr val="879BAA"/>
              </a:buClr>
              <a:buChar char="•"/>
              <a:defRPr>
                <a:solidFill>
                  <a:schemeClr val="tx1"/>
                </a:solidFill>
                <a:latin typeface="+mn-lt"/>
                <a:ea typeface="+mn-ea"/>
              </a:defRPr>
            </a:lvl9pPr>
          </a:lstStyle>
          <a:p>
            <a:pPr>
              <a:spcBef>
                <a:spcPts val="300"/>
              </a:spcBef>
            </a:pPr>
            <a:r>
              <a:rPr lang="en-US" sz="1599" spc="-20" dirty="0">
                <a:solidFill>
                  <a:schemeClr val="tx2"/>
                </a:solidFill>
              </a:rPr>
              <a:t>Duis arcu tortor</a:t>
            </a:r>
          </a:p>
        </p:txBody>
      </p:sp>
      <p:sp>
        <p:nvSpPr>
          <p:cNvPr id="17" name="Textplatzhalter 2"/>
          <p:cNvSpPr txBox="1">
            <a:spLocks/>
          </p:cNvSpPr>
          <p:nvPr/>
        </p:nvSpPr>
        <p:spPr bwMode="gray">
          <a:xfrm>
            <a:off x="10274400" y="1990800"/>
            <a:ext cx="1512000" cy="3816000"/>
          </a:xfrm>
          <a:prstGeom prst="rect">
            <a:avLst/>
          </a:prstGeom>
          <a:solidFill>
            <a:srgbClr val="333353"/>
          </a:solidFill>
          <a:ln>
            <a:noFill/>
          </a:ln>
        </p:spPr>
        <p:txBody>
          <a:bodyPr vert="horz" wrap="square" lIns="143925" tIns="107944" rIns="143925" bIns="107944"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marL="0" lvl="1" indent="0">
              <a:spcBef>
                <a:spcPts val="0"/>
              </a:spcBef>
              <a:buNone/>
            </a:pPr>
            <a:r>
              <a:rPr lang="en-US" sz="1599" b="1" dirty="0">
                <a:solidFill>
                  <a:schemeClr val="tx2"/>
                </a:solidFill>
              </a:rPr>
              <a:t>Consetetur sadipscing elitr, seddiam nonumy</a:t>
            </a:r>
          </a:p>
        </p:txBody>
      </p:sp>
      <p:sp>
        <p:nvSpPr>
          <p:cNvPr id="18" name="Textplatzhalter 2"/>
          <p:cNvSpPr txBox="1">
            <a:spLocks/>
          </p:cNvSpPr>
          <p:nvPr/>
        </p:nvSpPr>
        <p:spPr bwMode="gray">
          <a:xfrm>
            <a:off x="10274400" y="5096618"/>
            <a:ext cx="1512000" cy="710182"/>
          </a:xfrm>
          <a:prstGeom prst="rect">
            <a:avLst/>
          </a:prstGeom>
          <a:noFill/>
          <a:ln>
            <a:noFill/>
          </a:ln>
        </p:spPr>
        <p:txBody>
          <a:bodyPr vert="horz" wrap="square" lIns="107944" tIns="107944" rIns="107944" bIns="107944" rtlCol="0" anchor="b">
            <a:spAutoFit/>
          </a:bodyPr>
          <a:lstStyle>
            <a:defPPr>
              <a:defRPr lang="de-DE"/>
            </a:defPPr>
            <a:lvl1pPr marL="0" marR="0" indent="0" defTabSz="914400" eaLnBrk="0" latinLnBrk="0" hangingPunct="0">
              <a:lnSpc>
                <a:spcPct val="100000"/>
              </a:lnSpc>
              <a:spcBef>
                <a:spcPts val="0"/>
              </a:spcBef>
              <a:buClrTx/>
              <a:buSzTx/>
              <a:buFont typeface="Wingdings" pitchFamily="2" charset="2"/>
              <a:buNone/>
              <a:tabLst/>
              <a:defRPr sz="1600" baseline="0">
                <a:solidFill>
                  <a:schemeClr val="bg1"/>
                </a:solidFill>
                <a:latin typeface="+mn-lt"/>
                <a:ea typeface="+mn-ea"/>
              </a:defRPr>
            </a:lvl1pPr>
            <a:lvl2pPr marL="179388" indent="-179388" eaLnBrk="0" hangingPunct="0">
              <a:lnSpc>
                <a:spcPct val="100000"/>
              </a:lnSpc>
              <a:spcBef>
                <a:spcPts val="600"/>
              </a:spcBef>
              <a:buClr>
                <a:schemeClr val="accent1"/>
              </a:buClr>
              <a:buFont typeface="Arial" pitchFamily="34" charset="0"/>
              <a:buChar char="•"/>
              <a:defRPr sz="1400">
                <a:solidFill>
                  <a:schemeClr val="tx1"/>
                </a:solidFill>
                <a:latin typeface="+mn-lt"/>
                <a:ea typeface="+mn-ea"/>
              </a:defRPr>
            </a:lvl2pPr>
            <a:lvl3pPr marL="358775" indent="-177800" eaLnBrk="0" hangingPunct="0">
              <a:lnSpc>
                <a:spcPct val="100000"/>
              </a:lnSpc>
              <a:spcBef>
                <a:spcPts val="600"/>
              </a:spcBef>
              <a:buClr>
                <a:srgbClr val="879BAA"/>
              </a:buClr>
              <a:buChar char="•"/>
              <a:defRPr sz="1400">
                <a:solidFill>
                  <a:schemeClr val="tx1"/>
                </a:solidFill>
                <a:latin typeface="+mn-lt"/>
                <a:ea typeface="+mn-ea"/>
              </a:defRPr>
            </a:lvl3pPr>
            <a:lvl4pPr marL="538163" indent="-177800" eaLnBrk="0" hangingPunct="0">
              <a:lnSpc>
                <a:spcPct val="100000"/>
              </a:lnSpc>
              <a:spcBef>
                <a:spcPts val="600"/>
              </a:spcBef>
              <a:buClr>
                <a:srgbClr val="879BAA"/>
              </a:buClr>
              <a:buChar char="•"/>
              <a:defRPr sz="1400">
                <a:solidFill>
                  <a:schemeClr val="tx1"/>
                </a:solidFill>
                <a:latin typeface="+mn-lt"/>
                <a:ea typeface="+mn-ea"/>
              </a:defRPr>
            </a:lvl4pPr>
            <a:lvl5pPr marL="717550" indent="-177800" eaLnBrk="0" hangingPunct="0">
              <a:lnSpc>
                <a:spcPct val="100000"/>
              </a:lnSpc>
              <a:spcBef>
                <a:spcPts val="600"/>
              </a:spcBef>
              <a:buClr>
                <a:srgbClr val="879BAA"/>
              </a:buClr>
              <a:buChar char="•"/>
              <a:defRPr sz="1400">
                <a:solidFill>
                  <a:schemeClr val="tx1"/>
                </a:solidFill>
                <a:latin typeface="+mn-lt"/>
                <a:ea typeface="+mn-ea"/>
              </a:defRPr>
            </a:lvl5pPr>
            <a:lvl6pPr marL="1174750" indent="-17780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fontAlgn="base">
              <a:lnSpc>
                <a:spcPct val="110000"/>
              </a:lnSpc>
              <a:spcBef>
                <a:spcPct val="0"/>
              </a:spcBef>
              <a:spcAft>
                <a:spcPct val="0"/>
              </a:spcAft>
              <a:buClr>
                <a:srgbClr val="879BAA"/>
              </a:buClr>
              <a:buChar char="•"/>
              <a:defRPr>
                <a:solidFill>
                  <a:schemeClr val="tx1"/>
                </a:solidFill>
                <a:latin typeface="+mn-lt"/>
                <a:ea typeface="+mn-ea"/>
              </a:defRPr>
            </a:lvl9pPr>
          </a:lstStyle>
          <a:p>
            <a:pPr>
              <a:spcBef>
                <a:spcPts val="300"/>
              </a:spcBef>
            </a:pPr>
            <a:r>
              <a:rPr lang="en-US" sz="1599" spc="-20" dirty="0">
                <a:solidFill>
                  <a:schemeClr val="tx2"/>
                </a:solidFill>
              </a:rPr>
              <a:t>Cras ultricies mi eu</a:t>
            </a:r>
          </a:p>
        </p:txBody>
      </p:sp>
      <p:sp>
        <p:nvSpPr>
          <p:cNvPr id="19" name="TextBox 48">
            <a:extLst>
              <a:ext uri="{FF2B5EF4-FFF2-40B4-BE49-F238E27FC236}">
                <a16:creationId xmlns:a16="http://schemas.microsoft.com/office/drawing/2014/main" id="{6880FA51-CF89-42F5-AAD7-B18CBD2F6BAD}"/>
              </a:ext>
            </a:extLst>
          </p:cNvPr>
          <p:cNvSpPr txBox="1">
            <a:spLocks noChangeArrowheads="1"/>
          </p:cNvSpPr>
          <p:nvPr/>
        </p:nvSpPr>
        <p:spPr bwMode="gray">
          <a:xfrm flipH="1">
            <a:off x="410400" y="1415848"/>
            <a:ext cx="2878501" cy="359813"/>
          </a:xfrm>
          <a:prstGeom prst="rect">
            <a:avLst/>
          </a:prstGeom>
          <a:noFill/>
          <a:ln w="9525">
            <a:noFill/>
            <a:miter lim="800000"/>
            <a:headEnd/>
            <a:tailEnd/>
          </a:ln>
        </p:spPr>
        <p:txBody>
          <a:bodyPr vert="horz" wrap="none" lIns="0" tIns="0" rIns="0" bIns="0" numCol="1" anchor="t" anchorCtr="0" compatLnSpc="1">
            <a:prstTxWarp prst="textNoShape">
              <a:avLst/>
            </a:prstTxWarp>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r>
              <a:rPr lang="en-US" sz="1799" b="1" kern="0" dirty="0">
                <a:solidFill>
                  <a:srgbClr val="9999A9"/>
                </a:solidFill>
                <a:latin typeface="+mn-lt"/>
              </a:rPr>
              <a:t>Duis arcu tortor, suscip</a:t>
            </a:r>
          </a:p>
        </p:txBody>
      </p:sp>
      <p:sp>
        <p:nvSpPr>
          <p:cNvPr id="4" name="Footer Placeholder 3">
            <a:extLst>
              <a:ext uri="{FF2B5EF4-FFF2-40B4-BE49-F238E27FC236}">
                <a16:creationId xmlns:a16="http://schemas.microsoft.com/office/drawing/2014/main" id="{F8B315A7-A8AC-4B93-B9DB-0E8A4FF1F00D}"/>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5" name="Slide Number Placeholder 4">
            <a:extLst>
              <a:ext uri="{FF2B5EF4-FFF2-40B4-BE49-F238E27FC236}">
                <a16:creationId xmlns:a16="http://schemas.microsoft.com/office/drawing/2014/main" id="{AF276C52-AE18-4B68-AFA0-DBAC69DC23B6}"/>
              </a:ext>
            </a:extLst>
          </p:cNvPr>
          <p:cNvSpPr>
            <a:spLocks noGrp="1"/>
          </p:cNvSpPr>
          <p:nvPr>
            <p:ph type="sldNum" sz="quarter" idx="11"/>
          </p:nvPr>
        </p:nvSpPr>
        <p:spPr/>
        <p:txBody>
          <a:bodyPr/>
          <a:lstStyle/>
          <a:p>
            <a:r>
              <a:rPr lang="en-US" dirty="0"/>
              <a:t>Page </a:t>
            </a:r>
            <a:fld id="{15EBE321-CBB1-4E91-BD14-37C8D44326FB}" type="slidenum">
              <a:rPr lang="en-US" smtClean="0"/>
              <a:pPr/>
              <a:t>125</a:t>
            </a:fld>
            <a:endParaRPr lang="en-US" dirty="0"/>
          </a:p>
        </p:txBody>
      </p:sp>
    </p:spTree>
    <p:extLst>
      <p:ext uri="{BB962C8B-B14F-4D97-AF65-F5344CB8AC3E}">
        <p14:creationId xmlns:p14="http://schemas.microsoft.com/office/powerpoint/2010/main" val="326812124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Helix (horizontal) – stream</a:t>
            </a:r>
          </a:p>
        </p:txBody>
      </p:sp>
      <p:sp>
        <p:nvSpPr>
          <p:cNvPr id="4" name="Freeform 3"/>
          <p:cNvSpPr/>
          <p:nvPr/>
        </p:nvSpPr>
        <p:spPr bwMode="auto">
          <a:xfrm>
            <a:off x="603799" y="2495737"/>
            <a:ext cx="11103358" cy="2563146"/>
          </a:xfrm>
          <a:custGeom>
            <a:avLst/>
            <a:gdLst>
              <a:gd name="connsiteX0" fmla="*/ 0 w 9891132"/>
              <a:gd name="connsiteY0" fmla="*/ 2341756 h 4501749"/>
              <a:gd name="connsiteX1" fmla="*/ 858644 w 9891132"/>
              <a:gd name="connsiteY1" fmla="*/ 312234 h 4501749"/>
              <a:gd name="connsiteX2" fmla="*/ 1628078 w 9891132"/>
              <a:gd name="connsiteY2" fmla="*/ 4427034 h 4501749"/>
              <a:gd name="connsiteX3" fmla="*/ 3345366 w 9891132"/>
              <a:gd name="connsiteY3" fmla="*/ 223024 h 4501749"/>
              <a:gd name="connsiteX4" fmla="*/ 4293220 w 9891132"/>
              <a:gd name="connsiteY4" fmla="*/ 4382429 h 4501749"/>
              <a:gd name="connsiteX5" fmla="*/ 5553307 w 9891132"/>
              <a:gd name="connsiteY5" fmla="*/ 66907 h 4501749"/>
              <a:gd name="connsiteX6" fmla="*/ 6757639 w 9891132"/>
              <a:gd name="connsiteY6" fmla="*/ 4449336 h 4501749"/>
              <a:gd name="connsiteX7" fmla="*/ 7895064 w 9891132"/>
              <a:gd name="connsiteY7" fmla="*/ 0 h 4501749"/>
              <a:gd name="connsiteX8" fmla="*/ 8898673 w 9891132"/>
              <a:gd name="connsiteY8" fmla="*/ 4449336 h 4501749"/>
              <a:gd name="connsiteX9" fmla="*/ 9891132 w 9891132"/>
              <a:gd name="connsiteY9" fmla="*/ 2040673 h 4501749"/>
              <a:gd name="connsiteX0" fmla="*/ 0 w 9891132"/>
              <a:gd name="connsiteY0" fmla="*/ 2355018 h 4515011"/>
              <a:gd name="connsiteX1" fmla="*/ 769197 w 9891132"/>
              <a:gd name="connsiteY1" fmla="*/ 52081 h 4515011"/>
              <a:gd name="connsiteX2" fmla="*/ 1628078 w 9891132"/>
              <a:gd name="connsiteY2" fmla="*/ 4440296 h 4515011"/>
              <a:gd name="connsiteX3" fmla="*/ 3345366 w 9891132"/>
              <a:gd name="connsiteY3" fmla="*/ 236286 h 4515011"/>
              <a:gd name="connsiteX4" fmla="*/ 4293220 w 9891132"/>
              <a:gd name="connsiteY4" fmla="*/ 4395691 h 4515011"/>
              <a:gd name="connsiteX5" fmla="*/ 5553307 w 9891132"/>
              <a:gd name="connsiteY5" fmla="*/ 80169 h 4515011"/>
              <a:gd name="connsiteX6" fmla="*/ 6757639 w 9891132"/>
              <a:gd name="connsiteY6" fmla="*/ 4462598 h 4515011"/>
              <a:gd name="connsiteX7" fmla="*/ 7895064 w 9891132"/>
              <a:gd name="connsiteY7" fmla="*/ 13262 h 4515011"/>
              <a:gd name="connsiteX8" fmla="*/ 8898673 w 9891132"/>
              <a:gd name="connsiteY8" fmla="*/ 4462598 h 4515011"/>
              <a:gd name="connsiteX9" fmla="*/ 9891132 w 9891132"/>
              <a:gd name="connsiteY9" fmla="*/ 2053935 h 4515011"/>
              <a:gd name="connsiteX0" fmla="*/ 0 w 9891132"/>
              <a:gd name="connsiteY0" fmla="*/ 2341756 h 4501749"/>
              <a:gd name="connsiteX1" fmla="*/ 769197 w 9891132"/>
              <a:gd name="connsiteY1" fmla="*/ 38819 h 4501749"/>
              <a:gd name="connsiteX2" fmla="*/ 1628078 w 9891132"/>
              <a:gd name="connsiteY2" fmla="*/ 4427034 h 4501749"/>
              <a:gd name="connsiteX3" fmla="*/ 3345366 w 9891132"/>
              <a:gd name="connsiteY3" fmla="*/ 223024 h 4501749"/>
              <a:gd name="connsiteX4" fmla="*/ 4293220 w 9891132"/>
              <a:gd name="connsiteY4" fmla="*/ 4382429 h 4501749"/>
              <a:gd name="connsiteX5" fmla="*/ 5553307 w 9891132"/>
              <a:gd name="connsiteY5" fmla="*/ 66907 h 4501749"/>
              <a:gd name="connsiteX6" fmla="*/ 6757639 w 9891132"/>
              <a:gd name="connsiteY6" fmla="*/ 4449336 h 4501749"/>
              <a:gd name="connsiteX7" fmla="*/ 7895064 w 9891132"/>
              <a:gd name="connsiteY7" fmla="*/ 0 h 4501749"/>
              <a:gd name="connsiteX8" fmla="*/ 8898673 w 9891132"/>
              <a:gd name="connsiteY8" fmla="*/ 4449336 h 4501749"/>
              <a:gd name="connsiteX9" fmla="*/ 9891132 w 9891132"/>
              <a:gd name="connsiteY9" fmla="*/ 2040673 h 4501749"/>
              <a:gd name="connsiteX0" fmla="*/ 0 w 9891132"/>
              <a:gd name="connsiteY0" fmla="*/ 2358808 h 4535388"/>
              <a:gd name="connsiteX1" fmla="*/ 769197 w 9891132"/>
              <a:gd name="connsiteY1" fmla="*/ 55871 h 4535388"/>
              <a:gd name="connsiteX2" fmla="*/ 1638018 w 9891132"/>
              <a:gd name="connsiteY2" fmla="*/ 4535225 h 4535388"/>
              <a:gd name="connsiteX3" fmla="*/ 3345366 w 9891132"/>
              <a:gd name="connsiteY3" fmla="*/ 240076 h 4535388"/>
              <a:gd name="connsiteX4" fmla="*/ 4293220 w 9891132"/>
              <a:gd name="connsiteY4" fmla="*/ 4399481 h 4535388"/>
              <a:gd name="connsiteX5" fmla="*/ 5553307 w 9891132"/>
              <a:gd name="connsiteY5" fmla="*/ 83959 h 4535388"/>
              <a:gd name="connsiteX6" fmla="*/ 6757639 w 9891132"/>
              <a:gd name="connsiteY6" fmla="*/ 4466388 h 4535388"/>
              <a:gd name="connsiteX7" fmla="*/ 7895064 w 9891132"/>
              <a:gd name="connsiteY7" fmla="*/ 17052 h 4535388"/>
              <a:gd name="connsiteX8" fmla="*/ 8898673 w 9891132"/>
              <a:gd name="connsiteY8" fmla="*/ 4466388 h 4535388"/>
              <a:gd name="connsiteX9" fmla="*/ 9891132 w 9891132"/>
              <a:gd name="connsiteY9" fmla="*/ 2057725 h 4535388"/>
              <a:gd name="connsiteX0" fmla="*/ 0 w 9891132"/>
              <a:gd name="connsiteY0" fmla="*/ 2358808 h 4535225"/>
              <a:gd name="connsiteX1" fmla="*/ 769197 w 9891132"/>
              <a:gd name="connsiteY1" fmla="*/ 55871 h 4535225"/>
              <a:gd name="connsiteX2" fmla="*/ 1638018 w 9891132"/>
              <a:gd name="connsiteY2" fmla="*/ 4535225 h 4535225"/>
              <a:gd name="connsiteX3" fmla="*/ 3345366 w 9891132"/>
              <a:gd name="connsiteY3" fmla="*/ 240076 h 4535225"/>
              <a:gd name="connsiteX4" fmla="*/ 4293220 w 9891132"/>
              <a:gd name="connsiteY4" fmla="*/ 4399481 h 4535225"/>
              <a:gd name="connsiteX5" fmla="*/ 5553307 w 9891132"/>
              <a:gd name="connsiteY5" fmla="*/ 83959 h 4535225"/>
              <a:gd name="connsiteX6" fmla="*/ 6757639 w 9891132"/>
              <a:gd name="connsiteY6" fmla="*/ 4466388 h 4535225"/>
              <a:gd name="connsiteX7" fmla="*/ 7895064 w 9891132"/>
              <a:gd name="connsiteY7" fmla="*/ 17052 h 4535225"/>
              <a:gd name="connsiteX8" fmla="*/ 8898673 w 9891132"/>
              <a:gd name="connsiteY8" fmla="*/ 4466388 h 4535225"/>
              <a:gd name="connsiteX9" fmla="*/ 9891132 w 9891132"/>
              <a:gd name="connsiteY9" fmla="*/ 2057725 h 4535225"/>
              <a:gd name="connsiteX0" fmla="*/ 0 w 9891132"/>
              <a:gd name="connsiteY0" fmla="*/ 2358808 h 4535225"/>
              <a:gd name="connsiteX1" fmla="*/ 769197 w 9891132"/>
              <a:gd name="connsiteY1" fmla="*/ 55871 h 4535225"/>
              <a:gd name="connsiteX2" fmla="*/ 1638018 w 9891132"/>
              <a:gd name="connsiteY2" fmla="*/ 4535225 h 4535225"/>
              <a:gd name="connsiteX3" fmla="*/ 3295673 w 9891132"/>
              <a:gd name="connsiteY3" fmla="*/ 57799 h 4535225"/>
              <a:gd name="connsiteX4" fmla="*/ 4293220 w 9891132"/>
              <a:gd name="connsiteY4" fmla="*/ 4399481 h 4535225"/>
              <a:gd name="connsiteX5" fmla="*/ 5553307 w 9891132"/>
              <a:gd name="connsiteY5" fmla="*/ 83959 h 4535225"/>
              <a:gd name="connsiteX6" fmla="*/ 6757639 w 9891132"/>
              <a:gd name="connsiteY6" fmla="*/ 4466388 h 4535225"/>
              <a:gd name="connsiteX7" fmla="*/ 7895064 w 9891132"/>
              <a:gd name="connsiteY7" fmla="*/ 17052 h 4535225"/>
              <a:gd name="connsiteX8" fmla="*/ 8898673 w 9891132"/>
              <a:gd name="connsiteY8" fmla="*/ 4466388 h 4535225"/>
              <a:gd name="connsiteX9" fmla="*/ 9891132 w 9891132"/>
              <a:gd name="connsiteY9" fmla="*/ 2057725 h 4535225"/>
              <a:gd name="connsiteX0" fmla="*/ 0 w 9891132"/>
              <a:gd name="connsiteY0" fmla="*/ 2358808 h 4535225"/>
              <a:gd name="connsiteX1" fmla="*/ 769197 w 9891132"/>
              <a:gd name="connsiteY1" fmla="*/ 55871 h 4535225"/>
              <a:gd name="connsiteX2" fmla="*/ 1638018 w 9891132"/>
              <a:gd name="connsiteY2" fmla="*/ 4535225 h 4535225"/>
              <a:gd name="connsiteX3" fmla="*/ 3295673 w 9891132"/>
              <a:gd name="connsiteY3" fmla="*/ 57799 h 4535225"/>
              <a:gd name="connsiteX4" fmla="*/ 4293220 w 9891132"/>
              <a:gd name="connsiteY4" fmla="*/ 4399481 h 4535225"/>
              <a:gd name="connsiteX5" fmla="*/ 5553307 w 9891132"/>
              <a:gd name="connsiteY5" fmla="*/ 83959 h 4535225"/>
              <a:gd name="connsiteX6" fmla="*/ 6757639 w 9891132"/>
              <a:gd name="connsiteY6" fmla="*/ 4466388 h 4535225"/>
              <a:gd name="connsiteX7" fmla="*/ 7895064 w 9891132"/>
              <a:gd name="connsiteY7" fmla="*/ 17052 h 4535225"/>
              <a:gd name="connsiteX8" fmla="*/ 8898673 w 9891132"/>
              <a:gd name="connsiteY8" fmla="*/ 4466388 h 4535225"/>
              <a:gd name="connsiteX9" fmla="*/ 9891132 w 9891132"/>
              <a:gd name="connsiteY9" fmla="*/ 2057725 h 4535225"/>
              <a:gd name="connsiteX0" fmla="*/ 0 w 9891132"/>
              <a:gd name="connsiteY0" fmla="*/ 2358808 h 4535225"/>
              <a:gd name="connsiteX1" fmla="*/ 769197 w 9891132"/>
              <a:gd name="connsiteY1" fmla="*/ 55871 h 4535225"/>
              <a:gd name="connsiteX2" fmla="*/ 1638018 w 9891132"/>
              <a:gd name="connsiteY2" fmla="*/ 4535225 h 4535225"/>
              <a:gd name="connsiteX3" fmla="*/ 3285735 w 9891132"/>
              <a:gd name="connsiteY3" fmla="*/ 42610 h 4535225"/>
              <a:gd name="connsiteX4" fmla="*/ 4293220 w 9891132"/>
              <a:gd name="connsiteY4" fmla="*/ 4399481 h 4535225"/>
              <a:gd name="connsiteX5" fmla="*/ 5553307 w 9891132"/>
              <a:gd name="connsiteY5" fmla="*/ 83959 h 4535225"/>
              <a:gd name="connsiteX6" fmla="*/ 6757639 w 9891132"/>
              <a:gd name="connsiteY6" fmla="*/ 4466388 h 4535225"/>
              <a:gd name="connsiteX7" fmla="*/ 7895064 w 9891132"/>
              <a:gd name="connsiteY7" fmla="*/ 17052 h 4535225"/>
              <a:gd name="connsiteX8" fmla="*/ 8898673 w 9891132"/>
              <a:gd name="connsiteY8" fmla="*/ 4466388 h 4535225"/>
              <a:gd name="connsiteX9" fmla="*/ 9891132 w 9891132"/>
              <a:gd name="connsiteY9" fmla="*/ 2057725 h 4535225"/>
              <a:gd name="connsiteX0" fmla="*/ 0 w 9891132"/>
              <a:gd name="connsiteY0" fmla="*/ 2358808 h 4535225"/>
              <a:gd name="connsiteX1" fmla="*/ 769197 w 9891132"/>
              <a:gd name="connsiteY1" fmla="*/ 55871 h 4535225"/>
              <a:gd name="connsiteX2" fmla="*/ 1638018 w 9891132"/>
              <a:gd name="connsiteY2" fmla="*/ 4535225 h 4535225"/>
              <a:gd name="connsiteX3" fmla="*/ 3285735 w 9891132"/>
              <a:gd name="connsiteY3" fmla="*/ 42610 h 4535225"/>
              <a:gd name="connsiteX4" fmla="*/ 4293220 w 9891132"/>
              <a:gd name="connsiteY4" fmla="*/ 4399481 h 4535225"/>
              <a:gd name="connsiteX5" fmla="*/ 5553307 w 9891132"/>
              <a:gd name="connsiteY5" fmla="*/ 83959 h 4535225"/>
              <a:gd name="connsiteX6" fmla="*/ 6757639 w 9891132"/>
              <a:gd name="connsiteY6" fmla="*/ 4466388 h 4535225"/>
              <a:gd name="connsiteX7" fmla="*/ 7895064 w 9891132"/>
              <a:gd name="connsiteY7" fmla="*/ 17052 h 4535225"/>
              <a:gd name="connsiteX8" fmla="*/ 8898673 w 9891132"/>
              <a:gd name="connsiteY8" fmla="*/ 4466388 h 4535225"/>
              <a:gd name="connsiteX9" fmla="*/ 9891132 w 9891132"/>
              <a:gd name="connsiteY9" fmla="*/ 2057725 h 4535225"/>
              <a:gd name="connsiteX0" fmla="*/ 0 w 9891132"/>
              <a:gd name="connsiteY0" fmla="*/ 2373640 h 4550057"/>
              <a:gd name="connsiteX1" fmla="*/ 1236310 w 9891132"/>
              <a:gd name="connsiteY1" fmla="*/ 55405 h 4550057"/>
              <a:gd name="connsiteX2" fmla="*/ 1638018 w 9891132"/>
              <a:gd name="connsiteY2" fmla="*/ 4550057 h 4550057"/>
              <a:gd name="connsiteX3" fmla="*/ 3285735 w 9891132"/>
              <a:gd name="connsiteY3" fmla="*/ 57442 h 4550057"/>
              <a:gd name="connsiteX4" fmla="*/ 4293220 w 9891132"/>
              <a:gd name="connsiteY4" fmla="*/ 4414313 h 4550057"/>
              <a:gd name="connsiteX5" fmla="*/ 5553307 w 9891132"/>
              <a:gd name="connsiteY5" fmla="*/ 98791 h 4550057"/>
              <a:gd name="connsiteX6" fmla="*/ 6757639 w 9891132"/>
              <a:gd name="connsiteY6" fmla="*/ 4481220 h 4550057"/>
              <a:gd name="connsiteX7" fmla="*/ 7895064 w 9891132"/>
              <a:gd name="connsiteY7" fmla="*/ 31884 h 4550057"/>
              <a:gd name="connsiteX8" fmla="*/ 8898673 w 9891132"/>
              <a:gd name="connsiteY8" fmla="*/ 4481220 h 4550057"/>
              <a:gd name="connsiteX9" fmla="*/ 9891132 w 9891132"/>
              <a:gd name="connsiteY9" fmla="*/ 2072557 h 4550057"/>
              <a:gd name="connsiteX0" fmla="*/ 0 w 9891132"/>
              <a:gd name="connsiteY0" fmla="*/ 2341755 h 4518172"/>
              <a:gd name="connsiteX1" fmla="*/ 1236310 w 9891132"/>
              <a:gd name="connsiteY1" fmla="*/ 23520 h 4518172"/>
              <a:gd name="connsiteX2" fmla="*/ 1638018 w 9891132"/>
              <a:gd name="connsiteY2" fmla="*/ 4518172 h 4518172"/>
              <a:gd name="connsiteX3" fmla="*/ 3285735 w 9891132"/>
              <a:gd name="connsiteY3" fmla="*/ 25557 h 4518172"/>
              <a:gd name="connsiteX4" fmla="*/ 4293220 w 9891132"/>
              <a:gd name="connsiteY4" fmla="*/ 4382428 h 4518172"/>
              <a:gd name="connsiteX5" fmla="*/ 5553307 w 9891132"/>
              <a:gd name="connsiteY5" fmla="*/ 66906 h 4518172"/>
              <a:gd name="connsiteX6" fmla="*/ 6757639 w 9891132"/>
              <a:gd name="connsiteY6" fmla="*/ 4449335 h 4518172"/>
              <a:gd name="connsiteX7" fmla="*/ 7895064 w 9891132"/>
              <a:gd name="connsiteY7" fmla="*/ -1 h 4518172"/>
              <a:gd name="connsiteX8" fmla="*/ 8898673 w 9891132"/>
              <a:gd name="connsiteY8" fmla="*/ 4449335 h 4518172"/>
              <a:gd name="connsiteX9" fmla="*/ 9891132 w 9891132"/>
              <a:gd name="connsiteY9" fmla="*/ 2040672 h 4518172"/>
              <a:gd name="connsiteX0" fmla="*/ 0 w 9891132"/>
              <a:gd name="connsiteY0" fmla="*/ 2348834 h 4525255"/>
              <a:gd name="connsiteX1" fmla="*/ 1236310 w 9891132"/>
              <a:gd name="connsiteY1" fmla="*/ 3 h 4525255"/>
              <a:gd name="connsiteX2" fmla="*/ 1638018 w 9891132"/>
              <a:gd name="connsiteY2" fmla="*/ 4525251 h 4525255"/>
              <a:gd name="connsiteX3" fmla="*/ 3285735 w 9891132"/>
              <a:gd name="connsiteY3" fmla="*/ 32636 h 4525255"/>
              <a:gd name="connsiteX4" fmla="*/ 4293220 w 9891132"/>
              <a:gd name="connsiteY4" fmla="*/ 4389507 h 4525255"/>
              <a:gd name="connsiteX5" fmla="*/ 5553307 w 9891132"/>
              <a:gd name="connsiteY5" fmla="*/ 73985 h 4525255"/>
              <a:gd name="connsiteX6" fmla="*/ 6757639 w 9891132"/>
              <a:gd name="connsiteY6" fmla="*/ 4456414 h 4525255"/>
              <a:gd name="connsiteX7" fmla="*/ 7895064 w 9891132"/>
              <a:gd name="connsiteY7" fmla="*/ 7078 h 4525255"/>
              <a:gd name="connsiteX8" fmla="*/ 8898673 w 9891132"/>
              <a:gd name="connsiteY8" fmla="*/ 4456414 h 4525255"/>
              <a:gd name="connsiteX9" fmla="*/ 9891132 w 9891132"/>
              <a:gd name="connsiteY9" fmla="*/ 2047751 h 4525255"/>
              <a:gd name="connsiteX0" fmla="*/ 0 w 9891132"/>
              <a:gd name="connsiteY0" fmla="*/ 2402697 h 4563819"/>
              <a:gd name="connsiteX1" fmla="*/ 1236310 w 9891132"/>
              <a:gd name="connsiteY1" fmla="*/ 53866 h 4563819"/>
              <a:gd name="connsiteX2" fmla="*/ 2870401 w 9891132"/>
              <a:gd name="connsiteY2" fmla="*/ 4563816 h 4563819"/>
              <a:gd name="connsiteX3" fmla="*/ 3285735 w 9891132"/>
              <a:gd name="connsiteY3" fmla="*/ 86499 h 4563819"/>
              <a:gd name="connsiteX4" fmla="*/ 4293220 w 9891132"/>
              <a:gd name="connsiteY4" fmla="*/ 4443370 h 4563819"/>
              <a:gd name="connsiteX5" fmla="*/ 5553307 w 9891132"/>
              <a:gd name="connsiteY5" fmla="*/ 127848 h 4563819"/>
              <a:gd name="connsiteX6" fmla="*/ 6757639 w 9891132"/>
              <a:gd name="connsiteY6" fmla="*/ 4510277 h 4563819"/>
              <a:gd name="connsiteX7" fmla="*/ 7895064 w 9891132"/>
              <a:gd name="connsiteY7" fmla="*/ 60941 h 4563819"/>
              <a:gd name="connsiteX8" fmla="*/ 8898673 w 9891132"/>
              <a:gd name="connsiteY8" fmla="*/ 4510277 h 4563819"/>
              <a:gd name="connsiteX9" fmla="*/ 9891132 w 9891132"/>
              <a:gd name="connsiteY9" fmla="*/ 2101614 h 4563819"/>
              <a:gd name="connsiteX0" fmla="*/ 0 w 9891132"/>
              <a:gd name="connsiteY0" fmla="*/ 2402697 h 4563816"/>
              <a:gd name="connsiteX1" fmla="*/ 1236310 w 9891132"/>
              <a:gd name="connsiteY1" fmla="*/ 53866 h 4563816"/>
              <a:gd name="connsiteX2" fmla="*/ 2870401 w 9891132"/>
              <a:gd name="connsiteY2" fmla="*/ 4563816 h 4563816"/>
              <a:gd name="connsiteX3" fmla="*/ 4110636 w 9891132"/>
              <a:gd name="connsiteY3" fmla="*/ 55903 h 4563816"/>
              <a:gd name="connsiteX4" fmla="*/ 4293220 w 9891132"/>
              <a:gd name="connsiteY4" fmla="*/ 4443370 h 4563816"/>
              <a:gd name="connsiteX5" fmla="*/ 5553307 w 9891132"/>
              <a:gd name="connsiteY5" fmla="*/ 127848 h 4563816"/>
              <a:gd name="connsiteX6" fmla="*/ 6757639 w 9891132"/>
              <a:gd name="connsiteY6" fmla="*/ 4510277 h 4563816"/>
              <a:gd name="connsiteX7" fmla="*/ 7895064 w 9891132"/>
              <a:gd name="connsiteY7" fmla="*/ 60941 h 4563816"/>
              <a:gd name="connsiteX8" fmla="*/ 8898673 w 9891132"/>
              <a:gd name="connsiteY8" fmla="*/ 4510277 h 4563816"/>
              <a:gd name="connsiteX9" fmla="*/ 9891132 w 9891132"/>
              <a:gd name="connsiteY9" fmla="*/ 2101614 h 4563816"/>
              <a:gd name="connsiteX0" fmla="*/ 0 w 9891132"/>
              <a:gd name="connsiteY0" fmla="*/ 2402697 h 4563816"/>
              <a:gd name="connsiteX1" fmla="*/ 1236310 w 9891132"/>
              <a:gd name="connsiteY1" fmla="*/ 53866 h 4563816"/>
              <a:gd name="connsiteX2" fmla="*/ 2870401 w 9891132"/>
              <a:gd name="connsiteY2" fmla="*/ 4563816 h 4563816"/>
              <a:gd name="connsiteX3" fmla="*/ 4110636 w 9891132"/>
              <a:gd name="connsiteY3" fmla="*/ 55903 h 4563816"/>
              <a:gd name="connsiteX4" fmla="*/ 4293220 w 9891132"/>
              <a:gd name="connsiteY4" fmla="*/ 4443370 h 4563816"/>
              <a:gd name="connsiteX5" fmla="*/ 5553307 w 9891132"/>
              <a:gd name="connsiteY5" fmla="*/ 127848 h 4563816"/>
              <a:gd name="connsiteX6" fmla="*/ 6757639 w 9891132"/>
              <a:gd name="connsiteY6" fmla="*/ 4510277 h 4563816"/>
              <a:gd name="connsiteX7" fmla="*/ 7895064 w 9891132"/>
              <a:gd name="connsiteY7" fmla="*/ 60941 h 4563816"/>
              <a:gd name="connsiteX8" fmla="*/ 8898673 w 9891132"/>
              <a:gd name="connsiteY8" fmla="*/ 4510277 h 4563816"/>
              <a:gd name="connsiteX9" fmla="*/ 9891132 w 9891132"/>
              <a:gd name="connsiteY9" fmla="*/ 2101614 h 4563816"/>
              <a:gd name="connsiteX0" fmla="*/ 0 w 9891132"/>
              <a:gd name="connsiteY0" fmla="*/ 2867720 h 5028839"/>
              <a:gd name="connsiteX1" fmla="*/ 1236310 w 9891132"/>
              <a:gd name="connsiteY1" fmla="*/ 518889 h 5028839"/>
              <a:gd name="connsiteX2" fmla="*/ 2870401 w 9891132"/>
              <a:gd name="connsiteY2" fmla="*/ 5028839 h 5028839"/>
              <a:gd name="connsiteX3" fmla="*/ 4110636 w 9891132"/>
              <a:gd name="connsiteY3" fmla="*/ 520926 h 5028839"/>
              <a:gd name="connsiteX4" fmla="*/ 5553307 w 9891132"/>
              <a:gd name="connsiteY4" fmla="*/ 592871 h 5028839"/>
              <a:gd name="connsiteX5" fmla="*/ 6757639 w 9891132"/>
              <a:gd name="connsiteY5" fmla="*/ 4975300 h 5028839"/>
              <a:gd name="connsiteX6" fmla="*/ 7895064 w 9891132"/>
              <a:gd name="connsiteY6" fmla="*/ 525964 h 5028839"/>
              <a:gd name="connsiteX7" fmla="*/ 8898673 w 9891132"/>
              <a:gd name="connsiteY7" fmla="*/ 4975300 h 5028839"/>
              <a:gd name="connsiteX8" fmla="*/ 9891132 w 9891132"/>
              <a:gd name="connsiteY8" fmla="*/ 2566637 h 5028839"/>
              <a:gd name="connsiteX0" fmla="*/ 0 w 9891132"/>
              <a:gd name="connsiteY0" fmla="*/ 2402697 h 4563816"/>
              <a:gd name="connsiteX1" fmla="*/ 1236310 w 9891132"/>
              <a:gd name="connsiteY1" fmla="*/ 53866 h 4563816"/>
              <a:gd name="connsiteX2" fmla="*/ 2870401 w 9891132"/>
              <a:gd name="connsiteY2" fmla="*/ 4563816 h 4563816"/>
              <a:gd name="connsiteX3" fmla="*/ 4110636 w 9891132"/>
              <a:gd name="connsiteY3" fmla="*/ 55903 h 4563816"/>
              <a:gd name="connsiteX4" fmla="*/ 6757639 w 9891132"/>
              <a:gd name="connsiteY4" fmla="*/ 4510277 h 4563816"/>
              <a:gd name="connsiteX5" fmla="*/ 7895064 w 9891132"/>
              <a:gd name="connsiteY5" fmla="*/ 60941 h 4563816"/>
              <a:gd name="connsiteX6" fmla="*/ 8898673 w 9891132"/>
              <a:gd name="connsiteY6" fmla="*/ 4510277 h 4563816"/>
              <a:gd name="connsiteX7" fmla="*/ 9891132 w 9891132"/>
              <a:gd name="connsiteY7" fmla="*/ 2101614 h 4563816"/>
              <a:gd name="connsiteX0" fmla="*/ 0 w 9891132"/>
              <a:gd name="connsiteY0" fmla="*/ 2402697 h 4586771"/>
              <a:gd name="connsiteX1" fmla="*/ 1236310 w 9891132"/>
              <a:gd name="connsiteY1" fmla="*/ 53866 h 4586771"/>
              <a:gd name="connsiteX2" fmla="*/ 2870401 w 9891132"/>
              <a:gd name="connsiteY2" fmla="*/ 4563816 h 4586771"/>
              <a:gd name="connsiteX3" fmla="*/ 4110636 w 9891132"/>
              <a:gd name="connsiteY3" fmla="*/ 55903 h 4586771"/>
              <a:gd name="connsiteX4" fmla="*/ 5763782 w 9891132"/>
              <a:gd name="connsiteY4" fmla="*/ 4586771 h 4586771"/>
              <a:gd name="connsiteX5" fmla="*/ 7895064 w 9891132"/>
              <a:gd name="connsiteY5" fmla="*/ 60941 h 4586771"/>
              <a:gd name="connsiteX6" fmla="*/ 8898673 w 9891132"/>
              <a:gd name="connsiteY6" fmla="*/ 4510277 h 4586771"/>
              <a:gd name="connsiteX7" fmla="*/ 9891132 w 9891132"/>
              <a:gd name="connsiteY7" fmla="*/ 2101614 h 4586771"/>
              <a:gd name="connsiteX0" fmla="*/ 0 w 9891132"/>
              <a:gd name="connsiteY0" fmla="*/ 2402697 h 4586805"/>
              <a:gd name="connsiteX1" fmla="*/ 1236310 w 9891132"/>
              <a:gd name="connsiteY1" fmla="*/ 53866 h 4586805"/>
              <a:gd name="connsiteX2" fmla="*/ 2870401 w 9891132"/>
              <a:gd name="connsiteY2" fmla="*/ 4563816 h 4586805"/>
              <a:gd name="connsiteX3" fmla="*/ 4110636 w 9891132"/>
              <a:gd name="connsiteY3" fmla="*/ 55903 h 4586805"/>
              <a:gd name="connsiteX4" fmla="*/ 5763782 w 9891132"/>
              <a:gd name="connsiteY4" fmla="*/ 4586771 h 4586805"/>
              <a:gd name="connsiteX5" fmla="*/ 7895064 w 9891132"/>
              <a:gd name="connsiteY5" fmla="*/ 60941 h 4586805"/>
              <a:gd name="connsiteX6" fmla="*/ 8898673 w 9891132"/>
              <a:gd name="connsiteY6" fmla="*/ 4510277 h 4586805"/>
              <a:gd name="connsiteX7" fmla="*/ 9891132 w 9891132"/>
              <a:gd name="connsiteY7" fmla="*/ 2101614 h 4586805"/>
              <a:gd name="connsiteX0" fmla="*/ 0 w 9891132"/>
              <a:gd name="connsiteY0" fmla="*/ 2402697 h 4586771"/>
              <a:gd name="connsiteX1" fmla="*/ 1236310 w 9891132"/>
              <a:gd name="connsiteY1" fmla="*/ 53866 h 4586771"/>
              <a:gd name="connsiteX2" fmla="*/ 2870401 w 9891132"/>
              <a:gd name="connsiteY2" fmla="*/ 4563816 h 4586771"/>
              <a:gd name="connsiteX3" fmla="*/ 4110636 w 9891132"/>
              <a:gd name="connsiteY3" fmla="*/ 55903 h 4586771"/>
              <a:gd name="connsiteX4" fmla="*/ 5763782 w 9891132"/>
              <a:gd name="connsiteY4" fmla="*/ 4586771 h 4586771"/>
              <a:gd name="connsiteX5" fmla="*/ 6990653 w 9891132"/>
              <a:gd name="connsiteY5" fmla="*/ 45642 h 4586771"/>
              <a:gd name="connsiteX6" fmla="*/ 8898673 w 9891132"/>
              <a:gd name="connsiteY6" fmla="*/ 4510277 h 4586771"/>
              <a:gd name="connsiteX7" fmla="*/ 9891132 w 9891132"/>
              <a:gd name="connsiteY7" fmla="*/ 2101614 h 4586771"/>
              <a:gd name="connsiteX0" fmla="*/ 0 w 9891132"/>
              <a:gd name="connsiteY0" fmla="*/ 2402697 h 4607848"/>
              <a:gd name="connsiteX1" fmla="*/ 1236310 w 9891132"/>
              <a:gd name="connsiteY1" fmla="*/ 53866 h 4607848"/>
              <a:gd name="connsiteX2" fmla="*/ 2870401 w 9891132"/>
              <a:gd name="connsiteY2" fmla="*/ 4563816 h 4607848"/>
              <a:gd name="connsiteX3" fmla="*/ 4110636 w 9891132"/>
              <a:gd name="connsiteY3" fmla="*/ 55903 h 4607848"/>
              <a:gd name="connsiteX4" fmla="*/ 5763782 w 9891132"/>
              <a:gd name="connsiteY4" fmla="*/ 4586771 h 4607848"/>
              <a:gd name="connsiteX5" fmla="*/ 6990653 w 9891132"/>
              <a:gd name="connsiteY5" fmla="*/ 45642 h 4607848"/>
              <a:gd name="connsiteX6" fmla="*/ 8670086 w 9891132"/>
              <a:gd name="connsiteY6" fmla="*/ 4556172 h 4607848"/>
              <a:gd name="connsiteX7" fmla="*/ 9891132 w 9891132"/>
              <a:gd name="connsiteY7" fmla="*/ 2101614 h 4607848"/>
              <a:gd name="connsiteX0" fmla="*/ 0 w 9891132"/>
              <a:gd name="connsiteY0" fmla="*/ 2402697 h 4586771"/>
              <a:gd name="connsiteX1" fmla="*/ 1236310 w 9891132"/>
              <a:gd name="connsiteY1" fmla="*/ 53866 h 4586771"/>
              <a:gd name="connsiteX2" fmla="*/ 2870401 w 9891132"/>
              <a:gd name="connsiteY2" fmla="*/ 4563816 h 4586771"/>
              <a:gd name="connsiteX3" fmla="*/ 4110636 w 9891132"/>
              <a:gd name="connsiteY3" fmla="*/ 55903 h 4586771"/>
              <a:gd name="connsiteX4" fmla="*/ 5763782 w 9891132"/>
              <a:gd name="connsiteY4" fmla="*/ 4586771 h 4586771"/>
              <a:gd name="connsiteX5" fmla="*/ 6990653 w 9891132"/>
              <a:gd name="connsiteY5" fmla="*/ 45642 h 4586771"/>
              <a:gd name="connsiteX6" fmla="*/ 8670086 w 9891132"/>
              <a:gd name="connsiteY6" fmla="*/ 4556172 h 4586771"/>
              <a:gd name="connsiteX7" fmla="*/ 9891132 w 9891132"/>
              <a:gd name="connsiteY7" fmla="*/ 2101614 h 4586771"/>
              <a:gd name="connsiteX0" fmla="*/ 0 w 9891132"/>
              <a:gd name="connsiteY0" fmla="*/ 2402697 h 4586781"/>
              <a:gd name="connsiteX1" fmla="*/ 1236310 w 9891132"/>
              <a:gd name="connsiteY1" fmla="*/ 53866 h 4586781"/>
              <a:gd name="connsiteX2" fmla="*/ 2870401 w 9891132"/>
              <a:gd name="connsiteY2" fmla="*/ 4563816 h 4586781"/>
              <a:gd name="connsiteX3" fmla="*/ 4110636 w 9891132"/>
              <a:gd name="connsiteY3" fmla="*/ 55903 h 4586781"/>
              <a:gd name="connsiteX4" fmla="*/ 5763782 w 9891132"/>
              <a:gd name="connsiteY4" fmla="*/ 4586771 h 4586781"/>
              <a:gd name="connsiteX5" fmla="*/ 6990653 w 9891132"/>
              <a:gd name="connsiteY5" fmla="*/ 45642 h 4586781"/>
              <a:gd name="connsiteX6" fmla="*/ 8640271 w 9891132"/>
              <a:gd name="connsiteY6" fmla="*/ 4586768 h 4586781"/>
              <a:gd name="connsiteX7" fmla="*/ 9891132 w 9891132"/>
              <a:gd name="connsiteY7" fmla="*/ 2101614 h 4586781"/>
              <a:gd name="connsiteX0" fmla="*/ 0 w 9891132"/>
              <a:gd name="connsiteY0" fmla="*/ 2402697 h 4637561"/>
              <a:gd name="connsiteX1" fmla="*/ 1236310 w 9891132"/>
              <a:gd name="connsiteY1" fmla="*/ 53866 h 4637561"/>
              <a:gd name="connsiteX2" fmla="*/ 2870401 w 9891132"/>
              <a:gd name="connsiteY2" fmla="*/ 4563816 h 4637561"/>
              <a:gd name="connsiteX3" fmla="*/ 4110636 w 9891132"/>
              <a:gd name="connsiteY3" fmla="*/ 55903 h 4637561"/>
              <a:gd name="connsiteX4" fmla="*/ 5763782 w 9891132"/>
              <a:gd name="connsiteY4" fmla="*/ 4586771 h 4637561"/>
              <a:gd name="connsiteX5" fmla="*/ 6990653 w 9891132"/>
              <a:gd name="connsiteY5" fmla="*/ 45642 h 4637561"/>
              <a:gd name="connsiteX6" fmla="*/ 8640271 w 9891132"/>
              <a:gd name="connsiteY6" fmla="*/ 4586768 h 4637561"/>
              <a:gd name="connsiteX7" fmla="*/ 9891132 w 9891132"/>
              <a:gd name="connsiteY7" fmla="*/ 2101614 h 4637561"/>
              <a:gd name="connsiteX0" fmla="*/ 0 w 9891132"/>
              <a:gd name="connsiteY0" fmla="*/ 2402697 h 4615269"/>
              <a:gd name="connsiteX1" fmla="*/ 1236310 w 9891132"/>
              <a:gd name="connsiteY1" fmla="*/ 53866 h 4615269"/>
              <a:gd name="connsiteX2" fmla="*/ 2870401 w 9891132"/>
              <a:gd name="connsiteY2" fmla="*/ 4563816 h 4615269"/>
              <a:gd name="connsiteX3" fmla="*/ 4110636 w 9891132"/>
              <a:gd name="connsiteY3" fmla="*/ 55903 h 4615269"/>
              <a:gd name="connsiteX4" fmla="*/ 5763782 w 9891132"/>
              <a:gd name="connsiteY4" fmla="*/ 4586771 h 4615269"/>
              <a:gd name="connsiteX5" fmla="*/ 6990653 w 9891132"/>
              <a:gd name="connsiteY5" fmla="*/ 45642 h 4615269"/>
              <a:gd name="connsiteX6" fmla="*/ 8640271 w 9891132"/>
              <a:gd name="connsiteY6" fmla="*/ 4586768 h 4615269"/>
              <a:gd name="connsiteX7" fmla="*/ 9891132 w 9891132"/>
              <a:gd name="connsiteY7" fmla="*/ 2101614 h 4615269"/>
              <a:gd name="connsiteX0" fmla="*/ 0 w 9891132"/>
              <a:gd name="connsiteY0" fmla="*/ 2382266 h 4594838"/>
              <a:gd name="connsiteX1" fmla="*/ 1236310 w 9891132"/>
              <a:gd name="connsiteY1" fmla="*/ 33435 h 4594838"/>
              <a:gd name="connsiteX2" fmla="*/ 2870401 w 9891132"/>
              <a:gd name="connsiteY2" fmla="*/ 4543385 h 4594838"/>
              <a:gd name="connsiteX3" fmla="*/ 4110636 w 9891132"/>
              <a:gd name="connsiteY3" fmla="*/ 35472 h 4594838"/>
              <a:gd name="connsiteX4" fmla="*/ 5763782 w 9891132"/>
              <a:gd name="connsiteY4" fmla="*/ 4566340 h 4594838"/>
              <a:gd name="connsiteX5" fmla="*/ 6990653 w 9891132"/>
              <a:gd name="connsiteY5" fmla="*/ 25211 h 4594838"/>
              <a:gd name="connsiteX6" fmla="*/ 8640271 w 9891132"/>
              <a:gd name="connsiteY6" fmla="*/ 4566337 h 4594838"/>
              <a:gd name="connsiteX7" fmla="*/ 9891132 w 9891132"/>
              <a:gd name="connsiteY7" fmla="*/ 2081183 h 4594838"/>
              <a:gd name="connsiteX0" fmla="*/ 0 w 9891132"/>
              <a:gd name="connsiteY0" fmla="*/ 2382266 h 4594838"/>
              <a:gd name="connsiteX1" fmla="*/ 1425142 w 9891132"/>
              <a:gd name="connsiteY1" fmla="*/ 33435 h 4594838"/>
              <a:gd name="connsiteX2" fmla="*/ 2870401 w 9891132"/>
              <a:gd name="connsiteY2" fmla="*/ 4543385 h 4594838"/>
              <a:gd name="connsiteX3" fmla="*/ 4110636 w 9891132"/>
              <a:gd name="connsiteY3" fmla="*/ 35472 h 4594838"/>
              <a:gd name="connsiteX4" fmla="*/ 5763782 w 9891132"/>
              <a:gd name="connsiteY4" fmla="*/ 4566340 h 4594838"/>
              <a:gd name="connsiteX5" fmla="*/ 6990653 w 9891132"/>
              <a:gd name="connsiteY5" fmla="*/ 25211 h 4594838"/>
              <a:gd name="connsiteX6" fmla="*/ 8640271 w 9891132"/>
              <a:gd name="connsiteY6" fmla="*/ 4566337 h 4594838"/>
              <a:gd name="connsiteX7" fmla="*/ 9891132 w 9891132"/>
              <a:gd name="connsiteY7" fmla="*/ 2081183 h 4594838"/>
              <a:gd name="connsiteX0" fmla="*/ 0 w 9891132"/>
              <a:gd name="connsiteY0" fmla="*/ 2357054 h 4569626"/>
              <a:gd name="connsiteX1" fmla="*/ 1425142 w 9891132"/>
              <a:gd name="connsiteY1" fmla="*/ 8223 h 4569626"/>
              <a:gd name="connsiteX2" fmla="*/ 2870401 w 9891132"/>
              <a:gd name="connsiteY2" fmla="*/ 4518173 h 4569626"/>
              <a:gd name="connsiteX3" fmla="*/ 4110636 w 9891132"/>
              <a:gd name="connsiteY3" fmla="*/ 10260 h 4569626"/>
              <a:gd name="connsiteX4" fmla="*/ 5763782 w 9891132"/>
              <a:gd name="connsiteY4" fmla="*/ 4541128 h 4569626"/>
              <a:gd name="connsiteX5" fmla="*/ 6990653 w 9891132"/>
              <a:gd name="connsiteY5" fmla="*/ -1 h 4569626"/>
              <a:gd name="connsiteX6" fmla="*/ 8640271 w 9891132"/>
              <a:gd name="connsiteY6" fmla="*/ 4541125 h 4569626"/>
              <a:gd name="connsiteX7" fmla="*/ 9891132 w 9891132"/>
              <a:gd name="connsiteY7" fmla="*/ 2055971 h 4569626"/>
              <a:gd name="connsiteX0" fmla="*/ 0 w 9891132"/>
              <a:gd name="connsiteY0" fmla="*/ 2382266 h 4594838"/>
              <a:gd name="connsiteX1" fmla="*/ 1425142 w 9891132"/>
              <a:gd name="connsiteY1" fmla="*/ 33435 h 4594838"/>
              <a:gd name="connsiteX2" fmla="*/ 2830647 w 9891132"/>
              <a:gd name="connsiteY2" fmla="*/ 4543386 h 4594838"/>
              <a:gd name="connsiteX3" fmla="*/ 4110636 w 9891132"/>
              <a:gd name="connsiteY3" fmla="*/ 35472 h 4594838"/>
              <a:gd name="connsiteX4" fmla="*/ 5763782 w 9891132"/>
              <a:gd name="connsiteY4" fmla="*/ 4566340 h 4594838"/>
              <a:gd name="connsiteX5" fmla="*/ 6990653 w 9891132"/>
              <a:gd name="connsiteY5" fmla="*/ 25211 h 4594838"/>
              <a:gd name="connsiteX6" fmla="*/ 8640271 w 9891132"/>
              <a:gd name="connsiteY6" fmla="*/ 4566337 h 4594838"/>
              <a:gd name="connsiteX7" fmla="*/ 9891132 w 9891132"/>
              <a:gd name="connsiteY7" fmla="*/ 2081183 h 4594838"/>
              <a:gd name="connsiteX0" fmla="*/ 0 w 9891132"/>
              <a:gd name="connsiteY0" fmla="*/ 2382266 h 4594838"/>
              <a:gd name="connsiteX1" fmla="*/ 1425142 w 9891132"/>
              <a:gd name="connsiteY1" fmla="*/ 33435 h 4594838"/>
              <a:gd name="connsiteX2" fmla="*/ 2830647 w 9891132"/>
              <a:gd name="connsiteY2" fmla="*/ 4543386 h 4594838"/>
              <a:gd name="connsiteX3" fmla="*/ 4249776 w 9891132"/>
              <a:gd name="connsiteY3" fmla="*/ 35472 h 4594838"/>
              <a:gd name="connsiteX4" fmla="*/ 5763782 w 9891132"/>
              <a:gd name="connsiteY4" fmla="*/ 4566340 h 4594838"/>
              <a:gd name="connsiteX5" fmla="*/ 6990653 w 9891132"/>
              <a:gd name="connsiteY5" fmla="*/ 25211 h 4594838"/>
              <a:gd name="connsiteX6" fmla="*/ 8640271 w 9891132"/>
              <a:gd name="connsiteY6" fmla="*/ 4566337 h 4594838"/>
              <a:gd name="connsiteX7" fmla="*/ 9891132 w 9891132"/>
              <a:gd name="connsiteY7" fmla="*/ 2081183 h 4594838"/>
              <a:gd name="connsiteX0" fmla="*/ 0 w 9891132"/>
              <a:gd name="connsiteY0" fmla="*/ 2382266 h 4594838"/>
              <a:gd name="connsiteX1" fmla="*/ 1425142 w 9891132"/>
              <a:gd name="connsiteY1" fmla="*/ 33435 h 4594838"/>
              <a:gd name="connsiteX2" fmla="*/ 2830647 w 9891132"/>
              <a:gd name="connsiteY2" fmla="*/ 4543386 h 4594838"/>
              <a:gd name="connsiteX3" fmla="*/ 4249776 w 9891132"/>
              <a:gd name="connsiteY3" fmla="*/ 35472 h 4594838"/>
              <a:gd name="connsiteX4" fmla="*/ 5654457 w 9891132"/>
              <a:gd name="connsiteY4" fmla="*/ 4551042 h 4594838"/>
              <a:gd name="connsiteX5" fmla="*/ 6990653 w 9891132"/>
              <a:gd name="connsiteY5" fmla="*/ 25211 h 4594838"/>
              <a:gd name="connsiteX6" fmla="*/ 8640271 w 9891132"/>
              <a:gd name="connsiteY6" fmla="*/ 4566337 h 4594838"/>
              <a:gd name="connsiteX7" fmla="*/ 9891132 w 9891132"/>
              <a:gd name="connsiteY7" fmla="*/ 2081183 h 4594838"/>
              <a:gd name="connsiteX0" fmla="*/ 0 w 9891132"/>
              <a:gd name="connsiteY0" fmla="*/ 2382266 h 4594454"/>
              <a:gd name="connsiteX1" fmla="*/ 1425142 w 9891132"/>
              <a:gd name="connsiteY1" fmla="*/ 33435 h 4594454"/>
              <a:gd name="connsiteX2" fmla="*/ 2830647 w 9891132"/>
              <a:gd name="connsiteY2" fmla="*/ 4543386 h 4594454"/>
              <a:gd name="connsiteX3" fmla="*/ 4249776 w 9891132"/>
              <a:gd name="connsiteY3" fmla="*/ 35472 h 4594454"/>
              <a:gd name="connsiteX4" fmla="*/ 5654457 w 9891132"/>
              <a:gd name="connsiteY4" fmla="*/ 4551042 h 4594454"/>
              <a:gd name="connsiteX5" fmla="*/ 7070161 w 9891132"/>
              <a:gd name="connsiteY5" fmla="*/ 40510 h 4594454"/>
              <a:gd name="connsiteX6" fmla="*/ 8640271 w 9891132"/>
              <a:gd name="connsiteY6" fmla="*/ 4566337 h 4594454"/>
              <a:gd name="connsiteX7" fmla="*/ 9891132 w 9891132"/>
              <a:gd name="connsiteY7" fmla="*/ 2081183 h 4594454"/>
              <a:gd name="connsiteX0" fmla="*/ 0 w 9891132"/>
              <a:gd name="connsiteY0" fmla="*/ 2382266 h 4551043"/>
              <a:gd name="connsiteX1" fmla="*/ 1425142 w 9891132"/>
              <a:gd name="connsiteY1" fmla="*/ 33435 h 4551043"/>
              <a:gd name="connsiteX2" fmla="*/ 2830647 w 9891132"/>
              <a:gd name="connsiteY2" fmla="*/ 4543386 h 4551043"/>
              <a:gd name="connsiteX3" fmla="*/ 4249776 w 9891132"/>
              <a:gd name="connsiteY3" fmla="*/ 35472 h 4551043"/>
              <a:gd name="connsiteX4" fmla="*/ 5654457 w 9891132"/>
              <a:gd name="connsiteY4" fmla="*/ 4551042 h 4551043"/>
              <a:gd name="connsiteX5" fmla="*/ 7070161 w 9891132"/>
              <a:gd name="connsiteY5" fmla="*/ 40510 h 4551043"/>
              <a:gd name="connsiteX6" fmla="*/ 8471315 w 9891132"/>
              <a:gd name="connsiteY6" fmla="*/ 4505143 h 4551043"/>
              <a:gd name="connsiteX7" fmla="*/ 9891132 w 9891132"/>
              <a:gd name="connsiteY7" fmla="*/ 2081183 h 4551043"/>
              <a:gd name="connsiteX0" fmla="*/ 0 w 9891132"/>
              <a:gd name="connsiteY0" fmla="*/ 2382266 h 4551042"/>
              <a:gd name="connsiteX1" fmla="*/ 1425142 w 9891132"/>
              <a:gd name="connsiteY1" fmla="*/ 33435 h 4551042"/>
              <a:gd name="connsiteX2" fmla="*/ 2830647 w 9891132"/>
              <a:gd name="connsiteY2" fmla="*/ 4543386 h 4551042"/>
              <a:gd name="connsiteX3" fmla="*/ 4249776 w 9891132"/>
              <a:gd name="connsiteY3" fmla="*/ 35472 h 4551042"/>
              <a:gd name="connsiteX4" fmla="*/ 5654457 w 9891132"/>
              <a:gd name="connsiteY4" fmla="*/ 4551042 h 4551042"/>
              <a:gd name="connsiteX5" fmla="*/ 7070161 w 9891132"/>
              <a:gd name="connsiteY5" fmla="*/ 40510 h 4551042"/>
              <a:gd name="connsiteX6" fmla="*/ 8471315 w 9891132"/>
              <a:gd name="connsiteY6" fmla="*/ 4505143 h 4551042"/>
              <a:gd name="connsiteX7" fmla="*/ 9891132 w 9891132"/>
              <a:gd name="connsiteY7" fmla="*/ 2081183 h 4551042"/>
              <a:gd name="connsiteX0" fmla="*/ 0 w 9891132"/>
              <a:gd name="connsiteY0" fmla="*/ 2382266 h 4551042"/>
              <a:gd name="connsiteX1" fmla="*/ 1425142 w 9891132"/>
              <a:gd name="connsiteY1" fmla="*/ 33435 h 4551042"/>
              <a:gd name="connsiteX2" fmla="*/ 2830647 w 9891132"/>
              <a:gd name="connsiteY2" fmla="*/ 4543386 h 4551042"/>
              <a:gd name="connsiteX3" fmla="*/ 4249776 w 9891132"/>
              <a:gd name="connsiteY3" fmla="*/ 35472 h 4551042"/>
              <a:gd name="connsiteX4" fmla="*/ 5654457 w 9891132"/>
              <a:gd name="connsiteY4" fmla="*/ 4551042 h 4551042"/>
              <a:gd name="connsiteX5" fmla="*/ 7070161 w 9891132"/>
              <a:gd name="connsiteY5" fmla="*/ 40510 h 4551042"/>
              <a:gd name="connsiteX6" fmla="*/ 8481254 w 9891132"/>
              <a:gd name="connsiteY6" fmla="*/ 4535740 h 4551042"/>
              <a:gd name="connsiteX7" fmla="*/ 9891132 w 9891132"/>
              <a:gd name="connsiteY7" fmla="*/ 2081183 h 4551042"/>
              <a:gd name="connsiteX0" fmla="*/ 0 w 9911009"/>
              <a:gd name="connsiteY0" fmla="*/ 4490621 h 4517609"/>
              <a:gd name="connsiteX1" fmla="*/ 1445019 w 9911009"/>
              <a:gd name="connsiteY1" fmla="*/ 2 h 4517609"/>
              <a:gd name="connsiteX2" fmla="*/ 2850524 w 9911009"/>
              <a:gd name="connsiteY2" fmla="*/ 4509953 h 4517609"/>
              <a:gd name="connsiteX3" fmla="*/ 4269653 w 9911009"/>
              <a:gd name="connsiteY3" fmla="*/ 2039 h 4517609"/>
              <a:gd name="connsiteX4" fmla="*/ 5674334 w 9911009"/>
              <a:gd name="connsiteY4" fmla="*/ 4517609 h 4517609"/>
              <a:gd name="connsiteX5" fmla="*/ 7090038 w 9911009"/>
              <a:gd name="connsiteY5" fmla="*/ 7077 h 4517609"/>
              <a:gd name="connsiteX6" fmla="*/ 8501131 w 9911009"/>
              <a:gd name="connsiteY6" fmla="*/ 4502307 h 4517609"/>
              <a:gd name="connsiteX7" fmla="*/ 9911009 w 9911009"/>
              <a:gd name="connsiteY7" fmla="*/ 2047750 h 4517609"/>
              <a:gd name="connsiteX0" fmla="*/ 0 w 9901071"/>
              <a:gd name="connsiteY0" fmla="*/ 4536518 h 4536518"/>
              <a:gd name="connsiteX1" fmla="*/ 1435081 w 9901071"/>
              <a:gd name="connsiteY1" fmla="*/ 3 h 4536518"/>
              <a:gd name="connsiteX2" fmla="*/ 2840586 w 9901071"/>
              <a:gd name="connsiteY2" fmla="*/ 4509954 h 4536518"/>
              <a:gd name="connsiteX3" fmla="*/ 4259715 w 9901071"/>
              <a:gd name="connsiteY3" fmla="*/ 2040 h 4536518"/>
              <a:gd name="connsiteX4" fmla="*/ 5664396 w 9901071"/>
              <a:gd name="connsiteY4" fmla="*/ 4517610 h 4536518"/>
              <a:gd name="connsiteX5" fmla="*/ 7080100 w 9901071"/>
              <a:gd name="connsiteY5" fmla="*/ 7078 h 4536518"/>
              <a:gd name="connsiteX6" fmla="*/ 8491193 w 9901071"/>
              <a:gd name="connsiteY6" fmla="*/ 4502308 h 4536518"/>
              <a:gd name="connsiteX7" fmla="*/ 9901071 w 9901071"/>
              <a:gd name="connsiteY7" fmla="*/ 2047751 h 4536518"/>
              <a:gd name="connsiteX0" fmla="*/ 0 w 9901071"/>
              <a:gd name="connsiteY0" fmla="*/ 4536518 h 4536521"/>
              <a:gd name="connsiteX1" fmla="*/ 1435081 w 9901071"/>
              <a:gd name="connsiteY1" fmla="*/ 3 h 4536521"/>
              <a:gd name="connsiteX2" fmla="*/ 2840586 w 9901071"/>
              <a:gd name="connsiteY2" fmla="*/ 4509954 h 4536521"/>
              <a:gd name="connsiteX3" fmla="*/ 4259715 w 9901071"/>
              <a:gd name="connsiteY3" fmla="*/ 2040 h 4536521"/>
              <a:gd name="connsiteX4" fmla="*/ 5664396 w 9901071"/>
              <a:gd name="connsiteY4" fmla="*/ 4517610 h 4536521"/>
              <a:gd name="connsiteX5" fmla="*/ 7080100 w 9901071"/>
              <a:gd name="connsiteY5" fmla="*/ 7078 h 4536521"/>
              <a:gd name="connsiteX6" fmla="*/ 8491193 w 9901071"/>
              <a:gd name="connsiteY6" fmla="*/ 4502308 h 4536521"/>
              <a:gd name="connsiteX7" fmla="*/ 9901071 w 9901071"/>
              <a:gd name="connsiteY7" fmla="*/ 2047751 h 4536521"/>
              <a:gd name="connsiteX0" fmla="*/ 0 w 9911009"/>
              <a:gd name="connsiteY0" fmla="*/ 4521218 h 4521220"/>
              <a:gd name="connsiteX1" fmla="*/ 1445019 w 9911009"/>
              <a:gd name="connsiteY1" fmla="*/ 2 h 4521220"/>
              <a:gd name="connsiteX2" fmla="*/ 2850524 w 9911009"/>
              <a:gd name="connsiteY2" fmla="*/ 4509953 h 4521220"/>
              <a:gd name="connsiteX3" fmla="*/ 4269653 w 9911009"/>
              <a:gd name="connsiteY3" fmla="*/ 2039 h 4521220"/>
              <a:gd name="connsiteX4" fmla="*/ 5674334 w 9911009"/>
              <a:gd name="connsiteY4" fmla="*/ 4517609 h 4521220"/>
              <a:gd name="connsiteX5" fmla="*/ 7090038 w 9911009"/>
              <a:gd name="connsiteY5" fmla="*/ 7077 h 4521220"/>
              <a:gd name="connsiteX6" fmla="*/ 8501131 w 9911009"/>
              <a:gd name="connsiteY6" fmla="*/ 4502307 h 4521220"/>
              <a:gd name="connsiteX7" fmla="*/ 9911009 w 9911009"/>
              <a:gd name="connsiteY7" fmla="*/ 2047750 h 4521220"/>
              <a:gd name="connsiteX0" fmla="*/ 0 w 9911009"/>
              <a:gd name="connsiteY0" fmla="*/ 4521217 h 4530704"/>
              <a:gd name="connsiteX1" fmla="*/ 1445019 w 9911009"/>
              <a:gd name="connsiteY1" fmla="*/ 1 h 4530704"/>
              <a:gd name="connsiteX2" fmla="*/ 2850524 w 9911009"/>
              <a:gd name="connsiteY2" fmla="*/ 4509952 h 4530704"/>
              <a:gd name="connsiteX3" fmla="*/ 4269653 w 9911009"/>
              <a:gd name="connsiteY3" fmla="*/ 2038 h 4530704"/>
              <a:gd name="connsiteX4" fmla="*/ 5674334 w 9911009"/>
              <a:gd name="connsiteY4" fmla="*/ 4517608 h 4530704"/>
              <a:gd name="connsiteX5" fmla="*/ 7090038 w 9911009"/>
              <a:gd name="connsiteY5" fmla="*/ 7076 h 4530704"/>
              <a:gd name="connsiteX6" fmla="*/ 8501131 w 9911009"/>
              <a:gd name="connsiteY6" fmla="*/ 4502306 h 4530704"/>
              <a:gd name="connsiteX7" fmla="*/ 9911009 w 9911009"/>
              <a:gd name="connsiteY7" fmla="*/ 2047749 h 4530704"/>
              <a:gd name="connsiteX0" fmla="*/ 0 w 9911009"/>
              <a:gd name="connsiteY0" fmla="*/ 4521217 h 4530987"/>
              <a:gd name="connsiteX1" fmla="*/ 1445019 w 9911009"/>
              <a:gd name="connsiteY1" fmla="*/ 1 h 4530987"/>
              <a:gd name="connsiteX2" fmla="*/ 2850524 w 9911009"/>
              <a:gd name="connsiteY2" fmla="*/ 4509952 h 4530987"/>
              <a:gd name="connsiteX3" fmla="*/ 4269653 w 9911009"/>
              <a:gd name="connsiteY3" fmla="*/ 2038 h 4530987"/>
              <a:gd name="connsiteX4" fmla="*/ 5674334 w 9911009"/>
              <a:gd name="connsiteY4" fmla="*/ 4517608 h 4530987"/>
              <a:gd name="connsiteX5" fmla="*/ 7090038 w 9911009"/>
              <a:gd name="connsiteY5" fmla="*/ 7076 h 4530987"/>
              <a:gd name="connsiteX6" fmla="*/ 8501131 w 9911009"/>
              <a:gd name="connsiteY6" fmla="*/ 4502306 h 4530987"/>
              <a:gd name="connsiteX7" fmla="*/ 9911009 w 9911009"/>
              <a:gd name="connsiteY7" fmla="*/ 2047749 h 4530987"/>
              <a:gd name="connsiteX0" fmla="*/ 0 w 9901071"/>
              <a:gd name="connsiteY0" fmla="*/ 4523468 h 4523472"/>
              <a:gd name="connsiteX1" fmla="*/ 1445019 w 9901071"/>
              <a:gd name="connsiteY1" fmla="*/ 2252 h 4523472"/>
              <a:gd name="connsiteX2" fmla="*/ 2850524 w 9901071"/>
              <a:gd name="connsiteY2" fmla="*/ 4512203 h 4523472"/>
              <a:gd name="connsiteX3" fmla="*/ 4269653 w 9901071"/>
              <a:gd name="connsiteY3" fmla="*/ 4289 h 4523472"/>
              <a:gd name="connsiteX4" fmla="*/ 5674334 w 9901071"/>
              <a:gd name="connsiteY4" fmla="*/ 4519859 h 4523472"/>
              <a:gd name="connsiteX5" fmla="*/ 7090038 w 9901071"/>
              <a:gd name="connsiteY5" fmla="*/ 9327 h 4523472"/>
              <a:gd name="connsiteX6" fmla="*/ 8501131 w 9901071"/>
              <a:gd name="connsiteY6" fmla="*/ 4504557 h 4523472"/>
              <a:gd name="connsiteX7" fmla="*/ 9901071 w 9901071"/>
              <a:gd name="connsiteY7" fmla="*/ 1 h 4523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01071" h="4523472">
                <a:moveTo>
                  <a:pt x="0" y="4523468"/>
                </a:moveTo>
                <a:cubicBezTo>
                  <a:pt x="393034" y="4528218"/>
                  <a:pt x="969932" y="4130"/>
                  <a:pt x="1445019" y="2252"/>
                </a:cubicBezTo>
                <a:cubicBezTo>
                  <a:pt x="1920106" y="374"/>
                  <a:pt x="2379752" y="4511864"/>
                  <a:pt x="2850524" y="4512203"/>
                </a:cubicBezTo>
                <a:cubicBezTo>
                  <a:pt x="3321296" y="4512543"/>
                  <a:pt x="3799018" y="3013"/>
                  <a:pt x="4269653" y="4289"/>
                </a:cubicBezTo>
                <a:cubicBezTo>
                  <a:pt x="4740288" y="5565"/>
                  <a:pt x="5204270" y="4519019"/>
                  <a:pt x="5674334" y="4519859"/>
                </a:cubicBezTo>
                <a:cubicBezTo>
                  <a:pt x="6144398" y="4520699"/>
                  <a:pt x="6618905" y="11877"/>
                  <a:pt x="7090038" y="9327"/>
                </a:cubicBezTo>
                <a:cubicBezTo>
                  <a:pt x="7561171" y="6777"/>
                  <a:pt x="8032626" y="4506111"/>
                  <a:pt x="8501131" y="4504557"/>
                </a:cubicBezTo>
                <a:cubicBezTo>
                  <a:pt x="8969636" y="4503003"/>
                  <a:pt x="9432040" y="-2475"/>
                  <a:pt x="9901071" y="1"/>
                </a:cubicBezTo>
              </a:path>
            </a:pathLst>
          </a:custGeom>
          <a:noFill/>
          <a:ln w="101600">
            <a:solidFill>
              <a:srgbClr val="E5E5E9"/>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tlCol="0" anchor="ctr"/>
          <a:lstStyle/>
          <a:p>
            <a:pPr algn="ctr"/>
            <a:endParaRPr lang="en-US" sz="1799" dirty="0"/>
          </a:p>
        </p:txBody>
      </p:sp>
      <p:sp>
        <p:nvSpPr>
          <p:cNvPr id="20" name="Oval 19">
            <a:extLst>
              <a:ext uri="{FF2B5EF4-FFF2-40B4-BE49-F238E27FC236}">
                <a16:creationId xmlns:a16="http://schemas.microsoft.com/office/drawing/2014/main" id="{C34D8684-2D5D-429B-9F8D-6A90D84DE58A}"/>
              </a:ext>
            </a:extLst>
          </p:cNvPr>
          <p:cNvSpPr/>
          <p:nvPr/>
        </p:nvSpPr>
        <p:spPr bwMode="auto">
          <a:xfrm>
            <a:off x="2116504" y="2391341"/>
            <a:ext cx="208791" cy="208791"/>
          </a:xfrm>
          <a:prstGeom prst="ellipse">
            <a:avLst/>
          </a:prstGeom>
          <a:solidFill>
            <a:srgbClr val="FFFFFF"/>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4" name="Oval 23">
            <a:extLst>
              <a:ext uri="{FF2B5EF4-FFF2-40B4-BE49-F238E27FC236}">
                <a16:creationId xmlns:a16="http://schemas.microsoft.com/office/drawing/2014/main" id="{0A25BEE6-C023-4E1B-9F3D-7A3496BFDBE4}"/>
              </a:ext>
            </a:extLst>
          </p:cNvPr>
          <p:cNvSpPr/>
          <p:nvPr/>
        </p:nvSpPr>
        <p:spPr bwMode="auto">
          <a:xfrm>
            <a:off x="6881061" y="4951734"/>
            <a:ext cx="208791" cy="208791"/>
          </a:xfrm>
          <a:prstGeom prst="ellipse">
            <a:avLst/>
          </a:prstGeom>
          <a:solidFill>
            <a:srgbClr val="FFFFFF"/>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5" name="Oval 24">
            <a:extLst>
              <a:ext uri="{FF2B5EF4-FFF2-40B4-BE49-F238E27FC236}">
                <a16:creationId xmlns:a16="http://schemas.microsoft.com/office/drawing/2014/main" id="{F7A3FB90-09D3-4807-9C65-FC7F8E75F246}"/>
              </a:ext>
            </a:extLst>
          </p:cNvPr>
          <p:cNvSpPr/>
          <p:nvPr/>
        </p:nvSpPr>
        <p:spPr bwMode="auto">
          <a:xfrm>
            <a:off x="8467209" y="2394093"/>
            <a:ext cx="208791" cy="208791"/>
          </a:xfrm>
          <a:prstGeom prst="ellipse">
            <a:avLst/>
          </a:prstGeom>
          <a:solidFill>
            <a:srgbClr val="FFFFFF"/>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7" name="Oval 26">
            <a:extLst>
              <a:ext uri="{FF2B5EF4-FFF2-40B4-BE49-F238E27FC236}">
                <a16:creationId xmlns:a16="http://schemas.microsoft.com/office/drawing/2014/main" id="{0B42E43C-C774-4AD7-B186-25269854EAD4}"/>
              </a:ext>
            </a:extLst>
          </p:cNvPr>
          <p:cNvSpPr/>
          <p:nvPr/>
        </p:nvSpPr>
        <p:spPr bwMode="auto">
          <a:xfrm>
            <a:off x="10044707" y="4951734"/>
            <a:ext cx="208791" cy="208791"/>
          </a:xfrm>
          <a:prstGeom prst="ellipse">
            <a:avLst/>
          </a:prstGeom>
          <a:solidFill>
            <a:srgbClr val="FFFFFF"/>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3" name="Oval 22">
            <a:extLst>
              <a:ext uri="{FF2B5EF4-FFF2-40B4-BE49-F238E27FC236}">
                <a16:creationId xmlns:a16="http://schemas.microsoft.com/office/drawing/2014/main" id="{74FB645D-6A90-42F6-B300-E17E5DAC334B}"/>
              </a:ext>
            </a:extLst>
          </p:cNvPr>
          <p:cNvSpPr/>
          <p:nvPr/>
        </p:nvSpPr>
        <p:spPr bwMode="auto">
          <a:xfrm>
            <a:off x="3706505" y="4951734"/>
            <a:ext cx="208791" cy="208791"/>
          </a:xfrm>
          <a:prstGeom prst="ellipse">
            <a:avLst/>
          </a:prstGeom>
          <a:solidFill>
            <a:srgbClr val="FFFFFF"/>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9" name="Oval 18">
            <a:extLst>
              <a:ext uri="{FF2B5EF4-FFF2-40B4-BE49-F238E27FC236}">
                <a16:creationId xmlns:a16="http://schemas.microsoft.com/office/drawing/2014/main" id="{0334340D-5BF3-49B3-89F3-867D1020841D}"/>
              </a:ext>
            </a:extLst>
          </p:cNvPr>
          <p:cNvSpPr/>
          <p:nvPr/>
        </p:nvSpPr>
        <p:spPr bwMode="auto">
          <a:xfrm>
            <a:off x="499403" y="4954486"/>
            <a:ext cx="208791" cy="208791"/>
          </a:xfrm>
          <a:prstGeom prst="ellipse">
            <a:avLst/>
          </a:prstGeom>
          <a:solidFill>
            <a:srgbClr val="FFFFFF"/>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1" name="Textfeld 30"/>
          <p:cNvSpPr txBox="1">
            <a:spLocks/>
          </p:cNvSpPr>
          <p:nvPr/>
        </p:nvSpPr>
        <p:spPr bwMode="gray">
          <a:xfrm>
            <a:off x="603798" y="5315725"/>
            <a:ext cx="1710000" cy="860539"/>
          </a:xfrm>
          <a:prstGeom prst="rect">
            <a:avLst/>
          </a:prstGeom>
          <a:noFill/>
          <a:ln>
            <a:noFill/>
          </a:ln>
          <a:scene3d>
            <a:camera prst="orthographicFront">
              <a:rot lat="0" lon="0" rev="0"/>
            </a:camera>
            <a:lightRig rig="threePt" dir="t"/>
          </a:scene3d>
        </p:spPr>
        <p:txBody>
          <a:bodyPr wrap="square" lIns="143925" tIns="71963" rIns="0" bIns="72000" rtlCol="0" anchor="b" anchorCtr="0">
            <a:spAutoFit/>
          </a:bodyPr>
          <a:lstStyle/>
          <a:p>
            <a:pPr>
              <a:tabLst>
                <a:tab pos="1255085" algn="r"/>
              </a:tabLst>
              <a:defRPr/>
            </a:pPr>
            <a:r>
              <a:rPr lang="en-US" altLang="de-DE" sz="1599" b="1" dirty="0">
                <a:solidFill>
                  <a:schemeClr val="accent1"/>
                </a:solidFill>
                <a:ea typeface="Arial Unicode MS"/>
              </a:rPr>
              <a:t>Duis arcu, suscipit eget</a:t>
            </a:r>
          </a:p>
          <a:p>
            <a:pPr marL="0" lvl="1">
              <a:spcBef>
                <a:spcPts val="300"/>
              </a:spcBef>
              <a:buClr>
                <a:srgbClr val="3C464B"/>
              </a:buClr>
              <a:defRPr/>
            </a:pPr>
            <a:r>
              <a:rPr lang="en-US" altLang="de-DE" sz="1199" dirty="0">
                <a:solidFill>
                  <a:srgbClr val="66667E"/>
                </a:solidFill>
                <a:ea typeface="Arial Unicode MS"/>
                <a:cs typeface="Arial" pitchFamily="34" charset="0"/>
              </a:rPr>
              <a:t>Duis arcu tortor</a:t>
            </a:r>
          </a:p>
        </p:txBody>
      </p:sp>
      <p:cxnSp>
        <p:nvCxnSpPr>
          <p:cNvPr id="7" name="Straight Connector 6"/>
          <p:cNvCxnSpPr>
            <a:cxnSpLocks/>
          </p:cNvCxnSpPr>
          <p:nvPr/>
        </p:nvCxnSpPr>
        <p:spPr bwMode="auto">
          <a:xfrm>
            <a:off x="603799" y="5058883"/>
            <a:ext cx="0" cy="1117381"/>
          </a:xfrm>
          <a:prstGeom prst="line">
            <a:avLst/>
          </a:prstGeom>
          <a:solidFill>
            <a:schemeClr val="tx2"/>
          </a:solidFill>
          <a:ln w="12700" cap="flat" cmpd="sng" algn="ctr">
            <a:solidFill>
              <a:srgbClr val="66667E"/>
            </a:solidFill>
            <a:prstDash val="solid"/>
            <a:round/>
            <a:headEnd type="oval"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8" name="Textfeld 30"/>
          <p:cNvSpPr txBox="1">
            <a:spLocks/>
          </p:cNvSpPr>
          <p:nvPr/>
        </p:nvSpPr>
        <p:spPr bwMode="gray">
          <a:xfrm>
            <a:off x="3807155" y="5377255"/>
            <a:ext cx="1710000" cy="799009"/>
          </a:xfrm>
          <a:prstGeom prst="rect">
            <a:avLst/>
          </a:prstGeom>
          <a:noFill/>
          <a:ln>
            <a:noFill/>
          </a:ln>
          <a:scene3d>
            <a:camera prst="orthographicFront">
              <a:rot lat="0" lon="0" rev="0"/>
            </a:camera>
            <a:lightRig rig="threePt" dir="t"/>
          </a:scene3d>
        </p:spPr>
        <p:txBody>
          <a:bodyPr wrap="square" lIns="143925" tIns="71963" rIns="0" bIns="72000" rtlCol="0" anchor="b" anchorCtr="0">
            <a:spAutoFit/>
          </a:bodyPr>
          <a:lstStyle/>
          <a:p>
            <a:pPr>
              <a:tabLst>
                <a:tab pos="1255085" algn="r"/>
              </a:tabLst>
              <a:defRPr/>
            </a:pPr>
            <a:r>
              <a:rPr lang="en-US" altLang="de-DE" sz="1599" b="1" dirty="0">
                <a:solidFill>
                  <a:schemeClr val="accent1"/>
                </a:solidFill>
                <a:ea typeface="Arial Unicode MS"/>
              </a:rPr>
              <a:t>Phasellus sem</a:t>
            </a:r>
          </a:p>
          <a:p>
            <a:pPr marL="0" lvl="1">
              <a:spcBef>
                <a:spcPts val="300"/>
              </a:spcBef>
              <a:buClr>
                <a:srgbClr val="3C464B"/>
              </a:buClr>
              <a:defRPr/>
            </a:pPr>
            <a:r>
              <a:rPr lang="en-US" altLang="de-DE" sz="1199" dirty="0">
                <a:solidFill>
                  <a:srgbClr val="66667E"/>
                </a:solidFill>
                <a:ea typeface="Arial Unicode MS"/>
                <a:cs typeface="Arial" pitchFamily="34" charset="0"/>
              </a:rPr>
              <a:t>Consetetur sadipscing elitr, seddiam nonumy</a:t>
            </a:r>
          </a:p>
        </p:txBody>
      </p:sp>
      <p:cxnSp>
        <p:nvCxnSpPr>
          <p:cNvPr id="39" name="Straight Connector 38"/>
          <p:cNvCxnSpPr>
            <a:cxnSpLocks/>
          </p:cNvCxnSpPr>
          <p:nvPr/>
        </p:nvCxnSpPr>
        <p:spPr bwMode="auto">
          <a:xfrm>
            <a:off x="3811559" y="5058883"/>
            <a:ext cx="0" cy="1117381"/>
          </a:xfrm>
          <a:prstGeom prst="line">
            <a:avLst/>
          </a:prstGeom>
          <a:solidFill>
            <a:schemeClr val="tx2"/>
          </a:solidFill>
          <a:ln w="12700" cap="flat" cmpd="sng" algn="ctr">
            <a:solidFill>
              <a:srgbClr val="66667E"/>
            </a:solidFill>
            <a:prstDash val="solid"/>
            <a:round/>
            <a:headEnd type="oval"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0" name="Textfeld 30"/>
          <p:cNvSpPr txBox="1">
            <a:spLocks/>
          </p:cNvSpPr>
          <p:nvPr/>
        </p:nvSpPr>
        <p:spPr bwMode="gray">
          <a:xfrm>
            <a:off x="6979669" y="5192679"/>
            <a:ext cx="1710000" cy="983585"/>
          </a:xfrm>
          <a:prstGeom prst="rect">
            <a:avLst/>
          </a:prstGeom>
          <a:noFill/>
          <a:ln>
            <a:noFill/>
          </a:ln>
          <a:scene3d>
            <a:camera prst="orthographicFront">
              <a:rot lat="0" lon="0" rev="0"/>
            </a:camera>
            <a:lightRig rig="threePt" dir="t"/>
          </a:scene3d>
        </p:spPr>
        <p:txBody>
          <a:bodyPr wrap="square" lIns="143925" tIns="71963" rIns="0" bIns="72000" rtlCol="0" anchor="b" anchorCtr="0">
            <a:spAutoFit/>
          </a:bodyPr>
          <a:lstStyle/>
          <a:p>
            <a:pPr>
              <a:tabLst>
                <a:tab pos="1255085" algn="r"/>
              </a:tabLst>
              <a:defRPr/>
            </a:pPr>
            <a:r>
              <a:rPr lang="en-US" altLang="de-DE" sz="1599" b="1" dirty="0">
                <a:solidFill>
                  <a:schemeClr val="accent1"/>
                </a:solidFill>
                <a:ea typeface="Arial Unicode MS"/>
              </a:rPr>
              <a:t>Maecenas nec</a:t>
            </a:r>
          </a:p>
          <a:p>
            <a:pPr marL="0" lvl="1">
              <a:spcBef>
                <a:spcPts val="300"/>
              </a:spcBef>
              <a:buClr>
                <a:srgbClr val="3C464B"/>
              </a:buClr>
              <a:defRPr/>
            </a:pPr>
            <a:r>
              <a:rPr lang="en-US" altLang="de-DE" sz="1199" dirty="0">
                <a:solidFill>
                  <a:srgbClr val="66667E"/>
                </a:solidFill>
                <a:ea typeface="Arial Unicode MS"/>
                <a:cs typeface="Arial" pitchFamily="34" charset="0"/>
              </a:rPr>
              <a:t>Stet clita kasd gubergren, no sea takimata sanctus</a:t>
            </a:r>
          </a:p>
        </p:txBody>
      </p:sp>
      <p:cxnSp>
        <p:nvCxnSpPr>
          <p:cNvPr id="41" name="Straight Connector 40"/>
          <p:cNvCxnSpPr>
            <a:cxnSpLocks/>
          </p:cNvCxnSpPr>
          <p:nvPr/>
        </p:nvCxnSpPr>
        <p:spPr bwMode="auto">
          <a:xfrm>
            <a:off x="6983192" y="5058883"/>
            <a:ext cx="0" cy="1117381"/>
          </a:xfrm>
          <a:prstGeom prst="line">
            <a:avLst/>
          </a:prstGeom>
          <a:solidFill>
            <a:schemeClr val="tx2"/>
          </a:solidFill>
          <a:ln w="12700" cap="flat" cmpd="sng" algn="ctr">
            <a:solidFill>
              <a:srgbClr val="66667E"/>
            </a:solidFill>
            <a:prstDash val="solid"/>
            <a:round/>
            <a:headEnd type="oval"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2" name="Textfeld 30"/>
          <p:cNvSpPr txBox="1">
            <a:spLocks/>
          </p:cNvSpPr>
          <p:nvPr/>
        </p:nvSpPr>
        <p:spPr bwMode="gray">
          <a:xfrm>
            <a:off x="10152183" y="5131155"/>
            <a:ext cx="1635003" cy="1045109"/>
          </a:xfrm>
          <a:prstGeom prst="rect">
            <a:avLst/>
          </a:prstGeom>
          <a:noFill/>
          <a:ln>
            <a:noFill/>
          </a:ln>
          <a:scene3d>
            <a:camera prst="orthographicFront">
              <a:rot lat="0" lon="0" rev="0"/>
            </a:camera>
            <a:lightRig rig="threePt" dir="t"/>
          </a:scene3d>
        </p:spPr>
        <p:txBody>
          <a:bodyPr wrap="square" lIns="143925" tIns="71963" rIns="0" bIns="72000" rtlCol="0" anchor="b" anchorCtr="0">
            <a:spAutoFit/>
          </a:bodyPr>
          <a:lstStyle/>
          <a:p>
            <a:pPr>
              <a:tabLst>
                <a:tab pos="1255085" algn="r"/>
              </a:tabLst>
              <a:defRPr/>
            </a:pPr>
            <a:r>
              <a:rPr lang="en-US" altLang="de-DE" sz="1599" b="1" dirty="0">
                <a:solidFill>
                  <a:schemeClr val="accent1"/>
                </a:solidFill>
                <a:ea typeface="Arial Unicode MS"/>
              </a:rPr>
              <a:t>Phasellus </a:t>
            </a:r>
            <a:br>
              <a:rPr lang="en-US" altLang="de-DE" sz="1599" b="1" dirty="0">
                <a:solidFill>
                  <a:schemeClr val="accent1"/>
                </a:solidFill>
                <a:ea typeface="Arial Unicode MS"/>
              </a:rPr>
            </a:br>
            <a:r>
              <a:rPr lang="en-US" altLang="de-DE" sz="1599" b="1" dirty="0">
                <a:solidFill>
                  <a:schemeClr val="accent1"/>
                </a:solidFill>
                <a:ea typeface="Arial Unicode MS"/>
              </a:rPr>
              <a:t>nec sem</a:t>
            </a:r>
          </a:p>
          <a:p>
            <a:pPr marL="0" lvl="1">
              <a:spcBef>
                <a:spcPts val="300"/>
              </a:spcBef>
              <a:buClr>
                <a:srgbClr val="3C464B"/>
              </a:buClr>
              <a:defRPr/>
            </a:pPr>
            <a:r>
              <a:rPr lang="en-US" altLang="de-DE" sz="1199" dirty="0">
                <a:solidFill>
                  <a:srgbClr val="66667E"/>
                </a:solidFill>
                <a:ea typeface="Arial Unicode MS"/>
                <a:cs typeface="Arial" pitchFamily="34" charset="0"/>
              </a:rPr>
              <a:t>At vero eos et accusam</a:t>
            </a:r>
          </a:p>
        </p:txBody>
      </p:sp>
      <p:cxnSp>
        <p:nvCxnSpPr>
          <p:cNvPr id="43" name="Straight Connector 42"/>
          <p:cNvCxnSpPr>
            <a:cxnSpLocks/>
          </p:cNvCxnSpPr>
          <p:nvPr/>
        </p:nvCxnSpPr>
        <p:spPr bwMode="auto">
          <a:xfrm>
            <a:off x="10152183" y="5058883"/>
            <a:ext cx="0" cy="1117381"/>
          </a:xfrm>
          <a:prstGeom prst="line">
            <a:avLst/>
          </a:prstGeom>
          <a:solidFill>
            <a:schemeClr val="tx2"/>
          </a:solidFill>
          <a:ln w="12700" cap="flat" cmpd="sng" algn="ctr">
            <a:solidFill>
              <a:srgbClr val="66667E"/>
            </a:solidFill>
            <a:prstDash val="solid"/>
            <a:round/>
            <a:headEnd type="oval"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4" name="Textfeld 30"/>
          <p:cNvSpPr txBox="1">
            <a:spLocks/>
          </p:cNvSpPr>
          <p:nvPr/>
        </p:nvSpPr>
        <p:spPr bwMode="gray">
          <a:xfrm>
            <a:off x="2220898" y="1415849"/>
            <a:ext cx="1710000" cy="799009"/>
          </a:xfrm>
          <a:prstGeom prst="rect">
            <a:avLst/>
          </a:prstGeom>
          <a:noFill/>
          <a:ln>
            <a:noFill/>
          </a:ln>
          <a:scene3d>
            <a:camera prst="orthographicFront">
              <a:rot lat="0" lon="0" rev="0"/>
            </a:camera>
            <a:lightRig rig="threePt" dir="t"/>
          </a:scene3d>
        </p:spPr>
        <p:txBody>
          <a:bodyPr wrap="square" lIns="143925" tIns="71963" rIns="0" bIns="72000" rtlCol="0" anchor="t" anchorCtr="0">
            <a:spAutoFit/>
          </a:bodyPr>
          <a:lstStyle/>
          <a:p>
            <a:pPr>
              <a:tabLst>
                <a:tab pos="1255085" algn="r"/>
              </a:tabLst>
              <a:defRPr/>
            </a:pPr>
            <a:r>
              <a:rPr lang="en-US" altLang="de-DE" sz="1599" b="1" dirty="0">
                <a:solidFill>
                  <a:schemeClr val="accent1"/>
                </a:solidFill>
                <a:ea typeface="Arial Unicode MS"/>
              </a:rPr>
              <a:t>Duis tortor</a:t>
            </a:r>
          </a:p>
          <a:p>
            <a:pPr marL="0" lvl="1">
              <a:spcBef>
                <a:spcPts val="300"/>
              </a:spcBef>
              <a:buClr>
                <a:srgbClr val="3C464B"/>
              </a:buClr>
              <a:defRPr/>
            </a:pPr>
            <a:r>
              <a:rPr lang="en-US" altLang="de-DE" sz="1199" dirty="0">
                <a:solidFill>
                  <a:srgbClr val="66667E"/>
                </a:solidFill>
                <a:ea typeface="Arial Unicode MS"/>
                <a:cs typeface="Arial" pitchFamily="34" charset="0"/>
              </a:rPr>
              <a:t>At vero eos et accusam</a:t>
            </a:r>
          </a:p>
        </p:txBody>
      </p:sp>
      <p:cxnSp>
        <p:nvCxnSpPr>
          <p:cNvPr id="45" name="Straight Connector 44"/>
          <p:cNvCxnSpPr/>
          <p:nvPr/>
        </p:nvCxnSpPr>
        <p:spPr bwMode="auto">
          <a:xfrm>
            <a:off x="2220899" y="1415848"/>
            <a:ext cx="0" cy="1079888"/>
          </a:xfrm>
          <a:prstGeom prst="line">
            <a:avLst/>
          </a:prstGeom>
          <a:solidFill>
            <a:schemeClr val="tx2"/>
          </a:solidFill>
          <a:ln w="12700" cap="flat" cmpd="sng" algn="ctr">
            <a:solidFill>
              <a:srgbClr val="66667E"/>
            </a:solidFill>
            <a:prstDash val="solid"/>
            <a:round/>
            <a:headEnd type="none" w="lg" len="lg"/>
            <a:tailEnd type="oval"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6" name="Textfeld 30"/>
          <p:cNvSpPr txBox="1">
            <a:spLocks/>
          </p:cNvSpPr>
          <p:nvPr/>
        </p:nvSpPr>
        <p:spPr bwMode="gray">
          <a:xfrm>
            <a:off x="5393412" y="1415849"/>
            <a:ext cx="1710000" cy="799009"/>
          </a:xfrm>
          <a:prstGeom prst="rect">
            <a:avLst/>
          </a:prstGeom>
          <a:noFill/>
          <a:ln>
            <a:noFill/>
          </a:ln>
          <a:scene3d>
            <a:camera prst="orthographicFront">
              <a:rot lat="0" lon="0" rev="0"/>
            </a:camera>
            <a:lightRig rig="threePt" dir="t"/>
          </a:scene3d>
        </p:spPr>
        <p:txBody>
          <a:bodyPr wrap="square" lIns="143925" tIns="71963" rIns="0" bIns="72000" rtlCol="0" anchor="t" anchorCtr="0">
            <a:spAutoFit/>
          </a:bodyPr>
          <a:lstStyle/>
          <a:p>
            <a:pPr>
              <a:tabLst>
                <a:tab pos="1255085" algn="r"/>
              </a:tabLst>
              <a:defRPr/>
            </a:pPr>
            <a:r>
              <a:rPr lang="en-US" altLang="de-DE" sz="1599" b="1" dirty="0">
                <a:solidFill>
                  <a:schemeClr val="accent1"/>
                </a:solidFill>
                <a:ea typeface="Arial Unicode MS"/>
              </a:rPr>
              <a:t>Maecenas</a:t>
            </a:r>
          </a:p>
          <a:p>
            <a:pPr marL="0" lvl="1">
              <a:spcBef>
                <a:spcPts val="300"/>
              </a:spcBef>
              <a:buClr>
                <a:srgbClr val="3C464B"/>
              </a:buClr>
              <a:defRPr/>
            </a:pPr>
            <a:r>
              <a:rPr lang="en-US" altLang="de-DE" sz="1199" dirty="0">
                <a:solidFill>
                  <a:srgbClr val="66667E"/>
                </a:solidFill>
                <a:ea typeface="Arial Unicode MS"/>
                <a:cs typeface="Arial" pitchFamily="34" charset="0"/>
              </a:rPr>
              <a:t>Consetetur sadipscing elitr, seddiam nonumy</a:t>
            </a:r>
          </a:p>
        </p:txBody>
      </p:sp>
      <p:sp>
        <p:nvSpPr>
          <p:cNvPr id="47" name="Textfeld 30"/>
          <p:cNvSpPr txBox="1">
            <a:spLocks/>
          </p:cNvSpPr>
          <p:nvPr/>
        </p:nvSpPr>
        <p:spPr bwMode="gray">
          <a:xfrm>
            <a:off x="8565926" y="1415849"/>
            <a:ext cx="1710000" cy="1007475"/>
          </a:xfrm>
          <a:prstGeom prst="rect">
            <a:avLst/>
          </a:prstGeom>
          <a:noFill/>
          <a:ln>
            <a:noFill/>
          </a:ln>
          <a:scene3d>
            <a:camera prst="orthographicFront">
              <a:rot lat="0" lon="0" rev="0"/>
            </a:camera>
            <a:lightRig rig="threePt" dir="t"/>
          </a:scene3d>
        </p:spPr>
        <p:txBody>
          <a:bodyPr wrap="square" lIns="143925" tIns="71963" rIns="0" bIns="72000" rtlCol="0" anchor="t" anchorCtr="0">
            <a:spAutoFit/>
          </a:bodyPr>
          <a:lstStyle/>
          <a:p>
            <a:pPr>
              <a:tabLst>
                <a:tab pos="1255085" algn="r"/>
              </a:tabLst>
              <a:defRPr/>
            </a:pPr>
            <a:r>
              <a:rPr lang="en-US" altLang="de-DE" sz="1599" b="1" dirty="0">
                <a:solidFill>
                  <a:schemeClr val="accent1"/>
                </a:solidFill>
                <a:ea typeface="Arial Unicode MS"/>
              </a:rPr>
              <a:t>Sagittis mag</a:t>
            </a:r>
          </a:p>
          <a:p>
            <a:pPr marL="0" lvl="1">
              <a:spcBef>
                <a:spcPts val="300"/>
              </a:spcBef>
              <a:buClr>
                <a:srgbClr val="3C464B"/>
              </a:buClr>
              <a:defRPr/>
            </a:pPr>
            <a:r>
              <a:rPr lang="en-US" altLang="de-DE" sz="1199" dirty="0">
                <a:solidFill>
                  <a:srgbClr val="66667E"/>
                </a:solidFill>
                <a:ea typeface="Arial Unicode MS"/>
                <a:cs typeface="Arial" pitchFamily="34" charset="0"/>
              </a:rPr>
              <a:t>Stet clita kasd gubergren, no sea takimata sanctus</a:t>
            </a:r>
          </a:p>
        </p:txBody>
      </p:sp>
      <p:cxnSp>
        <p:nvCxnSpPr>
          <p:cNvPr id="49" name="Straight Connector 48"/>
          <p:cNvCxnSpPr/>
          <p:nvPr/>
        </p:nvCxnSpPr>
        <p:spPr bwMode="auto">
          <a:xfrm>
            <a:off x="8565927" y="1415848"/>
            <a:ext cx="0" cy="1079888"/>
          </a:xfrm>
          <a:prstGeom prst="line">
            <a:avLst/>
          </a:prstGeom>
          <a:solidFill>
            <a:schemeClr val="tx2"/>
          </a:solidFill>
          <a:ln w="12700" cap="flat" cmpd="sng" algn="ctr">
            <a:solidFill>
              <a:srgbClr val="66667E"/>
            </a:solidFill>
            <a:prstDash val="solid"/>
            <a:round/>
            <a:headEnd type="none" w="lg" len="lg"/>
            <a:tailEnd type="oval"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50" name="Rechteck 3"/>
          <p:cNvSpPr/>
          <p:nvPr/>
        </p:nvSpPr>
        <p:spPr bwMode="auto">
          <a:xfrm>
            <a:off x="410400" y="3417496"/>
            <a:ext cx="11376788" cy="719625"/>
          </a:xfrm>
          <a:prstGeom prst="homePlate">
            <a:avLst>
              <a:gd name="adj" fmla="val 42137"/>
            </a:avLst>
          </a:prstGeom>
          <a:solidFill>
            <a:schemeClr val="accent1"/>
          </a:solidFill>
          <a:ln w="38100">
            <a:solidFill>
              <a:schemeClr val="bg1"/>
            </a:solidFill>
          </a:ln>
          <a:effectLst/>
        </p:spPr>
        <p:txBody>
          <a:bodyPr vert="horz" lIns="0" tIns="0" rIns="0" bIns="0" anchor="ctr"/>
          <a:lstStyle/>
          <a:p>
            <a:pPr algn="ctr">
              <a:tabLst>
                <a:tab pos="1080547" algn="l"/>
              </a:tabLst>
            </a:pPr>
            <a:r>
              <a:rPr lang="en-US" sz="1799" b="1" dirty="0">
                <a:solidFill>
                  <a:schemeClr val="bg1"/>
                </a:solidFill>
                <a:cs typeface="Arial" pitchFamily="34" charset="0"/>
              </a:rPr>
              <a:t>Duis arcu tortor, suscipit eget</a:t>
            </a:r>
          </a:p>
        </p:txBody>
      </p:sp>
      <p:sp>
        <p:nvSpPr>
          <p:cNvPr id="22" name="Oval 21">
            <a:extLst>
              <a:ext uri="{FF2B5EF4-FFF2-40B4-BE49-F238E27FC236}">
                <a16:creationId xmlns:a16="http://schemas.microsoft.com/office/drawing/2014/main" id="{4BB1B78D-D37E-4AFA-960D-ED712CFD5A6E}"/>
              </a:ext>
            </a:extLst>
          </p:cNvPr>
          <p:cNvSpPr/>
          <p:nvPr/>
        </p:nvSpPr>
        <p:spPr bwMode="auto">
          <a:xfrm>
            <a:off x="5287458" y="2394093"/>
            <a:ext cx="208791" cy="208791"/>
          </a:xfrm>
          <a:prstGeom prst="ellipse">
            <a:avLst/>
          </a:prstGeom>
          <a:solidFill>
            <a:srgbClr val="FFFFFF"/>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cxnSp>
        <p:nvCxnSpPr>
          <p:cNvPr id="48" name="Straight Connector 47"/>
          <p:cNvCxnSpPr/>
          <p:nvPr/>
        </p:nvCxnSpPr>
        <p:spPr bwMode="auto">
          <a:xfrm>
            <a:off x="5393413" y="1415848"/>
            <a:ext cx="0" cy="1079888"/>
          </a:xfrm>
          <a:prstGeom prst="line">
            <a:avLst/>
          </a:prstGeom>
          <a:solidFill>
            <a:schemeClr val="tx2"/>
          </a:solidFill>
          <a:ln w="12700" cap="flat" cmpd="sng" algn="ctr">
            <a:solidFill>
              <a:srgbClr val="66667E"/>
            </a:solidFill>
            <a:prstDash val="solid"/>
            <a:round/>
            <a:headEnd type="none" w="lg" len="lg"/>
            <a:tailEnd type="oval"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 name="Footer Placeholder 2">
            <a:extLst>
              <a:ext uri="{FF2B5EF4-FFF2-40B4-BE49-F238E27FC236}">
                <a16:creationId xmlns:a16="http://schemas.microsoft.com/office/drawing/2014/main" id="{46F6FA91-9975-438A-8649-9633FA95115F}"/>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5" name="Slide Number Placeholder 4">
            <a:extLst>
              <a:ext uri="{FF2B5EF4-FFF2-40B4-BE49-F238E27FC236}">
                <a16:creationId xmlns:a16="http://schemas.microsoft.com/office/drawing/2014/main" id="{D8F781CD-C3D8-4126-B14D-DA85A6189F00}"/>
              </a:ext>
            </a:extLst>
          </p:cNvPr>
          <p:cNvSpPr>
            <a:spLocks noGrp="1"/>
          </p:cNvSpPr>
          <p:nvPr>
            <p:ph type="sldNum" sz="quarter" idx="11"/>
          </p:nvPr>
        </p:nvSpPr>
        <p:spPr/>
        <p:txBody>
          <a:bodyPr/>
          <a:lstStyle/>
          <a:p>
            <a:r>
              <a:rPr lang="en-US" dirty="0"/>
              <a:t>Page </a:t>
            </a:r>
            <a:fld id="{15EBE321-CBB1-4E91-BD14-37C8D44326FB}" type="slidenum">
              <a:rPr lang="en-US" smtClean="0"/>
              <a:pPr/>
              <a:t>126</a:t>
            </a:fld>
            <a:endParaRPr lang="en-US" dirty="0"/>
          </a:p>
        </p:txBody>
      </p:sp>
    </p:spTree>
    <p:extLst>
      <p:ext uri="{BB962C8B-B14F-4D97-AF65-F5344CB8AC3E}">
        <p14:creationId xmlns:p14="http://schemas.microsoft.com/office/powerpoint/2010/main" val="3478981153"/>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Helix (horizontal) – stream</a:t>
            </a:r>
          </a:p>
        </p:txBody>
      </p:sp>
      <p:sp>
        <p:nvSpPr>
          <p:cNvPr id="4" name="Freeform 3"/>
          <p:cNvSpPr/>
          <p:nvPr/>
        </p:nvSpPr>
        <p:spPr bwMode="auto">
          <a:xfrm>
            <a:off x="603799" y="2495737"/>
            <a:ext cx="11103358" cy="2563146"/>
          </a:xfrm>
          <a:custGeom>
            <a:avLst/>
            <a:gdLst>
              <a:gd name="connsiteX0" fmla="*/ 0 w 9891132"/>
              <a:gd name="connsiteY0" fmla="*/ 2341756 h 4501749"/>
              <a:gd name="connsiteX1" fmla="*/ 858644 w 9891132"/>
              <a:gd name="connsiteY1" fmla="*/ 312234 h 4501749"/>
              <a:gd name="connsiteX2" fmla="*/ 1628078 w 9891132"/>
              <a:gd name="connsiteY2" fmla="*/ 4427034 h 4501749"/>
              <a:gd name="connsiteX3" fmla="*/ 3345366 w 9891132"/>
              <a:gd name="connsiteY3" fmla="*/ 223024 h 4501749"/>
              <a:gd name="connsiteX4" fmla="*/ 4293220 w 9891132"/>
              <a:gd name="connsiteY4" fmla="*/ 4382429 h 4501749"/>
              <a:gd name="connsiteX5" fmla="*/ 5553307 w 9891132"/>
              <a:gd name="connsiteY5" fmla="*/ 66907 h 4501749"/>
              <a:gd name="connsiteX6" fmla="*/ 6757639 w 9891132"/>
              <a:gd name="connsiteY6" fmla="*/ 4449336 h 4501749"/>
              <a:gd name="connsiteX7" fmla="*/ 7895064 w 9891132"/>
              <a:gd name="connsiteY7" fmla="*/ 0 h 4501749"/>
              <a:gd name="connsiteX8" fmla="*/ 8898673 w 9891132"/>
              <a:gd name="connsiteY8" fmla="*/ 4449336 h 4501749"/>
              <a:gd name="connsiteX9" fmla="*/ 9891132 w 9891132"/>
              <a:gd name="connsiteY9" fmla="*/ 2040673 h 4501749"/>
              <a:gd name="connsiteX0" fmla="*/ 0 w 9891132"/>
              <a:gd name="connsiteY0" fmla="*/ 2355018 h 4515011"/>
              <a:gd name="connsiteX1" fmla="*/ 769197 w 9891132"/>
              <a:gd name="connsiteY1" fmla="*/ 52081 h 4515011"/>
              <a:gd name="connsiteX2" fmla="*/ 1628078 w 9891132"/>
              <a:gd name="connsiteY2" fmla="*/ 4440296 h 4515011"/>
              <a:gd name="connsiteX3" fmla="*/ 3345366 w 9891132"/>
              <a:gd name="connsiteY3" fmla="*/ 236286 h 4515011"/>
              <a:gd name="connsiteX4" fmla="*/ 4293220 w 9891132"/>
              <a:gd name="connsiteY4" fmla="*/ 4395691 h 4515011"/>
              <a:gd name="connsiteX5" fmla="*/ 5553307 w 9891132"/>
              <a:gd name="connsiteY5" fmla="*/ 80169 h 4515011"/>
              <a:gd name="connsiteX6" fmla="*/ 6757639 w 9891132"/>
              <a:gd name="connsiteY6" fmla="*/ 4462598 h 4515011"/>
              <a:gd name="connsiteX7" fmla="*/ 7895064 w 9891132"/>
              <a:gd name="connsiteY7" fmla="*/ 13262 h 4515011"/>
              <a:gd name="connsiteX8" fmla="*/ 8898673 w 9891132"/>
              <a:gd name="connsiteY8" fmla="*/ 4462598 h 4515011"/>
              <a:gd name="connsiteX9" fmla="*/ 9891132 w 9891132"/>
              <a:gd name="connsiteY9" fmla="*/ 2053935 h 4515011"/>
              <a:gd name="connsiteX0" fmla="*/ 0 w 9891132"/>
              <a:gd name="connsiteY0" fmla="*/ 2341756 h 4501749"/>
              <a:gd name="connsiteX1" fmla="*/ 769197 w 9891132"/>
              <a:gd name="connsiteY1" fmla="*/ 38819 h 4501749"/>
              <a:gd name="connsiteX2" fmla="*/ 1628078 w 9891132"/>
              <a:gd name="connsiteY2" fmla="*/ 4427034 h 4501749"/>
              <a:gd name="connsiteX3" fmla="*/ 3345366 w 9891132"/>
              <a:gd name="connsiteY3" fmla="*/ 223024 h 4501749"/>
              <a:gd name="connsiteX4" fmla="*/ 4293220 w 9891132"/>
              <a:gd name="connsiteY4" fmla="*/ 4382429 h 4501749"/>
              <a:gd name="connsiteX5" fmla="*/ 5553307 w 9891132"/>
              <a:gd name="connsiteY5" fmla="*/ 66907 h 4501749"/>
              <a:gd name="connsiteX6" fmla="*/ 6757639 w 9891132"/>
              <a:gd name="connsiteY6" fmla="*/ 4449336 h 4501749"/>
              <a:gd name="connsiteX7" fmla="*/ 7895064 w 9891132"/>
              <a:gd name="connsiteY7" fmla="*/ 0 h 4501749"/>
              <a:gd name="connsiteX8" fmla="*/ 8898673 w 9891132"/>
              <a:gd name="connsiteY8" fmla="*/ 4449336 h 4501749"/>
              <a:gd name="connsiteX9" fmla="*/ 9891132 w 9891132"/>
              <a:gd name="connsiteY9" fmla="*/ 2040673 h 4501749"/>
              <a:gd name="connsiteX0" fmla="*/ 0 w 9891132"/>
              <a:gd name="connsiteY0" fmla="*/ 2358808 h 4535388"/>
              <a:gd name="connsiteX1" fmla="*/ 769197 w 9891132"/>
              <a:gd name="connsiteY1" fmla="*/ 55871 h 4535388"/>
              <a:gd name="connsiteX2" fmla="*/ 1638018 w 9891132"/>
              <a:gd name="connsiteY2" fmla="*/ 4535225 h 4535388"/>
              <a:gd name="connsiteX3" fmla="*/ 3345366 w 9891132"/>
              <a:gd name="connsiteY3" fmla="*/ 240076 h 4535388"/>
              <a:gd name="connsiteX4" fmla="*/ 4293220 w 9891132"/>
              <a:gd name="connsiteY4" fmla="*/ 4399481 h 4535388"/>
              <a:gd name="connsiteX5" fmla="*/ 5553307 w 9891132"/>
              <a:gd name="connsiteY5" fmla="*/ 83959 h 4535388"/>
              <a:gd name="connsiteX6" fmla="*/ 6757639 w 9891132"/>
              <a:gd name="connsiteY6" fmla="*/ 4466388 h 4535388"/>
              <a:gd name="connsiteX7" fmla="*/ 7895064 w 9891132"/>
              <a:gd name="connsiteY7" fmla="*/ 17052 h 4535388"/>
              <a:gd name="connsiteX8" fmla="*/ 8898673 w 9891132"/>
              <a:gd name="connsiteY8" fmla="*/ 4466388 h 4535388"/>
              <a:gd name="connsiteX9" fmla="*/ 9891132 w 9891132"/>
              <a:gd name="connsiteY9" fmla="*/ 2057725 h 4535388"/>
              <a:gd name="connsiteX0" fmla="*/ 0 w 9891132"/>
              <a:gd name="connsiteY0" fmla="*/ 2358808 h 4535225"/>
              <a:gd name="connsiteX1" fmla="*/ 769197 w 9891132"/>
              <a:gd name="connsiteY1" fmla="*/ 55871 h 4535225"/>
              <a:gd name="connsiteX2" fmla="*/ 1638018 w 9891132"/>
              <a:gd name="connsiteY2" fmla="*/ 4535225 h 4535225"/>
              <a:gd name="connsiteX3" fmla="*/ 3345366 w 9891132"/>
              <a:gd name="connsiteY3" fmla="*/ 240076 h 4535225"/>
              <a:gd name="connsiteX4" fmla="*/ 4293220 w 9891132"/>
              <a:gd name="connsiteY4" fmla="*/ 4399481 h 4535225"/>
              <a:gd name="connsiteX5" fmla="*/ 5553307 w 9891132"/>
              <a:gd name="connsiteY5" fmla="*/ 83959 h 4535225"/>
              <a:gd name="connsiteX6" fmla="*/ 6757639 w 9891132"/>
              <a:gd name="connsiteY6" fmla="*/ 4466388 h 4535225"/>
              <a:gd name="connsiteX7" fmla="*/ 7895064 w 9891132"/>
              <a:gd name="connsiteY7" fmla="*/ 17052 h 4535225"/>
              <a:gd name="connsiteX8" fmla="*/ 8898673 w 9891132"/>
              <a:gd name="connsiteY8" fmla="*/ 4466388 h 4535225"/>
              <a:gd name="connsiteX9" fmla="*/ 9891132 w 9891132"/>
              <a:gd name="connsiteY9" fmla="*/ 2057725 h 4535225"/>
              <a:gd name="connsiteX0" fmla="*/ 0 w 9891132"/>
              <a:gd name="connsiteY0" fmla="*/ 2358808 h 4535225"/>
              <a:gd name="connsiteX1" fmla="*/ 769197 w 9891132"/>
              <a:gd name="connsiteY1" fmla="*/ 55871 h 4535225"/>
              <a:gd name="connsiteX2" fmla="*/ 1638018 w 9891132"/>
              <a:gd name="connsiteY2" fmla="*/ 4535225 h 4535225"/>
              <a:gd name="connsiteX3" fmla="*/ 3295673 w 9891132"/>
              <a:gd name="connsiteY3" fmla="*/ 57799 h 4535225"/>
              <a:gd name="connsiteX4" fmla="*/ 4293220 w 9891132"/>
              <a:gd name="connsiteY4" fmla="*/ 4399481 h 4535225"/>
              <a:gd name="connsiteX5" fmla="*/ 5553307 w 9891132"/>
              <a:gd name="connsiteY5" fmla="*/ 83959 h 4535225"/>
              <a:gd name="connsiteX6" fmla="*/ 6757639 w 9891132"/>
              <a:gd name="connsiteY6" fmla="*/ 4466388 h 4535225"/>
              <a:gd name="connsiteX7" fmla="*/ 7895064 w 9891132"/>
              <a:gd name="connsiteY7" fmla="*/ 17052 h 4535225"/>
              <a:gd name="connsiteX8" fmla="*/ 8898673 w 9891132"/>
              <a:gd name="connsiteY8" fmla="*/ 4466388 h 4535225"/>
              <a:gd name="connsiteX9" fmla="*/ 9891132 w 9891132"/>
              <a:gd name="connsiteY9" fmla="*/ 2057725 h 4535225"/>
              <a:gd name="connsiteX0" fmla="*/ 0 w 9891132"/>
              <a:gd name="connsiteY0" fmla="*/ 2358808 h 4535225"/>
              <a:gd name="connsiteX1" fmla="*/ 769197 w 9891132"/>
              <a:gd name="connsiteY1" fmla="*/ 55871 h 4535225"/>
              <a:gd name="connsiteX2" fmla="*/ 1638018 w 9891132"/>
              <a:gd name="connsiteY2" fmla="*/ 4535225 h 4535225"/>
              <a:gd name="connsiteX3" fmla="*/ 3295673 w 9891132"/>
              <a:gd name="connsiteY3" fmla="*/ 57799 h 4535225"/>
              <a:gd name="connsiteX4" fmla="*/ 4293220 w 9891132"/>
              <a:gd name="connsiteY4" fmla="*/ 4399481 h 4535225"/>
              <a:gd name="connsiteX5" fmla="*/ 5553307 w 9891132"/>
              <a:gd name="connsiteY5" fmla="*/ 83959 h 4535225"/>
              <a:gd name="connsiteX6" fmla="*/ 6757639 w 9891132"/>
              <a:gd name="connsiteY6" fmla="*/ 4466388 h 4535225"/>
              <a:gd name="connsiteX7" fmla="*/ 7895064 w 9891132"/>
              <a:gd name="connsiteY7" fmla="*/ 17052 h 4535225"/>
              <a:gd name="connsiteX8" fmla="*/ 8898673 w 9891132"/>
              <a:gd name="connsiteY8" fmla="*/ 4466388 h 4535225"/>
              <a:gd name="connsiteX9" fmla="*/ 9891132 w 9891132"/>
              <a:gd name="connsiteY9" fmla="*/ 2057725 h 4535225"/>
              <a:gd name="connsiteX0" fmla="*/ 0 w 9891132"/>
              <a:gd name="connsiteY0" fmla="*/ 2358808 h 4535225"/>
              <a:gd name="connsiteX1" fmla="*/ 769197 w 9891132"/>
              <a:gd name="connsiteY1" fmla="*/ 55871 h 4535225"/>
              <a:gd name="connsiteX2" fmla="*/ 1638018 w 9891132"/>
              <a:gd name="connsiteY2" fmla="*/ 4535225 h 4535225"/>
              <a:gd name="connsiteX3" fmla="*/ 3285735 w 9891132"/>
              <a:gd name="connsiteY3" fmla="*/ 42610 h 4535225"/>
              <a:gd name="connsiteX4" fmla="*/ 4293220 w 9891132"/>
              <a:gd name="connsiteY4" fmla="*/ 4399481 h 4535225"/>
              <a:gd name="connsiteX5" fmla="*/ 5553307 w 9891132"/>
              <a:gd name="connsiteY5" fmla="*/ 83959 h 4535225"/>
              <a:gd name="connsiteX6" fmla="*/ 6757639 w 9891132"/>
              <a:gd name="connsiteY6" fmla="*/ 4466388 h 4535225"/>
              <a:gd name="connsiteX7" fmla="*/ 7895064 w 9891132"/>
              <a:gd name="connsiteY7" fmla="*/ 17052 h 4535225"/>
              <a:gd name="connsiteX8" fmla="*/ 8898673 w 9891132"/>
              <a:gd name="connsiteY8" fmla="*/ 4466388 h 4535225"/>
              <a:gd name="connsiteX9" fmla="*/ 9891132 w 9891132"/>
              <a:gd name="connsiteY9" fmla="*/ 2057725 h 4535225"/>
              <a:gd name="connsiteX0" fmla="*/ 0 w 9891132"/>
              <a:gd name="connsiteY0" fmla="*/ 2358808 h 4535225"/>
              <a:gd name="connsiteX1" fmla="*/ 769197 w 9891132"/>
              <a:gd name="connsiteY1" fmla="*/ 55871 h 4535225"/>
              <a:gd name="connsiteX2" fmla="*/ 1638018 w 9891132"/>
              <a:gd name="connsiteY2" fmla="*/ 4535225 h 4535225"/>
              <a:gd name="connsiteX3" fmla="*/ 3285735 w 9891132"/>
              <a:gd name="connsiteY3" fmla="*/ 42610 h 4535225"/>
              <a:gd name="connsiteX4" fmla="*/ 4293220 w 9891132"/>
              <a:gd name="connsiteY4" fmla="*/ 4399481 h 4535225"/>
              <a:gd name="connsiteX5" fmla="*/ 5553307 w 9891132"/>
              <a:gd name="connsiteY5" fmla="*/ 83959 h 4535225"/>
              <a:gd name="connsiteX6" fmla="*/ 6757639 w 9891132"/>
              <a:gd name="connsiteY6" fmla="*/ 4466388 h 4535225"/>
              <a:gd name="connsiteX7" fmla="*/ 7895064 w 9891132"/>
              <a:gd name="connsiteY7" fmla="*/ 17052 h 4535225"/>
              <a:gd name="connsiteX8" fmla="*/ 8898673 w 9891132"/>
              <a:gd name="connsiteY8" fmla="*/ 4466388 h 4535225"/>
              <a:gd name="connsiteX9" fmla="*/ 9891132 w 9891132"/>
              <a:gd name="connsiteY9" fmla="*/ 2057725 h 4535225"/>
              <a:gd name="connsiteX0" fmla="*/ 0 w 9891132"/>
              <a:gd name="connsiteY0" fmla="*/ 2373640 h 4550057"/>
              <a:gd name="connsiteX1" fmla="*/ 1236310 w 9891132"/>
              <a:gd name="connsiteY1" fmla="*/ 55405 h 4550057"/>
              <a:gd name="connsiteX2" fmla="*/ 1638018 w 9891132"/>
              <a:gd name="connsiteY2" fmla="*/ 4550057 h 4550057"/>
              <a:gd name="connsiteX3" fmla="*/ 3285735 w 9891132"/>
              <a:gd name="connsiteY3" fmla="*/ 57442 h 4550057"/>
              <a:gd name="connsiteX4" fmla="*/ 4293220 w 9891132"/>
              <a:gd name="connsiteY4" fmla="*/ 4414313 h 4550057"/>
              <a:gd name="connsiteX5" fmla="*/ 5553307 w 9891132"/>
              <a:gd name="connsiteY5" fmla="*/ 98791 h 4550057"/>
              <a:gd name="connsiteX6" fmla="*/ 6757639 w 9891132"/>
              <a:gd name="connsiteY6" fmla="*/ 4481220 h 4550057"/>
              <a:gd name="connsiteX7" fmla="*/ 7895064 w 9891132"/>
              <a:gd name="connsiteY7" fmla="*/ 31884 h 4550057"/>
              <a:gd name="connsiteX8" fmla="*/ 8898673 w 9891132"/>
              <a:gd name="connsiteY8" fmla="*/ 4481220 h 4550057"/>
              <a:gd name="connsiteX9" fmla="*/ 9891132 w 9891132"/>
              <a:gd name="connsiteY9" fmla="*/ 2072557 h 4550057"/>
              <a:gd name="connsiteX0" fmla="*/ 0 w 9891132"/>
              <a:gd name="connsiteY0" fmla="*/ 2341755 h 4518172"/>
              <a:gd name="connsiteX1" fmla="*/ 1236310 w 9891132"/>
              <a:gd name="connsiteY1" fmla="*/ 23520 h 4518172"/>
              <a:gd name="connsiteX2" fmla="*/ 1638018 w 9891132"/>
              <a:gd name="connsiteY2" fmla="*/ 4518172 h 4518172"/>
              <a:gd name="connsiteX3" fmla="*/ 3285735 w 9891132"/>
              <a:gd name="connsiteY3" fmla="*/ 25557 h 4518172"/>
              <a:gd name="connsiteX4" fmla="*/ 4293220 w 9891132"/>
              <a:gd name="connsiteY4" fmla="*/ 4382428 h 4518172"/>
              <a:gd name="connsiteX5" fmla="*/ 5553307 w 9891132"/>
              <a:gd name="connsiteY5" fmla="*/ 66906 h 4518172"/>
              <a:gd name="connsiteX6" fmla="*/ 6757639 w 9891132"/>
              <a:gd name="connsiteY6" fmla="*/ 4449335 h 4518172"/>
              <a:gd name="connsiteX7" fmla="*/ 7895064 w 9891132"/>
              <a:gd name="connsiteY7" fmla="*/ -1 h 4518172"/>
              <a:gd name="connsiteX8" fmla="*/ 8898673 w 9891132"/>
              <a:gd name="connsiteY8" fmla="*/ 4449335 h 4518172"/>
              <a:gd name="connsiteX9" fmla="*/ 9891132 w 9891132"/>
              <a:gd name="connsiteY9" fmla="*/ 2040672 h 4518172"/>
              <a:gd name="connsiteX0" fmla="*/ 0 w 9891132"/>
              <a:gd name="connsiteY0" fmla="*/ 2348834 h 4525255"/>
              <a:gd name="connsiteX1" fmla="*/ 1236310 w 9891132"/>
              <a:gd name="connsiteY1" fmla="*/ 3 h 4525255"/>
              <a:gd name="connsiteX2" fmla="*/ 1638018 w 9891132"/>
              <a:gd name="connsiteY2" fmla="*/ 4525251 h 4525255"/>
              <a:gd name="connsiteX3" fmla="*/ 3285735 w 9891132"/>
              <a:gd name="connsiteY3" fmla="*/ 32636 h 4525255"/>
              <a:gd name="connsiteX4" fmla="*/ 4293220 w 9891132"/>
              <a:gd name="connsiteY4" fmla="*/ 4389507 h 4525255"/>
              <a:gd name="connsiteX5" fmla="*/ 5553307 w 9891132"/>
              <a:gd name="connsiteY5" fmla="*/ 73985 h 4525255"/>
              <a:gd name="connsiteX6" fmla="*/ 6757639 w 9891132"/>
              <a:gd name="connsiteY6" fmla="*/ 4456414 h 4525255"/>
              <a:gd name="connsiteX7" fmla="*/ 7895064 w 9891132"/>
              <a:gd name="connsiteY7" fmla="*/ 7078 h 4525255"/>
              <a:gd name="connsiteX8" fmla="*/ 8898673 w 9891132"/>
              <a:gd name="connsiteY8" fmla="*/ 4456414 h 4525255"/>
              <a:gd name="connsiteX9" fmla="*/ 9891132 w 9891132"/>
              <a:gd name="connsiteY9" fmla="*/ 2047751 h 4525255"/>
              <a:gd name="connsiteX0" fmla="*/ 0 w 9891132"/>
              <a:gd name="connsiteY0" fmla="*/ 2402697 h 4563819"/>
              <a:gd name="connsiteX1" fmla="*/ 1236310 w 9891132"/>
              <a:gd name="connsiteY1" fmla="*/ 53866 h 4563819"/>
              <a:gd name="connsiteX2" fmla="*/ 2870401 w 9891132"/>
              <a:gd name="connsiteY2" fmla="*/ 4563816 h 4563819"/>
              <a:gd name="connsiteX3" fmla="*/ 3285735 w 9891132"/>
              <a:gd name="connsiteY3" fmla="*/ 86499 h 4563819"/>
              <a:gd name="connsiteX4" fmla="*/ 4293220 w 9891132"/>
              <a:gd name="connsiteY4" fmla="*/ 4443370 h 4563819"/>
              <a:gd name="connsiteX5" fmla="*/ 5553307 w 9891132"/>
              <a:gd name="connsiteY5" fmla="*/ 127848 h 4563819"/>
              <a:gd name="connsiteX6" fmla="*/ 6757639 w 9891132"/>
              <a:gd name="connsiteY6" fmla="*/ 4510277 h 4563819"/>
              <a:gd name="connsiteX7" fmla="*/ 7895064 w 9891132"/>
              <a:gd name="connsiteY7" fmla="*/ 60941 h 4563819"/>
              <a:gd name="connsiteX8" fmla="*/ 8898673 w 9891132"/>
              <a:gd name="connsiteY8" fmla="*/ 4510277 h 4563819"/>
              <a:gd name="connsiteX9" fmla="*/ 9891132 w 9891132"/>
              <a:gd name="connsiteY9" fmla="*/ 2101614 h 4563819"/>
              <a:gd name="connsiteX0" fmla="*/ 0 w 9891132"/>
              <a:gd name="connsiteY0" fmla="*/ 2402697 h 4563816"/>
              <a:gd name="connsiteX1" fmla="*/ 1236310 w 9891132"/>
              <a:gd name="connsiteY1" fmla="*/ 53866 h 4563816"/>
              <a:gd name="connsiteX2" fmla="*/ 2870401 w 9891132"/>
              <a:gd name="connsiteY2" fmla="*/ 4563816 h 4563816"/>
              <a:gd name="connsiteX3" fmla="*/ 4110636 w 9891132"/>
              <a:gd name="connsiteY3" fmla="*/ 55903 h 4563816"/>
              <a:gd name="connsiteX4" fmla="*/ 4293220 w 9891132"/>
              <a:gd name="connsiteY4" fmla="*/ 4443370 h 4563816"/>
              <a:gd name="connsiteX5" fmla="*/ 5553307 w 9891132"/>
              <a:gd name="connsiteY5" fmla="*/ 127848 h 4563816"/>
              <a:gd name="connsiteX6" fmla="*/ 6757639 w 9891132"/>
              <a:gd name="connsiteY6" fmla="*/ 4510277 h 4563816"/>
              <a:gd name="connsiteX7" fmla="*/ 7895064 w 9891132"/>
              <a:gd name="connsiteY7" fmla="*/ 60941 h 4563816"/>
              <a:gd name="connsiteX8" fmla="*/ 8898673 w 9891132"/>
              <a:gd name="connsiteY8" fmla="*/ 4510277 h 4563816"/>
              <a:gd name="connsiteX9" fmla="*/ 9891132 w 9891132"/>
              <a:gd name="connsiteY9" fmla="*/ 2101614 h 4563816"/>
              <a:gd name="connsiteX0" fmla="*/ 0 w 9891132"/>
              <a:gd name="connsiteY0" fmla="*/ 2402697 h 4563816"/>
              <a:gd name="connsiteX1" fmla="*/ 1236310 w 9891132"/>
              <a:gd name="connsiteY1" fmla="*/ 53866 h 4563816"/>
              <a:gd name="connsiteX2" fmla="*/ 2870401 w 9891132"/>
              <a:gd name="connsiteY2" fmla="*/ 4563816 h 4563816"/>
              <a:gd name="connsiteX3" fmla="*/ 4110636 w 9891132"/>
              <a:gd name="connsiteY3" fmla="*/ 55903 h 4563816"/>
              <a:gd name="connsiteX4" fmla="*/ 4293220 w 9891132"/>
              <a:gd name="connsiteY4" fmla="*/ 4443370 h 4563816"/>
              <a:gd name="connsiteX5" fmla="*/ 5553307 w 9891132"/>
              <a:gd name="connsiteY5" fmla="*/ 127848 h 4563816"/>
              <a:gd name="connsiteX6" fmla="*/ 6757639 w 9891132"/>
              <a:gd name="connsiteY6" fmla="*/ 4510277 h 4563816"/>
              <a:gd name="connsiteX7" fmla="*/ 7895064 w 9891132"/>
              <a:gd name="connsiteY7" fmla="*/ 60941 h 4563816"/>
              <a:gd name="connsiteX8" fmla="*/ 8898673 w 9891132"/>
              <a:gd name="connsiteY8" fmla="*/ 4510277 h 4563816"/>
              <a:gd name="connsiteX9" fmla="*/ 9891132 w 9891132"/>
              <a:gd name="connsiteY9" fmla="*/ 2101614 h 4563816"/>
              <a:gd name="connsiteX0" fmla="*/ 0 w 9891132"/>
              <a:gd name="connsiteY0" fmla="*/ 2867720 h 5028839"/>
              <a:gd name="connsiteX1" fmla="*/ 1236310 w 9891132"/>
              <a:gd name="connsiteY1" fmla="*/ 518889 h 5028839"/>
              <a:gd name="connsiteX2" fmla="*/ 2870401 w 9891132"/>
              <a:gd name="connsiteY2" fmla="*/ 5028839 h 5028839"/>
              <a:gd name="connsiteX3" fmla="*/ 4110636 w 9891132"/>
              <a:gd name="connsiteY3" fmla="*/ 520926 h 5028839"/>
              <a:gd name="connsiteX4" fmla="*/ 5553307 w 9891132"/>
              <a:gd name="connsiteY4" fmla="*/ 592871 h 5028839"/>
              <a:gd name="connsiteX5" fmla="*/ 6757639 w 9891132"/>
              <a:gd name="connsiteY5" fmla="*/ 4975300 h 5028839"/>
              <a:gd name="connsiteX6" fmla="*/ 7895064 w 9891132"/>
              <a:gd name="connsiteY6" fmla="*/ 525964 h 5028839"/>
              <a:gd name="connsiteX7" fmla="*/ 8898673 w 9891132"/>
              <a:gd name="connsiteY7" fmla="*/ 4975300 h 5028839"/>
              <a:gd name="connsiteX8" fmla="*/ 9891132 w 9891132"/>
              <a:gd name="connsiteY8" fmla="*/ 2566637 h 5028839"/>
              <a:gd name="connsiteX0" fmla="*/ 0 w 9891132"/>
              <a:gd name="connsiteY0" fmla="*/ 2402697 h 4563816"/>
              <a:gd name="connsiteX1" fmla="*/ 1236310 w 9891132"/>
              <a:gd name="connsiteY1" fmla="*/ 53866 h 4563816"/>
              <a:gd name="connsiteX2" fmla="*/ 2870401 w 9891132"/>
              <a:gd name="connsiteY2" fmla="*/ 4563816 h 4563816"/>
              <a:gd name="connsiteX3" fmla="*/ 4110636 w 9891132"/>
              <a:gd name="connsiteY3" fmla="*/ 55903 h 4563816"/>
              <a:gd name="connsiteX4" fmla="*/ 6757639 w 9891132"/>
              <a:gd name="connsiteY4" fmla="*/ 4510277 h 4563816"/>
              <a:gd name="connsiteX5" fmla="*/ 7895064 w 9891132"/>
              <a:gd name="connsiteY5" fmla="*/ 60941 h 4563816"/>
              <a:gd name="connsiteX6" fmla="*/ 8898673 w 9891132"/>
              <a:gd name="connsiteY6" fmla="*/ 4510277 h 4563816"/>
              <a:gd name="connsiteX7" fmla="*/ 9891132 w 9891132"/>
              <a:gd name="connsiteY7" fmla="*/ 2101614 h 4563816"/>
              <a:gd name="connsiteX0" fmla="*/ 0 w 9891132"/>
              <a:gd name="connsiteY0" fmla="*/ 2402697 h 4586771"/>
              <a:gd name="connsiteX1" fmla="*/ 1236310 w 9891132"/>
              <a:gd name="connsiteY1" fmla="*/ 53866 h 4586771"/>
              <a:gd name="connsiteX2" fmla="*/ 2870401 w 9891132"/>
              <a:gd name="connsiteY2" fmla="*/ 4563816 h 4586771"/>
              <a:gd name="connsiteX3" fmla="*/ 4110636 w 9891132"/>
              <a:gd name="connsiteY3" fmla="*/ 55903 h 4586771"/>
              <a:gd name="connsiteX4" fmla="*/ 5763782 w 9891132"/>
              <a:gd name="connsiteY4" fmla="*/ 4586771 h 4586771"/>
              <a:gd name="connsiteX5" fmla="*/ 7895064 w 9891132"/>
              <a:gd name="connsiteY5" fmla="*/ 60941 h 4586771"/>
              <a:gd name="connsiteX6" fmla="*/ 8898673 w 9891132"/>
              <a:gd name="connsiteY6" fmla="*/ 4510277 h 4586771"/>
              <a:gd name="connsiteX7" fmla="*/ 9891132 w 9891132"/>
              <a:gd name="connsiteY7" fmla="*/ 2101614 h 4586771"/>
              <a:gd name="connsiteX0" fmla="*/ 0 w 9891132"/>
              <a:gd name="connsiteY0" fmla="*/ 2402697 h 4586805"/>
              <a:gd name="connsiteX1" fmla="*/ 1236310 w 9891132"/>
              <a:gd name="connsiteY1" fmla="*/ 53866 h 4586805"/>
              <a:gd name="connsiteX2" fmla="*/ 2870401 w 9891132"/>
              <a:gd name="connsiteY2" fmla="*/ 4563816 h 4586805"/>
              <a:gd name="connsiteX3" fmla="*/ 4110636 w 9891132"/>
              <a:gd name="connsiteY3" fmla="*/ 55903 h 4586805"/>
              <a:gd name="connsiteX4" fmla="*/ 5763782 w 9891132"/>
              <a:gd name="connsiteY4" fmla="*/ 4586771 h 4586805"/>
              <a:gd name="connsiteX5" fmla="*/ 7895064 w 9891132"/>
              <a:gd name="connsiteY5" fmla="*/ 60941 h 4586805"/>
              <a:gd name="connsiteX6" fmla="*/ 8898673 w 9891132"/>
              <a:gd name="connsiteY6" fmla="*/ 4510277 h 4586805"/>
              <a:gd name="connsiteX7" fmla="*/ 9891132 w 9891132"/>
              <a:gd name="connsiteY7" fmla="*/ 2101614 h 4586805"/>
              <a:gd name="connsiteX0" fmla="*/ 0 w 9891132"/>
              <a:gd name="connsiteY0" fmla="*/ 2402697 h 4586771"/>
              <a:gd name="connsiteX1" fmla="*/ 1236310 w 9891132"/>
              <a:gd name="connsiteY1" fmla="*/ 53866 h 4586771"/>
              <a:gd name="connsiteX2" fmla="*/ 2870401 w 9891132"/>
              <a:gd name="connsiteY2" fmla="*/ 4563816 h 4586771"/>
              <a:gd name="connsiteX3" fmla="*/ 4110636 w 9891132"/>
              <a:gd name="connsiteY3" fmla="*/ 55903 h 4586771"/>
              <a:gd name="connsiteX4" fmla="*/ 5763782 w 9891132"/>
              <a:gd name="connsiteY4" fmla="*/ 4586771 h 4586771"/>
              <a:gd name="connsiteX5" fmla="*/ 6990653 w 9891132"/>
              <a:gd name="connsiteY5" fmla="*/ 45642 h 4586771"/>
              <a:gd name="connsiteX6" fmla="*/ 8898673 w 9891132"/>
              <a:gd name="connsiteY6" fmla="*/ 4510277 h 4586771"/>
              <a:gd name="connsiteX7" fmla="*/ 9891132 w 9891132"/>
              <a:gd name="connsiteY7" fmla="*/ 2101614 h 4586771"/>
              <a:gd name="connsiteX0" fmla="*/ 0 w 9891132"/>
              <a:gd name="connsiteY0" fmla="*/ 2402697 h 4607848"/>
              <a:gd name="connsiteX1" fmla="*/ 1236310 w 9891132"/>
              <a:gd name="connsiteY1" fmla="*/ 53866 h 4607848"/>
              <a:gd name="connsiteX2" fmla="*/ 2870401 w 9891132"/>
              <a:gd name="connsiteY2" fmla="*/ 4563816 h 4607848"/>
              <a:gd name="connsiteX3" fmla="*/ 4110636 w 9891132"/>
              <a:gd name="connsiteY3" fmla="*/ 55903 h 4607848"/>
              <a:gd name="connsiteX4" fmla="*/ 5763782 w 9891132"/>
              <a:gd name="connsiteY4" fmla="*/ 4586771 h 4607848"/>
              <a:gd name="connsiteX5" fmla="*/ 6990653 w 9891132"/>
              <a:gd name="connsiteY5" fmla="*/ 45642 h 4607848"/>
              <a:gd name="connsiteX6" fmla="*/ 8670086 w 9891132"/>
              <a:gd name="connsiteY6" fmla="*/ 4556172 h 4607848"/>
              <a:gd name="connsiteX7" fmla="*/ 9891132 w 9891132"/>
              <a:gd name="connsiteY7" fmla="*/ 2101614 h 4607848"/>
              <a:gd name="connsiteX0" fmla="*/ 0 w 9891132"/>
              <a:gd name="connsiteY0" fmla="*/ 2402697 h 4586771"/>
              <a:gd name="connsiteX1" fmla="*/ 1236310 w 9891132"/>
              <a:gd name="connsiteY1" fmla="*/ 53866 h 4586771"/>
              <a:gd name="connsiteX2" fmla="*/ 2870401 w 9891132"/>
              <a:gd name="connsiteY2" fmla="*/ 4563816 h 4586771"/>
              <a:gd name="connsiteX3" fmla="*/ 4110636 w 9891132"/>
              <a:gd name="connsiteY3" fmla="*/ 55903 h 4586771"/>
              <a:gd name="connsiteX4" fmla="*/ 5763782 w 9891132"/>
              <a:gd name="connsiteY4" fmla="*/ 4586771 h 4586771"/>
              <a:gd name="connsiteX5" fmla="*/ 6990653 w 9891132"/>
              <a:gd name="connsiteY5" fmla="*/ 45642 h 4586771"/>
              <a:gd name="connsiteX6" fmla="*/ 8670086 w 9891132"/>
              <a:gd name="connsiteY6" fmla="*/ 4556172 h 4586771"/>
              <a:gd name="connsiteX7" fmla="*/ 9891132 w 9891132"/>
              <a:gd name="connsiteY7" fmla="*/ 2101614 h 4586771"/>
              <a:gd name="connsiteX0" fmla="*/ 0 w 9891132"/>
              <a:gd name="connsiteY0" fmla="*/ 2402697 h 4586781"/>
              <a:gd name="connsiteX1" fmla="*/ 1236310 w 9891132"/>
              <a:gd name="connsiteY1" fmla="*/ 53866 h 4586781"/>
              <a:gd name="connsiteX2" fmla="*/ 2870401 w 9891132"/>
              <a:gd name="connsiteY2" fmla="*/ 4563816 h 4586781"/>
              <a:gd name="connsiteX3" fmla="*/ 4110636 w 9891132"/>
              <a:gd name="connsiteY3" fmla="*/ 55903 h 4586781"/>
              <a:gd name="connsiteX4" fmla="*/ 5763782 w 9891132"/>
              <a:gd name="connsiteY4" fmla="*/ 4586771 h 4586781"/>
              <a:gd name="connsiteX5" fmla="*/ 6990653 w 9891132"/>
              <a:gd name="connsiteY5" fmla="*/ 45642 h 4586781"/>
              <a:gd name="connsiteX6" fmla="*/ 8640271 w 9891132"/>
              <a:gd name="connsiteY6" fmla="*/ 4586768 h 4586781"/>
              <a:gd name="connsiteX7" fmla="*/ 9891132 w 9891132"/>
              <a:gd name="connsiteY7" fmla="*/ 2101614 h 4586781"/>
              <a:gd name="connsiteX0" fmla="*/ 0 w 9891132"/>
              <a:gd name="connsiteY0" fmla="*/ 2402697 h 4637561"/>
              <a:gd name="connsiteX1" fmla="*/ 1236310 w 9891132"/>
              <a:gd name="connsiteY1" fmla="*/ 53866 h 4637561"/>
              <a:gd name="connsiteX2" fmla="*/ 2870401 w 9891132"/>
              <a:gd name="connsiteY2" fmla="*/ 4563816 h 4637561"/>
              <a:gd name="connsiteX3" fmla="*/ 4110636 w 9891132"/>
              <a:gd name="connsiteY3" fmla="*/ 55903 h 4637561"/>
              <a:gd name="connsiteX4" fmla="*/ 5763782 w 9891132"/>
              <a:gd name="connsiteY4" fmla="*/ 4586771 h 4637561"/>
              <a:gd name="connsiteX5" fmla="*/ 6990653 w 9891132"/>
              <a:gd name="connsiteY5" fmla="*/ 45642 h 4637561"/>
              <a:gd name="connsiteX6" fmla="*/ 8640271 w 9891132"/>
              <a:gd name="connsiteY6" fmla="*/ 4586768 h 4637561"/>
              <a:gd name="connsiteX7" fmla="*/ 9891132 w 9891132"/>
              <a:gd name="connsiteY7" fmla="*/ 2101614 h 4637561"/>
              <a:gd name="connsiteX0" fmla="*/ 0 w 9891132"/>
              <a:gd name="connsiteY0" fmla="*/ 2402697 h 4615269"/>
              <a:gd name="connsiteX1" fmla="*/ 1236310 w 9891132"/>
              <a:gd name="connsiteY1" fmla="*/ 53866 h 4615269"/>
              <a:gd name="connsiteX2" fmla="*/ 2870401 w 9891132"/>
              <a:gd name="connsiteY2" fmla="*/ 4563816 h 4615269"/>
              <a:gd name="connsiteX3" fmla="*/ 4110636 w 9891132"/>
              <a:gd name="connsiteY3" fmla="*/ 55903 h 4615269"/>
              <a:gd name="connsiteX4" fmla="*/ 5763782 w 9891132"/>
              <a:gd name="connsiteY4" fmla="*/ 4586771 h 4615269"/>
              <a:gd name="connsiteX5" fmla="*/ 6990653 w 9891132"/>
              <a:gd name="connsiteY5" fmla="*/ 45642 h 4615269"/>
              <a:gd name="connsiteX6" fmla="*/ 8640271 w 9891132"/>
              <a:gd name="connsiteY6" fmla="*/ 4586768 h 4615269"/>
              <a:gd name="connsiteX7" fmla="*/ 9891132 w 9891132"/>
              <a:gd name="connsiteY7" fmla="*/ 2101614 h 4615269"/>
              <a:gd name="connsiteX0" fmla="*/ 0 w 9891132"/>
              <a:gd name="connsiteY0" fmla="*/ 2382266 h 4594838"/>
              <a:gd name="connsiteX1" fmla="*/ 1236310 w 9891132"/>
              <a:gd name="connsiteY1" fmla="*/ 33435 h 4594838"/>
              <a:gd name="connsiteX2" fmla="*/ 2870401 w 9891132"/>
              <a:gd name="connsiteY2" fmla="*/ 4543385 h 4594838"/>
              <a:gd name="connsiteX3" fmla="*/ 4110636 w 9891132"/>
              <a:gd name="connsiteY3" fmla="*/ 35472 h 4594838"/>
              <a:gd name="connsiteX4" fmla="*/ 5763782 w 9891132"/>
              <a:gd name="connsiteY4" fmla="*/ 4566340 h 4594838"/>
              <a:gd name="connsiteX5" fmla="*/ 6990653 w 9891132"/>
              <a:gd name="connsiteY5" fmla="*/ 25211 h 4594838"/>
              <a:gd name="connsiteX6" fmla="*/ 8640271 w 9891132"/>
              <a:gd name="connsiteY6" fmla="*/ 4566337 h 4594838"/>
              <a:gd name="connsiteX7" fmla="*/ 9891132 w 9891132"/>
              <a:gd name="connsiteY7" fmla="*/ 2081183 h 4594838"/>
              <a:gd name="connsiteX0" fmla="*/ 0 w 9891132"/>
              <a:gd name="connsiteY0" fmla="*/ 2382266 h 4594838"/>
              <a:gd name="connsiteX1" fmla="*/ 1425142 w 9891132"/>
              <a:gd name="connsiteY1" fmla="*/ 33435 h 4594838"/>
              <a:gd name="connsiteX2" fmla="*/ 2870401 w 9891132"/>
              <a:gd name="connsiteY2" fmla="*/ 4543385 h 4594838"/>
              <a:gd name="connsiteX3" fmla="*/ 4110636 w 9891132"/>
              <a:gd name="connsiteY3" fmla="*/ 35472 h 4594838"/>
              <a:gd name="connsiteX4" fmla="*/ 5763782 w 9891132"/>
              <a:gd name="connsiteY4" fmla="*/ 4566340 h 4594838"/>
              <a:gd name="connsiteX5" fmla="*/ 6990653 w 9891132"/>
              <a:gd name="connsiteY5" fmla="*/ 25211 h 4594838"/>
              <a:gd name="connsiteX6" fmla="*/ 8640271 w 9891132"/>
              <a:gd name="connsiteY6" fmla="*/ 4566337 h 4594838"/>
              <a:gd name="connsiteX7" fmla="*/ 9891132 w 9891132"/>
              <a:gd name="connsiteY7" fmla="*/ 2081183 h 4594838"/>
              <a:gd name="connsiteX0" fmla="*/ 0 w 9891132"/>
              <a:gd name="connsiteY0" fmla="*/ 2357054 h 4569626"/>
              <a:gd name="connsiteX1" fmla="*/ 1425142 w 9891132"/>
              <a:gd name="connsiteY1" fmla="*/ 8223 h 4569626"/>
              <a:gd name="connsiteX2" fmla="*/ 2870401 w 9891132"/>
              <a:gd name="connsiteY2" fmla="*/ 4518173 h 4569626"/>
              <a:gd name="connsiteX3" fmla="*/ 4110636 w 9891132"/>
              <a:gd name="connsiteY3" fmla="*/ 10260 h 4569626"/>
              <a:gd name="connsiteX4" fmla="*/ 5763782 w 9891132"/>
              <a:gd name="connsiteY4" fmla="*/ 4541128 h 4569626"/>
              <a:gd name="connsiteX5" fmla="*/ 6990653 w 9891132"/>
              <a:gd name="connsiteY5" fmla="*/ -1 h 4569626"/>
              <a:gd name="connsiteX6" fmla="*/ 8640271 w 9891132"/>
              <a:gd name="connsiteY6" fmla="*/ 4541125 h 4569626"/>
              <a:gd name="connsiteX7" fmla="*/ 9891132 w 9891132"/>
              <a:gd name="connsiteY7" fmla="*/ 2055971 h 4569626"/>
              <a:gd name="connsiteX0" fmla="*/ 0 w 9891132"/>
              <a:gd name="connsiteY0" fmla="*/ 2382266 h 4594838"/>
              <a:gd name="connsiteX1" fmla="*/ 1425142 w 9891132"/>
              <a:gd name="connsiteY1" fmla="*/ 33435 h 4594838"/>
              <a:gd name="connsiteX2" fmla="*/ 2830647 w 9891132"/>
              <a:gd name="connsiteY2" fmla="*/ 4543386 h 4594838"/>
              <a:gd name="connsiteX3" fmla="*/ 4110636 w 9891132"/>
              <a:gd name="connsiteY3" fmla="*/ 35472 h 4594838"/>
              <a:gd name="connsiteX4" fmla="*/ 5763782 w 9891132"/>
              <a:gd name="connsiteY4" fmla="*/ 4566340 h 4594838"/>
              <a:gd name="connsiteX5" fmla="*/ 6990653 w 9891132"/>
              <a:gd name="connsiteY5" fmla="*/ 25211 h 4594838"/>
              <a:gd name="connsiteX6" fmla="*/ 8640271 w 9891132"/>
              <a:gd name="connsiteY6" fmla="*/ 4566337 h 4594838"/>
              <a:gd name="connsiteX7" fmla="*/ 9891132 w 9891132"/>
              <a:gd name="connsiteY7" fmla="*/ 2081183 h 4594838"/>
              <a:gd name="connsiteX0" fmla="*/ 0 w 9891132"/>
              <a:gd name="connsiteY0" fmla="*/ 2382266 h 4594838"/>
              <a:gd name="connsiteX1" fmla="*/ 1425142 w 9891132"/>
              <a:gd name="connsiteY1" fmla="*/ 33435 h 4594838"/>
              <a:gd name="connsiteX2" fmla="*/ 2830647 w 9891132"/>
              <a:gd name="connsiteY2" fmla="*/ 4543386 h 4594838"/>
              <a:gd name="connsiteX3" fmla="*/ 4249776 w 9891132"/>
              <a:gd name="connsiteY3" fmla="*/ 35472 h 4594838"/>
              <a:gd name="connsiteX4" fmla="*/ 5763782 w 9891132"/>
              <a:gd name="connsiteY4" fmla="*/ 4566340 h 4594838"/>
              <a:gd name="connsiteX5" fmla="*/ 6990653 w 9891132"/>
              <a:gd name="connsiteY5" fmla="*/ 25211 h 4594838"/>
              <a:gd name="connsiteX6" fmla="*/ 8640271 w 9891132"/>
              <a:gd name="connsiteY6" fmla="*/ 4566337 h 4594838"/>
              <a:gd name="connsiteX7" fmla="*/ 9891132 w 9891132"/>
              <a:gd name="connsiteY7" fmla="*/ 2081183 h 4594838"/>
              <a:gd name="connsiteX0" fmla="*/ 0 w 9891132"/>
              <a:gd name="connsiteY0" fmla="*/ 2382266 h 4594838"/>
              <a:gd name="connsiteX1" fmla="*/ 1425142 w 9891132"/>
              <a:gd name="connsiteY1" fmla="*/ 33435 h 4594838"/>
              <a:gd name="connsiteX2" fmla="*/ 2830647 w 9891132"/>
              <a:gd name="connsiteY2" fmla="*/ 4543386 h 4594838"/>
              <a:gd name="connsiteX3" fmla="*/ 4249776 w 9891132"/>
              <a:gd name="connsiteY3" fmla="*/ 35472 h 4594838"/>
              <a:gd name="connsiteX4" fmla="*/ 5654457 w 9891132"/>
              <a:gd name="connsiteY4" fmla="*/ 4551042 h 4594838"/>
              <a:gd name="connsiteX5" fmla="*/ 6990653 w 9891132"/>
              <a:gd name="connsiteY5" fmla="*/ 25211 h 4594838"/>
              <a:gd name="connsiteX6" fmla="*/ 8640271 w 9891132"/>
              <a:gd name="connsiteY6" fmla="*/ 4566337 h 4594838"/>
              <a:gd name="connsiteX7" fmla="*/ 9891132 w 9891132"/>
              <a:gd name="connsiteY7" fmla="*/ 2081183 h 4594838"/>
              <a:gd name="connsiteX0" fmla="*/ 0 w 9891132"/>
              <a:gd name="connsiteY0" fmla="*/ 2382266 h 4594454"/>
              <a:gd name="connsiteX1" fmla="*/ 1425142 w 9891132"/>
              <a:gd name="connsiteY1" fmla="*/ 33435 h 4594454"/>
              <a:gd name="connsiteX2" fmla="*/ 2830647 w 9891132"/>
              <a:gd name="connsiteY2" fmla="*/ 4543386 h 4594454"/>
              <a:gd name="connsiteX3" fmla="*/ 4249776 w 9891132"/>
              <a:gd name="connsiteY3" fmla="*/ 35472 h 4594454"/>
              <a:gd name="connsiteX4" fmla="*/ 5654457 w 9891132"/>
              <a:gd name="connsiteY4" fmla="*/ 4551042 h 4594454"/>
              <a:gd name="connsiteX5" fmla="*/ 7070161 w 9891132"/>
              <a:gd name="connsiteY5" fmla="*/ 40510 h 4594454"/>
              <a:gd name="connsiteX6" fmla="*/ 8640271 w 9891132"/>
              <a:gd name="connsiteY6" fmla="*/ 4566337 h 4594454"/>
              <a:gd name="connsiteX7" fmla="*/ 9891132 w 9891132"/>
              <a:gd name="connsiteY7" fmla="*/ 2081183 h 4594454"/>
              <a:gd name="connsiteX0" fmla="*/ 0 w 9891132"/>
              <a:gd name="connsiteY0" fmla="*/ 2382266 h 4551043"/>
              <a:gd name="connsiteX1" fmla="*/ 1425142 w 9891132"/>
              <a:gd name="connsiteY1" fmla="*/ 33435 h 4551043"/>
              <a:gd name="connsiteX2" fmla="*/ 2830647 w 9891132"/>
              <a:gd name="connsiteY2" fmla="*/ 4543386 h 4551043"/>
              <a:gd name="connsiteX3" fmla="*/ 4249776 w 9891132"/>
              <a:gd name="connsiteY3" fmla="*/ 35472 h 4551043"/>
              <a:gd name="connsiteX4" fmla="*/ 5654457 w 9891132"/>
              <a:gd name="connsiteY4" fmla="*/ 4551042 h 4551043"/>
              <a:gd name="connsiteX5" fmla="*/ 7070161 w 9891132"/>
              <a:gd name="connsiteY5" fmla="*/ 40510 h 4551043"/>
              <a:gd name="connsiteX6" fmla="*/ 8471315 w 9891132"/>
              <a:gd name="connsiteY6" fmla="*/ 4505143 h 4551043"/>
              <a:gd name="connsiteX7" fmla="*/ 9891132 w 9891132"/>
              <a:gd name="connsiteY7" fmla="*/ 2081183 h 4551043"/>
              <a:gd name="connsiteX0" fmla="*/ 0 w 9891132"/>
              <a:gd name="connsiteY0" fmla="*/ 2382266 h 4551042"/>
              <a:gd name="connsiteX1" fmla="*/ 1425142 w 9891132"/>
              <a:gd name="connsiteY1" fmla="*/ 33435 h 4551042"/>
              <a:gd name="connsiteX2" fmla="*/ 2830647 w 9891132"/>
              <a:gd name="connsiteY2" fmla="*/ 4543386 h 4551042"/>
              <a:gd name="connsiteX3" fmla="*/ 4249776 w 9891132"/>
              <a:gd name="connsiteY3" fmla="*/ 35472 h 4551042"/>
              <a:gd name="connsiteX4" fmla="*/ 5654457 w 9891132"/>
              <a:gd name="connsiteY4" fmla="*/ 4551042 h 4551042"/>
              <a:gd name="connsiteX5" fmla="*/ 7070161 w 9891132"/>
              <a:gd name="connsiteY5" fmla="*/ 40510 h 4551042"/>
              <a:gd name="connsiteX6" fmla="*/ 8471315 w 9891132"/>
              <a:gd name="connsiteY6" fmla="*/ 4505143 h 4551042"/>
              <a:gd name="connsiteX7" fmla="*/ 9891132 w 9891132"/>
              <a:gd name="connsiteY7" fmla="*/ 2081183 h 4551042"/>
              <a:gd name="connsiteX0" fmla="*/ 0 w 9891132"/>
              <a:gd name="connsiteY0" fmla="*/ 2382266 h 4551042"/>
              <a:gd name="connsiteX1" fmla="*/ 1425142 w 9891132"/>
              <a:gd name="connsiteY1" fmla="*/ 33435 h 4551042"/>
              <a:gd name="connsiteX2" fmla="*/ 2830647 w 9891132"/>
              <a:gd name="connsiteY2" fmla="*/ 4543386 h 4551042"/>
              <a:gd name="connsiteX3" fmla="*/ 4249776 w 9891132"/>
              <a:gd name="connsiteY3" fmla="*/ 35472 h 4551042"/>
              <a:gd name="connsiteX4" fmla="*/ 5654457 w 9891132"/>
              <a:gd name="connsiteY4" fmla="*/ 4551042 h 4551042"/>
              <a:gd name="connsiteX5" fmla="*/ 7070161 w 9891132"/>
              <a:gd name="connsiteY5" fmla="*/ 40510 h 4551042"/>
              <a:gd name="connsiteX6" fmla="*/ 8481254 w 9891132"/>
              <a:gd name="connsiteY6" fmla="*/ 4535740 h 4551042"/>
              <a:gd name="connsiteX7" fmla="*/ 9891132 w 9891132"/>
              <a:gd name="connsiteY7" fmla="*/ 2081183 h 4551042"/>
              <a:gd name="connsiteX0" fmla="*/ 0 w 9911009"/>
              <a:gd name="connsiteY0" fmla="*/ 4490621 h 4517609"/>
              <a:gd name="connsiteX1" fmla="*/ 1445019 w 9911009"/>
              <a:gd name="connsiteY1" fmla="*/ 2 h 4517609"/>
              <a:gd name="connsiteX2" fmla="*/ 2850524 w 9911009"/>
              <a:gd name="connsiteY2" fmla="*/ 4509953 h 4517609"/>
              <a:gd name="connsiteX3" fmla="*/ 4269653 w 9911009"/>
              <a:gd name="connsiteY3" fmla="*/ 2039 h 4517609"/>
              <a:gd name="connsiteX4" fmla="*/ 5674334 w 9911009"/>
              <a:gd name="connsiteY4" fmla="*/ 4517609 h 4517609"/>
              <a:gd name="connsiteX5" fmla="*/ 7090038 w 9911009"/>
              <a:gd name="connsiteY5" fmla="*/ 7077 h 4517609"/>
              <a:gd name="connsiteX6" fmla="*/ 8501131 w 9911009"/>
              <a:gd name="connsiteY6" fmla="*/ 4502307 h 4517609"/>
              <a:gd name="connsiteX7" fmla="*/ 9911009 w 9911009"/>
              <a:gd name="connsiteY7" fmla="*/ 2047750 h 4517609"/>
              <a:gd name="connsiteX0" fmla="*/ 0 w 9901071"/>
              <a:gd name="connsiteY0" fmla="*/ 4536518 h 4536518"/>
              <a:gd name="connsiteX1" fmla="*/ 1435081 w 9901071"/>
              <a:gd name="connsiteY1" fmla="*/ 3 h 4536518"/>
              <a:gd name="connsiteX2" fmla="*/ 2840586 w 9901071"/>
              <a:gd name="connsiteY2" fmla="*/ 4509954 h 4536518"/>
              <a:gd name="connsiteX3" fmla="*/ 4259715 w 9901071"/>
              <a:gd name="connsiteY3" fmla="*/ 2040 h 4536518"/>
              <a:gd name="connsiteX4" fmla="*/ 5664396 w 9901071"/>
              <a:gd name="connsiteY4" fmla="*/ 4517610 h 4536518"/>
              <a:gd name="connsiteX5" fmla="*/ 7080100 w 9901071"/>
              <a:gd name="connsiteY5" fmla="*/ 7078 h 4536518"/>
              <a:gd name="connsiteX6" fmla="*/ 8491193 w 9901071"/>
              <a:gd name="connsiteY6" fmla="*/ 4502308 h 4536518"/>
              <a:gd name="connsiteX7" fmla="*/ 9901071 w 9901071"/>
              <a:gd name="connsiteY7" fmla="*/ 2047751 h 4536518"/>
              <a:gd name="connsiteX0" fmla="*/ 0 w 9901071"/>
              <a:gd name="connsiteY0" fmla="*/ 4536518 h 4536521"/>
              <a:gd name="connsiteX1" fmla="*/ 1435081 w 9901071"/>
              <a:gd name="connsiteY1" fmla="*/ 3 h 4536521"/>
              <a:gd name="connsiteX2" fmla="*/ 2840586 w 9901071"/>
              <a:gd name="connsiteY2" fmla="*/ 4509954 h 4536521"/>
              <a:gd name="connsiteX3" fmla="*/ 4259715 w 9901071"/>
              <a:gd name="connsiteY3" fmla="*/ 2040 h 4536521"/>
              <a:gd name="connsiteX4" fmla="*/ 5664396 w 9901071"/>
              <a:gd name="connsiteY4" fmla="*/ 4517610 h 4536521"/>
              <a:gd name="connsiteX5" fmla="*/ 7080100 w 9901071"/>
              <a:gd name="connsiteY5" fmla="*/ 7078 h 4536521"/>
              <a:gd name="connsiteX6" fmla="*/ 8491193 w 9901071"/>
              <a:gd name="connsiteY6" fmla="*/ 4502308 h 4536521"/>
              <a:gd name="connsiteX7" fmla="*/ 9901071 w 9901071"/>
              <a:gd name="connsiteY7" fmla="*/ 2047751 h 4536521"/>
              <a:gd name="connsiteX0" fmla="*/ 0 w 9911009"/>
              <a:gd name="connsiteY0" fmla="*/ 4521218 h 4521220"/>
              <a:gd name="connsiteX1" fmla="*/ 1445019 w 9911009"/>
              <a:gd name="connsiteY1" fmla="*/ 2 h 4521220"/>
              <a:gd name="connsiteX2" fmla="*/ 2850524 w 9911009"/>
              <a:gd name="connsiteY2" fmla="*/ 4509953 h 4521220"/>
              <a:gd name="connsiteX3" fmla="*/ 4269653 w 9911009"/>
              <a:gd name="connsiteY3" fmla="*/ 2039 h 4521220"/>
              <a:gd name="connsiteX4" fmla="*/ 5674334 w 9911009"/>
              <a:gd name="connsiteY4" fmla="*/ 4517609 h 4521220"/>
              <a:gd name="connsiteX5" fmla="*/ 7090038 w 9911009"/>
              <a:gd name="connsiteY5" fmla="*/ 7077 h 4521220"/>
              <a:gd name="connsiteX6" fmla="*/ 8501131 w 9911009"/>
              <a:gd name="connsiteY6" fmla="*/ 4502307 h 4521220"/>
              <a:gd name="connsiteX7" fmla="*/ 9911009 w 9911009"/>
              <a:gd name="connsiteY7" fmla="*/ 2047750 h 4521220"/>
              <a:gd name="connsiteX0" fmla="*/ 0 w 9911009"/>
              <a:gd name="connsiteY0" fmla="*/ 4521217 h 4530704"/>
              <a:gd name="connsiteX1" fmla="*/ 1445019 w 9911009"/>
              <a:gd name="connsiteY1" fmla="*/ 1 h 4530704"/>
              <a:gd name="connsiteX2" fmla="*/ 2850524 w 9911009"/>
              <a:gd name="connsiteY2" fmla="*/ 4509952 h 4530704"/>
              <a:gd name="connsiteX3" fmla="*/ 4269653 w 9911009"/>
              <a:gd name="connsiteY3" fmla="*/ 2038 h 4530704"/>
              <a:gd name="connsiteX4" fmla="*/ 5674334 w 9911009"/>
              <a:gd name="connsiteY4" fmla="*/ 4517608 h 4530704"/>
              <a:gd name="connsiteX5" fmla="*/ 7090038 w 9911009"/>
              <a:gd name="connsiteY5" fmla="*/ 7076 h 4530704"/>
              <a:gd name="connsiteX6" fmla="*/ 8501131 w 9911009"/>
              <a:gd name="connsiteY6" fmla="*/ 4502306 h 4530704"/>
              <a:gd name="connsiteX7" fmla="*/ 9911009 w 9911009"/>
              <a:gd name="connsiteY7" fmla="*/ 2047749 h 4530704"/>
              <a:gd name="connsiteX0" fmla="*/ 0 w 9911009"/>
              <a:gd name="connsiteY0" fmla="*/ 4521217 h 4530987"/>
              <a:gd name="connsiteX1" fmla="*/ 1445019 w 9911009"/>
              <a:gd name="connsiteY1" fmla="*/ 1 h 4530987"/>
              <a:gd name="connsiteX2" fmla="*/ 2850524 w 9911009"/>
              <a:gd name="connsiteY2" fmla="*/ 4509952 h 4530987"/>
              <a:gd name="connsiteX3" fmla="*/ 4269653 w 9911009"/>
              <a:gd name="connsiteY3" fmla="*/ 2038 h 4530987"/>
              <a:gd name="connsiteX4" fmla="*/ 5674334 w 9911009"/>
              <a:gd name="connsiteY4" fmla="*/ 4517608 h 4530987"/>
              <a:gd name="connsiteX5" fmla="*/ 7090038 w 9911009"/>
              <a:gd name="connsiteY5" fmla="*/ 7076 h 4530987"/>
              <a:gd name="connsiteX6" fmla="*/ 8501131 w 9911009"/>
              <a:gd name="connsiteY6" fmla="*/ 4502306 h 4530987"/>
              <a:gd name="connsiteX7" fmla="*/ 9911009 w 9911009"/>
              <a:gd name="connsiteY7" fmla="*/ 2047749 h 4530987"/>
              <a:gd name="connsiteX0" fmla="*/ 0 w 9901071"/>
              <a:gd name="connsiteY0" fmla="*/ 4523468 h 4523472"/>
              <a:gd name="connsiteX1" fmla="*/ 1445019 w 9901071"/>
              <a:gd name="connsiteY1" fmla="*/ 2252 h 4523472"/>
              <a:gd name="connsiteX2" fmla="*/ 2850524 w 9901071"/>
              <a:gd name="connsiteY2" fmla="*/ 4512203 h 4523472"/>
              <a:gd name="connsiteX3" fmla="*/ 4269653 w 9901071"/>
              <a:gd name="connsiteY3" fmla="*/ 4289 h 4523472"/>
              <a:gd name="connsiteX4" fmla="*/ 5674334 w 9901071"/>
              <a:gd name="connsiteY4" fmla="*/ 4519859 h 4523472"/>
              <a:gd name="connsiteX5" fmla="*/ 7090038 w 9901071"/>
              <a:gd name="connsiteY5" fmla="*/ 9327 h 4523472"/>
              <a:gd name="connsiteX6" fmla="*/ 8501131 w 9901071"/>
              <a:gd name="connsiteY6" fmla="*/ 4504557 h 4523472"/>
              <a:gd name="connsiteX7" fmla="*/ 9901071 w 9901071"/>
              <a:gd name="connsiteY7" fmla="*/ 1 h 4523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01071" h="4523472">
                <a:moveTo>
                  <a:pt x="0" y="4523468"/>
                </a:moveTo>
                <a:cubicBezTo>
                  <a:pt x="393034" y="4528218"/>
                  <a:pt x="969932" y="4130"/>
                  <a:pt x="1445019" y="2252"/>
                </a:cubicBezTo>
                <a:cubicBezTo>
                  <a:pt x="1920106" y="374"/>
                  <a:pt x="2379752" y="4511864"/>
                  <a:pt x="2850524" y="4512203"/>
                </a:cubicBezTo>
                <a:cubicBezTo>
                  <a:pt x="3321296" y="4512543"/>
                  <a:pt x="3799018" y="3013"/>
                  <a:pt x="4269653" y="4289"/>
                </a:cubicBezTo>
                <a:cubicBezTo>
                  <a:pt x="4740288" y="5565"/>
                  <a:pt x="5204270" y="4519019"/>
                  <a:pt x="5674334" y="4519859"/>
                </a:cubicBezTo>
                <a:cubicBezTo>
                  <a:pt x="6144398" y="4520699"/>
                  <a:pt x="6618905" y="11877"/>
                  <a:pt x="7090038" y="9327"/>
                </a:cubicBezTo>
                <a:cubicBezTo>
                  <a:pt x="7561171" y="6777"/>
                  <a:pt x="8032626" y="4506111"/>
                  <a:pt x="8501131" y="4504557"/>
                </a:cubicBezTo>
                <a:cubicBezTo>
                  <a:pt x="8969636" y="4503003"/>
                  <a:pt x="9432040" y="-2475"/>
                  <a:pt x="9901071" y="1"/>
                </a:cubicBezTo>
              </a:path>
            </a:pathLst>
          </a:custGeom>
          <a:noFill/>
          <a:ln w="101600">
            <a:solidFill>
              <a:srgbClr val="333353"/>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tlCol="0" anchor="ctr"/>
          <a:lstStyle/>
          <a:p>
            <a:pPr algn="ctr"/>
            <a:endParaRPr lang="en-US" sz="1799" dirty="0"/>
          </a:p>
        </p:txBody>
      </p:sp>
      <p:sp>
        <p:nvSpPr>
          <p:cNvPr id="20" name="Oval 19">
            <a:extLst>
              <a:ext uri="{FF2B5EF4-FFF2-40B4-BE49-F238E27FC236}">
                <a16:creationId xmlns:a16="http://schemas.microsoft.com/office/drawing/2014/main" id="{C34D8684-2D5D-429B-9F8D-6A90D84DE58A}"/>
              </a:ext>
            </a:extLst>
          </p:cNvPr>
          <p:cNvSpPr/>
          <p:nvPr/>
        </p:nvSpPr>
        <p:spPr bwMode="auto">
          <a:xfrm>
            <a:off x="2116504" y="2391341"/>
            <a:ext cx="208791" cy="208791"/>
          </a:xfrm>
          <a:prstGeom prst="ellipse">
            <a:avLst/>
          </a:prstGeom>
          <a:solidFill>
            <a:schemeClr val="bg2"/>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4" name="Oval 23">
            <a:extLst>
              <a:ext uri="{FF2B5EF4-FFF2-40B4-BE49-F238E27FC236}">
                <a16:creationId xmlns:a16="http://schemas.microsoft.com/office/drawing/2014/main" id="{0A25BEE6-C023-4E1B-9F3D-7A3496BFDBE4}"/>
              </a:ext>
            </a:extLst>
          </p:cNvPr>
          <p:cNvSpPr/>
          <p:nvPr/>
        </p:nvSpPr>
        <p:spPr bwMode="auto">
          <a:xfrm>
            <a:off x="6881061" y="4951734"/>
            <a:ext cx="208791" cy="208791"/>
          </a:xfrm>
          <a:prstGeom prst="ellipse">
            <a:avLst/>
          </a:prstGeom>
          <a:solidFill>
            <a:schemeClr val="bg2"/>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5" name="Oval 24">
            <a:extLst>
              <a:ext uri="{FF2B5EF4-FFF2-40B4-BE49-F238E27FC236}">
                <a16:creationId xmlns:a16="http://schemas.microsoft.com/office/drawing/2014/main" id="{F7A3FB90-09D3-4807-9C65-FC7F8E75F246}"/>
              </a:ext>
            </a:extLst>
          </p:cNvPr>
          <p:cNvSpPr/>
          <p:nvPr/>
        </p:nvSpPr>
        <p:spPr bwMode="auto">
          <a:xfrm>
            <a:off x="8467209" y="2394093"/>
            <a:ext cx="208791" cy="208791"/>
          </a:xfrm>
          <a:prstGeom prst="ellipse">
            <a:avLst/>
          </a:prstGeom>
          <a:solidFill>
            <a:schemeClr val="bg2"/>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7" name="Oval 26">
            <a:extLst>
              <a:ext uri="{FF2B5EF4-FFF2-40B4-BE49-F238E27FC236}">
                <a16:creationId xmlns:a16="http://schemas.microsoft.com/office/drawing/2014/main" id="{0B42E43C-C774-4AD7-B186-25269854EAD4}"/>
              </a:ext>
            </a:extLst>
          </p:cNvPr>
          <p:cNvSpPr/>
          <p:nvPr/>
        </p:nvSpPr>
        <p:spPr bwMode="auto">
          <a:xfrm>
            <a:off x="10044707" y="4951734"/>
            <a:ext cx="208791" cy="208791"/>
          </a:xfrm>
          <a:prstGeom prst="ellipse">
            <a:avLst/>
          </a:prstGeom>
          <a:solidFill>
            <a:schemeClr val="bg2"/>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3" name="Oval 22">
            <a:extLst>
              <a:ext uri="{FF2B5EF4-FFF2-40B4-BE49-F238E27FC236}">
                <a16:creationId xmlns:a16="http://schemas.microsoft.com/office/drawing/2014/main" id="{74FB645D-6A90-42F6-B300-E17E5DAC334B}"/>
              </a:ext>
            </a:extLst>
          </p:cNvPr>
          <p:cNvSpPr/>
          <p:nvPr/>
        </p:nvSpPr>
        <p:spPr bwMode="auto">
          <a:xfrm>
            <a:off x="3706505" y="4951734"/>
            <a:ext cx="208791" cy="208791"/>
          </a:xfrm>
          <a:prstGeom prst="ellipse">
            <a:avLst/>
          </a:prstGeom>
          <a:solidFill>
            <a:schemeClr val="bg2"/>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9" name="Oval 18">
            <a:extLst>
              <a:ext uri="{FF2B5EF4-FFF2-40B4-BE49-F238E27FC236}">
                <a16:creationId xmlns:a16="http://schemas.microsoft.com/office/drawing/2014/main" id="{0334340D-5BF3-49B3-89F3-867D1020841D}"/>
              </a:ext>
            </a:extLst>
          </p:cNvPr>
          <p:cNvSpPr/>
          <p:nvPr/>
        </p:nvSpPr>
        <p:spPr bwMode="auto">
          <a:xfrm>
            <a:off x="499403" y="4954486"/>
            <a:ext cx="208791" cy="208791"/>
          </a:xfrm>
          <a:prstGeom prst="ellipse">
            <a:avLst/>
          </a:prstGeom>
          <a:solidFill>
            <a:schemeClr val="bg2"/>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1" name="Textfeld 30"/>
          <p:cNvSpPr txBox="1">
            <a:spLocks/>
          </p:cNvSpPr>
          <p:nvPr/>
        </p:nvSpPr>
        <p:spPr bwMode="gray">
          <a:xfrm>
            <a:off x="603798" y="5315725"/>
            <a:ext cx="1710000" cy="860539"/>
          </a:xfrm>
          <a:prstGeom prst="rect">
            <a:avLst/>
          </a:prstGeom>
          <a:noFill/>
          <a:ln>
            <a:noFill/>
          </a:ln>
          <a:scene3d>
            <a:camera prst="orthographicFront">
              <a:rot lat="0" lon="0" rev="0"/>
            </a:camera>
            <a:lightRig rig="threePt" dir="t"/>
          </a:scene3d>
        </p:spPr>
        <p:txBody>
          <a:bodyPr wrap="square" lIns="143925" tIns="71963" rIns="0" bIns="72000" rtlCol="0" anchor="b" anchorCtr="0">
            <a:spAutoFit/>
          </a:bodyPr>
          <a:lstStyle/>
          <a:p>
            <a:pPr>
              <a:tabLst>
                <a:tab pos="1255085" algn="r"/>
              </a:tabLst>
              <a:defRPr/>
            </a:pPr>
            <a:r>
              <a:rPr lang="en-US" altLang="de-DE" sz="1599" b="1" dirty="0">
                <a:solidFill>
                  <a:srgbClr val="00FFB9"/>
                </a:solidFill>
                <a:ea typeface="Arial Unicode MS"/>
              </a:rPr>
              <a:t>Duis arcu, suscipit eget</a:t>
            </a:r>
          </a:p>
          <a:p>
            <a:pPr marL="0" lvl="1">
              <a:spcBef>
                <a:spcPts val="300"/>
              </a:spcBef>
              <a:buClr>
                <a:srgbClr val="3C464B"/>
              </a:buClr>
              <a:defRPr/>
            </a:pPr>
            <a:r>
              <a:rPr lang="en-US" altLang="de-DE" sz="1199" dirty="0">
                <a:solidFill>
                  <a:srgbClr val="9999A9"/>
                </a:solidFill>
                <a:ea typeface="Arial Unicode MS"/>
                <a:cs typeface="Arial" pitchFamily="34" charset="0"/>
              </a:rPr>
              <a:t>Duis arcu tortor</a:t>
            </a:r>
          </a:p>
        </p:txBody>
      </p:sp>
      <p:cxnSp>
        <p:nvCxnSpPr>
          <p:cNvPr id="7" name="Straight Connector 6"/>
          <p:cNvCxnSpPr>
            <a:cxnSpLocks/>
          </p:cNvCxnSpPr>
          <p:nvPr/>
        </p:nvCxnSpPr>
        <p:spPr bwMode="auto">
          <a:xfrm>
            <a:off x="603799" y="5058883"/>
            <a:ext cx="0" cy="1117381"/>
          </a:xfrm>
          <a:prstGeom prst="line">
            <a:avLst/>
          </a:prstGeom>
          <a:solidFill>
            <a:schemeClr val="tx2"/>
          </a:solidFill>
          <a:ln w="12700" cap="flat" cmpd="sng" algn="ctr">
            <a:solidFill>
              <a:srgbClr val="9999A9"/>
            </a:solidFill>
            <a:prstDash val="solid"/>
            <a:round/>
            <a:headEnd type="oval"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8" name="Textfeld 30"/>
          <p:cNvSpPr txBox="1">
            <a:spLocks/>
          </p:cNvSpPr>
          <p:nvPr/>
        </p:nvSpPr>
        <p:spPr bwMode="gray">
          <a:xfrm>
            <a:off x="3807155" y="5377255"/>
            <a:ext cx="1710000" cy="799009"/>
          </a:xfrm>
          <a:prstGeom prst="rect">
            <a:avLst/>
          </a:prstGeom>
          <a:noFill/>
          <a:ln>
            <a:noFill/>
          </a:ln>
          <a:scene3d>
            <a:camera prst="orthographicFront">
              <a:rot lat="0" lon="0" rev="0"/>
            </a:camera>
            <a:lightRig rig="threePt" dir="t"/>
          </a:scene3d>
        </p:spPr>
        <p:txBody>
          <a:bodyPr wrap="square" lIns="143925" tIns="71963" rIns="0" bIns="72000" rtlCol="0" anchor="b" anchorCtr="0">
            <a:spAutoFit/>
          </a:bodyPr>
          <a:lstStyle/>
          <a:p>
            <a:pPr>
              <a:tabLst>
                <a:tab pos="1255085" algn="r"/>
              </a:tabLst>
              <a:defRPr/>
            </a:pPr>
            <a:r>
              <a:rPr lang="en-US" altLang="de-DE" sz="1599" b="1" dirty="0">
                <a:solidFill>
                  <a:srgbClr val="00FFB9"/>
                </a:solidFill>
                <a:ea typeface="Arial Unicode MS"/>
              </a:rPr>
              <a:t>Phasellussem</a:t>
            </a:r>
          </a:p>
          <a:p>
            <a:pPr marL="0" lvl="1">
              <a:spcBef>
                <a:spcPts val="300"/>
              </a:spcBef>
              <a:buClr>
                <a:srgbClr val="3C464B"/>
              </a:buClr>
              <a:defRPr/>
            </a:pPr>
            <a:r>
              <a:rPr lang="en-US" altLang="de-DE" sz="1199" dirty="0">
                <a:solidFill>
                  <a:srgbClr val="9999A9"/>
                </a:solidFill>
                <a:ea typeface="Arial Unicode MS"/>
                <a:cs typeface="Arial" pitchFamily="34" charset="0"/>
              </a:rPr>
              <a:t>Consetetur sadipscing elitr, seddiam nonumy</a:t>
            </a:r>
          </a:p>
        </p:txBody>
      </p:sp>
      <p:cxnSp>
        <p:nvCxnSpPr>
          <p:cNvPr id="39" name="Straight Connector 38"/>
          <p:cNvCxnSpPr>
            <a:cxnSpLocks/>
          </p:cNvCxnSpPr>
          <p:nvPr/>
        </p:nvCxnSpPr>
        <p:spPr bwMode="auto">
          <a:xfrm>
            <a:off x="3811559" y="5058883"/>
            <a:ext cx="0" cy="1117381"/>
          </a:xfrm>
          <a:prstGeom prst="line">
            <a:avLst/>
          </a:prstGeom>
          <a:solidFill>
            <a:schemeClr val="tx2"/>
          </a:solidFill>
          <a:ln w="12700" cap="flat" cmpd="sng" algn="ctr">
            <a:solidFill>
              <a:srgbClr val="9999A9"/>
            </a:solidFill>
            <a:prstDash val="solid"/>
            <a:round/>
            <a:headEnd type="oval"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0" name="Textfeld 30"/>
          <p:cNvSpPr txBox="1">
            <a:spLocks/>
          </p:cNvSpPr>
          <p:nvPr/>
        </p:nvSpPr>
        <p:spPr bwMode="gray">
          <a:xfrm>
            <a:off x="6979669" y="5192679"/>
            <a:ext cx="1710000" cy="983585"/>
          </a:xfrm>
          <a:prstGeom prst="rect">
            <a:avLst/>
          </a:prstGeom>
          <a:noFill/>
          <a:ln>
            <a:noFill/>
          </a:ln>
          <a:scene3d>
            <a:camera prst="orthographicFront">
              <a:rot lat="0" lon="0" rev="0"/>
            </a:camera>
            <a:lightRig rig="threePt" dir="t"/>
          </a:scene3d>
        </p:spPr>
        <p:txBody>
          <a:bodyPr wrap="square" lIns="143925" tIns="71963" rIns="0" bIns="72000" rtlCol="0" anchor="b" anchorCtr="0">
            <a:spAutoFit/>
          </a:bodyPr>
          <a:lstStyle/>
          <a:p>
            <a:pPr>
              <a:tabLst>
                <a:tab pos="1255085" algn="r"/>
              </a:tabLst>
              <a:defRPr/>
            </a:pPr>
            <a:r>
              <a:rPr lang="en-US" altLang="de-DE" sz="1599" b="1" dirty="0">
                <a:solidFill>
                  <a:srgbClr val="00FFB9"/>
                </a:solidFill>
                <a:ea typeface="Arial Unicode MS"/>
              </a:rPr>
              <a:t>Maecenas nec</a:t>
            </a:r>
          </a:p>
          <a:p>
            <a:pPr marL="0" lvl="1">
              <a:spcBef>
                <a:spcPts val="300"/>
              </a:spcBef>
              <a:buClr>
                <a:srgbClr val="3C464B"/>
              </a:buClr>
              <a:defRPr/>
            </a:pPr>
            <a:r>
              <a:rPr lang="en-US" altLang="de-DE" sz="1199" dirty="0">
                <a:solidFill>
                  <a:srgbClr val="9999A9"/>
                </a:solidFill>
                <a:ea typeface="Arial Unicode MS"/>
                <a:cs typeface="Arial" pitchFamily="34" charset="0"/>
              </a:rPr>
              <a:t>Stet clita kasd gubergren, no sea takimata sanctus</a:t>
            </a:r>
          </a:p>
        </p:txBody>
      </p:sp>
      <p:cxnSp>
        <p:nvCxnSpPr>
          <p:cNvPr id="41" name="Straight Connector 40"/>
          <p:cNvCxnSpPr>
            <a:cxnSpLocks/>
          </p:cNvCxnSpPr>
          <p:nvPr/>
        </p:nvCxnSpPr>
        <p:spPr bwMode="auto">
          <a:xfrm>
            <a:off x="6983192" y="5058883"/>
            <a:ext cx="0" cy="1117381"/>
          </a:xfrm>
          <a:prstGeom prst="line">
            <a:avLst/>
          </a:prstGeom>
          <a:solidFill>
            <a:schemeClr val="tx2"/>
          </a:solidFill>
          <a:ln w="12700" cap="flat" cmpd="sng" algn="ctr">
            <a:solidFill>
              <a:srgbClr val="9999A9"/>
            </a:solidFill>
            <a:prstDash val="solid"/>
            <a:round/>
            <a:headEnd type="oval"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2" name="Textfeld 30"/>
          <p:cNvSpPr txBox="1">
            <a:spLocks/>
          </p:cNvSpPr>
          <p:nvPr/>
        </p:nvSpPr>
        <p:spPr bwMode="gray">
          <a:xfrm>
            <a:off x="10152183" y="5131155"/>
            <a:ext cx="1635003" cy="1045109"/>
          </a:xfrm>
          <a:prstGeom prst="rect">
            <a:avLst/>
          </a:prstGeom>
          <a:noFill/>
          <a:ln>
            <a:noFill/>
          </a:ln>
          <a:scene3d>
            <a:camera prst="orthographicFront">
              <a:rot lat="0" lon="0" rev="0"/>
            </a:camera>
            <a:lightRig rig="threePt" dir="t"/>
          </a:scene3d>
        </p:spPr>
        <p:txBody>
          <a:bodyPr wrap="square" lIns="143925" tIns="71963" rIns="0" bIns="72000" rtlCol="0" anchor="b" anchorCtr="0">
            <a:spAutoFit/>
          </a:bodyPr>
          <a:lstStyle/>
          <a:p>
            <a:pPr>
              <a:tabLst>
                <a:tab pos="1255085" algn="r"/>
              </a:tabLst>
              <a:defRPr/>
            </a:pPr>
            <a:r>
              <a:rPr lang="en-US" altLang="de-DE" sz="1599" b="1" dirty="0">
                <a:solidFill>
                  <a:srgbClr val="00FFB9"/>
                </a:solidFill>
                <a:ea typeface="Arial Unicode MS"/>
              </a:rPr>
              <a:t>Phasellus </a:t>
            </a:r>
            <a:br>
              <a:rPr lang="en-US" altLang="de-DE" sz="1599" b="1" dirty="0">
                <a:solidFill>
                  <a:srgbClr val="00FFB9"/>
                </a:solidFill>
                <a:ea typeface="Arial Unicode MS"/>
              </a:rPr>
            </a:br>
            <a:r>
              <a:rPr lang="en-US" altLang="de-DE" sz="1599" b="1" dirty="0">
                <a:solidFill>
                  <a:srgbClr val="00FFB9"/>
                </a:solidFill>
                <a:ea typeface="Arial Unicode MS"/>
              </a:rPr>
              <a:t>nec sem</a:t>
            </a:r>
          </a:p>
          <a:p>
            <a:pPr marL="0" lvl="1">
              <a:spcBef>
                <a:spcPts val="300"/>
              </a:spcBef>
              <a:buClr>
                <a:srgbClr val="3C464B"/>
              </a:buClr>
              <a:defRPr/>
            </a:pPr>
            <a:r>
              <a:rPr lang="en-US" altLang="de-DE" sz="1199" dirty="0">
                <a:solidFill>
                  <a:srgbClr val="9999A9"/>
                </a:solidFill>
                <a:ea typeface="Arial Unicode MS"/>
                <a:cs typeface="Arial" pitchFamily="34" charset="0"/>
              </a:rPr>
              <a:t>At vero eos et accusam</a:t>
            </a:r>
          </a:p>
        </p:txBody>
      </p:sp>
      <p:cxnSp>
        <p:nvCxnSpPr>
          <p:cNvPr id="43" name="Straight Connector 42"/>
          <p:cNvCxnSpPr>
            <a:cxnSpLocks/>
          </p:cNvCxnSpPr>
          <p:nvPr/>
        </p:nvCxnSpPr>
        <p:spPr bwMode="auto">
          <a:xfrm>
            <a:off x="10152183" y="5058883"/>
            <a:ext cx="0" cy="1117381"/>
          </a:xfrm>
          <a:prstGeom prst="line">
            <a:avLst/>
          </a:prstGeom>
          <a:solidFill>
            <a:schemeClr val="tx2"/>
          </a:solidFill>
          <a:ln w="12700" cap="flat" cmpd="sng" algn="ctr">
            <a:solidFill>
              <a:srgbClr val="9999A9"/>
            </a:solidFill>
            <a:prstDash val="solid"/>
            <a:round/>
            <a:headEnd type="oval"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4" name="Textfeld 30"/>
          <p:cNvSpPr txBox="1">
            <a:spLocks/>
          </p:cNvSpPr>
          <p:nvPr/>
        </p:nvSpPr>
        <p:spPr bwMode="gray">
          <a:xfrm>
            <a:off x="2220898" y="1415849"/>
            <a:ext cx="1710000" cy="799009"/>
          </a:xfrm>
          <a:prstGeom prst="rect">
            <a:avLst/>
          </a:prstGeom>
          <a:noFill/>
          <a:ln>
            <a:noFill/>
          </a:ln>
          <a:scene3d>
            <a:camera prst="orthographicFront">
              <a:rot lat="0" lon="0" rev="0"/>
            </a:camera>
            <a:lightRig rig="threePt" dir="t"/>
          </a:scene3d>
        </p:spPr>
        <p:txBody>
          <a:bodyPr wrap="square" lIns="143925" tIns="71963" rIns="0" bIns="72000" rtlCol="0" anchor="t" anchorCtr="0">
            <a:spAutoFit/>
          </a:bodyPr>
          <a:lstStyle/>
          <a:p>
            <a:pPr>
              <a:tabLst>
                <a:tab pos="1255085" algn="r"/>
              </a:tabLst>
              <a:defRPr/>
            </a:pPr>
            <a:r>
              <a:rPr lang="en-US" altLang="de-DE" sz="1599" b="1" dirty="0">
                <a:solidFill>
                  <a:srgbClr val="00FFB9"/>
                </a:solidFill>
                <a:ea typeface="Arial Unicode MS"/>
              </a:rPr>
              <a:t>Duis tortor</a:t>
            </a:r>
          </a:p>
          <a:p>
            <a:pPr marL="0" lvl="1">
              <a:spcBef>
                <a:spcPts val="300"/>
              </a:spcBef>
              <a:buClr>
                <a:srgbClr val="3C464B"/>
              </a:buClr>
              <a:defRPr/>
            </a:pPr>
            <a:r>
              <a:rPr lang="en-US" altLang="de-DE" sz="1199" dirty="0">
                <a:solidFill>
                  <a:srgbClr val="9999A9"/>
                </a:solidFill>
                <a:ea typeface="Arial Unicode MS"/>
                <a:cs typeface="Arial" pitchFamily="34" charset="0"/>
              </a:rPr>
              <a:t>At vero eos et accusam</a:t>
            </a:r>
          </a:p>
        </p:txBody>
      </p:sp>
      <p:cxnSp>
        <p:nvCxnSpPr>
          <p:cNvPr id="45" name="Straight Connector 44"/>
          <p:cNvCxnSpPr/>
          <p:nvPr/>
        </p:nvCxnSpPr>
        <p:spPr bwMode="auto">
          <a:xfrm>
            <a:off x="2220899" y="1415848"/>
            <a:ext cx="0" cy="1079888"/>
          </a:xfrm>
          <a:prstGeom prst="line">
            <a:avLst/>
          </a:prstGeom>
          <a:solidFill>
            <a:schemeClr val="tx2"/>
          </a:solidFill>
          <a:ln w="12700" cap="flat" cmpd="sng" algn="ctr">
            <a:solidFill>
              <a:srgbClr val="9999A9"/>
            </a:solidFill>
            <a:prstDash val="solid"/>
            <a:round/>
            <a:headEnd type="none" w="lg" len="lg"/>
            <a:tailEnd type="oval"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6" name="Textfeld 30"/>
          <p:cNvSpPr txBox="1">
            <a:spLocks/>
          </p:cNvSpPr>
          <p:nvPr/>
        </p:nvSpPr>
        <p:spPr bwMode="gray">
          <a:xfrm>
            <a:off x="5393412" y="1415849"/>
            <a:ext cx="1710000" cy="799009"/>
          </a:xfrm>
          <a:prstGeom prst="rect">
            <a:avLst/>
          </a:prstGeom>
          <a:noFill/>
          <a:ln>
            <a:noFill/>
          </a:ln>
          <a:scene3d>
            <a:camera prst="orthographicFront">
              <a:rot lat="0" lon="0" rev="0"/>
            </a:camera>
            <a:lightRig rig="threePt" dir="t"/>
          </a:scene3d>
        </p:spPr>
        <p:txBody>
          <a:bodyPr wrap="square" lIns="143925" tIns="71963" rIns="0" bIns="72000" rtlCol="0" anchor="t" anchorCtr="0">
            <a:spAutoFit/>
          </a:bodyPr>
          <a:lstStyle/>
          <a:p>
            <a:pPr>
              <a:tabLst>
                <a:tab pos="1255085" algn="r"/>
              </a:tabLst>
              <a:defRPr/>
            </a:pPr>
            <a:r>
              <a:rPr lang="en-US" altLang="de-DE" sz="1599" b="1" dirty="0">
                <a:solidFill>
                  <a:srgbClr val="00FFB9"/>
                </a:solidFill>
                <a:ea typeface="Arial Unicode MS"/>
              </a:rPr>
              <a:t>Maecenas</a:t>
            </a:r>
          </a:p>
          <a:p>
            <a:pPr marL="0" lvl="1">
              <a:spcBef>
                <a:spcPts val="300"/>
              </a:spcBef>
              <a:buClr>
                <a:srgbClr val="3C464B"/>
              </a:buClr>
              <a:defRPr/>
            </a:pPr>
            <a:r>
              <a:rPr lang="en-US" altLang="de-DE" sz="1199" dirty="0">
                <a:solidFill>
                  <a:srgbClr val="9999A9"/>
                </a:solidFill>
                <a:ea typeface="Arial Unicode MS"/>
                <a:cs typeface="Arial" pitchFamily="34" charset="0"/>
              </a:rPr>
              <a:t>Consetetur sadipscing elitr, seddiam nonumy</a:t>
            </a:r>
          </a:p>
        </p:txBody>
      </p:sp>
      <p:sp>
        <p:nvSpPr>
          <p:cNvPr id="47" name="Textfeld 30"/>
          <p:cNvSpPr txBox="1">
            <a:spLocks/>
          </p:cNvSpPr>
          <p:nvPr/>
        </p:nvSpPr>
        <p:spPr bwMode="gray">
          <a:xfrm>
            <a:off x="8565926" y="1415849"/>
            <a:ext cx="1710000" cy="1007475"/>
          </a:xfrm>
          <a:prstGeom prst="rect">
            <a:avLst/>
          </a:prstGeom>
          <a:noFill/>
          <a:ln>
            <a:noFill/>
          </a:ln>
          <a:scene3d>
            <a:camera prst="orthographicFront">
              <a:rot lat="0" lon="0" rev="0"/>
            </a:camera>
            <a:lightRig rig="threePt" dir="t"/>
          </a:scene3d>
        </p:spPr>
        <p:txBody>
          <a:bodyPr wrap="square" lIns="143925" tIns="71963" rIns="0" bIns="72000" rtlCol="0" anchor="t" anchorCtr="0">
            <a:spAutoFit/>
          </a:bodyPr>
          <a:lstStyle/>
          <a:p>
            <a:pPr>
              <a:tabLst>
                <a:tab pos="1255085" algn="r"/>
              </a:tabLst>
              <a:defRPr/>
            </a:pPr>
            <a:r>
              <a:rPr lang="en-US" altLang="de-DE" sz="1599" b="1" dirty="0">
                <a:solidFill>
                  <a:srgbClr val="00FFB9"/>
                </a:solidFill>
                <a:ea typeface="Arial Unicode MS"/>
              </a:rPr>
              <a:t>Sagittis mag</a:t>
            </a:r>
          </a:p>
          <a:p>
            <a:pPr marL="0" lvl="1">
              <a:spcBef>
                <a:spcPts val="300"/>
              </a:spcBef>
              <a:buClr>
                <a:srgbClr val="3C464B"/>
              </a:buClr>
              <a:defRPr/>
            </a:pPr>
            <a:r>
              <a:rPr lang="en-US" altLang="de-DE" sz="1199" dirty="0">
                <a:solidFill>
                  <a:srgbClr val="9999A9"/>
                </a:solidFill>
                <a:ea typeface="Arial Unicode MS"/>
                <a:cs typeface="Arial" pitchFamily="34" charset="0"/>
              </a:rPr>
              <a:t>Stet clita kasd gubergren, no sea takimata sanctus</a:t>
            </a:r>
          </a:p>
        </p:txBody>
      </p:sp>
      <p:cxnSp>
        <p:nvCxnSpPr>
          <p:cNvPr id="49" name="Straight Connector 48"/>
          <p:cNvCxnSpPr/>
          <p:nvPr/>
        </p:nvCxnSpPr>
        <p:spPr bwMode="auto">
          <a:xfrm>
            <a:off x="8565927" y="1415848"/>
            <a:ext cx="0" cy="1079888"/>
          </a:xfrm>
          <a:prstGeom prst="line">
            <a:avLst/>
          </a:prstGeom>
          <a:solidFill>
            <a:schemeClr val="tx2"/>
          </a:solidFill>
          <a:ln w="12700" cap="flat" cmpd="sng" algn="ctr">
            <a:solidFill>
              <a:srgbClr val="9999A9"/>
            </a:solidFill>
            <a:prstDash val="solid"/>
            <a:round/>
            <a:headEnd type="none" w="lg" len="lg"/>
            <a:tailEnd type="oval"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50" name="Rechteck 3"/>
          <p:cNvSpPr/>
          <p:nvPr/>
        </p:nvSpPr>
        <p:spPr bwMode="auto">
          <a:xfrm>
            <a:off x="410400" y="3417496"/>
            <a:ext cx="11376788" cy="719625"/>
          </a:xfrm>
          <a:prstGeom prst="homePlate">
            <a:avLst>
              <a:gd name="adj" fmla="val 42137"/>
            </a:avLst>
          </a:prstGeom>
          <a:solidFill>
            <a:schemeClr val="accent2"/>
          </a:solidFill>
          <a:ln w="38100">
            <a:solidFill>
              <a:schemeClr val="bg2"/>
            </a:solidFill>
          </a:ln>
          <a:effectLst/>
        </p:spPr>
        <p:txBody>
          <a:bodyPr vert="horz" lIns="0" tIns="0" rIns="0" bIns="0" anchor="ctr"/>
          <a:lstStyle/>
          <a:p>
            <a:pPr algn="ctr">
              <a:tabLst>
                <a:tab pos="1080547" algn="l"/>
              </a:tabLst>
            </a:pPr>
            <a:r>
              <a:rPr lang="en-US" sz="1799" b="1" dirty="0">
                <a:solidFill>
                  <a:schemeClr val="bg2"/>
                </a:solidFill>
                <a:cs typeface="Arial" pitchFamily="34" charset="0"/>
              </a:rPr>
              <a:t>Duis arcu tortor, suscipit eget</a:t>
            </a:r>
          </a:p>
        </p:txBody>
      </p:sp>
      <p:sp>
        <p:nvSpPr>
          <p:cNvPr id="22" name="Oval 21">
            <a:extLst>
              <a:ext uri="{FF2B5EF4-FFF2-40B4-BE49-F238E27FC236}">
                <a16:creationId xmlns:a16="http://schemas.microsoft.com/office/drawing/2014/main" id="{4BB1B78D-D37E-4AFA-960D-ED712CFD5A6E}"/>
              </a:ext>
            </a:extLst>
          </p:cNvPr>
          <p:cNvSpPr/>
          <p:nvPr/>
        </p:nvSpPr>
        <p:spPr bwMode="auto">
          <a:xfrm>
            <a:off x="5287458" y="2394093"/>
            <a:ext cx="208791" cy="208791"/>
          </a:xfrm>
          <a:prstGeom prst="ellipse">
            <a:avLst/>
          </a:prstGeom>
          <a:solidFill>
            <a:schemeClr val="bg2"/>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cxnSp>
        <p:nvCxnSpPr>
          <p:cNvPr id="48" name="Straight Connector 47"/>
          <p:cNvCxnSpPr/>
          <p:nvPr/>
        </p:nvCxnSpPr>
        <p:spPr bwMode="auto">
          <a:xfrm>
            <a:off x="5393413" y="1415848"/>
            <a:ext cx="0" cy="1079888"/>
          </a:xfrm>
          <a:prstGeom prst="line">
            <a:avLst/>
          </a:prstGeom>
          <a:solidFill>
            <a:schemeClr val="tx2"/>
          </a:solidFill>
          <a:ln w="12700" cap="flat" cmpd="sng" algn="ctr">
            <a:solidFill>
              <a:srgbClr val="9999A9"/>
            </a:solidFill>
            <a:prstDash val="solid"/>
            <a:round/>
            <a:headEnd type="none" w="lg" len="lg"/>
            <a:tailEnd type="oval"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 name="Footer Placeholder 2">
            <a:extLst>
              <a:ext uri="{FF2B5EF4-FFF2-40B4-BE49-F238E27FC236}">
                <a16:creationId xmlns:a16="http://schemas.microsoft.com/office/drawing/2014/main" id="{B7C7D6F6-B46A-417C-99AD-76F36EC4C25D}"/>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5" name="Slide Number Placeholder 4">
            <a:extLst>
              <a:ext uri="{FF2B5EF4-FFF2-40B4-BE49-F238E27FC236}">
                <a16:creationId xmlns:a16="http://schemas.microsoft.com/office/drawing/2014/main" id="{EE487A6A-F1B3-43D9-A966-9A337C9DC2F5}"/>
              </a:ext>
            </a:extLst>
          </p:cNvPr>
          <p:cNvSpPr>
            <a:spLocks noGrp="1"/>
          </p:cNvSpPr>
          <p:nvPr>
            <p:ph type="sldNum" sz="quarter" idx="11"/>
          </p:nvPr>
        </p:nvSpPr>
        <p:spPr/>
        <p:txBody>
          <a:bodyPr/>
          <a:lstStyle/>
          <a:p>
            <a:r>
              <a:rPr lang="en-US" dirty="0"/>
              <a:t>Page </a:t>
            </a:r>
            <a:fld id="{15EBE321-CBB1-4E91-BD14-37C8D44326FB}" type="slidenum">
              <a:rPr lang="en-US" smtClean="0"/>
              <a:pPr/>
              <a:t>127</a:t>
            </a:fld>
            <a:endParaRPr lang="en-US" dirty="0"/>
          </a:p>
        </p:txBody>
      </p:sp>
    </p:spTree>
    <p:extLst>
      <p:ext uri="{BB962C8B-B14F-4D97-AF65-F5344CB8AC3E}">
        <p14:creationId xmlns:p14="http://schemas.microsoft.com/office/powerpoint/2010/main" val="1216055495"/>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10400" y="478800"/>
            <a:ext cx="9863997" cy="576000"/>
          </a:xfrm>
        </p:spPr>
        <p:txBody>
          <a:bodyPr/>
          <a:lstStyle/>
          <a:p>
            <a:r>
              <a:rPr lang="en-US" dirty="0"/>
              <a:t>Helix (vertical) – ribbon</a:t>
            </a:r>
          </a:p>
        </p:txBody>
      </p:sp>
      <p:cxnSp>
        <p:nvCxnSpPr>
          <p:cNvPr id="123" name="Gerade Verbindung 122"/>
          <p:cNvCxnSpPr/>
          <p:nvPr/>
        </p:nvCxnSpPr>
        <p:spPr bwMode="gray">
          <a:xfrm flipH="1">
            <a:off x="410400" y="1848587"/>
            <a:ext cx="3744000" cy="0"/>
          </a:xfrm>
          <a:prstGeom prst="line">
            <a:avLst/>
          </a:prstGeom>
          <a:solidFill>
            <a:schemeClr val="tx2"/>
          </a:solidFill>
          <a:ln w="12700" cap="flat" cmpd="sng" algn="ctr">
            <a:solidFill>
              <a:srgbClr val="66667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24" name="Rechteck 28"/>
          <p:cNvSpPr/>
          <p:nvPr/>
        </p:nvSpPr>
        <p:spPr bwMode="gray">
          <a:xfrm>
            <a:off x="410400" y="1847624"/>
            <a:ext cx="2158876" cy="983547"/>
          </a:xfrm>
          <a:prstGeom prst="rect">
            <a:avLst/>
          </a:prstGeom>
          <a:noFill/>
          <a:ln w="19050">
            <a:noFill/>
            <a:miter lim="800000"/>
          </a:ln>
          <a:effectLst/>
        </p:spPr>
        <p:txBody>
          <a:bodyPr wrap="square" lIns="0" tIns="71963" rIns="0" bIns="72000" numCol="1" spcCol="72000" rtlCol="0" anchor="t" anchorCtr="0">
            <a:spAutoFit/>
          </a:bodyPr>
          <a:lstStyle/>
          <a:p>
            <a:pPr>
              <a:tabLst>
                <a:tab pos="1255085" algn="r"/>
              </a:tabLst>
              <a:defRPr/>
            </a:pPr>
            <a:r>
              <a:rPr lang="en-US" altLang="de-DE" sz="1599" b="1" dirty="0">
                <a:solidFill>
                  <a:schemeClr val="accent1"/>
                </a:solidFill>
                <a:ea typeface="Arial Unicode MS"/>
              </a:rPr>
              <a:t>Duis arcu tortor</a:t>
            </a:r>
          </a:p>
          <a:p>
            <a:pPr marL="0" lvl="1">
              <a:spcBef>
                <a:spcPts val="300"/>
              </a:spcBef>
              <a:buClr>
                <a:srgbClr val="3C464B"/>
              </a:buClr>
              <a:tabLst>
                <a:tab pos="1255085" algn="r"/>
              </a:tabLst>
              <a:defRPr/>
            </a:pPr>
            <a:r>
              <a:rPr lang="en-US" altLang="de-DE" sz="1199" dirty="0">
                <a:solidFill>
                  <a:srgbClr val="66667E"/>
                </a:solidFill>
                <a:ea typeface="Arial Unicode MS"/>
                <a:cs typeface="Arial" pitchFamily="34" charset="0"/>
              </a:rPr>
              <a:t>Stet clita kasd gubergren, no sea takimata sanctus est lorem ipsum dolor sit amet</a:t>
            </a:r>
          </a:p>
        </p:txBody>
      </p:sp>
      <p:cxnSp>
        <p:nvCxnSpPr>
          <p:cNvPr id="126" name="Gerade Verbindung 125"/>
          <p:cNvCxnSpPr/>
          <p:nvPr/>
        </p:nvCxnSpPr>
        <p:spPr bwMode="gray">
          <a:xfrm flipH="1">
            <a:off x="410400" y="3287454"/>
            <a:ext cx="3744000" cy="0"/>
          </a:xfrm>
          <a:prstGeom prst="line">
            <a:avLst/>
          </a:prstGeom>
          <a:solidFill>
            <a:schemeClr val="tx2"/>
          </a:solidFill>
          <a:ln w="12700" cap="flat" cmpd="sng" algn="ctr">
            <a:solidFill>
              <a:srgbClr val="66667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27" name="Rechteck 28"/>
          <p:cNvSpPr/>
          <p:nvPr/>
        </p:nvSpPr>
        <p:spPr bwMode="gray">
          <a:xfrm>
            <a:off x="410400" y="3286874"/>
            <a:ext cx="2158876" cy="983547"/>
          </a:xfrm>
          <a:prstGeom prst="rect">
            <a:avLst/>
          </a:prstGeom>
          <a:noFill/>
          <a:ln w="19050">
            <a:noFill/>
            <a:miter lim="800000"/>
          </a:ln>
          <a:effectLst/>
        </p:spPr>
        <p:txBody>
          <a:bodyPr wrap="square" lIns="0" tIns="71963" rIns="0" bIns="72000" numCol="1" spcCol="72000" rtlCol="0" anchor="t" anchorCtr="0">
            <a:spAutoFit/>
          </a:bodyPr>
          <a:lstStyle/>
          <a:p>
            <a:pPr>
              <a:tabLst>
                <a:tab pos="1255085" algn="r"/>
              </a:tabLst>
              <a:defRPr/>
            </a:pPr>
            <a:r>
              <a:rPr lang="en-US" altLang="de-DE" sz="1599" b="1" dirty="0">
                <a:solidFill>
                  <a:schemeClr val="accent1"/>
                </a:solidFill>
                <a:ea typeface="Arial Unicode MS"/>
              </a:rPr>
              <a:t>Cras ultricies mi eu</a:t>
            </a:r>
          </a:p>
          <a:p>
            <a:pPr marL="0" lvl="1">
              <a:spcBef>
                <a:spcPts val="300"/>
              </a:spcBef>
              <a:buClr>
                <a:srgbClr val="3C464B"/>
              </a:buClr>
              <a:tabLst>
                <a:tab pos="1255085" algn="r"/>
              </a:tabLst>
              <a:defRPr/>
            </a:pPr>
            <a:r>
              <a:rPr lang="en-US" altLang="de-DE" sz="1199" dirty="0">
                <a:solidFill>
                  <a:srgbClr val="66667E"/>
                </a:solidFill>
                <a:ea typeface="Arial Unicode MS"/>
                <a:cs typeface="Arial" pitchFamily="34" charset="0"/>
              </a:rPr>
              <a:t>Phasellus nec sem</a:t>
            </a:r>
            <a:br>
              <a:rPr lang="en-US" altLang="de-DE" sz="1199" dirty="0">
                <a:solidFill>
                  <a:srgbClr val="66667E"/>
                </a:solidFill>
                <a:ea typeface="Arial Unicode MS"/>
                <a:cs typeface="Arial" pitchFamily="34" charset="0"/>
              </a:rPr>
            </a:br>
            <a:r>
              <a:rPr lang="en-US" altLang="de-DE" sz="1199" dirty="0">
                <a:solidFill>
                  <a:srgbClr val="66667E"/>
                </a:solidFill>
                <a:ea typeface="Arial Unicode MS"/>
                <a:cs typeface="Arial" pitchFamily="34" charset="0"/>
              </a:rPr>
              <a:t>Donec sodales sagittis magna</a:t>
            </a:r>
            <a:br>
              <a:rPr lang="en-US" altLang="de-DE" sz="1199" dirty="0">
                <a:solidFill>
                  <a:srgbClr val="66667E"/>
                </a:solidFill>
                <a:ea typeface="Arial Unicode MS"/>
                <a:cs typeface="Arial" pitchFamily="34" charset="0"/>
              </a:rPr>
            </a:br>
            <a:r>
              <a:rPr lang="en-US" altLang="de-DE" sz="1199" dirty="0">
                <a:solidFill>
                  <a:srgbClr val="66667E"/>
                </a:solidFill>
                <a:ea typeface="Arial Unicode MS"/>
                <a:cs typeface="Arial" pitchFamily="34" charset="0"/>
              </a:rPr>
              <a:t>Maecenas nec odio</a:t>
            </a:r>
          </a:p>
        </p:txBody>
      </p:sp>
      <p:cxnSp>
        <p:nvCxnSpPr>
          <p:cNvPr id="128" name="Gerade Verbindung 127"/>
          <p:cNvCxnSpPr/>
          <p:nvPr/>
        </p:nvCxnSpPr>
        <p:spPr bwMode="gray">
          <a:xfrm flipH="1">
            <a:off x="410400" y="4726320"/>
            <a:ext cx="3744000" cy="0"/>
          </a:xfrm>
          <a:prstGeom prst="line">
            <a:avLst/>
          </a:prstGeom>
          <a:solidFill>
            <a:schemeClr val="tx2"/>
          </a:solidFill>
          <a:ln w="12700" cap="flat" cmpd="sng" algn="ctr">
            <a:solidFill>
              <a:srgbClr val="66667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29" name="Rechteck 28"/>
          <p:cNvSpPr/>
          <p:nvPr/>
        </p:nvSpPr>
        <p:spPr bwMode="gray">
          <a:xfrm>
            <a:off x="410400" y="4727099"/>
            <a:ext cx="2158876" cy="1079438"/>
          </a:xfrm>
          <a:prstGeom prst="rect">
            <a:avLst/>
          </a:prstGeom>
          <a:noFill/>
          <a:ln w="19050">
            <a:noFill/>
            <a:miter lim="800000"/>
          </a:ln>
          <a:effectLst/>
        </p:spPr>
        <p:txBody>
          <a:bodyPr wrap="square" lIns="0" tIns="71963" rIns="0" bIns="72000" numCol="1" spcCol="72000" rtlCol="0" anchor="t" anchorCtr="0">
            <a:spAutoFit/>
          </a:bodyPr>
          <a:lstStyle/>
          <a:p>
            <a:pPr>
              <a:tabLst>
                <a:tab pos="1255085" algn="r"/>
              </a:tabLst>
              <a:defRPr/>
            </a:pPr>
            <a:r>
              <a:rPr lang="en-US" altLang="de-DE" sz="1599" b="1" dirty="0">
                <a:solidFill>
                  <a:schemeClr val="accent1"/>
                </a:solidFill>
                <a:ea typeface="Arial Unicode MS"/>
              </a:rPr>
              <a:t>Duis arcu tortor, suscipit eget</a:t>
            </a:r>
          </a:p>
          <a:p>
            <a:pPr marL="0" lvl="1">
              <a:spcBef>
                <a:spcPts val="300"/>
              </a:spcBef>
              <a:buClr>
                <a:srgbClr val="3C464B"/>
              </a:buClr>
              <a:tabLst>
                <a:tab pos="1255085" algn="r"/>
              </a:tabLst>
              <a:defRPr/>
            </a:pPr>
            <a:r>
              <a:rPr lang="en-US" altLang="de-DE" sz="1199" dirty="0">
                <a:solidFill>
                  <a:srgbClr val="66667E"/>
                </a:solidFill>
                <a:ea typeface="Arial Unicode MS"/>
                <a:cs typeface="Arial" pitchFamily="34" charset="0"/>
              </a:rPr>
              <a:t>Consetetur sadipscing elitr, seddiam nonumy</a:t>
            </a:r>
          </a:p>
        </p:txBody>
      </p:sp>
      <p:sp>
        <p:nvSpPr>
          <p:cNvPr id="135" name="Rechteck 28"/>
          <p:cNvSpPr/>
          <p:nvPr/>
        </p:nvSpPr>
        <p:spPr bwMode="gray">
          <a:xfrm flipH="1">
            <a:off x="9627524" y="2207436"/>
            <a:ext cx="2158876" cy="983547"/>
          </a:xfrm>
          <a:prstGeom prst="rect">
            <a:avLst/>
          </a:prstGeom>
          <a:noFill/>
          <a:ln w="19050">
            <a:noFill/>
            <a:miter lim="800000"/>
          </a:ln>
          <a:effectLst/>
        </p:spPr>
        <p:txBody>
          <a:bodyPr wrap="square" lIns="0" tIns="71963" rIns="0" bIns="72000" numCol="1" spcCol="72000" rtlCol="0" anchor="t" anchorCtr="0">
            <a:spAutoFit/>
          </a:bodyPr>
          <a:lstStyle/>
          <a:p>
            <a:pPr algn="r">
              <a:tabLst>
                <a:tab pos="1255085" algn="r"/>
              </a:tabLst>
              <a:defRPr/>
            </a:pPr>
            <a:r>
              <a:rPr lang="en-US" altLang="de-DE" sz="1599" b="1" dirty="0">
                <a:solidFill>
                  <a:schemeClr val="accent1"/>
                </a:solidFill>
                <a:ea typeface="Arial Unicode MS"/>
              </a:rPr>
              <a:t>Phasellus nec sem</a:t>
            </a:r>
          </a:p>
          <a:p>
            <a:pPr marL="0" lvl="1" algn="r">
              <a:spcBef>
                <a:spcPts val="300"/>
              </a:spcBef>
              <a:buClr>
                <a:srgbClr val="3C464B"/>
              </a:buClr>
              <a:tabLst>
                <a:tab pos="1255085" algn="r"/>
              </a:tabLst>
              <a:defRPr/>
            </a:pPr>
            <a:r>
              <a:rPr lang="en-US" altLang="de-DE" sz="1199" dirty="0">
                <a:solidFill>
                  <a:srgbClr val="66667E"/>
                </a:solidFill>
                <a:ea typeface="Arial Unicode MS"/>
                <a:cs typeface="Arial" pitchFamily="34" charset="0"/>
              </a:rPr>
              <a:t>Stet clita kasd gubergren, no sea takimata sanctus est lorem ipsum dolor sit amet</a:t>
            </a:r>
          </a:p>
        </p:txBody>
      </p:sp>
      <p:cxnSp>
        <p:nvCxnSpPr>
          <p:cNvPr id="136" name="Gerade Verbindung 135"/>
          <p:cNvCxnSpPr/>
          <p:nvPr/>
        </p:nvCxnSpPr>
        <p:spPr bwMode="gray">
          <a:xfrm>
            <a:off x="8042400" y="3647170"/>
            <a:ext cx="3744000" cy="0"/>
          </a:xfrm>
          <a:prstGeom prst="line">
            <a:avLst/>
          </a:prstGeom>
          <a:solidFill>
            <a:schemeClr val="tx2"/>
          </a:solidFill>
          <a:ln w="12700" cap="flat" cmpd="sng" algn="ctr">
            <a:solidFill>
              <a:srgbClr val="66667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37" name="Rechteck 28"/>
          <p:cNvSpPr/>
          <p:nvPr/>
        </p:nvSpPr>
        <p:spPr bwMode="gray">
          <a:xfrm flipH="1">
            <a:off x="9627524" y="3646687"/>
            <a:ext cx="2158876" cy="983547"/>
          </a:xfrm>
          <a:prstGeom prst="rect">
            <a:avLst/>
          </a:prstGeom>
          <a:noFill/>
          <a:ln w="19050">
            <a:noFill/>
            <a:miter lim="800000"/>
          </a:ln>
          <a:effectLst/>
        </p:spPr>
        <p:txBody>
          <a:bodyPr wrap="square" lIns="0" tIns="71963" rIns="0" bIns="72000" numCol="1" spcCol="72000" rtlCol="0" anchor="t" anchorCtr="0">
            <a:spAutoFit/>
          </a:bodyPr>
          <a:lstStyle/>
          <a:p>
            <a:pPr algn="r">
              <a:tabLst>
                <a:tab pos="1255085" algn="r"/>
              </a:tabLst>
              <a:defRPr/>
            </a:pPr>
            <a:r>
              <a:rPr lang="en-US" altLang="de-DE" sz="1599" b="1" dirty="0">
                <a:solidFill>
                  <a:schemeClr val="accent1"/>
                </a:solidFill>
                <a:ea typeface="Arial Unicode MS"/>
              </a:rPr>
              <a:t>Cras ultricies mi eu</a:t>
            </a:r>
          </a:p>
          <a:p>
            <a:pPr marL="0" lvl="1" algn="r">
              <a:spcBef>
                <a:spcPts val="300"/>
              </a:spcBef>
              <a:buClr>
                <a:srgbClr val="3C464B"/>
              </a:buClr>
              <a:tabLst>
                <a:tab pos="1255085" algn="r"/>
              </a:tabLst>
              <a:defRPr/>
            </a:pPr>
            <a:r>
              <a:rPr lang="en-US" altLang="de-DE" sz="1199" dirty="0">
                <a:solidFill>
                  <a:srgbClr val="66667E"/>
                </a:solidFill>
                <a:ea typeface="Arial Unicode MS"/>
                <a:cs typeface="Arial" pitchFamily="34" charset="0"/>
              </a:rPr>
              <a:t>Phasellus nec sem</a:t>
            </a:r>
            <a:br>
              <a:rPr lang="en-US" altLang="de-DE" sz="1199" dirty="0">
                <a:solidFill>
                  <a:srgbClr val="66667E"/>
                </a:solidFill>
                <a:ea typeface="Arial Unicode MS"/>
                <a:cs typeface="Arial" pitchFamily="34" charset="0"/>
              </a:rPr>
            </a:br>
            <a:r>
              <a:rPr lang="en-US" altLang="de-DE" sz="1199" dirty="0">
                <a:solidFill>
                  <a:srgbClr val="66667E"/>
                </a:solidFill>
                <a:ea typeface="Arial Unicode MS"/>
                <a:cs typeface="Arial" pitchFamily="34" charset="0"/>
              </a:rPr>
              <a:t>Maecenas nec odio</a:t>
            </a:r>
            <a:br>
              <a:rPr lang="en-US" altLang="de-DE" sz="1199" dirty="0">
                <a:solidFill>
                  <a:srgbClr val="66667E"/>
                </a:solidFill>
                <a:ea typeface="Arial Unicode MS"/>
                <a:cs typeface="Arial" pitchFamily="34" charset="0"/>
              </a:rPr>
            </a:br>
            <a:r>
              <a:rPr lang="en-US" altLang="de-DE" sz="1199" dirty="0">
                <a:solidFill>
                  <a:srgbClr val="66667E"/>
                </a:solidFill>
                <a:ea typeface="Arial Unicode MS"/>
                <a:cs typeface="Arial" pitchFamily="34" charset="0"/>
              </a:rPr>
              <a:t>Phasellus nec sem</a:t>
            </a:r>
          </a:p>
        </p:txBody>
      </p:sp>
      <p:cxnSp>
        <p:nvCxnSpPr>
          <p:cNvPr id="138" name="Gerade Verbindung 137"/>
          <p:cNvCxnSpPr/>
          <p:nvPr/>
        </p:nvCxnSpPr>
        <p:spPr bwMode="gray">
          <a:xfrm>
            <a:off x="8042400" y="5086037"/>
            <a:ext cx="3744000" cy="0"/>
          </a:xfrm>
          <a:prstGeom prst="line">
            <a:avLst/>
          </a:prstGeom>
          <a:solidFill>
            <a:schemeClr val="tx2"/>
          </a:solidFill>
          <a:ln w="12700" cap="flat" cmpd="sng" algn="ctr">
            <a:solidFill>
              <a:srgbClr val="66667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39" name="Rechteck 28"/>
          <p:cNvSpPr/>
          <p:nvPr/>
        </p:nvSpPr>
        <p:spPr bwMode="gray">
          <a:xfrm flipH="1">
            <a:off x="9627524" y="5087104"/>
            <a:ext cx="2158876" cy="1079438"/>
          </a:xfrm>
          <a:prstGeom prst="rect">
            <a:avLst/>
          </a:prstGeom>
          <a:noFill/>
          <a:ln w="19050">
            <a:noFill/>
            <a:miter lim="800000"/>
          </a:ln>
          <a:effectLst/>
        </p:spPr>
        <p:txBody>
          <a:bodyPr wrap="square" lIns="0" tIns="71963" rIns="0" bIns="72000" numCol="1" spcCol="72000" rtlCol="0" anchor="t" anchorCtr="0">
            <a:spAutoFit/>
          </a:bodyPr>
          <a:lstStyle/>
          <a:p>
            <a:pPr algn="r">
              <a:tabLst>
                <a:tab pos="1255085" algn="r"/>
              </a:tabLst>
              <a:defRPr/>
            </a:pPr>
            <a:r>
              <a:rPr lang="en-US" altLang="de-DE" sz="1599" b="1" dirty="0">
                <a:solidFill>
                  <a:schemeClr val="accent1"/>
                </a:solidFill>
                <a:ea typeface="Arial Unicode MS"/>
              </a:rPr>
              <a:t>Duis arcu tortor, suscipit eget</a:t>
            </a:r>
          </a:p>
          <a:p>
            <a:pPr marL="0" lvl="1" algn="r">
              <a:spcBef>
                <a:spcPts val="300"/>
              </a:spcBef>
              <a:buClr>
                <a:srgbClr val="3C464B"/>
              </a:buClr>
              <a:tabLst>
                <a:tab pos="1255085" algn="r"/>
              </a:tabLst>
              <a:defRPr/>
            </a:pPr>
            <a:r>
              <a:rPr lang="en-US" altLang="de-DE" sz="1199" dirty="0">
                <a:solidFill>
                  <a:srgbClr val="66667E"/>
                </a:solidFill>
                <a:ea typeface="Arial Unicode MS"/>
                <a:cs typeface="Arial" pitchFamily="34" charset="0"/>
              </a:rPr>
              <a:t>Maecenas nec odio</a:t>
            </a:r>
            <a:br>
              <a:rPr lang="en-US" altLang="de-DE" sz="1199" dirty="0">
                <a:solidFill>
                  <a:srgbClr val="66667E"/>
                </a:solidFill>
                <a:ea typeface="Arial Unicode MS"/>
                <a:cs typeface="Arial" pitchFamily="34" charset="0"/>
              </a:rPr>
            </a:br>
            <a:r>
              <a:rPr lang="en-US" altLang="de-DE" sz="1199" dirty="0">
                <a:solidFill>
                  <a:srgbClr val="66667E"/>
                </a:solidFill>
                <a:ea typeface="Arial Unicode MS"/>
                <a:cs typeface="Arial" pitchFamily="34" charset="0"/>
              </a:rPr>
              <a:t>Donec sodales sagittis magna</a:t>
            </a:r>
          </a:p>
        </p:txBody>
      </p:sp>
      <p:cxnSp>
        <p:nvCxnSpPr>
          <p:cNvPr id="63" name="Gerade Verbindung 133"/>
          <p:cNvCxnSpPr/>
          <p:nvPr/>
        </p:nvCxnSpPr>
        <p:spPr bwMode="gray">
          <a:xfrm>
            <a:off x="8042400" y="2208304"/>
            <a:ext cx="3744000" cy="0"/>
          </a:xfrm>
          <a:prstGeom prst="line">
            <a:avLst/>
          </a:prstGeom>
          <a:solidFill>
            <a:schemeClr val="tx2"/>
          </a:solidFill>
          <a:ln w="12700" cap="flat" cmpd="sng" algn="ctr">
            <a:solidFill>
              <a:srgbClr val="66667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 name="Footer Placeholder 2">
            <a:extLst>
              <a:ext uri="{FF2B5EF4-FFF2-40B4-BE49-F238E27FC236}">
                <a16:creationId xmlns:a16="http://schemas.microsoft.com/office/drawing/2014/main" id="{1E7B828D-C0E9-4B95-807D-12ECEEEFF8CA}"/>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A18E083E-FEC9-4331-AFF3-008ACC698410}"/>
              </a:ext>
            </a:extLst>
          </p:cNvPr>
          <p:cNvSpPr>
            <a:spLocks noGrp="1"/>
          </p:cNvSpPr>
          <p:nvPr>
            <p:ph type="sldNum" sz="quarter" idx="11"/>
          </p:nvPr>
        </p:nvSpPr>
        <p:spPr/>
        <p:txBody>
          <a:bodyPr/>
          <a:lstStyle/>
          <a:p>
            <a:r>
              <a:rPr lang="en-US" dirty="0"/>
              <a:t>Page </a:t>
            </a:r>
            <a:fld id="{15EBE321-CBB1-4E91-BD14-37C8D44326FB}" type="slidenum">
              <a:rPr lang="en-US" smtClean="0"/>
              <a:pPr/>
              <a:t>128</a:t>
            </a:fld>
            <a:endParaRPr lang="en-US" dirty="0"/>
          </a:p>
        </p:txBody>
      </p:sp>
      <p:grpSp>
        <p:nvGrpSpPr>
          <p:cNvPr id="30" name="Group 29">
            <a:extLst>
              <a:ext uri="{FF2B5EF4-FFF2-40B4-BE49-F238E27FC236}">
                <a16:creationId xmlns:a16="http://schemas.microsoft.com/office/drawing/2014/main" id="{6AC9A280-BFC9-41EC-BC29-4B95D13F8372}"/>
              </a:ext>
            </a:extLst>
          </p:cNvPr>
          <p:cNvGrpSpPr/>
          <p:nvPr/>
        </p:nvGrpSpPr>
        <p:grpSpPr>
          <a:xfrm>
            <a:off x="4299337" y="1414465"/>
            <a:ext cx="3598126" cy="4392266"/>
            <a:chOff x="4299174" y="1872000"/>
            <a:chExt cx="3600000" cy="4321168"/>
          </a:xfrm>
        </p:grpSpPr>
        <p:grpSp>
          <p:nvGrpSpPr>
            <p:cNvPr id="31" name="Group 30">
              <a:extLst>
                <a:ext uri="{FF2B5EF4-FFF2-40B4-BE49-F238E27FC236}">
                  <a16:creationId xmlns:a16="http://schemas.microsoft.com/office/drawing/2014/main" id="{AA6BF50D-CD0E-4647-BF15-5E2BE368077F}"/>
                </a:ext>
              </a:extLst>
            </p:cNvPr>
            <p:cNvGrpSpPr/>
            <p:nvPr/>
          </p:nvGrpSpPr>
          <p:grpSpPr>
            <a:xfrm flipH="1">
              <a:off x="4299174" y="2232000"/>
              <a:ext cx="3600000" cy="3601168"/>
              <a:chOff x="7126281" y="2592000"/>
              <a:chExt cx="3600000" cy="3601168"/>
            </a:xfrm>
            <a:solidFill>
              <a:srgbClr val="3C464B"/>
            </a:solidFill>
          </p:grpSpPr>
          <p:sp>
            <p:nvSpPr>
              <p:cNvPr id="38" name="Freeform 56">
                <a:extLst>
                  <a:ext uri="{FF2B5EF4-FFF2-40B4-BE49-F238E27FC236}">
                    <a16:creationId xmlns:a16="http://schemas.microsoft.com/office/drawing/2014/main" id="{DF6717E1-1992-479C-B3C8-D2FD3187B39A}"/>
                  </a:ext>
                </a:extLst>
              </p:cNvPr>
              <p:cNvSpPr/>
              <p:nvPr/>
            </p:nvSpPr>
            <p:spPr bwMode="auto">
              <a:xfrm>
                <a:off x="7126281" y="5472975"/>
                <a:ext cx="3600000" cy="720193"/>
              </a:xfrm>
              <a:custGeom>
                <a:avLst/>
                <a:gdLst>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944463 w 3600000"/>
                  <a:gd name="connsiteY9" fmla="*/ 360193 h 720193"/>
                  <a:gd name="connsiteX10" fmla="*/ 1944463 w 3600000"/>
                  <a:gd name="connsiteY10" fmla="*/ 360000 h 720193"/>
                  <a:gd name="connsiteX11" fmla="*/ 1151910 w 3600000"/>
                  <a:gd name="connsiteY11" fmla="*/ 36000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944463 w 3600000"/>
                  <a:gd name="connsiteY9" fmla="*/ 360193 h 720193"/>
                  <a:gd name="connsiteX10" fmla="*/ 1151910 w 3600000"/>
                  <a:gd name="connsiteY10" fmla="*/ 360000 h 720193"/>
                  <a:gd name="connsiteX11" fmla="*/ 1151910 w 3600000"/>
                  <a:gd name="connsiteY11" fmla="*/ 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151910 w 3600000"/>
                  <a:gd name="connsiteY9" fmla="*/ 360000 h 720193"/>
                  <a:gd name="connsiteX10" fmla="*/ 1151910 w 3600000"/>
                  <a:gd name="connsiteY10" fmla="*/ 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151910 w 3600000"/>
                  <a:gd name="connsiteY9" fmla="*/ 0 h 720193"/>
                  <a:gd name="connsiteX0" fmla="*/ 0 w 3600000"/>
                  <a:gd name="connsiteY0" fmla="*/ 360193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376080 w 3600000"/>
                  <a:gd name="connsiteY3" fmla="*/ 360000 h 720193"/>
                  <a:gd name="connsiteX4" fmla="*/ 2736130 w 3600000"/>
                  <a:gd name="connsiteY4" fmla="*/ 360193 h 720193"/>
                  <a:gd name="connsiteX5" fmla="*/ 2736130 w 3600000"/>
                  <a:gd name="connsiteY5" fmla="*/ 720193 h 720193"/>
                  <a:gd name="connsiteX6" fmla="*/ 0 w 3600000"/>
                  <a:gd name="connsiteY6" fmla="*/ 720193 h 720193"/>
                  <a:gd name="connsiteX7" fmla="*/ 0 w 3600000"/>
                  <a:gd name="connsiteY7"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736130 w 3600000"/>
                  <a:gd name="connsiteY3" fmla="*/ 360193 h 720193"/>
                  <a:gd name="connsiteX4" fmla="*/ 2736130 w 3600000"/>
                  <a:gd name="connsiteY4" fmla="*/ 720193 h 720193"/>
                  <a:gd name="connsiteX5" fmla="*/ 0 w 3600000"/>
                  <a:gd name="connsiteY5" fmla="*/ 720193 h 720193"/>
                  <a:gd name="connsiteX6" fmla="*/ 0 w 3600000"/>
                  <a:gd name="connsiteY6"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736130 w 3600000"/>
                  <a:gd name="connsiteY3" fmla="*/ 720193 h 720193"/>
                  <a:gd name="connsiteX4" fmla="*/ 0 w 3600000"/>
                  <a:gd name="connsiteY4" fmla="*/ 720193 h 720193"/>
                  <a:gd name="connsiteX5" fmla="*/ 0 w 3600000"/>
                  <a:gd name="connsiteY5"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0 w 3600000"/>
                  <a:gd name="connsiteY3" fmla="*/ 720193 h 720193"/>
                  <a:gd name="connsiteX4" fmla="*/ 0 w 3600000"/>
                  <a:gd name="connsiteY4" fmla="*/ 360193 h 720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0000" h="720193">
                    <a:moveTo>
                      <a:pt x="0" y="360193"/>
                    </a:moveTo>
                    <a:lnTo>
                      <a:pt x="3600000" y="0"/>
                    </a:lnTo>
                    <a:lnTo>
                      <a:pt x="3600000" y="360000"/>
                    </a:lnTo>
                    <a:lnTo>
                      <a:pt x="0" y="720193"/>
                    </a:lnTo>
                    <a:lnTo>
                      <a:pt x="0" y="360193"/>
                    </a:lnTo>
                    <a:close/>
                  </a:path>
                </a:pathLst>
              </a:custGeom>
              <a:solidFill>
                <a:srgbClr val="33335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39" name="Freeform 57">
                <a:extLst>
                  <a:ext uri="{FF2B5EF4-FFF2-40B4-BE49-F238E27FC236}">
                    <a16:creationId xmlns:a16="http://schemas.microsoft.com/office/drawing/2014/main" id="{9250BED1-821D-4C39-899E-A2FA9E273FC5}"/>
                  </a:ext>
                </a:extLst>
              </p:cNvPr>
              <p:cNvSpPr/>
              <p:nvPr/>
            </p:nvSpPr>
            <p:spPr bwMode="auto">
              <a:xfrm>
                <a:off x="7126281" y="4752000"/>
                <a:ext cx="3600000" cy="720193"/>
              </a:xfrm>
              <a:custGeom>
                <a:avLst/>
                <a:gdLst>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944463 w 3600000"/>
                  <a:gd name="connsiteY9" fmla="*/ 360193 h 720193"/>
                  <a:gd name="connsiteX10" fmla="*/ 1944463 w 3600000"/>
                  <a:gd name="connsiteY10" fmla="*/ 360000 h 720193"/>
                  <a:gd name="connsiteX11" fmla="*/ 1151910 w 3600000"/>
                  <a:gd name="connsiteY11" fmla="*/ 36000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944463 w 3600000"/>
                  <a:gd name="connsiteY9" fmla="*/ 360193 h 720193"/>
                  <a:gd name="connsiteX10" fmla="*/ 1151910 w 3600000"/>
                  <a:gd name="connsiteY10" fmla="*/ 360000 h 720193"/>
                  <a:gd name="connsiteX11" fmla="*/ 1151910 w 3600000"/>
                  <a:gd name="connsiteY11" fmla="*/ 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151910 w 3600000"/>
                  <a:gd name="connsiteY9" fmla="*/ 360000 h 720193"/>
                  <a:gd name="connsiteX10" fmla="*/ 1151910 w 3600000"/>
                  <a:gd name="connsiteY10" fmla="*/ 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151910 w 3600000"/>
                  <a:gd name="connsiteY9" fmla="*/ 0 h 720193"/>
                  <a:gd name="connsiteX0" fmla="*/ 0 w 3600000"/>
                  <a:gd name="connsiteY0" fmla="*/ 360193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376080 w 3600000"/>
                  <a:gd name="connsiteY3" fmla="*/ 360000 h 720193"/>
                  <a:gd name="connsiteX4" fmla="*/ 2736130 w 3600000"/>
                  <a:gd name="connsiteY4" fmla="*/ 360193 h 720193"/>
                  <a:gd name="connsiteX5" fmla="*/ 2736130 w 3600000"/>
                  <a:gd name="connsiteY5" fmla="*/ 720193 h 720193"/>
                  <a:gd name="connsiteX6" fmla="*/ 0 w 3600000"/>
                  <a:gd name="connsiteY6" fmla="*/ 720193 h 720193"/>
                  <a:gd name="connsiteX7" fmla="*/ 0 w 3600000"/>
                  <a:gd name="connsiteY7"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736130 w 3600000"/>
                  <a:gd name="connsiteY3" fmla="*/ 360193 h 720193"/>
                  <a:gd name="connsiteX4" fmla="*/ 2736130 w 3600000"/>
                  <a:gd name="connsiteY4" fmla="*/ 720193 h 720193"/>
                  <a:gd name="connsiteX5" fmla="*/ 0 w 3600000"/>
                  <a:gd name="connsiteY5" fmla="*/ 720193 h 720193"/>
                  <a:gd name="connsiteX6" fmla="*/ 0 w 3600000"/>
                  <a:gd name="connsiteY6"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736130 w 3600000"/>
                  <a:gd name="connsiteY3" fmla="*/ 720193 h 720193"/>
                  <a:gd name="connsiteX4" fmla="*/ 0 w 3600000"/>
                  <a:gd name="connsiteY4" fmla="*/ 720193 h 720193"/>
                  <a:gd name="connsiteX5" fmla="*/ 0 w 3600000"/>
                  <a:gd name="connsiteY5"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0 w 3600000"/>
                  <a:gd name="connsiteY3" fmla="*/ 720193 h 720193"/>
                  <a:gd name="connsiteX4" fmla="*/ 0 w 3600000"/>
                  <a:gd name="connsiteY4" fmla="*/ 360193 h 720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0000" h="720193">
                    <a:moveTo>
                      <a:pt x="0" y="360193"/>
                    </a:moveTo>
                    <a:lnTo>
                      <a:pt x="3600000" y="0"/>
                    </a:lnTo>
                    <a:lnTo>
                      <a:pt x="3600000" y="360000"/>
                    </a:lnTo>
                    <a:lnTo>
                      <a:pt x="0" y="720193"/>
                    </a:lnTo>
                    <a:lnTo>
                      <a:pt x="0" y="360193"/>
                    </a:lnTo>
                    <a:close/>
                  </a:path>
                </a:pathLst>
              </a:custGeom>
              <a:solidFill>
                <a:srgbClr val="33335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40" name="Freeform 58">
                <a:extLst>
                  <a:ext uri="{FF2B5EF4-FFF2-40B4-BE49-F238E27FC236}">
                    <a16:creationId xmlns:a16="http://schemas.microsoft.com/office/drawing/2014/main" id="{B1B68075-8D75-4549-A641-D3979F93C3EB}"/>
                  </a:ext>
                </a:extLst>
              </p:cNvPr>
              <p:cNvSpPr/>
              <p:nvPr/>
            </p:nvSpPr>
            <p:spPr bwMode="auto">
              <a:xfrm>
                <a:off x="7126281" y="4032000"/>
                <a:ext cx="3600000" cy="720193"/>
              </a:xfrm>
              <a:custGeom>
                <a:avLst/>
                <a:gdLst>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944463 w 3600000"/>
                  <a:gd name="connsiteY9" fmla="*/ 360193 h 720193"/>
                  <a:gd name="connsiteX10" fmla="*/ 1944463 w 3600000"/>
                  <a:gd name="connsiteY10" fmla="*/ 360000 h 720193"/>
                  <a:gd name="connsiteX11" fmla="*/ 1151910 w 3600000"/>
                  <a:gd name="connsiteY11" fmla="*/ 36000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944463 w 3600000"/>
                  <a:gd name="connsiteY9" fmla="*/ 360193 h 720193"/>
                  <a:gd name="connsiteX10" fmla="*/ 1151910 w 3600000"/>
                  <a:gd name="connsiteY10" fmla="*/ 360000 h 720193"/>
                  <a:gd name="connsiteX11" fmla="*/ 1151910 w 3600000"/>
                  <a:gd name="connsiteY11" fmla="*/ 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151910 w 3600000"/>
                  <a:gd name="connsiteY9" fmla="*/ 360000 h 720193"/>
                  <a:gd name="connsiteX10" fmla="*/ 1151910 w 3600000"/>
                  <a:gd name="connsiteY10" fmla="*/ 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151910 w 3600000"/>
                  <a:gd name="connsiteY9" fmla="*/ 0 h 720193"/>
                  <a:gd name="connsiteX0" fmla="*/ 0 w 3600000"/>
                  <a:gd name="connsiteY0" fmla="*/ 360193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376080 w 3600000"/>
                  <a:gd name="connsiteY3" fmla="*/ 360000 h 720193"/>
                  <a:gd name="connsiteX4" fmla="*/ 2736130 w 3600000"/>
                  <a:gd name="connsiteY4" fmla="*/ 360193 h 720193"/>
                  <a:gd name="connsiteX5" fmla="*/ 2736130 w 3600000"/>
                  <a:gd name="connsiteY5" fmla="*/ 720193 h 720193"/>
                  <a:gd name="connsiteX6" fmla="*/ 0 w 3600000"/>
                  <a:gd name="connsiteY6" fmla="*/ 720193 h 720193"/>
                  <a:gd name="connsiteX7" fmla="*/ 0 w 3600000"/>
                  <a:gd name="connsiteY7"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736130 w 3600000"/>
                  <a:gd name="connsiteY3" fmla="*/ 360193 h 720193"/>
                  <a:gd name="connsiteX4" fmla="*/ 2736130 w 3600000"/>
                  <a:gd name="connsiteY4" fmla="*/ 720193 h 720193"/>
                  <a:gd name="connsiteX5" fmla="*/ 0 w 3600000"/>
                  <a:gd name="connsiteY5" fmla="*/ 720193 h 720193"/>
                  <a:gd name="connsiteX6" fmla="*/ 0 w 3600000"/>
                  <a:gd name="connsiteY6"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736130 w 3600000"/>
                  <a:gd name="connsiteY3" fmla="*/ 720193 h 720193"/>
                  <a:gd name="connsiteX4" fmla="*/ 0 w 3600000"/>
                  <a:gd name="connsiteY4" fmla="*/ 720193 h 720193"/>
                  <a:gd name="connsiteX5" fmla="*/ 0 w 3600000"/>
                  <a:gd name="connsiteY5"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0 w 3600000"/>
                  <a:gd name="connsiteY3" fmla="*/ 720193 h 720193"/>
                  <a:gd name="connsiteX4" fmla="*/ 0 w 3600000"/>
                  <a:gd name="connsiteY4" fmla="*/ 360193 h 720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0000" h="720193">
                    <a:moveTo>
                      <a:pt x="0" y="360193"/>
                    </a:moveTo>
                    <a:lnTo>
                      <a:pt x="3600000" y="0"/>
                    </a:lnTo>
                    <a:lnTo>
                      <a:pt x="3600000" y="360000"/>
                    </a:lnTo>
                    <a:lnTo>
                      <a:pt x="0" y="720193"/>
                    </a:lnTo>
                    <a:lnTo>
                      <a:pt x="0" y="360193"/>
                    </a:lnTo>
                    <a:close/>
                  </a:path>
                </a:pathLst>
              </a:custGeom>
              <a:solidFill>
                <a:srgbClr val="00AF8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41" name="Freeform 59">
                <a:extLst>
                  <a:ext uri="{FF2B5EF4-FFF2-40B4-BE49-F238E27FC236}">
                    <a16:creationId xmlns:a16="http://schemas.microsoft.com/office/drawing/2014/main" id="{87E50FD1-561C-4798-B68E-7A6D4C6F9EC7}"/>
                  </a:ext>
                </a:extLst>
              </p:cNvPr>
              <p:cNvSpPr/>
              <p:nvPr/>
            </p:nvSpPr>
            <p:spPr bwMode="auto">
              <a:xfrm>
                <a:off x="7126281" y="3312000"/>
                <a:ext cx="3600000" cy="720193"/>
              </a:xfrm>
              <a:custGeom>
                <a:avLst/>
                <a:gdLst>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944463 w 3600000"/>
                  <a:gd name="connsiteY9" fmla="*/ 360193 h 720193"/>
                  <a:gd name="connsiteX10" fmla="*/ 1944463 w 3600000"/>
                  <a:gd name="connsiteY10" fmla="*/ 360000 h 720193"/>
                  <a:gd name="connsiteX11" fmla="*/ 1151910 w 3600000"/>
                  <a:gd name="connsiteY11" fmla="*/ 36000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944463 w 3600000"/>
                  <a:gd name="connsiteY9" fmla="*/ 360193 h 720193"/>
                  <a:gd name="connsiteX10" fmla="*/ 1151910 w 3600000"/>
                  <a:gd name="connsiteY10" fmla="*/ 360000 h 720193"/>
                  <a:gd name="connsiteX11" fmla="*/ 1151910 w 3600000"/>
                  <a:gd name="connsiteY11" fmla="*/ 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151910 w 3600000"/>
                  <a:gd name="connsiteY9" fmla="*/ 360000 h 720193"/>
                  <a:gd name="connsiteX10" fmla="*/ 1151910 w 3600000"/>
                  <a:gd name="connsiteY10" fmla="*/ 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151910 w 3600000"/>
                  <a:gd name="connsiteY9" fmla="*/ 0 h 720193"/>
                  <a:gd name="connsiteX0" fmla="*/ 0 w 3600000"/>
                  <a:gd name="connsiteY0" fmla="*/ 360193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376080 w 3600000"/>
                  <a:gd name="connsiteY3" fmla="*/ 360000 h 720193"/>
                  <a:gd name="connsiteX4" fmla="*/ 2736130 w 3600000"/>
                  <a:gd name="connsiteY4" fmla="*/ 360193 h 720193"/>
                  <a:gd name="connsiteX5" fmla="*/ 2736130 w 3600000"/>
                  <a:gd name="connsiteY5" fmla="*/ 720193 h 720193"/>
                  <a:gd name="connsiteX6" fmla="*/ 0 w 3600000"/>
                  <a:gd name="connsiteY6" fmla="*/ 720193 h 720193"/>
                  <a:gd name="connsiteX7" fmla="*/ 0 w 3600000"/>
                  <a:gd name="connsiteY7"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736130 w 3600000"/>
                  <a:gd name="connsiteY3" fmla="*/ 360193 h 720193"/>
                  <a:gd name="connsiteX4" fmla="*/ 2736130 w 3600000"/>
                  <a:gd name="connsiteY4" fmla="*/ 720193 h 720193"/>
                  <a:gd name="connsiteX5" fmla="*/ 0 w 3600000"/>
                  <a:gd name="connsiteY5" fmla="*/ 720193 h 720193"/>
                  <a:gd name="connsiteX6" fmla="*/ 0 w 3600000"/>
                  <a:gd name="connsiteY6"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736130 w 3600000"/>
                  <a:gd name="connsiteY3" fmla="*/ 720193 h 720193"/>
                  <a:gd name="connsiteX4" fmla="*/ 0 w 3600000"/>
                  <a:gd name="connsiteY4" fmla="*/ 720193 h 720193"/>
                  <a:gd name="connsiteX5" fmla="*/ 0 w 3600000"/>
                  <a:gd name="connsiteY5"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0 w 3600000"/>
                  <a:gd name="connsiteY3" fmla="*/ 720193 h 720193"/>
                  <a:gd name="connsiteX4" fmla="*/ 0 w 3600000"/>
                  <a:gd name="connsiteY4" fmla="*/ 360193 h 720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0000" h="720193">
                    <a:moveTo>
                      <a:pt x="0" y="360193"/>
                    </a:moveTo>
                    <a:lnTo>
                      <a:pt x="3600000" y="0"/>
                    </a:lnTo>
                    <a:lnTo>
                      <a:pt x="3600000" y="360000"/>
                    </a:lnTo>
                    <a:lnTo>
                      <a:pt x="0" y="720193"/>
                    </a:lnTo>
                    <a:lnTo>
                      <a:pt x="0" y="360193"/>
                    </a:lnTo>
                    <a:close/>
                  </a:path>
                </a:pathLst>
              </a:custGeom>
              <a:solidFill>
                <a:srgbClr val="00AF8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42" name="Freeform 60">
                <a:extLst>
                  <a:ext uri="{FF2B5EF4-FFF2-40B4-BE49-F238E27FC236}">
                    <a16:creationId xmlns:a16="http://schemas.microsoft.com/office/drawing/2014/main" id="{31F756CC-A929-4927-9B9F-DB01D59A6915}"/>
                  </a:ext>
                </a:extLst>
              </p:cNvPr>
              <p:cNvSpPr/>
              <p:nvPr/>
            </p:nvSpPr>
            <p:spPr bwMode="auto">
              <a:xfrm>
                <a:off x="7126281" y="2592000"/>
                <a:ext cx="3600000" cy="720193"/>
              </a:xfrm>
              <a:custGeom>
                <a:avLst/>
                <a:gdLst>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944463 w 3600000"/>
                  <a:gd name="connsiteY9" fmla="*/ 360193 h 720193"/>
                  <a:gd name="connsiteX10" fmla="*/ 1944463 w 3600000"/>
                  <a:gd name="connsiteY10" fmla="*/ 360000 h 720193"/>
                  <a:gd name="connsiteX11" fmla="*/ 1151910 w 3600000"/>
                  <a:gd name="connsiteY11" fmla="*/ 36000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944463 w 3600000"/>
                  <a:gd name="connsiteY9" fmla="*/ 360193 h 720193"/>
                  <a:gd name="connsiteX10" fmla="*/ 1151910 w 3600000"/>
                  <a:gd name="connsiteY10" fmla="*/ 360000 h 720193"/>
                  <a:gd name="connsiteX11" fmla="*/ 1151910 w 3600000"/>
                  <a:gd name="connsiteY11" fmla="*/ 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151910 w 3600000"/>
                  <a:gd name="connsiteY9" fmla="*/ 360000 h 720193"/>
                  <a:gd name="connsiteX10" fmla="*/ 1151910 w 3600000"/>
                  <a:gd name="connsiteY10" fmla="*/ 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151910 w 3600000"/>
                  <a:gd name="connsiteY9" fmla="*/ 0 h 720193"/>
                  <a:gd name="connsiteX0" fmla="*/ 0 w 3600000"/>
                  <a:gd name="connsiteY0" fmla="*/ 360193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376080 w 3600000"/>
                  <a:gd name="connsiteY3" fmla="*/ 360000 h 720193"/>
                  <a:gd name="connsiteX4" fmla="*/ 2736130 w 3600000"/>
                  <a:gd name="connsiteY4" fmla="*/ 360193 h 720193"/>
                  <a:gd name="connsiteX5" fmla="*/ 2736130 w 3600000"/>
                  <a:gd name="connsiteY5" fmla="*/ 720193 h 720193"/>
                  <a:gd name="connsiteX6" fmla="*/ 0 w 3600000"/>
                  <a:gd name="connsiteY6" fmla="*/ 720193 h 720193"/>
                  <a:gd name="connsiteX7" fmla="*/ 0 w 3600000"/>
                  <a:gd name="connsiteY7"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736130 w 3600000"/>
                  <a:gd name="connsiteY3" fmla="*/ 360193 h 720193"/>
                  <a:gd name="connsiteX4" fmla="*/ 2736130 w 3600000"/>
                  <a:gd name="connsiteY4" fmla="*/ 720193 h 720193"/>
                  <a:gd name="connsiteX5" fmla="*/ 0 w 3600000"/>
                  <a:gd name="connsiteY5" fmla="*/ 720193 h 720193"/>
                  <a:gd name="connsiteX6" fmla="*/ 0 w 3600000"/>
                  <a:gd name="connsiteY6"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736130 w 3600000"/>
                  <a:gd name="connsiteY3" fmla="*/ 720193 h 720193"/>
                  <a:gd name="connsiteX4" fmla="*/ 0 w 3600000"/>
                  <a:gd name="connsiteY4" fmla="*/ 720193 h 720193"/>
                  <a:gd name="connsiteX5" fmla="*/ 0 w 3600000"/>
                  <a:gd name="connsiteY5"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0 w 3600000"/>
                  <a:gd name="connsiteY3" fmla="*/ 720193 h 720193"/>
                  <a:gd name="connsiteX4" fmla="*/ 0 w 3600000"/>
                  <a:gd name="connsiteY4" fmla="*/ 360193 h 720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0000" h="720193">
                    <a:moveTo>
                      <a:pt x="0" y="360193"/>
                    </a:moveTo>
                    <a:lnTo>
                      <a:pt x="3600000" y="0"/>
                    </a:lnTo>
                    <a:lnTo>
                      <a:pt x="3600000" y="360000"/>
                    </a:lnTo>
                    <a:lnTo>
                      <a:pt x="0" y="720193"/>
                    </a:lnTo>
                    <a:lnTo>
                      <a:pt x="0" y="360193"/>
                    </a:lnTo>
                    <a:close/>
                  </a:path>
                </a:pathLst>
              </a:custGeom>
              <a:solidFill>
                <a:srgbClr val="00AF8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grpSp>
        <p:sp>
          <p:nvSpPr>
            <p:cNvPr id="32" name="Freeform 50">
              <a:extLst>
                <a:ext uri="{FF2B5EF4-FFF2-40B4-BE49-F238E27FC236}">
                  <a16:creationId xmlns:a16="http://schemas.microsoft.com/office/drawing/2014/main" id="{EF6A435B-25CE-4CF8-B291-B863CA8F8692}"/>
                </a:ext>
              </a:extLst>
            </p:cNvPr>
            <p:cNvSpPr/>
            <p:nvPr/>
          </p:nvSpPr>
          <p:spPr bwMode="auto">
            <a:xfrm>
              <a:off x="4299174" y="5472975"/>
              <a:ext cx="3600000" cy="720193"/>
            </a:xfrm>
            <a:custGeom>
              <a:avLst/>
              <a:gdLst>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944463 w 3600000"/>
                <a:gd name="connsiteY9" fmla="*/ 360193 h 720193"/>
                <a:gd name="connsiteX10" fmla="*/ 1944463 w 3600000"/>
                <a:gd name="connsiteY10" fmla="*/ 360000 h 720193"/>
                <a:gd name="connsiteX11" fmla="*/ 1151910 w 3600000"/>
                <a:gd name="connsiteY11" fmla="*/ 36000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944463 w 3600000"/>
                <a:gd name="connsiteY9" fmla="*/ 360193 h 720193"/>
                <a:gd name="connsiteX10" fmla="*/ 1151910 w 3600000"/>
                <a:gd name="connsiteY10" fmla="*/ 360000 h 720193"/>
                <a:gd name="connsiteX11" fmla="*/ 1151910 w 3600000"/>
                <a:gd name="connsiteY11" fmla="*/ 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151910 w 3600000"/>
                <a:gd name="connsiteY9" fmla="*/ 360000 h 720193"/>
                <a:gd name="connsiteX10" fmla="*/ 1151910 w 3600000"/>
                <a:gd name="connsiteY10" fmla="*/ 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151910 w 3600000"/>
                <a:gd name="connsiteY9" fmla="*/ 0 h 720193"/>
                <a:gd name="connsiteX0" fmla="*/ 0 w 3600000"/>
                <a:gd name="connsiteY0" fmla="*/ 360193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376080 w 3600000"/>
                <a:gd name="connsiteY3" fmla="*/ 360000 h 720193"/>
                <a:gd name="connsiteX4" fmla="*/ 2736130 w 3600000"/>
                <a:gd name="connsiteY4" fmla="*/ 360193 h 720193"/>
                <a:gd name="connsiteX5" fmla="*/ 2736130 w 3600000"/>
                <a:gd name="connsiteY5" fmla="*/ 720193 h 720193"/>
                <a:gd name="connsiteX6" fmla="*/ 0 w 3600000"/>
                <a:gd name="connsiteY6" fmla="*/ 720193 h 720193"/>
                <a:gd name="connsiteX7" fmla="*/ 0 w 3600000"/>
                <a:gd name="connsiteY7"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736130 w 3600000"/>
                <a:gd name="connsiteY3" fmla="*/ 360193 h 720193"/>
                <a:gd name="connsiteX4" fmla="*/ 2736130 w 3600000"/>
                <a:gd name="connsiteY4" fmla="*/ 720193 h 720193"/>
                <a:gd name="connsiteX5" fmla="*/ 0 w 3600000"/>
                <a:gd name="connsiteY5" fmla="*/ 720193 h 720193"/>
                <a:gd name="connsiteX6" fmla="*/ 0 w 3600000"/>
                <a:gd name="connsiteY6"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736130 w 3600000"/>
                <a:gd name="connsiteY3" fmla="*/ 720193 h 720193"/>
                <a:gd name="connsiteX4" fmla="*/ 0 w 3600000"/>
                <a:gd name="connsiteY4" fmla="*/ 720193 h 720193"/>
                <a:gd name="connsiteX5" fmla="*/ 0 w 3600000"/>
                <a:gd name="connsiteY5"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0 w 3600000"/>
                <a:gd name="connsiteY3" fmla="*/ 720193 h 720193"/>
                <a:gd name="connsiteX4" fmla="*/ 0 w 3600000"/>
                <a:gd name="connsiteY4" fmla="*/ 360193 h 720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0000" h="720193">
                  <a:moveTo>
                    <a:pt x="0" y="360193"/>
                  </a:moveTo>
                  <a:lnTo>
                    <a:pt x="3600000" y="0"/>
                  </a:lnTo>
                  <a:lnTo>
                    <a:pt x="3600000" y="360000"/>
                  </a:lnTo>
                  <a:lnTo>
                    <a:pt x="0" y="720193"/>
                  </a:lnTo>
                  <a:lnTo>
                    <a:pt x="0" y="360193"/>
                  </a:lnTo>
                  <a:close/>
                </a:path>
              </a:pathLst>
            </a:custGeom>
            <a:solidFill>
              <a:srgbClr val="00646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33" name="Freeform 51">
              <a:extLst>
                <a:ext uri="{FF2B5EF4-FFF2-40B4-BE49-F238E27FC236}">
                  <a16:creationId xmlns:a16="http://schemas.microsoft.com/office/drawing/2014/main" id="{AC885907-167A-43F4-9214-C57E730A6BF5}"/>
                </a:ext>
              </a:extLst>
            </p:cNvPr>
            <p:cNvSpPr/>
            <p:nvPr/>
          </p:nvSpPr>
          <p:spPr bwMode="auto">
            <a:xfrm>
              <a:off x="4299174" y="4752000"/>
              <a:ext cx="3600000" cy="720193"/>
            </a:xfrm>
            <a:custGeom>
              <a:avLst/>
              <a:gdLst>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944463 w 3600000"/>
                <a:gd name="connsiteY9" fmla="*/ 360193 h 720193"/>
                <a:gd name="connsiteX10" fmla="*/ 1944463 w 3600000"/>
                <a:gd name="connsiteY10" fmla="*/ 360000 h 720193"/>
                <a:gd name="connsiteX11" fmla="*/ 1151910 w 3600000"/>
                <a:gd name="connsiteY11" fmla="*/ 36000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944463 w 3600000"/>
                <a:gd name="connsiteY9" fmla="*/ 360193 h 720193"/>
                <a:gd name="connsiteX10" fmla="*/ 1151910 w 3600000"/>
                <a:gd name="connsiteY10" fmla="*/ 360000 h 720193"/>
                <a:gd name="connsiteX11" fmla="*/ 1151910 w 3600000"/>
                <a:gd name="connsiteY11" fmla="*/ 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151910 w 3600000"/>
                <a:gd name="connsiteY9" fmla="*/ 360000 h 720193"/>
                <a:gd name="connsiteX10" fmla="*/ 1151910 w 3600000"/>
                <a:gd name="connsiteY10" fmla="*/ 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151910 w 3600000"/>
                <a:gd name="connsiteY9" fmla="*/ 0 h 720193"/>
                <a:gd name="connsiteX0" fmla="*/ 0 w 3600000"/>
                <a:gd name="connsiteY0" fmla="*/ 360193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376080 w 3600000"/>
                <a:gd name="connsiteY3" fmla="*/ 360000 h 720193"/>
                <a:gd name="connsiteX4" fmla="*/ 2736130 w 3600000"/>
                <a:gd name="connsiteY4" fmla="*/ 360193 h 720193"/>
                <a:gd name="connsiteX5" fmla="*/ 2736130 w 3600000"/>
                <a:gd name="connsiteY5" fmla="*/ 720193 h 720193"/>
                <a:gd name="connsiteX6" fmla="*/ 0 w 3600000"/>
                <a:gd name="connsiteY6" fmla="*/ 720193 h 720193"/>
                <a:gd name="connsiteX7" fmla="*/ 0 w 3600000"/>
                <a:gd name="connsiteY7"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736130 w 3600000"/>
                <a:gd name="connsiteY3" fmla="*/ 360193 h 720193"/>
                <a:gd name="connsiteX4" fmla="*/ 2736130 w 3600000"/>
                <a:gd name="connsiteY4" fmla="*/ 720193 h 720193"/>
                <a:gd name="connsiteX5" fmla="*/ 0 w 3600000"/>
                <a:gd name="connsiteY5" fmla="*/ 720193 h 720193"/>
                <a:gd name="connsiteX6" fmla="*/ 0 w 3600000"/>
                <a:gd name="connsiteY6"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736130 w 3600000"/>
                <a:gd name="connsiteY3" fmla="*/ 720193 h 720193"/>
                <a:gd name="connsiteX4" fmla="*/ 0 w 3600000"/>
                <a:gd name="connsiteY4" fmla="*/ 720193 h 720193"/>
                <a:gd name="connsiteX5" fmla="*/ 0 w 3600000"/>
                <a:gd name="connsiteY5"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0 w 3600000"/>
                <a:gd name="connsiteY3" fmla="*/ 720193 h 720193"/>
                <a:gd name="connsiteX4" fmla="*/ 0 w 3600000"/>
                <a:gd name="connsiteY4" fmla="*/ 360193 h 720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0000" h="720193">
                  <a:moveTo>
                    <a:pt x="0" y="360193"/>
                  </a:moveTo>
                  <a:lnTo>
                    <a:pt x="3600000" y="0"/>
                  </a:lnTo>
                  <a:lnTo>
                    <a:pt x="3600000" y="360000"/>
                  </a:lnTo>
                  <a:lnTo>
                    <a:pt x="0" y="720193"/>
                  </a:lnTo>
                  <a:lnTo>
                    <a:pt x="0" y="360193"/>
                  </a:lnTo>
                  <a:close/>
                </a:path>
              </a:pathLst>
            </a:custGeom>
            <a:solidFill>
              <a:srgbClr val="66667E"/>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34" name="Freeform 52">
              <a:extLst>
                <a:ext uri="{FF2B5EF4-FFF2-40B4-BE49-F238E27FC236}">
                  <a16:creationId xmlns:a16="http://schemas.microsoft.com/office/drawing/2014/main" id="{B202144F-9CFD-41E8-81D5-A0ECB1883593}"/>
                </a:ext>
              </a:extLst>
            </p:cNvPr>
            <p:cNvSpPr/>
            <p:nvPr/>
          </p:nvSpPr>
          <p:spPr bwMode="auto">
            <a:xfrm>
              <a:off x="4299174" y="4032000"/>
              <a:ext cx="3600000" cy="720193"/>
            </a:xfrm>
            <a:custGeom>
              <a:avLst/>
              <a:gdLst>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944463 w 3600000"/>
                <a:gd name="connsiteY9" fmla="*/ 360193 h 720193"/>
                <a:gd name="connsiteX10" fmla="*/ 1944463 w 3600000"/>
                <a:gd name="connsiteY10" fmla="*/ 360000 h 720193"/>
                <a:gd name="connsiteX11" fmla="*/ 1151910 w 3600000"/>
                <a:gd name="connsiteY11" fmla="*/ 36000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944463 w 3600000"/>
                <a:gd name="connsiteY9" fmla="*/ 360193 h 720193"/>
                <a:gd name="connsiteX10" fmla="*/ 1151910 w 3600000"/>
                <a:gd name="connsiteY10" fmla="*/ 360000 h 720193"/>
                <a:gd name="connsiteX11" fmla="*/ 1151910 w 3600000"/>
                <a:gd name="connsiteY11" fmla="*/ 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151910 w 3600000"/>
                <a:gd name="connsiteY9" fmla="*/ 360000 h 720193"/>
                <a:gd name="connsiteX10" fmla="*/ 1151910 w 3600000"/>
                <a:gd name="connsiteY10" fmla="*/ 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151910 w 3600000"/>
                <a:gd name="connsiteY9" fmla="*/ 0 h 720193"/>
                <a:gd name="connsiteX0" fmla="*/ 0 w 3600000"/>
                <a:gd name="connsiteY0" fmla="*/ 360193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376080 w 3600000"/>
                <a:gd name="connsiteY3" fmla="*/ 360000 h 720193"/>
                <a:gd name="connsiteX4" fmla="*/ 2736130 w 3600000"/>
                <a:gd name="connsiteY4" fmla="*/ 360193 h 720193"/>
                <a:gd name="connsiteX5" fmla="*/ 2736130 w 3600000"/>
                <a:gd name="connsiteY5" fmla="*/ 720193 h 720193"/>
                <a:gd name="connsiteX6" fmla="*/ 0 w 3600000"/>
                <a:gd name="connsiteY6" fmla="*/ 720193 h 720193"/>
                <a:gd name="connsiteX7" fmla="*/ 0 w 3600000"/>
                <a:gd name="connsiteY7"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736130 w 3600000"/>
                <a:gd name="connsiteY3" fmla="*/ 360193 h 720193"/>
                <a:gd name="connsiteX4" fmla="*/ 2736130 w 3600000"/>
                <a:gd name="connsiteY4" fmla="*/ 720193 h 720193"/>
                <a:gd name="connsiteX5" fmla="*/ 0 w 3600000"/>
                <a:gd name="connsiteY5" fmla="*/ 720193 h 720193"/>
                <a:gd name="connsiteX6" fmla="*/ 0 w 3600000"/>
                <a:gd name="connsiteY6"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736130 w 3600000"/>
                <a:gd name="connsiteY3" fmla="*/ 720193 h 720193"/>
                <a:gd name="connsiteX4" fmla="*/ 0 w 3600000"/>
                <a:gd name="connsiteY4" fmla="*/ 720193 h 720193"/>
                <a:gd name="connsiteX5" fmla="*/ 0 w 3600000"/>
                <a:gd name="connsiteY5"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0 w 3600000"/>
                <a:gd name="connsiteY3" fmla="*/ 720193 h 720193"/>
                <a:gd name="connsiteX4" fmla="*/ 0 w 3600000"/>
                <a:gd name="connsiteY4" fmla="*/ 360193 h 720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0000" h="720193">
                  <a:moveTo>
                    <a:pt x="0" y="360193"/>
                  </a:moveTo>
                  <a:lnTo>
                    <a:pt x="3600000" y="0"/>
                  </a:lnTo>
                  <a:lnTo>
                    <a:pt x="3600000" y="360000"/>
                  </a:lnTo>
                  <a:lnTo>
                    <a:pt x="0" y="720193"/>
                  </a:lnTo>
                  <a:lnTo>
                    <a:pt x="0" y="360193"/>
                  </a:lnTo>
                  <a:close/>
                </a:path>
              </a:pathLst>
            </a:custGeom>
            <a:solidFill>
              <a:srgbClr val="66667E"/>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35" name="Freeform 53">
              <a:extLst>
                <a:ext uri="{FF2B5EF4-FFF2-40B4-BE49-F238E27FC236}">
                  <a16:creationId xmlns:a16="http://schemas.microsoft.com/office/drawing/2014/main" id="{0A8C2CF6-4C41-45EE-BBFE-7EED0CD46200}"/>
                </a:ext>
              </a:extLst>
            </p:cNvPr>
            <p:cNvSpPr/>
            <p:nvPr/>
          </p:nvSpPr>
          <p:spPr bwMode="auto">
            <a:xfrm>
              <a:off x="4299174" y="3312000"/>
              <a:ext cx="3600000" cy="720193"/>
            </a:xfrm>
            <a:custGeom>
              <a:avLst/>
              <a:gdLst>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944463 w 3600000"/>
                <a:gd name="connsiteY9" fmla="*/ 360193 h 720193"/>
                <a:gd name="connsiteX10" fmla="*/ 1944463 w 3600000"/>
                <a:gd name="connsiteY10" fmla="*/ 360000 h 720193"/>
                <a:gd name="connsiteX11" fmla="*/ 1151910 w 3600000"/>
                <a:gd name="connsiteY11" fmla="*/ 36000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944463 w 3600000"/>
                <a:gd name="connsiteY9" fmla="*/ 360193 h 720193"/>
                <a:gd name="connsiteX10" fmla="*/ 1151910 w 3600000"/>
                <a:gd name="connsiteY10" fmla="*/ 360000 h 720193"/>
                <a:gd name="connsiteX11" fmla="*/ 1151910 w 3600000"/>
                <a:gd name="connsiteY11" fmla="*/ 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151910 w 3600000"/>
                <a:gd name="connsiteY9" fmla="*/ 360000 h 720193"/>
                <a:gd name="connsiteX10" fmla="*/ 1151910 w 3600000"/>
                <a:gd name="connsiteY10" fmla="*/ 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151910 w 3600000"/>
                <a:gd name="connsiteY9" fmla="*/ 0 h 720193"/>
                <a:gd name="connsiteX0" fmla="*/ 0 w 3600000"/>
                <a:gd name="connsiteY0" fmla="*/ 360193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376080 w 3600000"/>
                <a:gd name="connsiteY3" fmla="*/ 360000 h 720193"/>
                <a:gd name="connsiteX4" fmla="*/ 2736130 w 3600000"/>
                <a:gd name="connsiteY4" fmla="*/ 360193 h 720193"/>
                <a:gd name="connsiteX5" fmla="*/ 2736130 w 3600000"/>
                <a:gd name="connsiteY5" fmla="*/ 720193 h 720193"/>
                <a:gd name="connsiteX6" fmla="*/ 0 w 3600000"/>
                <a:gd name="connsiteY6" fmla="*/ 720193 h 720193"/>
                <a:gd name="connsiteX7" fmla="*/ 0 w 3600000"/>
                <a:gd name="connsiteY7"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736130 w 3600000"/>
                <a:gd name="connsiteY3" fmla="*/ 360193 h 720193"/>
                <a:gd name="connsiteX4" fmla="*/ 2736130 w 3600000"/>
                <a:gd name="connsiteY4" fmla="*/ 720193 h 720193"/>
                <a:gd name="connsiteX5" fmla="*/ 0 w 3600000"/>
                <a:gd name="connsiteY5" fmla="*/ 720193 h 720193"/>
                <a:gd name="connsiteX6" fmla="*/ 0 w 3600000"/>
                <a:gd name="connsiteY6"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736130 w 3600000"/>
                <a:gd name="connsiteY3" fmla="*/ 720193 h 720193"/>
                <a:gd name="connsiteX4" fmla="*/ 0 w 3600000"/>
                <a:gd name="connsiteY4" fmla="*/ 720193 h 720193"/>
                <a:gd name="connsiteX5" fmla="*/ 0 w 3600000"/>
                <a:gd name="connsiteY5"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0 w 3600000"/>
                <a:gd name="connsiteY3" fmla="*/ 720193 h 720193"/>
                <a:gd name="connsiteX4" fmla="*/ 0 w 3600000"/>
                <a:gd name="connsiteY4" fmla="*/ 360193 h 720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0000" h="720193">
                  <a:moveTo>
                    <a:pt x="0" y="360193"/>
                  </a:moveTo>
                  <a:lnTo>
                    <a:pt x="3600000" y="0"/>
                  </a:lnTo>
                  <a:lnTo>
                    <a:pt x="3600000" y="360000"/>
                  </a:lnTo>
                  <a:lnTo>
                    <a:pt x="0" y="720193"/>
                  </a:lnTo>
                  <a:lnTo>
                    <a:pt x="0" y="360193"/>
                  </a:lnTo>
                  <a:close/>
                </a:path>
              </a:pathLst>
            </a:custGeom>
            <a:solidFill>
              <a:schemeClr val="accent2"/>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36" name="Freeform 54">
              <a:extLst>
                <a:ext uri="{FF2B5EF4-FFF2-40B4-BE49-F238E27FC236}">
                  <a16:creationId xmlns:a16="http://schemas.microsoft.com/office/drawing/2014/main" id="{9BD4E062-6963-4ED7-9A81-98DF501A36DC}"/>
                </a:ext>
              </a:extLst>
            </p:cNvPr>
            <p:cNvSpPr/>
            <p:nvPr/>
          </p:nvSpPr>
          <p:spPr bwMode="auto">
            <a:xfrm>
              <a:off x="4299174" y="2592000"/>
              <a:ext cx="3600000" cy="720193"/>
            </a:xfrm>
            <a:custGeom>
              <a:avLst/>
              <a:gdLst>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944463 w 3600000"/>
                <a:gd name="connsiteY9" fmla="*/ 360193 h 720193"/>
                <a:gd name="connsiteX10" fmla="*/ 1944463 w 3600000"/>
                <a:gd name="connsiteY10" fmla="*/ 360000 h 720193"/>
                <a:gd name="connsiteX11" fmla="*/ 1151910 w 3600000"/>
                <a:gd name="connsiteY11" fmla="*/ 36000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944463 w 3600000"/>
                <a:gd name="connsiteY9" fmla="*/ 360193 h 720193"/>
                <a:gd name="connsiteX10" fmla="*/ 1151910 w 3600000"/>
                <a:gd name="connsiteY10" fmla="*/ 360000 h 720193"/>
                <a:gd name="connsiteX11" fmla="*/ 1151910 w 3600000"/>
                <a:gd name="connsiteY11" fmla="*/ 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151910 w 3600000"/>
                <a:gd name="connsiteY9" fmla="*/ 360000 h 720193"/>
                <a:gd name="connsiteX10" fmla="*/ 1151910 w 3600000"/>
                <a:gd name="connsiteY10" fmla="*/ 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151910 w 3600000"/>
                <a:gd name="connsiteY9" fmla="*/ 0 h 720193"/>
                <a:gd name="connsiteX0" fmla="*/ 0 w 3600000"/>
                <a:gd name="connsiteY0" fmla="*/ 360193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376080 w 3600000"/>
                <a:gd name="connsiteY3" fmla="*/ 360000 h 720193"/>
                <a:gd name="connsiteX4" fmla="*/ 2736130 w 3600000"/>
                <a:gd name="connsiteY4" fmla="*/ 360193 h 720193"/>
                <a:gd name="connsiteX5" fmla="*/ 2736130 w 3600000"/>
                <a:gd name="connsiteY5" fmla="*/ 720193 h 720193"/>
                <a:gd name="connsiteX6" fmla="*/ 0 w 3600000"/>
                <a:gd name="connsiteY6" fmla="*/ 720193 h 720193"/>
                <a:gd name="connsiteX7" fmla="*/ 0 w 3600000"/>
                <a:gd name="connsiteY7"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736130 w 3600000"/>
                <a:gd name="connsiteY3" fmla="*/ 360193 h 720193"/>
                <a:gd name="connsiteX4" fmla="*/ 2736130 w 3600000"/>
                <a:gd name="connsiteY4" fmla="*/ 720193 h 720193"/>
                <a:gd name="connsiteX5" fmla="*/ 0 w 3600000"/>
                <a:gd name="connsiteY5" fmla="*/ 720193 h 720193"/>
                <a:gd name="connsiteX6" fmla="*/ 0 w 3600000"/>
                <a:gd name="connsiteY6"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736130 w 3600000"/>
                <a:gd name="connsiteY3" fmla="*/ 720193 h 720193"/>
                <a:gd name="connsiteX4" fmla="*/ 0 w 3600000"/>
                <a:gd name="connsiteY4" fmla="*/ 720193 h 720193"/>
                <a:gd name="connsiteX5" fmla="*/ 0 w 3600000"/>
                <a:gd name="connsiteY5"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0 w 3600000"/>
                <a:gd name="connsiteY3" fmla="*/ 720193 h 720193"/>
                <a:gd name="connsiteX4" fmla="*/ 0 w 3600000"/>
                <a:gd name="connsiteY4" fmla="*/ 360193 h 720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0000" h="720193">
                  <a:moveTo>
                    <a:pt x="0" y="360193"/>
                  </a:moveTo>
                  <a:lnTo>
                    <a:pt x="3600000" y="0"/>
                  </a:lnTo>
                  <a:lnTo>
                    <a:pt x="3600000" y="360000"/>
                  </a:lnTo>
                  <a:lnTo>
                    <a:pt x="0" y="720193"/>
                  </a:lnTo>
                  <a:lnTo>
                    <a:pt x="0" y="360193"/>
                  </a:lnTo>
                  <a:close/>
                </a:path>
              </a:pathLst>
            </a:custGeom>
            <a:solidFill>
              <a:schemeClr val="accent2"/>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37" name="Freeform 55">
              <a:extLst>
                <a:ext uri="{FF2B5EF4-FFF2-40B4-BE49-F238E27FC236}">
                  <a16:creationId xmlns:a16="http://schemas.microsoft.com/office/drawing/2014/main" id="{ECB6A754-774B-4485-B7AE-19AF37595463}"/>
                </a:ext>
              </a:extLst>
            </p:cNvPr>
            <p:cNvSpPr/>
            <p:nvPr/>
          </p:nvSpPr>
          <p:spPr bwMode="auto">
            <a:xfrm>
              <a:off x="4299174" y="1872000"/>
              <a:ext cx="3600000" cy="720193"/>
            </a:xfrm>
            <a:custGeom>
              <a:avLst/>
              <a:gdLst>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944463 w 3600000"/>
                <a:gd name="connsiteY9" fmla="*/ 360193 h 720193"/>
                <a:gd name="connsiteX10" fmla="*/ 1944463 w 3600000"/>
                <a:gd name="connsiteY10" fmla="*/ 360000 h 720193"/>
                <a:gd name="connsiteX11" fmla="*/ 1151910 w 3600000"/>
                <a:gd name="connsiteY11" fmla="*/ 36000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944463 w 3600000"/>
                <a:gd name="connsiteY9" fmla="*/ 360193 h 720193"/>
                <a:gd name="connsiteX10" fmla="*/ 1151910 w 3600000"/>
                <a:gd name="connsiteY10" fmla="*/ 360000 h 720193"/>
                <a:gd name="connsiteX11" fmla="*/ 1151910 w 3600000"/>
                <a:gd name="connsiteY11" fmla="*/ 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151910 w 3600000"/>
                <a:gd name="connsiteY9" fmla="*/ 360000 h 720193"/>
                <a:gd name="connsiteX10" fmla="*/ 1151910 w 3600000"/>
                <a:gd name="connsiteY10" fmla="*/ 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151910 w 3600000"/>
                <a:gd name="connsiteY9" fmla="*/ 0 h 720193"/>
                <a:gd name="connsiteX0" fmla="*/ 0 w 3600000"/>
                <a:gd name="connsiteY0" fmla="*/ 360193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376080 w 3600000"/>
                <a:gd name="connsiteY3" fmla="*/ 360000 h 720193"/>
                <a:gd name="connsiteX4" fmla="*/ 2736130 w 3600000"/>
                <a:gd name="connsiteY4" fmla="*/ 360193 h 720193"/>
                <a:gd name="connsiteX5" fmla="*/ 2736130 w 3600000"/>
                <a:gd name="connsiteY5" fmla="*/ 720193 h 720193"/>
                <a:gd name="connsiteX6" fmla="*/ 0 w 3600000"/>
                <a:gd name="connsiteY6" fmla="*/ 720193 h 720193"/>
                <a:gd name="connsiteX7" fmla="*/ 0 w 3600000"/>
                <a:gd name="connsiteY7"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736130 w 3600000"/>
                <a:gd name="connsiteY3" fmla="*/ 360193 h 720193"/>
                <a:gd name="connsiteX4" fmla="*/ 2736130 w 3600000"/>
                <a:gd name="connsiteY4" fmla="*/ 720193 h 720193"/>
                <a:gd name="connsiteX5" fmla="*/ 0 w 3600000"/>
                <a:gd name="connsiteY5" fmla="*/ 720193 h 720193"/>
                <a:gd name="connsiteX6" fmla="*/ 0 w 3600000"/>
                <a:gd name="connsiteY6"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736130 w 3600000"/>
                <a:gd name="connsiteY3" fmla="*/ 720193 h 720193"/>
                <a:gd name="connsiteX4" fmla="*/ 0 w 3600000"/>
                <a:gd name="connsiteY4" fmla="*/ 720193 h 720193"/>
                <a:gd name="connsiteX5" fmla="*/ 0 w 3600000"/>
                <a:gd name="connsiteY5"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0 w 3600000"/>
                <a:gd name="connsiteY3" fmla="*/ 720193 h 720193"/>
                <a:gd name="connsiteX4" fmla="*/ 0 w 3600000"/>
                <a:gd name="connsiteY4" fmla="*/ 360193 h 720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0000" h="720193">
                  <a:moveTo>
                    <a:pt x="0" y="360193"/>
                  </a:moveTo>
                  <a:lnTo>
                    <a:pt x="3600000" y="0"/>
                  </a:lnTo>
                  <a:lnTo>
                    <a:pt x="3600000" y="360000"/>
                  </a:lnTo>
                  <a:lnTo>
                    <a:pt x="0" y="720193"/>
                  </a:lnTo>
                  <a:lnTo>
                    <a:pt x="0" y="360193"/>
                  </a:lnTo>
                  <a:close/>
                </a:path>
              </a:pathLst>
            </a:custGeom>
            <a:solidFill>
              <a:schemeClr val="accent2"/>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grpSp>
    </p:spTree>
    <p:extLst>
      <p:ext uri="{BB962C8B-B14F-4D97-AF65-F5344CB8AC3E}">
        <p14:creationId xmlns:p14="http://schemas.microsoft.com/office/powerpoint/2010/main" val="2320240148"/>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Helix (vertical) – ribbon</a:t>
            </a:r>
          </a:p>
        </p:txBody>
      </p:sp>
      <p:cxnSp>
        <p:nvCxnSpPr>
          <p:cNvPr id="123" name="Gerade Verbindung 122"/>
          <p:cNvCxnSpPr/>
          <p:nvPr/>
        </p:nvCxnSpPr>
        <p:spPr bwMode="gray">
          <a:xfrm flipH="1">
            <a:off x="410400" y="1848587"/>
            <a:ext cx="3744000" cy="0"/>
          </a:xfrm>
          <a:prstGeom prst="line">
            <a:avLst/>
          </a:prstGeom>
          <a:solidFill>
            <a:schemeClr val="tx2"/>
          </a:solidFill>
          <a:ln w="12700" cap="flat" cmpd="sng" algn="ctr">
            <a:solidFill>
              <a:srgbClr val="9999A9"/>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24" name="Rechteck 28"/>
          <p:cNvSpPr/>
          <p:nvPr/>
        </p:nvSpPr>
        <p:spPr bwMode="gray">
          <a:xfrm>
            <a:off x="410400" y="1847624"/>
            <a:ext cx="2158876" cy="983547"/>
          </a:xfrm>
          <a:prstGeom prst="rect">
            <a:avLst/>
          </a:prstGeom>
          <a:noFill/>
          <a:ln w="19050">
            <a:noFill/>
            <a:miter lim="800000"/>
          </a:ln>
          <a:effectLst/>
        </p:spPr>
        <p:txBody>
          <a:bodyPr wrap="square" lIns="0" tIns="71963" rIns="0" bIns="72000" numCol="1" spcCol="72000" rtlCol="0" anchor="t" anchorCtr="0">
            <a:spAutoFit/>
          </a:bodyPr>
          <a:lstStyle/>
          <a:p>
            <a:pPr>
              <a:tabLst>
                <a:tab pos="1255085" algn="r"/>
              </a:tabLst>
              <a:defRPr/>
            </a:pPr>
            <a:r>
              <a:rPr lang="en-US" altLang="de-DE" sz="1599" b="1" dirty="0">
                <a:solidFill>
                  <a:srgbClr val="00FFB9"/>
                </a:solidFill>
                <a:ea typeface="Arial Unicode MS"/>
              </a:rPr>
              <a:t>Duis arcu tortor</a:t>
            </a:r>
          </a:p>
          <a:p>
            <a:pPr marL="0" lvl="1">
              <a:spcBef>
                <a:spcPts val="300"/>
              </a:spcBef>
              <a:buClr>
                <a:srgbClr val="3C464B"/>
              </a:buClr>
              <a:tabLst>
                <a:tab pos="1255085" algn="r"/>
              </a:tabLst>
              <a:defRPr/>
            </a:pPr>
            <a:r>
              <a:rPr lang="en-US" altLang="de-DE" sz="1199" dirty="0">
                <a:solidFill>
                  <a:srgbClr val="9999A9"/>
                </a:solidFill>
                <a:ea typeface="Arial Unicode MS"/>
                <a:cs typeface="Arial" pitchFamily="34" charset="0"/>
              </a:rPr>
              <a:t>Stet clita kasd gubergren, no sea takimata sanctus est lorem ipsum dolor sit amet</a:t>
            </a:r>
          </a:p>
        </p:txBody>
      </p:sp>
      <p:cxnSp>
        <p:nvCxnSpPr>
          <p:cNvPr id="126" name="Gerade Verbindung 125"/>
          <p:cNvCxnSpPr/>
          <p:nvPr/>
        </p:nvCxnSpPr>
        <p:spPr bwMode="gray">
          <a:xfrm flipH="1">
            <a:off x="410400" y="3287454"/>
            <a:ext cx="3744000" cy="0"/>
          </a:xfrm>
          <a:prstGeom prst="line">
            <a:avLst/>
          </a:prstGeom>
          <a:solidFill>
            <a:schemeClr val="tx2"/>
          </a:solidFill>
          <a:ln w="12700" cap="flat" cmpd="sng" algn="ctr">
            <a:solidFill>
              <a:srgbClr val="9999A9"/>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27" name="Rechteck 28"/>
          <p:cNvSpPr/>
          <p:nvPr/>
        </p:nvSpPr>
        <p:spPr bwMode="gray">
          <a:xfrm>
            <a:off x="410400" y="3286874"/>
            <a:ext cx="2158876" cy="983547"/>
          </a:xfrm>
          <a:prstGeom prst="rect">
            <a:avLst/>
          </a:prstGeom>
          <a:noFill/>
          <a:ln w="19050">
            <a:noFill/>
            <a:miter lim="800000"/>
          </a:ln>
          <a:effectLst/>
        </p:spPr>
        <p:txBody>
          <a:bodyPr wrap="square" lIns="0" tIns="71963" rIns="0" bIns="72000" numCol="1" spcCol="72000" rtlCol="0" anchor="t" anchorCtr="0">
            <a:spAutoFit/>
          </a:bodyPr>
          <a:lstStyle/>
          <a:p>
            <a:pPr>
              <a:tabLst>
                <a:tab pos="1255085" algn="r"/>
              </a:tabLst>
              <a:defRPr/>
            </a:pPr>
            <a:r>
              <a:rPr lang="en-US" altLang="de-DE" sz="1599" b="1" dirty="0">
                <a:solidFill>
                  <a:srgbClr val="00FFB9"/>
                </a:solidFill>
                <a:ea typeface="Arial Unicode MS"/>
              </a:rPr>
              <a:t>Cras ultricies mi eu</a:t>
            </a:r>
          </a:p>
          <a:p>
            <a:pPr marL="0" lvl="1">
              <a:spcBef>
                <a:spcPts val="300"/>
              </a:spcBef>
              <a:buClr>
                <a:srgbClr val="3C464B"/>
              </a:buClr>
              <a:tabLst>
                <a:tab pos="1255085" algn="r"/>
              </a:tabLst>
              <a:defRPr/>
            </a:pPr>
            <a:r>
              <a:rPr lang="en-US" altLang="de-DE" sz="1199" dirty="0">
                <a:solidFill>
                  <a:srgbClr val="9999A9"/>
                </a:solidFill>
                <a:ea typeface="Arial Unicode MS"/>
                <a:cs typeface="Arial" pitchFamily="34" charset="0"/>
              </a:rPr>
              <a:t>Phasellus nec sem</a:t>
            </a:r>
            <a:br>
              <a:rPr lang="en-US" altLang="de-DE" sz="1199" dirty="0">
                <a:solidFill>
                  <a:srgbClr val="9999A9"/>
                </a:solidFill>
                <a:ea typeface="Arial Unicode MS"/>
                <a:cs typeface="Arial" pitchFamily="34" charset="0"/>
              </a:rPr>
            </a:br>
            <a:r>
              <a:rPr lang="en-US" altLang="de-DE" sz="1199" dirty="0">
                <a:solidFill>
                  <a:srgbClr val="9999A9"/>
                </a:solidFill>
                <a:ea typeface="Arial Unicode MS"/>
                <a:cs typeface="Arial" pitchFamily="34" charset="0"/>
              </a:rPr>
              <a:t>Donec sodales sagittis magna</a:t>
            </a:r>
            <a:br>
              <a:rPr lang="en-US" altLang="de-DE" sz="1199" dirty="0">
                <a:solidFill>
                  <a:srgbClr val="9999A9"/>
                </a:solidFill>
                <a:ea typeface="Arial Unicode MS"/>
                <a:cs typeface="Arial" pitchFamily="34" charset="0"/>
              </a:rPr>
            </a:br>
            <a:r>
              <a:rPr lang="en-US" altLang="de-DE" sz="1199" dirty="0">
                <a:solidFill>
                  <a:srgbClr val="9999A9"/>
                </a:solidFill>
                <a:ea typeface="Arial Unicode MS"/>
                <a:cs typeface="Arial" pitchFamily="34" charset="0"/>
              </a:rPr>
              <a:t>Maecenas nec odio</a:t>
            </a:r>
          </a:p>
        </p:txBody>
      </p:sp>
      <p:cxnSp>
        <p:nvCxnSpPr>
          <p:cNvPr id="128" name="Gerade Verbindung 127"/>
          <p:cNvCxnSpPr/>
          <p:nvPr/>
        </p:nvCxnSpPr>
        <p:spPr bwMode="gray">
          <a:xfrm flipH="1">
            <a:off x="410400" y="4726320"/>
            <a:ext cx="3744000" cy="0"/>
          </a:xfrm>
          <a:prstGeom prst="line">
            <a:avLst/>
          </a:prstGeom>
          <a:solidFill>
            <a:schemeClr val="tx2"/>
          </a:solidFill>
          <a:ln w="12700" cap="flat" cmpd="sng" algn="ctr">
            <a:solidFill>
              <a:srgbClr val="9999A9"/>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29" name="Rechteck 28"/>
          <p:cNvSpPr/>
          <p:nvPr/>
        </p:nvSpPr>
        <p:spPr bwMode="gray">
          <a:xfrm>
            <a:off x="410400" y="4727099"/>
            <a:ext cx="2158876" cy="1079438"/>
          </a:xfrm>
          <a:prstGeom prst="rect">
            <a:avLst/>
          </a:prstGeom>
          <a:noFill/>
          <a:ln w="19050">
            <a:noFill/>
            <a:miter lim="800000"/>
          </a:ln>
          <a:effectLst/>
        </p:spPr>
        <p:txBody>
          <a:bodyPr wrap="square" lIns="0" tIns="71963" rIns="0" bIns="72000" numCol="1" spcCol="72000" rtlCol="0" anchor="t" anchorCtr="0">
            <a:spAutoFit/>
          </a:bodyPr>
          <a:lstStyle/>
          <a:p>
            <a:pPr>
              <a:tabLst>
                <a:tab pos="1255085" algn="r"/>
              </a:tabLst>
              <a:defRPr/>
            </a:pPr>
            <a:r>
              <a:rPr lang="en-US" altLang="de-DE" sz="1599" b="1" dirty="0">
                <a:solidFill>
                  <a:srgbClr val="00FFB9"/>
                </a:solidFill>
                <a:ea typeface="Arial Unicode MS"/>
              </a:rPr>
              <a:t>Duis arcu tortor, suscipit eget</a:t>
            </a:r>
          </a:p>
          <a:p>
            <a:pPr marL="0" lvl="1">
              <a:spcBef>
                <a:spcPts val="300"/>
              </a:spcBef>
              <a:buClr>
                <a:srgbClr val="3C464B"/>
              </a:buClr>
              <a:tabLst>
                <a:tab pos="1255085" algn="r"/>
              </a:tabLst>
              <a:defRPr/>
            </a:pPr>
            <a:r>
              <a:rPr lang="en-US" altLang="de-DE" sz="1199" dirty="0">
                <a:solidFill>
                  <a:srgbClr val="9999A9"/>
                </a:solidFill>
                <a:ea typeface="Arial Unicode MS"/>
                <a:cs typeface="Arial" pitchFamily="34" charset="0"/>
              </a:rPr>
              <a:t>Consetetur sadipscing elitr, seddiam nonumy</a:t>
            </a:r>
          </a:p>
        </p:txBody>
      </p:sp>
      <p:sp>
        <p:nvSpPr>
          <p:cNvPr id="135" name="Rechteck 28"/>
          <p:cNvSpPr/>
          <p:nvPr/>
        </p:nvSpPr>
        <p:spPr bwMode="gray">
          <a:xfrm flipH="1">
            <a:off x="9627524" y="2207436"/>
            <a:ext cx="2158876" cy="983547"/>
          </a:xfrm>
          <a:prstGeom prst="rect">
            <a:avLst/>
          </a:prstGeom>
          <a:noFill/>
          <a:ln w="19050">
            <a:noFill/>
            <a:miter lim="800000"/>
          </a:ln>
          <a:effectLst/>
        </p:spPr>
        <p:txBody>
          <a:bodyPr wrap="square" lIns="0" tIns="71963" rIns="0" bIns="72000" numCol="1" spcCol="72000" rtlCol="0" anchor="t" anchorCtr="0">
            <a:spAutoFit/>
          </a:bodyPr>
          <a:lstStyle/>
          <a:p>
            <a:pPr algn="r">
              <a:tabLst>
                <a:tab pos="1255085" algn="r"/>
              </a:tabLst>
              <a:defRPr/>
            </a:pPr>
            <a:r>
              <a:rPr lang="en-US" altLang="de-DE" sz="1599" b="1" dirty="0">
                <a:solidFill>
                  <a:srgbClr val="00FFB9"/>
                </a:solidFill>
                <a:ea typeface="Arial Unicode MS"/>
              </a:rPr>
              <a:t>Phasellus nec sem</a:t>
            </a:r>
          </a:p>
          <a:p>
            <a:pPr marL="0" lvl="1" algn="r">
              <a:spcBef>
                <a:spcPts val="300"/>
              </a:spcBef>
              <a:buClr>
                <a:srgbClr val="3C464B"/>
              </a:buClr>
              <a:tabLst>
                <a:tab pos="1255085" algn="r"/>
              </a:tabLst>
              <a:defRPr/>
            </a:pPr>
            <a:r>
              <a:rPr lang="en-US" altLang="de-DE" sz="1199" dirty="0">
                <a:solidFill>
                  <a:srgbClr val="9999A9"/>
                </a:solidFill>
                <a:ea typeface="Arial Unicode MS"/>
                <a:cs typeface="Arial" pitchFamily="34" charset="0"/>
              </a:rPr>
              <a:t>Stet clita kasd gubergren, no sea takimata sanctus est lorem ipsum dolor sit amet</a:t>
            </a:r>
          </a:p>
        </p:txBody>
      </p:sp>
      <p:cxnSp>
        <p:nvCxnSpPr>
          <p:cNvPr id="136" name="Gerade Verbindung 135"/>
          <p:cNvCxnSpPr/>
          <p:nvPr/>
        </p:nvCxnSpPr>
        <p:spPr bwMode="gray">
          <a:xfrm>
            <a:off x="8042400" y="3647170"/>
            <a:ext cx="3744000" cy="0"/>
          </a:xfrm>
          <a:prstGeom prst="line">
            <a:avLst/>
          </a:prstGeom>
          <a:solidFill>
            <a:schemeClr val="tx2"/>
          </a:solidFill>
          <a:ln w="12700" cap="flat" cmpd="sng" algn="ctr">
            <a:solidFill>
              <a:srgbClr val="9999A9"/>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37" name="Rechteck 28"/>
          <p:cNvSpPr/>
          <p:nvPr/>
        </p:nvSpPr>
        <p:spPr bwMode="gray">
          <a:xfrm flipH="1">
            <a:off x="9627524" y="3646687"/>
            <a:ext cx="2158876" cy="983547"/>
          </a:xfrm>
          <a:prstGeom prst="rect">
            <a:avLst/>
          </a:prstGeom>
          <a:noFill/>
          <a:ln w="19050">
            <a:noFill/>
            <a:miter lim="800000"/>
          </a:ln>
          <a:effectLst/>
        </p:spPr>
        <p:txBody>
          <a:bodyPr wrap="square" lIns="0" tIns="71963" rIns="0" bIns="72000" numCol="1" spcCol="72000" rtlCol="0" anchor="t" anchorCtr="0">
            <a:spAutoFit/>
          </a:bodyPr>
          <a:lstStyle/>
          <a:p>
            <a:pPr algn="r">
              <a:tabLst>
                <a:tab pos="1255085" algn="r"/>
              </a:tabLst>
              <a:defRPr/>
            </a:pPr>
            <a:r>
              <a:rPr lang="en-US" altLang="de-DE" sz="1599" b="1" dirty="0">
                <a:solidFill>
                  <a:srgbClr val="00FFB9"/>
                </a:solidFill>
                <a:ea typeface="Arial Unicode MS"/>
              </a:rPr>
              <a:t>Cras ultricies mi eu</a:t>
            </a:r>
          </a:p>
          <a:p>
            <a:pPr marL="0" lvl="1" algn="r">
              <a:spcBef>
                <a:spcPts val="300"/>
              </a:spcBef>
              <a:buClr>
                <a:srgbClr val="3C464B"/>
              </a:buClr>
              <a:tabLst>
                <a:tab pos="1255085" algn="r"/>
              </a:tabLst>
              <a:defRPr/>
            </a:pPr>
            <a:r>
              <a:rPr lang="en-US" altLang="de-DE" sz="1199" dirty="0">
                <a:solidFill>
                  <a:srgbClr val="9999A9"/>
                </a:solidFill>
                <a:ea typeface="Arial Unicode MS"/>
                <a:cs typeface="Arial" pitchFamily="34" charset="0"/>
              </a:rPr>
              <a:t>Phasellus nec sem</a:t>
            </a:r>
            <a:br>
              <a:rPr lang="en-US" altLang="de-DE" sz="1199" dirty="0">
                <a:solidFill>
                  <a:srgbClr val="9999A9"/>
                </a:solidFill>
                <a:ea typeface="Arial Unicode MS"/>
                <a:cs typeface="Arial" pitchFamily="34" charset="0"/>
              </a:rPr>
            </a:br>
            <a:r>
              <a:rPr lang="en-US" altLang="de-DE" sz="1199" dirty="0">
                <a:solidFill>
                  <a:srgbClr val="9999A9"/>
                </a:solidFill>
                <a:ea typeface="Arial Unicode MS"/>
                <a:cs typeface="Arial" pitchFamily="34" charset="0"/>
              </a:rPr>
              <a:t>Maecenas nec odio</a:t>
            </a:r>
            <a:br>
              <a:rPr lang="en-US" altLang="de-DE" sz="1199" dirty="0">
                <a:solidFill>
                  <a:srgbClr val="9999A9"/>
                </a:solidFill>
                <a:ea typeface="Arial Unicode MS"/>
                <a:cs typeface="Arial" pitchFamily="34" charset="0"/>
              </a:rPr>
            </a:br>
            <a:r>
              <a:rPr lang="en-US" altLang="de-DE" sz="1199" dirty="0">
                <a:solidFill>
                  <a:srgbClr val="9999A9"/>
                </a:solidFill>
                <a:ea typeface="Arial Unicode MS"/>
                <a:cs typeface="Arial" pitchFamily="34" charset="0"/>
              </a:rPr>
              <a:t>Phasellus nec sem</a:t>
            </a:r>
          </a:p>
        </p:txBody>
      </p:sp>
      <p:cxnSp>
        <p:nvCxnSpPr>
          <p:cNvPr id="138" name="Gerade Verbindung 137"/>
          <p:cNvCxnSpPr/>
          <p:nvPr/>
        </p:nvCxnSpPr>
        <p:spPr bwMode="gray">
          <a:xfrm>
            <a:off x="8042400" y="5086037"/>
            <a:ext cx="3744000" cy="0"/>
          </a:xfrm>
          <a:prstGeom prst="line">
            <a:avLst/>
          </a:prstGeom>
          <a:solidFill>
            <a:schemeClr val="tx2"/>
          </a:solidFill>
          <a:ln w="12700" cap="flat" cmpd="sng" algn="ctr">
            <a:solidFill>
              <a:srgbClr val="9999A9"/>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39" name="Rechteck 28"/>
          <p:cNvSpPr/>
          <p:nvPr/>
        </p:nvSpPr>
        <p:spPr bwMode="gray">
          <a:xfrm flipH="1">
            <a:off x="9627524" y="5087104"/>
            <a:ext cx="2158876" cy="1079438"/>
          </a:xfrm>
          <a:prstGeom prst="rect">
            <a:avLst/>
          </a:prstGeom>
          <a:noFill/>
          <a:ln w="19050">
            <a:noFill/>
            <a:miter lim="800000"/>
          </a:ln>
          <a:effectLst/>
        </p:spPr>
        <p:txBody>
          <a:bodyPr wrap="square" lIns="0" tIns="71963" rIns="0" bIns="72000" numCol="1" spcCol="72000" rtlCol="0" anchor="t" anchorCtr="0">
            <a:spAutoFit/>
          </a:bodyPr>
          <a:lstStyle/>
          <a:p>
            <a:pPr algn="r">
              <a:tabLst>
                <a:tab pos="1255085" algn="r"/>
              </a:tabLst>
              <a:defRPr/>
            </a:pPr>
            <a:r>
              <a:rPr lang="en-US" altLang="de-DE" sz="1599" b="1" dirty="0">
                <a:solidFill>
                  <a:srgbClr val="00FFB9"/>
                </a:solidFill>
                <a:ea typeface="Arial Unicode MS"/>
              </a:rPr>
              <a:t>Duis arcu tortor, suscipit eget</a:t>
            </a:r>
          </a:p>
          <a:p>
            <a:pPr marL="0" lvl="1" algn="r">
              <a:spcBef>
                <a:spcPts val="300"/>
              </a:spcBef>
              <a:buClr>
                <a:srgbClr val="3C464B"/>
              </a:buClr>
              <a:tabLst>
                <a:tab pos="1255085" algn="r"/>
              </a:tabLst>
              <a:defRPr/>
            </a:pPr>
            <a:r>
              <a:rPr lang="en-US" altLang="de-DE" sz="1199" dirty="0">
                <a:solidFill>
                  <a:srgbClr val="9999A9"/>
                </a:solidFill>
                <a:ea typeface="Arial Unicode MS"/>
                <a:cs typeface="Arial" pitchFamily="34" charset="0"/>
              </a:rPr>
              <a:t>Maecenas nec odio</a:t>
            </a:r>
            <a:br>
              <a:rPr lang="en-US" altLang="de-DE" sz="1199" dirty="0">
                <a:solidFill>
                  <a:srgbClr val="9999A9"/>
                </a:solidFill>
                <a:ea typeface="Arial Unicode MS"/>
                <a:cs typeface="Arial" pitchFamily="34" charset="0"/>
              </a:rPr>
            </a:br>
            <a:r>
              <a:rPr lang="en-US" altLang="de-DE" sz="1199" dirty="0">
                <a:solidFill>
                  <a:srgbClr val="9999A9"/>
                </a:solidFill>
                <a:ea typeface="Arial Unicode MS"/>
                <a:cs typeface="Arial" pitchFamily="34" charset="0"/>
              </a:rPr>
              <a:t>Donec sodales sagittis magna</a:t>
            </a:r>
          </a:p>
        </p:txBody>
      </p:sp>
      <p:grpSp>
        <p:nvGrpSpPr>
          <p:cNvPr id="8" name="Group 7"/>
          <p:cNvGrpSpPr/>
          <p:nvPr/>
        </p:nvGrpSpPr>
        <p:grpSpPr>
          <a:xfrm>
            <a:off x="4299337" y="1414465"/>
            <a:ext cx="3598126" cy="4392266"/>
            <a:chOff x="4299174" y="1872000"/>
            <a:chExt cx="3600000" cy="4321168"/>
          </a:xfrm>
        </p:grpSpPr>
        <p:grpSp>
          <p:nvGrpSpPr>
            <p:cNvPr id="7" name="Group 6"/>
            <p:cNvGrpSpPr/>
            <p:nvPr/>
          </p:nvGrpSpPr>
          <p:grpSpPr>
            <a:xfrm flipH="1">
              <a:off x="4299174" y="2232000"/>
              <a:ext cx="3600000" cy="3601168"/>
              <a:chOff x="7126281" y="2592000"/>
              <a:chExt cx="3600000" cy="3601168"/>
            </a:xfrm>
            <a:solidFill>
              <a:srgbClr val="3C464B"/>
            </a:solidFill>
          </p:grpSpPr>
          <p:sp>
            <p:nvSpPr>
              <p:cNvPr id="57" name="Freeform 56"/>
              <p:cNvSpPr/>
              <p:nvPr/>
            </p:nvSpPr>
            <p:spPr bwMode="auto">
              <a:xfrm>
                <a:off x="7126281" y="5472975"/>
                <a:ext cx="3600000" cy="720193"/>
              </a:xfrm>
              <a:custGeom>
                <a:avLst/>
                <a:gdLst>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944463 w 3600000"/>
                  <a:gd name="connsiteY9" fmla="*/ 360193 h 720193"/>
                  <a:gd name="connsiteX10" fmla="*/ 1944463 w 3600000"/>
                  <a:gd name="connsiteY10" fmla="*/ 360000 h 720193"/>
                  <a:gd name="connsiteX11" fmla="*/ 1151910 w 3600000"/>
                  <a:gd name="connsiteY11" fmla="*/ 36000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944463 w 3600000"/>
                  <a:gd name="connsiteY9" fmla="*/ 360193 h 720193"/>
                  <a:gd name="connsiteX10" fmla="*/ 1151910 w 3600000"/>
                  <a:gd name="connsiteY10" fmla="*/ 360000 h 720193"/>
                  <a:gd name="connsiteX11" fmla="*/ 1151910 w 3600000"/>
                  <a:gd name="connsiteY11" fmla="*/ 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151910 w 3600000"/>
                  <a:gd name="connsiteY9" fmla="*/ 360000 h 720193"/>
                  <a:gd name="connsiteX10" fmla="*/ 1151910 w 3600000"/>
                  <a:gd name="connsiteY10" fmla="*/ 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151910 w 3600000"/>
                  <a:gd name="connsiteY9" fmla="*/ 0 h 720193"/>
                  <a:gd name="connsiteX0" fmla="*/ 0 w 3600000"/>
                  <a:gd name="connsiteY0" fmla="*/ 360193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376080 w 3600000"/>
                  <a:gd name="connsiteY3" fmla="*/ 360000 h 720193"/>
                  <a:gd name="connsiteX4" fmla="*/ 2736130 w 3600000"/>
                  <a:gd name="connsiteY4" fmla="*/ 360193 h 720193"/>
                  <a:gd name="connsiteX5" fmla="*/ 2736130 w 3600000"/>
                  <a:gd name="connsiteY5" fmla="*/ 720193 h 720193"/>
                  <a:gd name="connsiteX6" fmla="*/ 0 w 3600000"/>
                  <a:gd name="connsiteY6" fmla="*/ 720193 h 720193"/>
                  <a:gd name="connsiteX7" fmla="*/ 0 w 3600000"/>
                  <a:gd name="connsiteY7"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736130 w 3600000"/>
                  <a:gd name="connsiteY3" fmla="*/ 360193 h 720193"/>
                  <a:gd name="connsiteX4" fmla="*/ 2736130 w 3600000"/>
                  <a:gd name="connsiteY4" fmla="*/ 720193 h 720193"/>
                  <a:gd name="connsiteX5" fmla="*/ 0 w 3600000"/>
                  <a:gd name="connsiteY5" fmla="*/ 720193 h 720193"/>
                  <a:gd name="connsiteX6" fmla="*/ 0 w 3600000"/>
                  <a:gd name="connsiteY6"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736130 w 3600000"/>
                  <a:gd name="connsiteY3" fmla="*/ 720193 h 720193"/>
                  <a:gd name="connsiteX4" fmla="*/ 0 w 3600000"/>
                  <a:gd name="connsiteY4" fmla="*/ 720193 h 720193"/>
                  <a:gd name="connsiteX5" fmla="*/ 0 w 3600000"/>
                  <a:gd name="connsiteY5"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0 w 3600000"/>
                  <a:gd name="connsiteY3" fmla="*/ 720193 h 720193"/>
                  <a:gd name="connsiteX4" fmla="*/ 0 w 3600000"/>
                  <a:gd name="connsiteY4" fmla="*/ 360193 h 720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0000" h="720193">
                    <a:moveTo>
                      <a:pt x="0" y="360193"/>
                    </a:moveTo>
                    <a:lnTo>
                      <a:pt x="3600000" y="0"/>
                    </a:lnTo>
                    <a:lnTo>
                      <a:pt x="3600000" y="360000"/>
                    </a:lnTo>
                    <a:lnTo>
                      <a:pt x="0" y="720193"/>
                    </a:lnTo>
                    <a:lnTo>
                      <a:pt x="0" y="360193"/>
                    </a:lnTo>
                    <a:close/>
                  </a:path>
                </a:pathLst>
              </a:custGeom>
              <a:solidFill>
                <a:srgbClr val="33335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58" name="Freeform 57"/>
              <p:cNvSpPr/>
              <p:nvPr/>
            </p:nvSpPr>
            <p:spPr bwMode="auto">
              <a:xfrm>
                <a:off x="7126281" y="4752000"/>
                <a:ext cx="3600000" cy="720193"/>
              </a:xfrm>
              <a:custGeom>
                <a:avLst/>
                <a:gdLst>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944463 w 3600000"/>
                  <a:gd name="connsiteY9" fmla="*/ 360193 h 720193"/>
                  <a:gd name="connsiteX10" fmla="*/ 1944463 w 3600000"/>
                  <a:gd name="connsiteY10" fmla="*/ 360000 h 720193"/>
                  <a:gd name="connsiteX11" fmla="*/ 1151910 w 3600000"/>
                  <a:gd name="connsiteY11" fmla="*/ 36000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944463 w 3600000"/>
                  <a:gd name="connsiteY9" fmla="*/ 360193 h 720193"/>
                  <a:gd name="connsiteX10" fmla="*/ 1151910 w 3600000"/>
                  <a:gd name="connsiteY10" fmla="*/ 360000 h 720193"/>
                  <a:gd name="connsiteX11" fmla="*/ 1151910 w 3600000"/>
                  <a:gd name="connsiteY11" fmla="*/ 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151910 w 3600000"/>
                  <a:gd name="connsiteY9" fmla="*/ 360000 h 720193"/>
                  <a:gd name="connsiteX10" fmla="*/ 1151910 w 3600000"/>
                  <a:gd name="connsiteY10" fmla="*/ 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151910 w 3600000"/>
                  <a:gd name="connsiteY9" fmla="*/ 0 h 720193"/>
                  <a:gd name="connsiteX0" fmla="*/ 0 w 3600000"/>
                  <a:gd name="connsiteY0" fmla="*/ 360193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376080 w 3600000"/>
                  <a:gd name="connsiteY3" fmla="*/ 360000 h 720193"/>
                  <a:gd name="connsiteX4" fmla="*/ 2736130 w 3600000"/>
                  <a:gd name="connsiteY4" fmla="*/ 360193 h 720193"/>
                  <a:gd name="connsiteX5" fmla="*/ 2736130 w 3600000"/>
                  <a:gd name="connsiteY5" fmla="*/ 720193 h 720193"/>
                  <a:gd name="connsiteX6" fmla="*/ 0 w 3600000"/>
                  <a:gd name="connsiteY6" fmla="*/ 720193 h 720193"/>
                  <a:gd name="connsiteX7" fmla="*/ 0 w 3600000"/>
                  <a:gd name="connsiteY7"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736130 w 3600000"/>
                  <a:gd name="connsiteY3" fmla="*/ 360193 h 720193"/>
                  <a:gd name="connsiteX4" fmla="*/ 2736130 w 3600000"/>
                  <a:gd name="connsiteY4" fmla="*/ 720193 h 720193"/>
                  <a:gd name="connsiteX5" fmla="*/ 0 w 3600000"/>
                  <a:gd name="connsiteY5" fmla="*/ 720193 h 720193"/>
                  <a:gd name="connsiteX6" fmla="*/ 0 w 3600000"/>
                  <a:gd name="connsiteY6"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736130 w 3600000"/>
                  <a:gd name="connsiteY3" fmla="*/ 720193 h 720193"/>
                  <a:gd name="connsiteX4" fmla="*/ 0 w 3600000"/>
                  <a:gd name="connsiteY4" fmla="*/ 720193 h 720193"/>
                  <a:gd name="connsiteX5" fmla="*/ 0 w 3600000"/>
                  <a:gd name="connsiteY5"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0 w 3600000"/>
                  <a:gd name="connsiteY3" fmla="*/ 720193 h 720193"/>
                  <a:gd name="connsiteX4" fmla="*/ 0 w 3600000"/>
                  <a:gd name="connsiteY4" fmla="*/ 360193 h 720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0000" h="720193">
                    <a:moveTo>
                      <a:pt x="0" y="360193"/>
                    </a:moveTo>
                    <a:lnTo>
                      <a:pt x="3600000" y="0"/>
                    </a:lnTo>
                    <a:lnTo>
                      <a:pt x="3600000" y="360000"/>
                    </a:lnTo>
                    <a:lnTo>
                      <a:pt x="0" y="720193"/>
                    </a:lnTo>
                    <a:lnTo>
                      <a:pt x="0" y="360193"/>
                    </a:lnTo>
                    <a:close/>
                  </a:path>
                </a:pathLst>
              </a:custGeom>
              <a:solidFill>
                <a:srgbClr val="33335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59" name="Freeform 58"/>
              <p:cNvSpPr/>
              <p:nvPr/>
            </p:nvSpPr>
            <p:spPr bwMode="auto">
              <a:xfrm>
                <a:off x="7126281" y="4032000"/>
                <a:ext cx="3600000" cy="720193"/>
              </a:xfrm>
              <a:custGeom>
                <a:avLst/>
                <a:gdLst>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944463 w 3600000"/>
                  <a:gd name="connsiteY9" fmla="*/ 360193 h 720193"/>
                  <a:gd name="connsiteX10" fmla="*/ 1944463 w 3600000"/>
                  <a:gd name="connsiteY10" fmla="*/ 360000 h 720193"/>
                  <a:gd name="connsiteX11" fmla="*/ 1151910 w 3600000"/>
                  <a:gd name="connsiteY11" fmla="*/ 36000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944463 w 3600000"/>
                  <a:gd name="connsiteY9" fmla="*/ 360193 h 720193"/>
                  <a:gd name="connsiteX10" fmla="*/ 1151910 w 3600000"/>
                  <a:gd name="connsiteY10" fmla="*/ 360000 h 720193"/>
                  <a:gd name="connsiteX11" fmla="*/ 1151910 w 3600000"/>
                  <a:gd name="connsiteY11" fmla="*/ 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151910 w 3600000"/>
                  <a:gd name="connsiteY9" fmla="*/ 360000 h 720193"/>
                  <a:gd name="connsiteX10" fmla="*/ 1151910 w 3600000"/>
                  <a:gd name="connsiteY10" fmla="*/ 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151910 w 3600000"/>
                  <a:gd name="connsiteY9" fmla="*/ 0 h 720193"/>
                  <a:gd name="connsiteX0" fmla="*/ 0 w 3600000"/>
                  <a:gd name="connsiteY0" fmla="*/ 360193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376080 w 3600000"/>
                  <a:gd name="connsiteY3" fmla="*/ 360000 h 720193"/>
                  <a:gd name="connsiteX4" fmla="*/ 2736130 w 3600000"/>
                  <a:gd name="connsiteY4" fmla="*/ 360193 h 720193"/>
                  <a:gd name="connsiteX5" fmla="*/ 2736130 w 3600000"/>
                  <a:gd name="connsiteY5" fmla="*/ 720193 h 720193"/>
                  <a:gd name="connsiteX6" fmla="*/ 0 w 3600000"/>
                  <a:gd name="connsiteY6" fmla="*/ 720193 h 720193"/>
                  <a:gd name="connsiteX7" fmla="*/ 0 w 3600000"/>
                  <a:gd name="connsiteY7"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736130 w 3600000"/>
                  <a:gd name="connsiteY3" fmla="*/ 360193 h 720193"/>
                  <a:gd name="connsiteX4" fmla="*/ 2736130 w 3600000"/>
                  <a:gd name="connsiteY4" fmla="*/ 720193 h 720193"/>
                  <a:gd name="connsiteX5" fmla="*/ 0 w 3600000"/>
                  <a:gd name="connsiteY5" fmla="*/ 720193 h 720193"/>
                  <a:gd name="connsiteX6" fmla="*/ 0 w 3600000"/>
                  <a:gd name="connsiteY6"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736130 w 3600000"/>
                  <a:gd name="connsiteY3" fmla="*/ 720193 h 720193"/>
                  <a:gd name="connsiteX4" fmla="*/ 0 w 3600000"/>
                  <a:gd name="connsiteY4" fmla="*/ 720193 h 720193"/>
                  <a:gd name="connsiteX5" fmla="*/ 0 w 3600000"/>
                  <a:gd name="connsiteY5"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0 w 3600000"/>
                  <a:gd name="connsiteY3" fmla="*/ 720193 h 720193"/>
                  <a:gd name="connsiteX4" fmla="*/ 0 w 3600000"/>
                  <a:gd name="connsiteY4" fmla="*/ 360193 h 720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0000" h="720193">
                    <a:moveTo>
                      <a:pt x="0" y="360193"/>
                    </a:moveTo>
                    <a:lnTo>
                      <a:pt x="3600000" y="0"/>
                    </a:lnTo>
                    <a:lnTo>
                      <a:pt x="3600000" y="360000"/>
                    </a:lnTo>
                    <a:lnTo>
                      <a:pt x="0" y="720193"/>
                    </a:lnTo>
                    <a:lnTo>
                      <a:pt x="0" y="360193"/>
                    </a:lnTo>
                    <a:close/>
                  </a:path>
                </a:pathLst>
              </a:custGeom>
              <a:solidFill>
                <a:srgbClr val="00AF8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60" name="Freeform 59"/>
              <p:cNvSpPr/>
              <p:nvPr/>
            </p:nvSpPr>
            <p:spPr bwMode="auto">
              <a:xfrm>
                <a:off x="7126281" y="3312000"/>
                <a:ext cx="3600000" cy="720193"/>
              </a:xfrm>
              <a:custGeom>
                <a:avLst/>
                <a:gdLst>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944463 w 3600000"/>
                  <a:gd name="connsiteY9" fmla="*/ 360193 h 720193"/>
                  <a:gd name="connsiteX10" fmla="*/ 1944463 w 3600000"/>
                  <a:gd name="connsiteY10" fmla="*/ 360000 h 720193"/>
                  <a:gd name="connsiteX11" fmla="*/ 1151910 w 3600000"/>
                  <a:gd name="connsiteY11" fmla="*/ 36000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944463 w 3600000"/>
                  <a:gd name="connsiteY9" fmla="*/ 360193 h 720193"/>
                  <a:gd name="connsiteX10" fmla="*/ 1151910 w 3600000"/>
                  <a:gd name="connsiteY10" fmla="*/ 360000 h 720193"/>
                  <a:gd name="connsiteX11" fmla="*/ 1151910 w 3600000"/>
                  <a:gd name="connsiteY11" fmla="*/ 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151910 w 3600000"/>
                  <a:gd name="connsiteY9" fmla="*/ 360000 h 720193"/>
                  <a:gd name="connsiteX10" fmla="*/ 1151910 w 3600000"/>
                  <a:gd name="connsiteY10" fmla="*/ 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151910 w 3600000"/>
                  <a:gd name="connsiteY9" fmla="*/ 0 h 720193"/>
                  <a:gd name="connsiteX0" fmla="*/ 0 w 3600000"/>
                  <a:gd name="connsiteY0" fmla="*/ 360193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376080 w 3600000"/>
                  <a:gd name="connsiteY3" fmla="*/ 360000 h 720193"/>
                  <a:gd name="connsiteX4" fmla="*/ 2736130 w 3600000"/>
                  <a:gd name="connsiteY4" fmla="*/ 360193 h 720193"/>
                  <a:gd name="connsiteX5" fmla="*/ 2736130 w 3600000"/>
                  <a:gd name="connsiteY5" fmla="*/ 720193 h 720193"/>
                  <a:gd name="connsiteX6" fmla="*/ 0 w 3600000"/>
                  <a:gd name="connsiteY6" fmla="*/ 720193 h 720193"/>
                  <a:gd name="connsiteX7" fmla="*/ 0 w 3600000"/>
                  <a:gd name="connsiteY7"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736130 w 3600000"/>
                  <a:gd name="connsiteY3" fmla="*/ 360193 h 720193"/>
                  <a:gd name="connsiteX4" fmla="*/ 2736130 w 3600000"/>
                  <a:gd name="connsiteY4" fmla="*/ 720193 h 720193"/>
                  <a:gd name="connsiteX5" fmla="*/ 0 w 3600000"/>
                  <a:gd name="connsiteY5" fmla="*/ 720193 h 720193"/>
                  <a:gd name="connsiteX6" fmla="*/ 0 w 3600000"/>
                  <a:gd name="connsiteY6"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736130 w 3600000"/>
                  <a:gd name="connsiteY3" fmla="*/ 720193 h 720193"/>
                  <a:gd name="connsiteX4" fmla="*/ 0 w 3600000"/>
                  <a:gd name="connsiteY4" fmla="*/ 720193 h 720193"/>
                  <a:gd name="connsiteX5" fmla="*/ 0 w 3600000"/>
                  <a:gd name="connsiteY5"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0 w 3600000"/>
                  <a:gd name="connsiteY3" fmla="*/ 720193 h 720193"/>
                  <a:gd name="connsiteX4" fmla="*/ 0 w 3600000"/>
                  <a:gd name="connsiteY4" fmla="*/ 360193 h 720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0000" h="720193">
                    <a:moveTo>
                      <a:pt x="0" y="360193"/>
                    </a:moveTo>
                    <a:lnTo>
                      <a:pt x="3600000" y="0"/>
                    </a:lnTo>
                    <a:lnTo>
                      <a:pt x="3600000" y="360000"/>
                    </a:lnTo>
                    <a:lnTo>
                      <a:pt x="0" y="720193"/>
                    </a:lnTo>
                    <a:lnTo>
                      <a:pt x="0" y="360193"/>
                    </a:lnTo>
                    <a:close/>
                  </a:path>
                </a:pathLst>
              </a:custGeom>
              <a:solidFill>
                <a:srgbClr val="00AF8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61" name="Freeform 60"/>
              <p:cNvSpPr/>
              <p:nvPr/>
            </p:nvSpPr>
            <p:spPr bwMode="auto">
              <a:xfrm>
                <a:off x="7126281" y="2592000"/>
                <a:ext cx="3600000" cy="720193"/>
              </a:xfrm>
              <a:custGeom>
                <a:avLst/>
                <a:gdLst>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944463 w 3600000"/>
                  <a:gd name="connsiteY9" fmla="*/ 360193 h 720193"/>
                  <a:gd name="connsiteX10" fmla="*/ 1944463 w 3600000"/>
                  <a:gd name="connsiteY10" fmla="*/ 360000 h 720193"/>
                  <a:gd name="connsiteX11" fmla="*/ 1151910 w 3600000"/>
                  <a:gd name="connsiteY11" fmla="*/ 36000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944463 w 3600000"/>
                  <a:gd name="connsiteY9" fmla="*/ 360193 h 720193"/>
                  <a:gd name="connsiteX10" fmla="*/ 1151910 w 3600000"/>
                  <a:gd name="connsiteY10" fmla="*/ 360000 h 720193"/>
                  <a:gd name="connsiteX11" fmla="*/ 1151910 w 3600000"/>
                  <a:gd name="connsiteY11" fmla="*/ 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151910 w 3600000"/>
                  <a:gd name="connsiteY9" fmla="*/ 360000 h 720193"/>
                  <a:gd name="connsiteX10" fmla="*/ 1151910 w 3600000"/>
                  <a:gd name="connsiteY10" fmla="*/ 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151910 w 3600000"/>
                  <a:gd name="connsiteY9" fmla="*/ 0 h 720193"/>
                  <a:gd name="connsiteX0" fmla="*/ 0 w 3600000"/>
                  <a:gd name="connsiteY0" fmla="*/ 360193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376080 w 3600000"/>
                  <a:gd name="connsiteY3" fmla="*/ 360000 h 720193"/>
                  <a:gd name="connsiteX4" fmla="*/ 2736130 w 3600000"/>
                  <a:gd name="connsiteY4" fmla="*/ 360193 h 720193"/>
                  <a:gd name="connsiteX5" fmla="*/ 2736130 w 3600000"/>
                  <a:gd name="connsiteY5" fmla="*/ 720193 h 720193"/>
                  <a:gd name="connsiteX6" fmla="*/ 0 w 3600000"/>
                  <a:gd name="connsiteY6" fmla="*/ 720193 h 720193"/>
                  <a:gd name="connsiteX7" fmla="*/ 0 w 3600000"/>
                  <a:gd name="connsiteY7"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736130 w 3600000"/>
                  <a:gd name="connsiteY3" fmla="*/ 360193 h 720193"/>
                  <a:gd name="connsiteX4" fmla="*/ 2736130 w 3600000"/>
                  <a:gd name="connsiteY4" fmla="*/ 720193 h 720193"/>
                  <a:gd name="connsiteX5" fmla="*/ 0 w 3600000"/>
                  <a:gd name="connsiteY5" fmla="*/ 720193 h 720193"/>
                  <a:gd name="connsiteX6" fmla="*/ 0 w 3600000"/>
                  <a:gd name="connsiteY6"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736130 w 3600000"/>
                  <a:gd name="connsiteY3" fmla="*/ 720193 h 720193"/>
                  <a:gd name="connsiteX4" fmla="*/ 0 w 3600000"/>
                  <a:gd name="connsiteY4" fmla="*/ 720193 h 720193"/>
                  <a:gd name="connsiteX5" fmla="*/ 0 w 3600000"/>
                  <a:gd name="connsiteY5"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0 w 3600000"/>
                  <a:gd name="connsiteY3" fmla="*/ 720193 h 720193"/>
                  <a:gd name="connsiteX4" fmla="*/ 0 w 3600000"/>
                  <a:gd name="connsiteY4" fmla="*/ 360193 h 720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0000" h="720193">
                    <a:moveTo>
                      <a:pt x="0" y="360193"/>
                    </a:moveTo>
                    <a:lnTo>
                      <a:pt x="3600000" y="0"/>
                    </a:lnTo>
                    <a:lnTo>
                      <a:pt x="3600000" y="360000"/>
                    </a:lnTo>
                    <a:lnTo>
                      <a:pt x="0" y="720193"/>
                    </a:lnTo>
                    <a:lnTo>
                      <a:pt x="0" y="360193"/>
                    </a:lnTo>
                    <a:close/>
                  </a:path>
                </a:pathLst>
              </a:custGeom>
              <a:solidFill>
                <a:srgbClr val="00AF8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grpSp>
        <p:sp>
          <p:nvSpPr>
            <p:cNvPr id="51" name="Freeform 50"/>
            <p:cNvSpPr/>
            <p:nvPr/>
          </p:nvSpPr>
          <p:spPr bwMode="auto">
            <a:xfrm>
              <a:off x="4299174" y="5472975"/>
              <a:ext cx="3600000" cy="720193"/>
            </a:xfrm>
            <a:custGeom>
              <a:avLst/>
              <a:gdLst>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944463 w 3600000"/>
                <a:gd name="connsiteY9" fmla="*/ 360193 h 720193"/>
                <a:gd name="connsiteX10" fmla="*/ 1944463 w 3600000"/>
                <a:gd name="connsiteY10" fmla="*/ 360000 h 720193"/>
                <a:gd name="connsiteX11" fmla="*/ 1151910 w 3600000"/>
                <a:gd name="connsiteY11" fmla="*/ 36000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944463 w 3600000"/>
                <a:gd name="connsiteY9" fmla="*/ 360193 h 720193"/>
                <a:gd name="connsiteX10" fmla="*/ 1151910 w 3600000"/>
                <a:gd name="connsiteY10" fmla="*/ 360000 h 720193"/>
                <a:gd name="connsiteX11" fmla="*/ 1151910 w 3600000"/>
                <a:gd name="connsiteY11" fmla="*/ 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151910 w 3600000"/>
                <a:gd name="connsiteY9" fmla="*/ 360000 h 720193"/>
                <a:gd name="connsiteX10" fmla="*/ 1151910 w 3600000"/>
                <a:gd name="connsiteY10" fmla="*/ 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151910 w 3600000"/>
                <a:gd name="connsiteY9" fmla="*/ 0 h 720193"/>
                <a:gd name="connsiteX0" fmla="*/ 0 w 3600000"/>
                <a:gd name="connsiteY0" fmla="*/ 360193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376080 w 3600000"/>
                <a:gd name="connsiteY3" fmla="*/ 360000 h 720193"/>
                <a:gd name="connsiteX4" fmla="*/ 2736130 w 3600000"/>
                <a:gd name="connsiteY4" fmla="*/ 360193 h 720193"/>
                <a:gd name="connsiteX5" fmla="*/ 2736130 w 3600000"/>
                <a:gd name="connsiteY5" fmla="*/ 720193 h 720193"/>
                <a:gd name="connsiteX6" fmla="*/ 0 w 3600000"/>
                <a:gd name="connsiteY6" fmla="*/ 720193 h 720193"/>
                <a:gd name="connsiteX7" fmla="*/ 0 w 3600000"/>
                <a:gd name="connsiteY7"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736130 w 3600000"/>
                <a:gd name="connsiteY3" fmla="*/ 360193 h 720193"/>
                <a:gd name="connsiteX4" fmla="*/ 2736130 w 3600000"/>
                <a:gd name="connsiteY4" fmla="*/ 720193 h 720193"/>
                <a:gd name="connsiteX5" fmla="*/ 0 w 3600000"/>
                <a:gd name="connsiteY5" fmla="*/ 720193 h 720193"/>
                <a:gd name="connsiteX6" fmla="*/ 0 w 3600000"/>
                <a:gd name="connsiteY6"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736130 w 3600000"/>
                <a:gd name="connsiteY3" fmla="*/ 720193 h 720193"/>
                <a:gd name="connsiteX4" fmla="*/ 0 w 3600000"/>
                <a:gd name="connsiteY4" fmla="*/ 720193 h 720193"/>
                <a:gd name="connsiteX5" fmla="*/ 0 w 3600000"/>
                <a:gd name="connsiteY5"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0 w 3600000"/>
                <a:gd name="connsiteY3" fmla="*/ 720193 h 720193"/>
                <a:gd name="connsiteX4" fmla="*/ 0 w 3600000"/>
                <a:gd name="connsiteY4" fmla="*/ 360193 h 720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0000" h="720193">
                  <a:moveTo>
                    <a:pt x="0" y="360193"/>
                  </a:moveTo>
                  <a:lnTo>
                    <a:pt x="3600000" y="0"/>
                  </a:lnTo>
                  <a:lnTo>
                    <a:pt x="3600000" y="360000"/>
                  </a:lnTo>
                  <a:lnTo>
                    <a:pt x="0" y="720193"/>
                  </a:lnTo>
                  <a:lnTo>
                    <a:pt x="0" y="360193"/>
                  </a:lnTo>
                  <a:close/>
                </a:path>
              </a:pathLst>
            </a:custGeom>
            <a:solidFill>
              <a:srgbClr val="00646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52" name="Freeform 51"/>
            <p:cNvSpPr/>
            <p:nvPr/>
          </p:nvSpPr>
          <p:spPr bwMode="auto">
            <a:xfrm>
              <a:off x="4299174" y="4752000"/>
              <a:ext cx="3600000" cy="720193"/>
            </a:xfrm>
            <a:custGeom>
              <a:avLst/>
              <a:gdLst>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944463 w 3600000"/>
                <a:gd name="connsiteY9" fmla="*/ 360193 h 720193"/>
                <a:gd name="connsiteX10" fmla="*/ 1944463 w 3600000"/>
                <a:gd name="connsiteY10" fmla="*/ 360000 h 720193"/>
                <a:gd name="connsiteX11" fmla="*/ 1151910 w 3600000"/>
                <a:gd name="connsiteY11" fmla="*/ 36000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944463 w 3600000"/>
                <a:gd name="connsiteY9" fmla="*/ 360193 h 720193"/>
                <a:gd name="connsiteX10" fmla="*/ 1151910 w 3600000"/>
                <a:gd name="connsiteY10" fmla="*/ 360000 h 720193"/>
                <a:gd name="connsiteX11" fmla="*/ 1151910 w 3600000"/>
                <a:gd name="connsiteY11" fmla="*/ 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151910 w 3600000"/>
                <a:gd name="connsiteY9" fmla="*/ 360000 h 720193"/>
                <a:gd name="connsiteX10" fmla="*/ 1151910 w 3600000"/>
                <a:gd name="connsiteY10" fmla="*/ 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151910 w 3600000"/>
                <a:gd name="connsiteY9" fmla="*/ 0 h 720193"/>
                <a:gd name="connsiteX0" fmla="*/ 0 w 3600000"/>
                <a:gd name="connsiteY0" fmla="*/ 360193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376080 w 3600000"/>
                <a:gd name="connsiteY3" fmla="*/ 360000 h 720193"/>
                <a:gd name="connsiteX4" fmla="*/ 2736130 w 3600000"/>
                <a:gd name="connsiteY4" fmla="*/ 360193 h 720193"/>
                <a:gd name="connsiteX5" fmla="*/ 2736130 w 3600000"/>
                <a:gd name="connsiteY5" fmla="*/ 720193 h 720193"/>
                <a:gd name="connsiteX6" fmla="*/ 0 w 3600000"/>
                <a:gd name="connsiteY6" fmla="*/ 720193 h 720193"/>
                <a:gd name="connsiteX7" fmla="*/ 0 w 3600000"/>
                <a:gd name="connsiteY7"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736130 w 3600000"/>
                <a:gd name="connsiteY3" fmla="*/ 360193 h 720193"/>
                <a:gd name="connsiteX4" fmla="*/ 2736130 w 3600000"/>
                <a:gd name="connsiteY4" fmla="*/ 720193 h 720193"/>
                <a:gd name="connsiteX5" fmla="*/ 0 w 3600000"/>
                <a:gd name="connsiteY5" fmla="*/ 720193 h 720193"/>
                <a:gd name="connsiteX6" fmla="*/ 0 w 3600000"/>
                <a:gd name="connsiteY6"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736130 w 3600000"/>
                <a:gd name="connsiteY3" fmla="*/ 720193 h 720193"/>
                <a:gd name="connsiteX4" fmla="*/ 0 w 3600000"/>
                <a:gd name="connsiteY4" fmla="*/ 720193 h 720193"/>
                <a:gd name="connsiteX5" fmla="*/ 0 w 3600000"/>
                <a:gd name="connsiteY5"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0 w 3600000"/>
                <a:gd name="connsiteY3" fmla="*/ 720193 h 720193"/>
                <a:gd name="connsiteX4" fmla="*/ 0 w 3600000"/>
                <a:gd name="connsiteY4" fmla="*/ 360193 h 720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0000" h="720193">
                  <a:moveTo>
                    <a:pt x="0" y="360193"/>
                  </a:moveTo>
                  <a:lnTo>
                    <a:pt x="3600000" y="0"/>
                  </a:lnTo>
                  <a:lnTo>
                    <a:pt x="3600000" y="360000"/>
                  </a:lnTo>
                  <a:lnTo>
                    <a:pt x="0" y="720193"/>
                  </a:lnTo>
                  <a:lnTo>
                    <a:pt x="0" y="360193"/>
                  </a:lnTo>
                  <a:close/>
                </a:path>
              </a:pathLst>
            </a:custGeom>
            <a:solidFill>
              <a:srgbClr val="66667E"/>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53" name="Freeform 52"/>
            <p:cNvSpPr/>
            <p:nvPr/>
          </p:nvSpPr>
          <p:spPr bwMode="auto">
            <a:xfrm>
              <a:off x="4299174" y="4032000"/>
              <a:ext cx="3600000" cy="720193"/>
            </a:xfrm>
            <a:custGeom>
              <a:avLst/>
              <a:gdLst>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944463 w 3600000"/>
                <a:gd name="connsiteY9" fmla="*/ 360193 h 720193"/>
                <a:gd name="connsiteX10" fmla="*/ 1944463 w 3600000"/>
                <a:gd name="connsiteY10" fmla="*/ 360000 h 720193"/>
                <a:gd name="connsiteX11" fmla="*/ 1151910 w 3600000"/>
                <a:gd name="connsiteY11" fmla="*/ 36000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944463 w 3600000"/>
                <a:gd name="connsiteY9" fmla="*/ 360193 h 720193"/>
                <a:gd name="connsiteX10" fmla="*/ 1151910 w 3600000"/>
                <a:gd name="connsiteY10" fmla="*/ 360000 h 720193"/>
                <a:gd name="connsiteX11" fmla="*/ 1151910 w 3600000"/>
                <a:gd name="connsiteY11" fmla="*/ 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151910 w 3600000"/>
                <a:gd name="connsiteY9" fmla="*/ 360000 h 720193"/>
                <a:gd name="connsiteX10" fmla="*/ 1151910 w 3600000"/>
                <a:gd name="connsiteY10" fmla="*/ 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151910 w 3600000"/>
                <a:gd name="connsiteY9" fmla="*/ 0 h 720193"/>
                <a:gd name="connsiteX0" fmla="*/ 0 w 3600000"/>
                <a:gd name="connsiteY0" fmla="*/ 360193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376080 w 3600000"/>
                <a:gd name="connsiteY3" fmla="*/ 360000 h 720193"/>
                <a:gd name="connsiteX4" fmla="*/ 2736130 w 3600000"/>
                <a:gd name="connsiteY4" fmla="*/ 360193 h 720193"/>
                <a:gd name="connsiteX5" fmla="*/ 2736130 w 3600000"/>
                <a:gd name="connsiteY5" fmla="*/ 720193 h 720193"/>
                <a:gd name="connsiteX6" fmla="*/ 0 w 3600000"/>
                <a:gd name="connsiteY6" fmla="*/ 720193 h 720193"/>
                <a:gd name="connsiteX7" fmla="*/ 0 w 3600000"/>
                <a:gd name="connsiteY7"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736130 w 3600000"/>
                <a:gd name="connsiteY3" fmla="*/ 360193 h 720193"/>
                <a:gd name="connsiteX4" fmla="*/ 2736130 w 3600000"/>
                <a:gd name="connsiteY4" fmla="*/ 720193 h 720193"/>
                <a:gd name="connsiteX5" fmla="*/ 0 w 3600000"/>
                <a:gd name="connsiteY5" fmla="*/ 720193 h 720193"/>
                <a:gd name="connsiteX6" fmla="*/ 0 w 3600000"/>
                <a:gd name="connsiteY6"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736130 w 3600000"/>
                <a:gd name="connsiteY3" fmla="*/ 720193 h 720193"/>
                <a:gd name="connsiteX4" fmla="*/ 0 w 3600000"/>
                <a:gd name="connsiteY4" fmla="*/ 720193 h 720193"/>
                <a:gd name="connsiteX5" fmla="*/ 0 w 3600000"/>
                <a:gd name="connsiteY5"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0 w 3600000"/>
                <a:gd name="connsiteY3" fmla="*/ 720193 h 720193"/>
                <a:gd name="connsiteX4" fmla="*/ 0 w 3600000"/>
                <a:gd name="connsiteY4" fmla="*/ 360193 h 720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0000" h="720193">
                  <a:moveTo>
                    <a:pt x="0" y="360193"/>
                  </a:moveTo>
                  <a:lnTo>
                    <a:pt x="3600000" y="0"/>
                  </a:lnTo>
                  <a:lnTo>
                    <a:pt x="3600000" y="360000"/>
                  </a:lnTo>
                  <a:lnTo>
                    <a:pt x="0" y="720193"/>
                  </a:lnTo>
                  <a:lnTo>
                    <a:pt x="0" y="360193"/>
                  </a:lnTo>
                  <a:close/>
                </a:path>
              </a:pathLst>
            </a:custGeom>
            <a:solidFill>
              <a:srgbClr val="66667E"/>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54" name="Freeform 53"/>
            <p:cNvSpPr/>
            <p:nvPr/>
          </p:nvSpPr>
          <p:spPr bwMode="auto">
            <a:xfrm>
              <a:off x="4299174" y="3312000"/>
              <a:ext cx="3600000" cy="720193"/>
            </a:xfrm>
            <a:custGeom>
              <a:avLst/>
              <a:gdLst>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944463 w 3600000"/>
                <a:gd name="connsiteY9" fmla="*/ 360193 h 720193"/>
                <a:gd name="connsiteX10" fmla="*/ 1944463 w 3600000"/>
                <a:gd name="connsiteY10" fmla="*/ 360000 h 720193"/>
                <a:gd name="connsiteX11" fmla="*/ 1151910 w 3600000"/>
                <a:gd name="connsiteY11" fmla="*/ 36000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944463 w 3600000"/>
                <a:gd name="connsiteY9" fmla="*/ 360193 h 720193"/>
                <a:gd name="connsiteX10" fmla="*/ 1151910 w 3600000"/>
                <a:gd name="connsiteY10" fmla="*/ 360000 h 720193"/>
                <a:gd name="connsiteX11" fmla="*/ 1151910 w 3600000"/>
                <a:gd name="connsiteY11" fmla="*/ 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151910 w 3600000"/>
                <a:gd name="connsiteY9" fmla="*/ 360000 h 720193"/>
                <a:gd name="connsiteX10" fmla="*/ 1151910 w 3600000"/>
                <a:gd name="connsiteY10" fmla="*/ 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151910 w 3600000"/>
                <a:gd name="connsiteY9" fmla="*/ 0 h 720193"/>
                <a:gd name="connsiteX0" fmla="*/ 0 w 3600000"/>
                <a:gd name="connsiteY0" fmla="*/ 360193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376080 w 3600000"/>
                <a:gd name="connsiteY3" fmla="*/ 360000 h 720193"/>
                <a:gd name="connsiteX4" fmla="*/ 2736130 w 3600000"/>
                <a:gd name="connsiteY4" fmla="*/ 360193 h 720193"/>
                <a:gd name="connsiteX5" fmla="*/ 2736130 w 3600000"/>
                <a:gd name="connsiteY5" fmla="*/ 720193 h 720193"/>
                <a:gd name="connsiteX6" fmla="*/ 0 w 3600000"/>
                <a:gd name="connsiteY6" fmla="*/ 720193 h 720193"/>
                <a:gd name="connsiteX7" fmla="*/ 0 w 3600000"/>
                <a:gd name="connsiteY7"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736130 w 3600000"/>
                <a:gd name="connsiteY3" fmla="*/ 360193 h 720193"/>
                <a:gd name="connsiteX4" fmla="*/ 2736130 w 3600000"/>
                <a:gd name="connsiteY4" fmla="*/ 720193 h 720193"/>
                <a:gd name="connsiteX5" fmla="*/ 0 w 3600000"/>
                <a:gd name="connsiteY5" fmla="*/ 720193 h 720193"/>
                <a:gd name="connsiteX6" fmla="*/ 0 w 3600000"/>
                <a:gd name="connsiteY6"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736130 w 3600000"/>
                <a:gd name="connsiteY3" fmla="*/ 720193 h 720193"/>
                <a:gd name="connsiteX4" fmla="*/ 0 w 3600000"/>
                <a:gd name="connsiteY4" fmla="*/ 720193 h 720193"/>
                <a:gd name="connsiteX5" fmla="*/ 0 w 3600000"/>
                <a:gd name="connsiteY5"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0 w 3600000"/>
                <a:gd name="connsiteY3" fmla="*/ 720193 h 720193"/>
                <a:gd name="connsiteX4" fmla="*/ 0 w 3600000"/>
                <a:gd name="connsiteY4" fmla="*/ 360193 h 720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0000" h="720193">
                  <a:moveTo>
                    <a:pt x="0" y="360193"/>
                  </a:moveTo>
                  <a:lnTo>
                    <a:pt x="3600000" y="0"/>
                  </a:lnTo>
                  <a:lnTo>
                    <a:pt x="3600000" y="360000"/>
                  </a:lnTo>
                  <a:lnTo>
                    <a:pt x="0" y="720193"/>
                  </a:lnTo>
                  <a:lnTo>
                    <a:pt x="0" y="360193"/>
                  </a:lnTo>
                  <a:close/>
                </a:path>
              </a:pathLst>
            </a:custGeom>
            <a:solidFill>
              <a:schemeClr val="accent2"/>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55" name="Freeform 54"/>
            <p:cNvSpPr/>
            <p:nvPr/>
          </p:nvSpPr>
          <p:spPr bwMode="auto">
            <a:xfrm>
              <a:off x="4299174" y="2592000"/>
              <a:ext cx="3600000" cy="720193"/>
            </a:xfrm>
            <a:custGeom>
              <a:avLst/>
              <a:gdLst>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944463 w 3600000"/>
                <a:gd name="connsiteY9" fmla="*/ 360193 h 720193"/>
                <a:gd name="connsiteX10" fmla="*/ 1944463 w 3600000"/>
                <a:gd name="connsiteY10" fmla="*/ 360000 h 720193"/>
                <a:gd name="connsiteX11" fmla="*/ 1151910 w 3600000"/>
                <a:gd name="connsiteY11" fmla="*/ 36000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944463 w 3600000"/>
                <a:gd name="connsiteY9" fmla="*/ 360193 h 720193"/>
                <a:gd name="connsiteX10" fmla="*/ 1151910 w 3600000"/>
                <a:gd name="connsiteY10" fmla="*/ 360000 h 720193"/>
                <a:gd name="connsiteX11" fmla="*/ 1151910 w 3600000"/>
                <a:gd name="connsiteY11" fmla="*/ 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151910 w 3600000"/>
                <a:gd name="connsiteY9" fmla="*/ 360000 h 720193"/>
                <a:gd name="connsiteX10" fmla="*/ 1151910 w 3600000"/>
                <a:gd name="connsiteY10" fmla="*/ 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151910 w 3600000"/>
                <a:gd name="connsiteY9" fmla="*/ 0 h 720193"/>
                <a:gd name="connsiteX0" fmla="*/ 0 w 3600000"/>
                <a:gd name="connsiteY0" fmla="*/ 360193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376080 w 3600000"/>
                <a:gd name="connsiteY3" fmla="*/ 360000 h 720193"/>
                <a:gd name="connsiteX4" fmla="*/ 2736130 w 3600000"/>
                <a:gd name="connsiteY4" fmla="*/ 360193 h 720193"/>
                <a:gd name="connsiteX5" fmla="*/ 2736130 w 3600000"/>
                <a:gd name="connsiteY5" fmla="*/ 720193 h 720193"/>
                <a:gd name="connsiteX6" fmla="*/ 0 w 3600000"/>
                <a:gd name="connsiteY6" fmla="*/ 720193 h 720193"/>
                <a:gd name="connsiteX7" fmla="*/ 0 w 3600000"/>
                <a:gd name="connsiteY7"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736130 w 3600000"/>
                <a:gd name="connsiteY3" fmla="*/ 360193 h 720193"/>
                <a:gd name="connsiteX4" fmla="*/ 2736130 w 3600000"/>
                <a:gd name="connsiteY4" fmla="*/ 720193 h 720193"/>
                <a:gd name="connsiteX5" fmla="*/ 0 w 3600000"/>
                <a:gd name="connsiteY5" fmla="*/ 720193 h 720193"/>
                <a:gd name="connsiteX6" fmla="*/ 0 w 3600000"/>
                <a:gd name="connsiteY6"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736130 w 3600000"/>
                <a:gd name="connsiteY3" fmla="*/ 720193 h 720193"/>
                <a:gd name="connsiteX4" fmla="*/ 0 w 3600000"/>
                <a:gd name="connsiteY4" fmla="*/ 720193 h 720193"/>
                <a:gd name="connsiteX5" fmla="*/ 0 w 3600000"/>
                <a:gd name="connsiteY5"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0 w 3600000"/>
                <a:gd name="connsiteY3" fmla="*/ 720193 h 720193"/>
                <a:gd name="connsiteX4" fmla="*/ 0 w 3600000"/>
                <a:gd name="connsiteY4" fmla="*/ 360193 h 720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0000" h="720193">
                  <a:moveTo>
                    <a:pt x="0" y="360193"/>
                  </a:moveTo>
                  <a:lnTo>
                    <a:pt x="3600000" y="0"/>
                  </a:lnTo>
                  <a:lnTo>
                    <a:pt x="3600000" y="360000"/>
                  </a:lnTo>
                  <a:lnTo>
                    <a:pt x="0" y="720193"/>
                  </a:lnTo>
                  <a:lnTo>
                    <a:pt x="0" y="360193"/>
                  </a:lnTo>
                  <a:close/>
                </a:path>
              </a:pathLst>
            </a:custGeom>
            <a:solidFill>
              <a:schemeClr val="accent2"/>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56" name="Freeform 55"/>
            <p:cNvSpPr/>
            <p:nvPr/>
          </p:nvSpPr>
          <p:spPr bwMode="auto">
            <a:xfrm>
              <a:off x="4299174" y="1872000"/>
              <a:ext cx="3600000" cy="720193"/>
            </a:xfrm>
            <a:custGeom>
              <a:avLst/>
              <a:gdLst>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944463 w 3600000"/>
                <a:gd name="connsiteY9" fmla="*/ 360193 h 720193"/>
                <a:gd name="connsiteX10" fmla="*/ 1944463 w 3600000"/>
                <a:gd name="connsiteY10" fmla="*/ 360000 h 720193"/>
                <a:gd name="connsiteX11" fmla="*/ 1151910 w 3600000"/>
                <a:gd name="connsiteY11" fmla="*/ 36000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944463 w 3600000"/>
                <a:gd name="connsiteY9" fmla="*/ 360193 h 720193"/>
                <a:gd name="connsiteX10" fmla="*/ 1151910 w 3600000"/>
                <a:gd name="connsiteY10" fmla="*/ 360000 h 720193"/>
                <a:gd name="connsiteX11" fmla="*/ 1151910 w 3600000"/>
                <a:gd name="connsiteY11" fmla="*/ 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151910 w 3600000"/>
                <a:gd name="connsiteY9" fmla="*/ 360000 h 720193"/>
                <a:gd name="connsiteX10" fmla="*/ 1151910 w 3600000"/>
                <a:gd name="connsiteY10" fmla="*/ 0 h 720193"/>
                <a:gd name="connsiteX0" fmla="*/ 1151910 w 3600000"/>
                <a:gd name="connsiteY0" fmla="*/ 0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9" fmla="*/ 1151910 w 3600000"/>
                <a:gd name="connsiteY9" fmla="*/ 0 h 720193"/>
                <a:gd name="connsiteX0" fmla="*/ 0 w 3600000"/>
                <a:gd name="connsiteY0" fmla="*/ 360193 h 720193"/>
                <a:gd name="connsiteX1" fmla="*/ 3600000 w 3600000"/>
                <a:gd name="connsiteY1" fmla="*/ 0 h 720193"/>
                <a:gd name="connsiteX2" fmla="*/ 3600000 w 3600000"/>
                <a:gd name="connsiteY2" fmla="*/ 360000 h 720193"/>
                <a:gd name="connsiteX3" fmla="*/ 2376080 w 3600000"/>
                <a:gd name="connsiteY3" fmla="*/ 360000 h 720193"/>
                <a:gd name="connsiteX4" fmla="*/ 2376080 w 3600000"/>
                <a:gd name="connsiteY4" fmla="*/ 360193 h 720193"/>
                <a:gd name="connsiteX5" fmla="*/ 2736130 w 3600000"/>
                <a:gd name="connsiteY5" fmla="*/ 360193 h 720193"/>
                <a:gd name="connsiteX6" fmla="*/ 2736130 w 3600000"/>
                <a:gd name="connsiteY6" fmla="*/ 720193 h 720193"/>
                <a:gd name="connsiteX7" fmla="*/ 0 w 3600000"/>
                <a:gd name="connsiteY7" fmla="*/ 720193 h 720193"/>
                <a:gd name="connsiteX8" fmla="*/ 0 w 3600000"/>
                <a:gd name="connsiteY8"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376080 w 3600000"/>
                <a:gd name="connsiteY3" fmla="*/ 360000 h 720193"/>
                <a:gd name="connsiteX4" fmla="*/ 2736130 w 3600000"/>
                <a:gd name="connsiteY4" fmla="*/ 360193 h 720193"/>
                <a:gd name="connsiteX5" fmla="*/ 2736130 w 3600000"/>
                <a:gd name="connsiteY5" fmla="*/ 720193 h 720193"/>
                <a:gd name="connsiteX6" fmla="*/ 0 w 3600000"/>
                <a:gd name="connsiteY6" fmla="*/ 720193 h 720193"/>
                <a:gd name="connsiteX7" fmla="*/ 0 w 3600000"/>
                <a:gd name="connsiteY7"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736130 w 3600000"/>
                <a:gd name="connsiteY3" fmla="*/ 360193 h 720193"/>
                <a:gd name="connsiteX4" fmla="*/ 2736130 w 3600000"/>
                <a:gd name="connsiteY4" fmla="*/ 720193 h 720193"/>
                <a:gd name="connsiteX5" fmla="*/ 0 w 3600000"/>
                <a:gd name="connsiteY5" fmla="*/ 720193 h 720193"/>
                <a:gd name="connsiteX6" fmla="*/ 0 w 3600000"/>
                <a:gd name="connsiteY6"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2736130 w 3600000"/>
                <a:gd name="connsiteY3" fmla="*/ 720193 h 720193"/>
                <a:gd name="connsiteX4" fmla="*/ 0 w 3600000"/>
                <a:gd name="connsiteY4" fmla="*/ 720193 h 720193"/>
                <a:gd name="connsiteX5" fmla="*/ 0 w 3600000"/>
                <a:gd name="connsiteY5" fmla="*/ 360193 h 720193"/>
                <a:gd name="connsiteX0" fmla="*/ 0 w 3600000"/>
                <a:gd name="connsiteY0" fmla="*/ 360193 h 720193"/>
                <a:gd name="connsiteX1" fmla="*/ 3600000 w 3600000"/>
                <a:gd name="connsiteY1" fmla="*/ 0 h 720193"/>
                <a:gd name="connsiteX2" fmla="*/ 3600000 w 3600000"/>
                <a:gd name="connsiteY2" fmla="*/ 360000 h 720193"/>
                <a:gd name="connsiteX3" fmla="*/ 0 w 3600000"/>
                <a:gd name="connsiteY3" fmla="*/ 720193 h 720193"/>
                <a:gd name="connsiteX4" fmla="*/ 0 w 3600000"/>
                <a:gd name="connsiteY4" fmla="*/ 360193 h 720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0000" h="720193">
                  <a:moveTo>
                    <a:pt x="0" y="360193"/>
                  </a:moveTo>
                  <a:lnTo>
                    <a:pt x="3600000" y="0"/>
                  </a:lnTo>
                  <a:lnTo>
                    <a:pt x="3600000" y="360000"/>
                  </a:lnTo>
                  <a:lnTo>
                    <a:pt x="0" y="720193"/>
                  </a:lnTo>
                  <a:lnTo>
                    <a:pt x="0" y="360193"/>
                  </a:lnTo>
                  <a:close/>
                </a:path>
              </a:pathLst>
            </a:custGeom>
            <a:solidFill>
              <a:schemeClr val="accent2"/>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grpSp>
      <p:cxnSp>
        <p:nvCxnSpPr>
          <p:cNvPr id="63" name="Gerade Verbindung 133"/>
          <p:cNvCxnSpPr/>
          <p:nvPr/>
        </p:nvCxnSpPr>
        <p:spPr bwMode="gray">
          <a:xfrm>
            <a:off x="8042400" y="2208304"/>
            <a:ext cx="3744000" cy="0"/>
          </a:xfrm>
          <a:prstGeom prst="line">
            <a:avLst/>
          </a:prstGeom>
          <a:solidFill>
            <a:schemeClr val="tx2"/>
          </a:solidFill>
          <a:ln w="12700" cap="flat" cmpd="sng" algn="ctr">
            <a:solidFill>
              <a:srgbClr val="9999A9"/>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 name="Footer Placeholder 2">
            <a:extLst>
              <a:ext uri="{FF2B5EF4-FFF2-40B4-BE49-F238E27FC236}">
                <a16:creationId xmlns:a16="http://schemas.microsoft.com/office/drawing/2014/main" id="{0980BA9E-9C78-4933-8B30-D5B397D94368}"/>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D47ADC73-E7CF-4D9A-BC9E-E23C6D86663B}"/>
              </a:ext>
            </a:extLst>
          </p:cNvPr>
          <p:cNvSpPr>
            <a:spLocks noGrp="1"/>
          </p:cNvSpPr>
          <p:nvPr>
            <p:ph type="sldNum" sz="quarter" idx="11"/>
          </p:nvPr>
        </p:nvSpPr>
        <p:spPr/>
        <p:txBody>
          <a:bodyPr/>
          <a:lstStyle/>
          <a:p>
            <a:r>
              <a:rPr lang="en-US" dirty="0"/>
              <a:t>Page </a:t>
            </a:r>
            <a:fld id="{15EBE321-CBB1-4E91-BD14-37C8D44326FB}" type="slidenum">
              <a:rPr lang="en-US" smtClean="0"/>
              <a:pPr/>
              <a:t>129</a:t>
            </a:fld>
            <a:endParaRPr lang="en-US" dirty="0"/>
          </a:p>
        </p:txBody>
      </p:sp>
    </p:spTree>
    <p:extLst>
      <p:ext uri="{BB962C8B-B14F-4D97-AF65-F5344CB8AC3E}">
        <p14:creationId xmlns:p14="http://schemas.microsoft.com/office/powerpoint/2010/main" val="26222100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Inhaltsplatzhalter 2">
            <a:extLst>
              <a:ext uri="{FF2B5EF4-FFF2-40B4-BE49-F238E27FC236}">
                <a16:creationId xmlns:a16="http://schemas.microsoft.com/office/drawing/2014/main" id="{95789268-B0BD-48D2-A9E2-5472976E01FA}"/>
              </a:ext>
            </a:extLst>
          </p:cNvPr>
          <p:cNvSpPr txBox="1">
            <a:spLocks/>
          </p:cNvSpPr>
          <p:nvPr/>
        </p:nvSpPr>
        <p:spPr>
          <a:xfrm>
            <a:off x="7250400" y="1414463"/>
            <a:ext cx="4536000" cy="4752000"/>
          </a:xfrm>
          <a:prstGeom prst="rect">
            <a:avLst/>
          </a:prstGeom>
          <a:solidFill>
            <a:srgbClr val="E5E5E9"/>
          </a:solidFill>
        </p:spPr>
        <p:txBody>
          <a:bodyPr vert="horz" lIns="648000" tIns="360000" rIns="432000" bIns="36000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r>
              <a:rPr lang="en-US" b="1" dirty="0">
                <a:solidFill>
                  <a:schemeClr val="bg2"/>
                </a:solidFill>
              </a:rPr>
              <a:t>Goals</a:t>
            </a:r>
          </a:p>
          <a:p>
            <a:pPr lvl="1"/>
            <a:r>
              <a:rPr lang="en-US" dirty="0">
                <a:solidFill>
                  <a:schemeClr val="bg2"/>
                </a:solidFill>
              </a:rPr>
              <a:t>Cras ultricies mi eu</a:t>
            </a:r>
          </a:p>
          <a:p>
            <a:pPr lvl="1"/>
            <a:r>
              <a:rPr lang="en-US" dirty="0">
                <a:solidFill>
                  <a:schemeClr val="bg2"/>
                </a:solidFill>
              </a:rPr>
              <a:t>Duis arcu tortor, suscipit eget, imperdiet nec, imperdiet iaculis, ipsum</a:t>
            </a:r>
          </a:p>
        </p:txBody>
      </p:sp>
      <p:sp>
        <p:nvSpPr>
          <p:cNvPr id="18" name="Dreieck 42">
            <a:extLst>
              <a:ext uri="{FF2B5EF4-FFF2-40B4-BE49-F238E27FC236}">
                <a16:creationId xmlns:a16="http://schemas.microsoft.com/office/drawing/2014/main" id="{59A90853-3777-44EA-9A25-0D994613EFA2}"/>
              </a:ext>
            </a:extLst>
          </p:cNvPr>
          <p:cNvSpPr/>
          <p:nvPr/>
        </p:nvSpPr>
        <p:spPr>
          <a:xfrm rot="5400000">
            <a:off x="5910328" y="3250801"/>
            <a:ext cx="1888819" cy="1079325"/>
          </a:xfrm>
          <a:prstGeom prst="triangle">
            <a:avLst/>
          </a:prstGeom>
          <a:solidFill>
            <a:srgbClr val="333353"/>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de-DE" dirty="0"/>
          </a:p>
        </p:txBody>
      </p:sp>
      <p:sp>
        <p:nvSpPr>
          <p:cNvPr id="17" name="Inhaltsplatzhalter 2">
            <a:extLst>
              <a:ext uri="{FF2B5EF4-FFF2-40B4-BE49-F238E27FC236}">
                <a16:creationId xmlns:a16="http://schemas.microsoft.com/office/drawing/2014/main" id="{74220BBB-432A-494D-B5B6-FDBDF93EA35E}"/>
              </a:ext>
            </a:extLst>
          </p:cNvPr>
          <p:cNvSpPr txBox="1">
            <a:spLocks/>
          </p:cNvSpPr>
          <p:nvPr/>
        </p:nvSpPr>
        <p:spPr>
          <a:xfrm>
            <a:off x="410400" y="1414463"/>
            <a:ext cx="6768000" cy="4752000"/>
          </a:xfrm>
          <a:prstGeom prst="rect">
            <a:avLst/>
          </a:prstGeom>
          <a:solidFill>
            <a:srgbClr val="333353"/>
          </a:solidFill>
        </p:spPr>
        <p:txBody>
          <a:bodyPr vert="horz" lIns="432000" tIns="360000" rIns="432000" bIns="36000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r>
              <a:rPr lang="en-US" b="1" dirty="0"/>
              <a:t>Achievements</a:t>
            </a:r>
          </a:p>
          <a:p>
            <a:pPr lvl="1"/>
            <a:r>
              <a:rPr lang="en-US" dirty="0"/>
              <a:t>Cras ultricies mi eu</a:t>
            </a:r>
          </a:p>
          <a:p>
            <a:pPr lvl="1"/>
            <a:r>
              <a:rPr lang="en-US" dirty="0"/>
              <a:t>At vero eos et accusam</a:t>
            </a:r>
          </a:p>
        </p:txBody>
      </p:sp>
      <p:sp>
        <p:nvSpPr>
          <p:cNvPr id="9" name="Titel 8">
            <a:extLst>
              <a:ext uri="{FF2B5EF4-FFF2-40B4-BE49-F238E27FC236}">
                <a16:creationId xmlns:a16="http://schemas.microsoft.com/office/drawing/2014/main" id="{30916218-0FE7-DA40-850A-7231E8C46B1B}"/>
              </a:ext>
            </a:extLst>
          </p:cNvPr>
          <p:cNvSpPr>
            <a:spLocks noGrp="1"/>
          </p:cNvSpPr>
          <p:nvPr>
            <p:ph type="title"/>
          </p:nvPr>
        </p:nvSpPr>
        <p:spPr/>
        <p:txBody>
          <a:bodyPr/>
          <a:lstStyle/>
          <a:p>
            <a:r>
              <a:rPr lang="en-US" dirty="0"/>
              <a:t>Achievements and goals</a:t>
            </a:r>
          </a:p>
        </p:txBody>
      </p:sp>
      <p:sp>
        <p:nvSpPr>
          <p:cNvPr id="3" name="Fußzeilenplatzhalter 2">
            <a:extLst>
              <a:ext uri="{FF2B5EF4-FFF2-40B4-BE49-F238E27FC236}">
                <a16:creationId xmlns:a16="http://schemas.microsoft.com/office/drawing/2014/main" id="{6944935C-0A56-F643-B740-58DF1DF54D92}"/>
              </a:ext>
            </a:extLst>
          </p:cNvPr>
          <p:cNvSpPr>
            <a:spLocks noGrp="1"/>
          </p:cNvSpPr>
          <p:nvPr>
            <p:ph type="ftr" sz="quarter" idx="10"/>
          </p:nvPr>
        </p:nvSpPr>
        <p:spPr/>
        <p:txBody>
          <a:bodyPr/>
          <a:lstStyle/>
          <a:p>
            <a:r>
              <a:rPr lang="en-US" dirty="0"/>
              <a:t>Restricted | © Siemens 20XX | Author | Department | YYYY-MM-DD</a:t>
            </a:r>
          </a:p>
        </p:txBody>
      </p:sp>
      <p:sp>
        <p:nvSpPr>
          <p:cNvPr id="4" name="Foliennummernplatzhalter 3">
            <a:extLst>
              <a:ext uri="{FF2B5EF4-FFF2-40B4-BE49-F238E27FC236}">
                <a16:creationId xmlns:a16="http://schemas.microsoft.com/office/drawing/2014/main" id="{47EA469E-CFF4-9C45-9AEE-0BE7E3565C9B}"/>
              </a:ext>
            </a:extLst>
          </p:cNvPr>
          <p:cNvSpPr>
            <a:spLocks noGrp="1"/>
          </p:cNvSpPr>
          <p:nvPr>
            <p:ph type="sldNum" sz="quarter" idx="11"/>
          </p:nvPr>
        </p:nvSpPr>
        <p:spPr/>
        <p:txBody>
          <a:bodyPr/>
          <a:lstStyle/>
          <a:p>
            <a:r>
              <a:rPr lang="en-US" dirty="0"/>
              <a:t>Page </a:t>
            </a:r>
            <a:fld id="{15EBE321-CBB1-4E91-BD14-37C8D44326FB}" type="slidenum">
              <a:rPr lang="en-US" smtClean="0"/>
              <a:pPr/>
              <a:t>13</a:t>
            </a:fld>
            <a:endParaRPr lang="en-US" dirty="0"/>
          </a:p>
        </p:txBody>
      </p:sp>
      <p:sp>
        <p:nvSpPr>
          <p:cNvPr id="21" name="Freeform 65">
            <a:extLst>
              <a:ext uri="{FF2B5EF4-FFF2-40B4-BE49-F238E27FC236}">
                <a16:creationId xmlns:a16="http://schemas.microsoft.com/office/drawing/2014/main" id="{CF07C68C-F3C1-A348-AF7E-D3D8B8DCED60}"/>
              </a:ext>
            </a:extLst>
          </p:cNvPr>
          <p:cNvSpPr>
            <a:spLocks noEditPoints="1"/>
          </p:cNvSpPr>
          <p:nvPr/>
        </p:nvSpPr>
        <p:spPr bwMode="auto">
          <a:xfrm>
            <a:off x="4775654" y="4988324"/>
            <a:ext cx="1539421" cy="818751"/>
          </a:xfrm>
          <a:custGeom>
            <a:avLst/>
            <a:gdLst>
              <a:gd name="T0" fmla="*/ 108 w 361"/>
              <a:gd name="T1" fmla="*/ 77 h 192"/>
              <a:gd name="T2" fmla="*/ 0 w 361"/>
              <a:gd name="T3" fmla="*/ 77 h 192"/>
              <a:gd name="T4" fmla="*/ 16 w 361"/>
              <a:gd name="T5" fmla="*/ 46 h 192"/>
              <a:gd name="T6" fmla="*/ 108 w 361"/>
              <a:gd name="T7" fmla="*/ 46 h 192"/>
              <a:gd name="T8" fmla="*/ 108 w 361"/>
              <a:gd name="T9" fmla="*/ 77 h 192"/>
              <a:gd name="T10" fmla="*/ 346 w 361"/>
              <a:gd name="T11" fmla="*/ 77 h 192"/>
              <a:gd name="T12" fmla="*/ 253 w 361"/>
              <a:gd name="T13" fmla="*/ 77 h 192"/>
              <a:gd name="T14" fmla="*/ 253 w 361"/>
              <a:gd name="T15" fmla="*/ 108 h 192"/>
              <a:gd name="T16" fmla="*/ 361 w 361"/>
              <a:gd name="T17" fmla="*/ 108 h 192"/>
              <a:gd name="T18" fmla="*/ 346 w 361"/>
              <a:gd name="T19" fmla="*/ 77 h 192"/>
              <a:gd name="T20" fmla="*/ 223 w 361"/>
              <a:gd name="T21" fmla="*/ 0 h 192"/>
              <a:gd name="T22" fmla="*/ 138 w 361"/>
              <a:gd name="T23" fmla="*/ 0 h 192"/>
              <a:gd name="T24" fmla="*/ 123 w 361"/>
              <a:gd name="T25" fmla="*/ 31 h 192"/>
              <a:gd name="T26" fmla="*/ 238 w 361"/>
              <a:gd name="T27" fmla="*/ 31 h 192"/>
              <a:gd name="T28" fmla="*/ 223 w 361"/>
              <a:gd name="T29" fmla="*/ 0 h 192"/>
              <a:gd name="T30" fmla="*/ 238 w 361"/>
              <a:gd name="T31" fmla="*/ 123 h 192"/>
              <a:gd name="T32" fmla="*/ 361 w 361"/>
              <a:gd name="T33" fmla="*/ 123 h 192"/>
              <a:gd name="T34" fmla="*/ 361 w 361"/>
              <a:gd name="T35" fmla="*/ 192 h 192"/>
              <a:gd name="T36" fmla="*/ 0 w 361"/>
              <a:gd name="T37" fmla="*/ 192 h 192"/>
              <a:gd name="T38" fmla="*/ 0 w 361"/>
              <a:gd name="T39" fmla="*/ 92 h 192"/>
              <a:gd name="T40" fmla="*/ 123 w 361"/>
              <a:gd name="T41" fmla="*/ 92 h 192"/>
              <a:gd name="T42" fmla="*/ 123 w 361"/>
              <a:gd name="T43" fmla="*/ 46 h 192"/>
              <a:gd name="T44" fmla="*/ 238 w 361"/>
              <a:gd name="T45" fmla="*/ 46 h 192"/>
              <a:gd name="T46" fmla="*/ 238 w 361"/>
              <a:gd name="T47" fmla="*/ 123 h 192"/>
              <a:gd name="T48" fmla="*/ 195 w 361"/>
              <a:gd name="T49" fmla="*/ 77 h 192"/>
              <a:gd name="T50" fmla="*/ 180 w 361"/>
              <a:gd name="T51" fmla="*/ 77 h 192"/>
              <a:gd name="T52" fmla="*/ 156 w 361"/>
              <a:gd name="T53" fmla="*/ 91 h 192"/>
              <a:gd name="T54" fmla="*/ 163 w 361"/>
              <a:gd name="T55" fmla="*/ 104 h 192"/>
              <a:gd name="T56" fmla="*/ 178 w 361"/>
              <a:gd name="T57" fmla="*/ 95 h 192"/>
              <a:gd name="T58" fmla="*/ 178 w 361"/>
              <a:gd name="T59" fmla="*/ 154 h 192"/>
              <a:gd name="T60" fmla="*/ 195 w 361"/>
              <a:gd name="T61" fmla="*/ 154 h 192"/>
              <a:gd name="T62" fmla="*/ 195 w 361"/>
              <a:gd name="T63" fmla="*/ 7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1" h="192">
                <a:moveTo>
                  <a:pt x="108" y="77"/>
                </a:moveTo>
                <a:lnTo>
                  <a:pt x="0" y="77"/>
                </a:lnTo>
                <a:lnTo>
                  <a:pt x="16" y="46"/>
                </a:lnTo>
                <a:lnTo>
                  <a:pt x="108" y="46"/>
                </a:lnTo>
                <a:lnTo>
                  <a:pt x="108" y="77"/>
                </a:lnTo>
                <a:close/>
                <a:moveTo>
                  <a:pt x="346" y="77"/>
                </a:moveTo>
                <a:lnTo>
                  <a:pt x="253" y="77"/>
                </a:lnTo>
                <a:lnTo>
                  <a:pt x="253" y="108"/>
                </a:lnTo>
                <a:lnTo>
                  <a:pt x="361" y="108"/>
                </a:lnTo>
                <a:lnTo>
                  <a:pt x="346" y="77"/>
                </a:lnTo>
                <a:close/>
                <a:moveTo>
                  <a:pt x="223" y="0"/>
                </a:moveTo>
                <a:lnTo>
                  <a:pt x="138" y="0"/>
                </a:lnTo>
                <a:lnTo>
                  <a:pt x="123" y="31"/>
                </a:lnTo>
                <a:lnTo>
                  <a:pt x="238" y="31"/>
                </a:lnTo>
                <a:lnTo>
                  <a:pt x="223" y="0"/>
                </a:lnTo>
                <a:close/>
                <a:moveTo>
                  <a:pt x="238" y="123"/>
                </a:moveTo>
                <a:lnTo>
                  <a:pt x="361" y="123"/>
                </a:lnTo>
                <a:lnTo>
                  <a:pt x="361" y="192"/>
                </a:lnTo>
                <a:lnTo>
                  <a:pt x="0" y="192"/>
                </a:lnTo>
                <a:lnTo>
                  <a:pt x="0" y="92"/>
                </a:lnTo>
                <a:lnTo>
                  <a:pt x="123" y="92"/>
                </a:lnTo>
                <a:lnTo>
                  <a:pt x="123" y="46"/>
                </a:lnTo>
                <a:lnTo>
                  <a:pt x="238" y="46"/>
                </a:lnTo>
                <a:lnTo>
                  <a:pt x="238" y="123"/>
                </a:lnTo>
                <a:close/>
                <a:moveTo>
                  <a:pt x="195" y="77"/>
                </a:moveTo>
                <a:lnTo>
                  <a:pt x="180" y="77"/>
                </a:lnTo>
                <a:lnTo>
                  <a:pt x="156" y="91"/>
                </a:lnTo>
                <a:lnTo>
                  <a:pt x="163" y="104"/>
                </a:lnTo>
                <a:lnTo>
                  <a:pt x="178" y="95"/>
                </a:lnTo>
                <a:lnTo>
                  <a:pt x="178" y="154"/>
                </a:lnTo>
                <a:lnTo>
                  <a:pt x="195" y="154"/>
                </a:lnTo>
                <a:lnTo>
                  <a:pt x="195" y="77"/>
                </a:lnTo>
                <a:close/>
              </a:path>
            </a:pathLst>
          </a:custGeom>
          <a:solidFill>
            <a:schemeClr val="tx2"/>
          </a:solidFill>
          <a:ln w="22225">
            <a:noFill/>
          </a:ln>
        </p:spPr>
        <p:txBody>
          <a:bodyPr vert="horz" wrap="square" lIns="91440" tIns="45720" rIns="91440" bIns="45720" numCol="1" anchor="t" anchorCtr="0" compatLnSpc="1">
            <a:prstTxWarp prst="textNoShape">
              <a:avLst/>
            </a:prstTxWarp>
          </a:bodyPr>
          <a:lstStyle/>
          <a:p>
            <a:endParaRPr lang="en-US" dirty="0"/>
          </a:p>
        </p:txBody>
      </p:sp>
      <p:sp>
        <p:nvSpPr>
          <p:cNvPr id="22" name="Freeform 70">
            <a:extLst>
              <a:ext uri="{FF2B5EF4-FFF2-40B4-BE49-F238E27FC236}">
                <a16:creationId xmlns:a16="http://schemas.microsoft.com/office/drawing/2014/main" id="{BB1C186A-2342-BE4D-B85B-93A639D4AAAC}"/>
              </a:ext>
            </a:extLst>
          </p:cNvPr>
          <p:cNvSpPr>
            <a:spLocks noEditPoints="1"/>
          </p:cNvSpPr>
          <p:nvPr/>
        </p:nvSpPr>
        <p:spPr bwMode="auto">
          <a:xfrm>
            <a:off x="10497628" y="4817529"/>
            <a:ext cx="758271" cy="989546"/>
          </a:xfrm>
          <a:custGeom>
            <a:avLst/>
            <a:gdLst>
              <a:gd name="T0" fmla="*/ 1439 w 1970"/>
              <a:gd name="T1" fmla="*/ 1960 h 2578"/>
              <a:gd name="T2" fmla="*/ 985 w 1970"/>
              <a:gd name="T3" fmla="*/ 2328 h 2578"/>
              <a:gd name="T4" fmla="*/ 532 w 1970"/>
              <a:gd name="T5" fmla="*/ 1960 h 2578"/>
              <a:gd name="T6" fmla="*/ 601 w 1970"/>
              <a:gd name="T7" fmla="*/ 1955 h 2578"/>
              <a:gd name="T8" fmla="*/ 651 w 1970"/>
              <a:gd name="T9" fmla="*/ 1973 h 2578"/>
              <a:gd name="T10" fmla="*/ 825 w 1970"/>
              <a:gd name="T11" fmla="*/ 2068 h 2578"/>
              <a:gd name="T12" fmla="*/ 985 w 1970"/>
              <a:gd name="T13" fmla="*/ 2014 h 2578"/>
              <a:gd name="T14" fmla="*/ 1145 w 1970"/>
              <a:gd name="T15" fmla="*/ 2068 h 2578"/>
              <a:gd name="T16" fmla="*/ 1320 w 1970"/>
              <a:gd name="T17" fmla="*/ 1973 h 2578"/>
              <a:gd name="T18" fmla="*/ 1369 w 1970"/>
              <a:gd name="T19" fmla="*/ 1955 h 2578"/>
              <a:gd name="T20" fmla="*/ 1911 w 1970"/>
              <a:gd name="T21" fmla="*/ 1316 h 2578"/>
              <a:gd name="T22" fmla="*/ 1740 w 1970"/>
              <a:gd name="T23" fmla="*/ 1613 h 2578"/>
              <a:gd name="T24" fmla="*/ 1478 w 1970"/>
              <a:gd name="T25" fmla="*/ 1833 h 2578"/>
              <a:gd name="T26" fmla="*/ 1156 w 1970"/>
              <a:gd name="T27" fmla="*/ 1950 h 2578"/>
              <a:gd name="T28" fmla="*/ 814 w 1970"/>
              <a:gd name="T29" fmla="*/ 1950 h 2578"/>
              <a:gd name="T30" fmla="*/ 492 w 1970"/>
              <a:gd name="T31" fmla="*/ 1833 h 2578"/>
              <a:gd name="T32" fmla="*/ 230 w 1970"/>
              <a:gd name="T33" fmla="*/ 1613 h 2578"/>
              <a:gd name="T34" fmla="*/ 59 w 1970"/>
              <a:gd name="T35" fmla="*/ 1316 h 2578"/>
              <a:gd name="T36" fmla="*/ 0 w 1970"/>
              <a:gd name="T37" fmla="*/ 979 h 2578"/>
              <a:gd name="T38" fmla="*/ 59 w 1970"/>
              <a:gd name="T39" fmla="*/ 642 h 2578"/>
              <a:gd name="T40" fmla="*/ 230 w 1970"/>
              <a:gd name="T41" fmla="*/ 346 h 2578"/>
              <a:gd name="T42" fmla="*/ 492 w 1970"/>
              <a:gd name="T43" fmla="*/ 126 h 2578"/>
              <a:gd name="T44" fmla="*/ 814 w 1970"/>
              <a:gd name="T45" fmla="*/ 9 h 2578"/>
              <a:gd name="T46" fmla="*/ 1156 w 1970"/>
              <a:gd name="T47" fmla="*/ 9 h 2578"/>
              <a:gd name="T48" fmla="*/ 1478 w 1970"/>
              <a:gd name="T49" fmla="*/ 126 h 2578"/>
              <a:gd name="T50" fmla="*/ 1740 w 1970"/>
              <a:gd name="T51" fmla="*/ 346 h 2578"/>
              <a:gd name="T52" fmla="*/ 1911 w 1970"/>
              <a:gd name="T53" fmla="*/ 642 h 2578"/>
              <a:gd name="T54" fmla="*/ 1970 w 1970"/>
              <a:gd name="T55" fmla="*/ 979 h 2578"/>
              <a:gd name="T56" fmla="*/ 1911 w 1970"/>
              <a:gd name="T57" fmla="*/ 1316 h 2578"/>
              <a:gd name="T58" fmla="*/ 985 w 1970"/>
              <a:gd name="T59" fmla="*/ 203 h 2578"/>
              <a:gd name="T60" fmla="*/ 985 w 1970"/>
              <a:gd name="T61" fmla="*/ 1756 h 2578"/>
              <a:gd name="T62" fmla="*/ 1645 w 1970"/>
              <a:gd name="T63" fmla="*/ 979 h 2578"/>
              <a:gd name="T64" fmla="*/ 326 w 1970"/>
              <a:gd name="T65" fmla="*/ 979 h 2578"/>
              <a:gd name="T66" fmla="*/ 1645 w 1970"/>
              <a:gd name="T67" fmla="*/ 979 h 2578"/>
              <a:gd name="T68" fmla="*/ 732 w 1970"/>
              <a:gd name="T69" fmla="*/ 925 h 2578"/>
              <a:gd name="T70" fmla="*/ 582 w 1970"/>
              <a:gd name="T71" fmla="*/ 816 h 2578"/>
              <a:gd name="T72" fmla="*/ 432 w 1970"/>
              <a:gd name="T73" fmla="*/ 925 h 2578"/>
              <a:gd name="T74" fmla="*/ 490 w 1970"/>
              <a:gd name="T75" fmla="*/ 1101 h 2578"/>
              <a:gd name="T76" fmla="*/ 675 w 1970"/>
              <a:gd name="T77" fmla="*/ 1101 h 2578"/>
              <a:gd name="T78" fmla="*/ 1042 w 1970"/>
              <a:gd name="T79" fmla="*/ 992 h 2578"/>
              <a:gd name="T80" fmla="*/ 1021 w 1970"/>
              <a:gd name="T81" fmla="*/ 925 h 2578"/>
              <a:gd name="T82" fmla="*/ 950 w 1970"/>
              <a:gd name="T83" fmla="*/ 925 h 2578"/>
              <a:gd name="T84" fmla="*/ 928 w 1970"/>
              <a:gd name="T85" fmla="*/ 992 h 2578"/>
              <a:gd name="T86" fmla="*/ 985 w 1970"/>
              <a:gd name="T87" fmla="*/ 1034 h 2578"/>
              <a:gd name="T88" fmla="*/ 1042 w 1970"/>
              <a:gd name="T89" fmla="*/ 992 h 2578"/>
              <a:gd name="T90" fmla="*/ 1538 w 1970"/>
              <a:gd name="T91" fmla="*/ 925 h 2578"/>
              <a:gd name="T92" fmla="*/ 1388 w 1970"/>
              <a:gd name="T93" fmla="*/ 816 h 2578"/>
              <a:gd name="T94" fmla="*/ 1238 w 1970"/>
              <a:gd name="T95" fmla="*/ 925 h 2578"/>
              <a:gd name="T96" fmla="*/ 1295 w 1970"/>
              <a:gd name="T97" fmla="*/ 1101 h 2578"/>
              <a:gd name="T98" fmla="*/ 1481 w 1970"/>
              <a:gd name="T99" fmla="*/ 1101 h 2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70" h="2578">
                <a:moveTo>
                  <a:pt x="1431" y="1960"/>
                </a:moveTo>
                <a:cubicBezTo>
                  <a:pt x="1434" y="1960"/>
                  <a:pt x="1436" y="1960"/>
                  <a:pt x="1439" y="1960"/>
                </a:cubicBezTo>
                <a:cubicBezTo>
                  <a:pt x="1439" y="2578"/>
                  <a:pt x="1439" y="2578"/>
                  <a:pt x="1439" y="2578"/>
                </a:cubicBezTo>
                <a:cubicBezTo>
                  <a:pt x="985" y="2328"/>
                  <a:pt x="985" y="2328"/>
                  <a:pt x="985" y="2328"/>
                </a:cubicBezTo>
                <a:cubicBezTo>
                  <a:pt x="532" y="2578"/>
                  <a:pt x="532" y="2578"/>
                  <a:pt x="532" y="2578"/>
                </a:cubicBezTo>
                <a:cubicBezTo>
                  <a:pt x="532" y="1960"/>
                  <a:pt x="532" y="1960"/>
                  <a:pt x="532" y="1960"/>
                </a:cubicBezTo>
                <a:cubicBezTo>
                  <a:pt x="534" y="1960"/>
                  <a:pt x="536" y="1960"/>
                  <a:pt x="539" y="1960"/>
                </a:cubicBezTo>
                <a:cubicBezTo>
                  <a:pt x="561" y="1960"/>
                  <a:pt x="582" y="1957"/>
                  <a:pt x="601" y="1955"/>
                </a:cubicBezTo>
                <a:cubicBezTo>
                  <a:pt x="612" y="1954"/>
                  <a:pt x="623" y="1953"/>
                  <a:pt x="631" y="1952"/>
                </a:cubicBezTo>
                <a:cubicBezTo>
                  <a:pt x="637" y="1958"/>
                  <a:pt x="645" y="1966"/>
                  <a:pt x="651" y="1973"/>
                </a:cubicBezTo>
                <a:cubicBezTo>
                  <a:pt x="682" y="2007"/>
                  <a:pt x="725" y="2053"/>
                  <a:pt x="794" y="2065"/>
                </a:cubicBezTo>
                <a:cubicBezTo>
                  <a:pt x="804" y="2067"/>
                  <a:pt x="815" y="2068"/>
                  <a:pt x="825" y="2068"/>
                </a:cubicBezTo>
                <a:cubicBezTo>
                  <a:pt x="879" y="2068"/>
                  <a:pt x="922" y="2046"/>
                  <a:pt x="957" y="2028"/>
                </a:cubicBezTo>
                <a:cubicBezTo>
                  <a:pt x="966" y="2023"/>
                  <a:pt x="977" y="2017"/>
                  <a:pt x="985" y="2014"/>
                </a:cubicBezTo>
                <a:cubicBezTo>
                  <a:pt x="993" y="2017"/>
                  <a:pt x="1005" y="2023"/>
                  <a:pt x="1013" y="2028"/>
                </a:cubicBezTo>
                <a:cubicBezTo>
                  <a:pt x="1048" y="2046"/>
                  <a:pt x="1092" y="2068"/>
                  <a:pt x="1145" y="2068"/>
                </a:cubicBezTo>
                <a:cubicBezTo>
                  <a:pt x="1156" y="2068"/>
                  <a:pt x="1166" y="2067"/>
                  <a:pt x="1176" y="2065"/>
                </a:cubicBezTo>
                <a:cubicBezTo>
                  <a:pt x="1245" y="2053"/>
                  <a:pt x="1288" y="2007"/>
                  <a:pt x="1320" y="1973"/>
                </a:cubicBezTo>
                <a:cubicBezTo>
                  <a:pt x="1325" y="1966"/>
                  <a:pt x="1334" y="1958"/>
                  <a:pt x="1339" y="1952"/>
                </a:cubicBezTo>
                <a:cubicBezTo>
                  <a:pt x="1348" y="1953"/>
                  <a:pt x="1359" y="1954"/>
                  <a:pt x="1369" y="1955"/>
                </a:cubicBezTo>
                <a:cubicBezTo>
                  <a:pt x="1388" y="1957"/>
                  <a:pt x="1409" y="1960"/>
                  <a:pt x="1431" y="1960"/>
                </a:cubicBezTo>
                <a:close/>
                <a:moveTo>
                  <a:pt x="1911" y="1316"/>
                </a:moveTo>
                <a:cubicBezTo>
                  <a:pt x="1892" y="1369"/>
                  <a:pt x="1806" y="1390"/>
                  <a:pt x="1779" y="1437"/>
                </a:cubicBezTo>
                <a:cubicBezTo>
                  <a:pt x="1751" y="1485"/>
                  <a:pt x="1775" y="1570"/>
                  <a:pt x="1740" y="1613"/>
                </a:cubicBezTo>
                <a:cubicBezTo>
                  <a:pt x="1704" y="1655"/>
                  <a:pt x="1616" y="1645"/>
                  <a:pt x="1574" y="1681"/>
                </a:cubicBezTo>
                <a:cubicBezTo>
                  <a:pt x="1532" y="1717"/>
                  <a:pt x="1526" y="1805"/>
                  <a:pt x="1478" y="1833"/>
                </a:cubicBezTo>
                <a:cubicBezTo>
                  <a:pt x="1430" y="1860"/>
                  <a:pt x="1351" y="1821"/>
                  <a:pt x="1298" y="1840"/>
                </a:cubicBezTo>
                <a:cubicBezTo>
                  <a:pt x="1247" y="1859"/>
                  <a:pt x="1211" y="1940"/>
                  <a:pt x="1156" y="1950"/>
                </a:cubicBezTo>
                <a:cubicBezTo>
                  <a:pt x="1103" y="1959"/>
                  <a:pt x="1041" y="1895"/>
                  <a:pt x="985" y="1895"/>
                </a:cubicBezTo>
                <a:cubicBezTo>
                  <a:pt x="929" y="1895"/>
                  <a:pt x="868" y="1959"/>
                  <a:pt x="814" y="1950"/>
                </a:cubicBezTo>
                <a:cubicBezTo>
                  <a:pt x="759" y="1940"/>
                  <a:pt x="723" y="1859"/>
                  <a:pt x="672" y="1840"/>
                </a:cubicBezTo>
                <a:cubicBezTo>
                  <a:pt x="619" y="1821"/>
                  <a:pt x="540" y="1860"/>
                  <a:pt x="492" y="1833"/>
                </a:cubicBezTo>
                <a:cubicBezTo>
                  <a:pt x="444" y="1805"/>
                  <a:pt x="439" y="1717"/>
                  <a:pt x="396" y="1681"/>
                </a:cubicBezTo>
                <a:cubicBezTo>
                  <a:pt x="354" y="1645"/>
                  <a:pt x="266" y="1655"/>
                  <a:pt x="230" y="1613"/>
                </a:cubicBezTo>
                <a:cubicBezTo>
                  <a:pt x="195" y="1570"/>
                  <a:pt x="219" y="1485"/>
                  <a:pt x="192" y="1437"/>
                </a:cubicBezTo>
                <a:cubicBezTo>
                  <a:pt x="164" y="1390"/>
                  <a:pt x="78" y="1369"/>
                  <a:pt x="59" y="1316"/>
                </a:cubicBezTo>
                <a:cubicBezTo>
                  <a:pt x="40" y="1265"/>
                  <a:pt x="92" y="1194"/>
                  <a:pt x="83" y="1138"/>
                </a:cubicBezTo>
                <a:cubicBezTo>
                  <a:pt x="73" y="1085"/>
                  <a:pt x="0" y="1036"/>
                  <a:pt x="0" y="979"/>
                </a:cubicBezTo>
                <a:cubicBezTo>
                  <a:pt x="0" y="923"/>
                  <a:pt x="73" y="874"/>
                  <a:pt x="83" y="820"/>
                </a:cubicBezTo>
                <a:cubicBezTo>
                  <a:pt x="92" y="765"/>
                  <a:pt x="40" y="694"/>
                  <a:pt x="59" y="642"/>
                </a:cubicBezTo>
                <a:cubicBezTo>
                  <a:pt x="78" y="590"/>
                  <a:pt x="164" y="569"/>
                  <a:pt x="192" y="521"/>
                </a:cubicBezTo>
                <a:cubicBezTo>
                  <a:pt x="219" y="473"/>
                  <a:pt x="195" y="388"/>
                  <a:pt x="230" y="346"/>
                </a:cubicBezTo>
                <a:cubicBezTo>
                  <a:pt x="266" y="304"/>
                  <a:pt x="354" y="313"/>
                  <a:pt x="396" y="278"/>
                </a:cubicBezTo>
                <a:cubicBezTo>
                  <a:pt x="439" y="242"/>
                  <a:pt x="444" y="154"/>
                  <a:pt x="492" y="126"/>
                </a:cubicBezTo>
                <a:cubicBezTo>
                  <a:pt x="540" y="98"/>
                  <a:pt x="619" y="137"/>
                  <a:pt x="672" y="118"/>
                </a:cubicBezTo>
                <a:cubicBezTo>
                  <a:pt x="723" y="100"/>
                  <a:pt x="759" y="19"/>
                  <a:pt x="814" y="9"/>
                </a:cubicBezTo>
                <a:cubicBezTo>
                  <a:pt x="868" y="0"/>
                  <a:pt x="929" y="63"/>
                  <a:pt x="985" y="63"/>
                </a:cubicBezTo>
                <a:cubicBezTo>
                  <a:pt x="1041" y="63"/>
                  <a:pt x="1103" y="0"/>
                  <a:pt x="1156" y="9"/>
                </a:cubicBezTo>
                <a:cubicBezTo>
                  <a:pt x="1211" y="19"/>
                  <a:pt x="1247" y="100"/>
                  <a:pt x="1298" y="118"/>
                </a:cubicBezTo>
                <a:cubicBezTo>
                  <a:pt x="1351" y="137"/>
                  <a:pt x="1430" y="98"/>
                  <a:pt x="1478" y="126"/>
                </a:cubicBezTo>
                <a:cubicBezTo>
                  <a:pt x="1526" y="154"/>
                  <a:pt x="1532" y="242"/>
                  <a:pt x="1574" y="278"/>
                </a:cubicBezTo>
                <a:cubicBezTo>
                  <a:pt x="1616" y="313"/>
                  <a:pt x="1704" y="304"/>
                  <a:pt x="1740" y="346"/>
                </a:cubicBezTo>
                <a:cubicBezTo>
                  <a:pt x="1775" y="388"/>
                  <a:pt x="1751" y="473"/>
                  <a:pt x="1779" y="521"/>
                </a:cubicBezTo>
                <a:cubicBezTo>
                  <a:pt x="1806" y="569"/>
                  <a:pt x="1892" y="590"/>
                  <a:pt x="1911" y="642"/>
                </a:cubicBezTo>
                <a:cubicBezTo>
                  <a:pt x="1930" y="694"/>
                  <a:pt x="1878" y="765"/>
                  <a:pt x="1887" y="820"/>
                </a:cubicBezTo>
                <a:cubicBezTo>
                  <a:pt x="1897" y="874"/>
                  <a:pt x="1970" y="923"/>
                  <a:pt x="1970" y="979"/>
                </a:cubicBezTo>
                <a:cubicBezTo>
                  <a:pt x="1970" y="1036"/>
                  <a:pt x="1897" y="1085"/>
                  <a:pt x="1887" y="1138"/>
                </a:cubicBezTo>
                <a:cubicBezTo>
                  <a:pt x="1878" y="1194"/>
                  <a:pt x="1930" y="1265"/>
                  <a:pt x="1911" y="1316"/>
                </a:cubicBezTo>
                <a:close/>
                <a:moveTo>
                  <a:pt x="1762" y="979"/>
                </a:moveTo>
                <a:cubicBezTo>
                  <a:pt x="1762" y="551"/>
                  <a:pt x="1413" y="203"/>
                  <a:pt x="985" y="203"/>
                </a:cubicBezTo>
                <a:cubicBezTo>
                  <a:pt x="557" y="203"/>
                  <a:pt x="208" y="551"/>
                  <a:pt x="208" y="979"/>
                </a:cubicBezTo>
                <a:cubicBezTo>
                  <a:pt x="208" y="1408"/>
                  <a:pt x="557" y="1756"/>
                  <a:pt x="985" y="1756"/>
                </a:cubicBezTo>
                <a:cubicBezTo>
                  <a:pt x="1413" y="1756"/>
                  <a:pt x="1762" y="1408"/>
                  <a:pt x="1762" y="979"/>
                </a:cubicBezTo>
                <a:close/>
                <a:moveTo>
                  <a:pt x="1645" y="979"/>
                </a:moveTo>
                <a:cubicBezTo>
                  <a:pt x="1645" y="1343"/>
                  <a:pt x="1349" y="1639"/>
                  <a:pt x="985" y="1639"/>
                </a:cubicBezTo>
                <a:cubicBezTo>
                  <a:pt x="621" y="1639"/>
                  <a:pt x="326" y="1343"/>
                  <a:pt x="326" y="979"/>
                </a:cubicBezTo>
                <a:cubicBezTo>
                  <a:pt x="326" y="616"/>
                  <a:pt x="621" y="320"/>
                  <a:pt x="985" y="320"/>
                </a:cubicBezTo>
                <a:cubicBezTo>
                  <a:pt x="1349" y="320"/>
                  <a:pt x="1645" y="616"/>
                  <a:pt x="1645" y="979"/>
                </a:cubicBezTo>
                <a:close/>
                <a:moveTo>
                  <a:pt x="640" y="992"/>
                </a:moveTo>
                <a:cubicBezTo>
                  <a:pt x="732" y="925"/>
                  <a:pt x="732" y="925"/>
                  <a:pt x="732" y="925"/>
                </a:cubicBezTo>
                <a:cubicBezTo>
                  <a:pt x="618" y="925"/>
                  <a:pt x="618" y="925"/>
                  <a:pt x="618" y="925"/>
                </a:cubicBezTo>
                <a:cubicBezTo>
                  <a:pt x="582" y="816"/>
                  <a:pt x="582" y="816"/>
                  <a:pt x="582" y="816"/>
                </a:cubicBezTo>
                <a:cubicBezTo>
                  <a:pt x="547" y="925"/>
                  <a:pt x="547" y="925"/>
                  <a:pt x="547" y="925"/>
                </a:cubicBezTo>
                <a:cubicBezTo>
                  <a:pt x="432" y="925"/>
                  <a:pt x="432" y="925"/>
                  <a:pt x="432" y="925"/>
                </a:cubicBezTo>
                <a:cubicBezTo>
                  <a:pt x="525" y="992"/>
                  <a:pt x="525" y="992"/>
                  <a:pt x="525" y="992"/>
                </a:cubicBezTo>
                <a:cubicBezTo>
                  <a:pt x="490" y="1101"/>
                  <a:pt x="490" y="1101"/>
                  <a:pt x="490" y="1101"/>
                </a:cubicBezTo>
                <a:cubicBezTo>
                  <a:pt x="582" y="1034"/>
                  <a:pt x="582" y="1034"/>
                  <a:pt x="582" y="1034"/>
                </a:cubicBezTo>
                <a:cubicBezTo>
                  <a:pt x="675" y="1101"/>
                  <a:pt x="675" y="1101"/>
                  <a:pt x="675" y="1101"/>
                </a:cubicBezTo>
                <a:lnTo>
                  <a:pt x="640" y="992"/>
                </a:lnTo>
                <a:close/>
                <a:moveTo>
                  <a:pt x="1042" y="992"/>
                </a:moveTo>
                <a:cubicBezTo>
                  <a:pt x="1135" y="925"/>
                  <a:pt x="1135" y="925"/>
                  <a:pt x="1135" y="925"/>
                </a:cubicBezTo>
                <a:cubicBezTo>
                  <a:pt x="1021" y="925"/>
                  <a:pt x="1021" y="925"/>
                  <a:pt x="1021" y="925"/>
                </a:cubicBezTo>
                <a:cubicBezTo>
                  <a:pt x="985" y="816"/>
                  <a:pt x="985" y="816"/>
                  <a:pt x="985" y="816"/>
                </a:cubicBezTo>
                <a:cubicBezTo>
                  <a:pt x="950" y="925"/>
                  <a:pt x="950" y="925"/>
                  <a:pt x="950" y="925"/>
                </a:cubicBezTo>
                <a:cubicBezTo>
                  <a:pt x="835" y="925"/>
                  <a:pt x="835" y="925"/>
                  <a:pt x="835" y="925"/>
                </a:cubicBezTo>
                <a:cubicBezTo>
                  <a:pt x="928" y="992"/>
                  <a:pt x="928" y="992"/>
                  <a:pt x="928" y="992"/>
                </a:cubicBezTo>
                <a:cubicBezTo>
                  <a:pt x="892" y="1101"/>
                  <a:pt x="892" y="1101"/>
                  <a:pt x="892" y="1101"/>
                </a:cubicBezTo>
                <a:cubicBezTo>
                  <a:pt x="985" y="1034"/>
                  <a:pt x="985" y="1034"/>
                  <a:pt x="985" y="1034"/>
                </a:cubicBezTo>
                <a:cubicBezTo>
                  <a:pt x="1078" y="1101"/>
                  <a:pt x="1078" y="1101"/>
                  <a:pt x="1078" y="1101"/>
                </a:cubicBezTo>
                <a:lnTo>
                  <a:pt x="1042" y="992"/>
                </a:lnTo>
                <a:close/>
                <a:moveTo>
                  <a:pt x="1445" y="992"/>
                </a:moveTo>
                <a:cubicBezTo>
                  <a:pt x="1538" y="925"/>
                  <a:pt x="1538" y="925"/>
                  <a:pt x="1538" y="925"/>
                </a:cubicBezTo>
                <a:cubicBezTo>
                  <a:pt x="1423" y="925"/>
                  <a:pt x="1423" y="925"/>
                  <a:pt x="1423" y="925"/>
                </a:cubicBezTo>
                <a:cubicBezTo>
                  <a:pt x="1388" y="816"/>
                  <a:pt x="1388" y="816"/>
                  <a:pt x="1388" y="816"/>
                </a:cubicBezTo>
                <a:cubicBezTo>
                  <a:pt x="1352" y="925"/>
                  <a:pt x="1352" y="925"/>
                  <a:pt x="1352" y="925"/>
                </a:cubicBezTo>
                <a:cubicBezTo>
                  <a:pt x="1238" y="925"/>
                  <a:pt x="1238" y="925"/>
                  <a:pt x="1238" y="925"/>
                </a:cubicBezTo>
                <a:cubicBezTo>
                  <a:pt x="1330" y="992"/>
                  <a:pt x="1330" y="992"/>
                  <a:pt x="1330" y="992"/>
                </a:cubicBezTo>
                <a:cubicBezTo>
                  <a:pt x="1295" y="1101"/>
                  <a:pt x="1295" y="1101"/>
                  <a:pt x="1295" y="1101"/>
                </a:cubicBezTo>
                <a:cubicBezTo>
                  <a:pt x="1388" y="1034"/>
                  <a:pt x="1388" y="1034"/>
                  <a:pt x="1388" y="1034"/>
                </a:cubicBezTo>
                <a:cubicBezTo>
                  <a:pt x="1481" y="1101"/>
                  <a:pt x="1481" y="1101"/>
                  <a:pt x="1481" y="1101"/>
                </a:cubicBezTo>
                <a:lnTo>
                  <a:pt x="1445" y="992"/>
                </a:lnTo>
                <a:close/>
              </a:path>
            </a:pathLst>
          </a:custGeom>
          <a:solidFill>
            <a:schemeClr val="bg2"/>
          </a:solidFill>
          <a:ln w="22225">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77950680"/>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Radial diagram </a:t>
            </a:r>
          </a:p>
        </p:txBody>
      </p:sp>
      <p:cxnSp>
        <p:nvCxnSpPr>
          <p:cNvPr id="33" name="Gerade Verbindung mit Pfeil 32"/>
          <p:cNvCxnSpPr>
            <a:cxnSpLocks/>
          </p:cNvCxnSpPr>
          <p:nvPr/>
        </p:nvCxnSpPr>
        <p:spPr bwMode="auto">
          <a:xfrm>
            <a:off x="6093814" y="5545743"/>
            <a:ext cx="0" cy="203019"/>
          </a:xfrm>
          <a:prstGeom prst="straightConnector1">
            <a:avLst/>
          </a:prstGeom>
          <a:noFill/>
          <a:ln w="12700" cap="flat" cmpd="sng" algn="ctr">
            <a:solidFill>
              <a:srgbClr val="66667E"/>
            </a:solidFill>
            <a:prstDash val="solid"/>
            <a:round/>
            <a:headEnd type="none" w="lg" len="lg"/>
            <a:tailEnd type="none" w="lg" len="lg"/>
          </a:ln>
          <a:effectLst/>
        </p:spPr>
      </p:cxnSp>
      <p:sp>
        <p:nvSpPr>
          <p:cNvPr id="89" name="Freihandform 88"/>
          <p:cNvSpPr/>
          <p:nvPr/>
        </p:nvSpPr>
        <p:spPr bwMode="gray">
          <a:xfrm flipH="1" flipV="1">
            <a:off x="7551346" y="4897977"/>
            <a:ext cx="468542" cy="117135"/>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66667E"/>
            </a:solidFill>
            <a:prstDash val="solid"/>
            <a:round/>
            <a:headEnd type="none" w="lg" len="lg"/>
            <a:tailEnd type="none" w="lg" len="lg"/>
          </a:ln>
          <a:effectLst/>
        </p:spPr>
        <p:txBody>
          <a:bodyPr rtlCol="0" anchor="ctr"/>
          <a:lstStyle/>
          <a:p>
            <a:pPr algn="ctr"/>
            <a:endParaRPr lang="en-US" sz="1799" dirty="0">
              <a:ea typeface="Arial Unicode MS"/>
            </a:endParaRPr>
          </a:p>
        </p:txBody>
      </p:sp>
      <p:sp>
        <p:nvSpPr>
          <p:cNvPr id="86" name="Freihandform 85"/>
          <p:cNvSpPr/>
          <p:nvPr/>
        </p:nvSpPr>
        <p:spPr bwMode="gray">
          <a:xfrm flipH="1">
            <a:off x="8003548" y="2997348"/>
            <a:ext cx="477950" cy="119488"/>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66667E"/>
            </a:solidFill>
            <a:prstDash val="solid"/>
            <a:round/>
            <a:headEnd type="none" w="lg" len="lg"/>
            <a:tailEnd type="none" w="lg" len="lg"/>
          </a:ln>
          <a:effectLst/>
        </p:spPr>
        <p:txBody>
          <a:bodyPr rtlCol="0" anchor="ctr"/>
          <a:lstStyle/>
          <a:p>
            <a:pPr algn="ctr"/>
            <a:endParaRPr lang="en-US" sz="1799" dirty="0">
              <a:ea typeface="Arial Unicode MS"/>
            </a:endParaRPr>
          </a:p>
        </p:txBody>
      </p:sp>
      <p:sp>
        <p:nvSpPr>
          <p:cNvPr id="20" name="Freihandform 19"/>
          <p:cNvSpPr/>
          <p:nvPr/>
        </p:nvSpPr>
        <p:spPr bwMode="gray">
          <a:xfrm flipH="1">
            <a:off x="7129295" y="1671936"/>
            <a:ext cx="464783" cy="232391"/>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66667E"/>
            </a:solidFill>
            <a:prstDash val="solid"/>
            <a:round/>
            <a:headEnd type="none" w="lg" len="lg"/>
            <a:tailEnd type="none" w="lg" len="lg"/>
          </a:ln>
          <a:effectLst/>
        </p:spPr>
        <p:txBody>
          <a:bodyPr rtlCol="0" anchor="ctr"/>
          <a:lstStyle/>
          <a:p>
            <a:pPr algn="ctr"/>
            <a:endParaRPr lang="en-US" sz="1799" dirty="0">
              <a:ea typeface="Arial Unicode MS"/>
            </a:endParaRPr>
          </a:p>
        </p:txBody>
      </p:sp>
      <p:sp>
        <p:nvSpPr>
          <p:cNvPr id="95" name="Freihandform 94"/>
          <p:cNvSpPr/>
          <p:nvPr/>
        </p:nvSpPr>
        <p:spPr bwMode="gray">
          <a:xfrm flipV="1">
            <a:off x="4012998" y="4727792"/>
            <a:ext cx="482417" cy="120604"/>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66667E"/>
            </a:solidFill>
            <a:prstDash val="solid"/>
            <a:round/>
            <a:headEnd type="none" w="lg" len="lg"/>
            <a:tailEnd type="none" w="lg" len="lg"/>
          </a:ln>
          <a:effectLst/>
        </p:spPr>
        <p:txBody>
          <a:bodyPr rtlCol="0" anchor="ctr"/>
          <a:lstStyle/>
          <a:p>
            <a:pPr algn="ctr"/>
            <a:endParaRPr lang="en-US" sz="1799" dirty="0">
              <a:ea typeface="Arial Unicode MS"/>
            </a:endParaRPr>
          </a:p>
        </p:txBody>
      </p:sp>
      <p:sp>
        <p:nvSpPr>
          <p:cNvPr id="98" name="Freihandform 97"/>
          <p:cNvSpPr/>
          <p:nvPr/>
        </p:nvSpPr>
        <p:spPr bwMode="gray">
          <a:xfrm>
            <a:off x="3696306" y="2997348"/>
            <a:ext cx="483137" cy="120784"/>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66667E"/>
            </a:solidFill>
            <a:prstDash val="solid"/>
            <a:round/>
            <a:headEnd type="none" w="lg" len="lg"/>
            <a:tailEnd type="none" w="lg" len="lg"/>
          </a:ln>
          <a:effectLst/>
        </p:spPr>
        <p:txBody>
          <a:bodyPr rtlCol="0" anchor="ctr"/>
          <a:lstStyle/>
          <a:p>
            <a:pPr algn="ctr"/>
            <a:endParaRPr lang="en-US" sz="1799" dirty="0">
              <a:ea typeface="Arial Unicode MS"/>
            </a:endParaRPr>
          </a:p>
        </p:txBody>
      </p:sp>
      <p:sp>
        <p:nvSpPr>
          <p:cNvPr id="101" name="Freihandform 100"/>
          <p:cNvSpPr/>
          <p:nvPr/>
        </p:nvSpPr>
        <p:spPr bwMode="gray">
          <a:xfrm>
            <a:off x="4565463" y="1671936"/>
            <a:ext cx="482114" cy="241056"/>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66667E"/>
            </a:solidFill>
            <a:prstDash val="solid"/>
            <a:round/>
            <a:headEnd type="none" w="lg" len="lg"/>
            <a:tailEnd type="none" w="lg" len="lg"/>
          </a:ln>
          <a:effectLst/>
        </p:spPr>
        <p:txBody>
          <a:bodyPr rtlCol="0" anchor="ctr"/>
          <a:lstStyle/>
          <a:p>
            <a:pPr algn="ctr"/>
            <a:endParaRPr lang="en-US" sz="1799" dirty="0">
              <a:ea typeface="Arial Unicode MS"/>
            </a:endParaRPr>
          </a:p>
        </p:txBody>
      </p:sp>
      <p:sp>
        <p:nvSpPr>
          <p:cNvPr id="49" name="Rechteck 28"/>
          <p:cNvSpPr/>
          <p:nvPr/>
        </p:nvSpPr>
        <p:spPr bwMode="gray">
          <a:xfrm>
            <a:off x="2043197" y="1552577"/>
            <a:ext cx="2518688" cy="719625"/>
          </a:xfrm>
          <a:prstGeom prst="rect">
            <a:avLst/>
          </a:prstGeom>
          <a:noFill/>
          <a:ln w="19050">
            <a:noFill/>
            <a:miter lim="800000"/>
          </a:ln>
          <a:effectLst/>
        </p:spPr>
        <p:txBody>
          <a:bodyPr wrap="square" lIns="143925" tIns="0" rIns="143925" bIns="0" numCol="1" spcCol="72000" rtlCol="0" anchor="t" anchorCtr="0">
            <a:noAutofit/>
          </a:bodyPr>
          <a:lstStyle/>
          <a:p>
            <a:pPr algn="r">
              <a:tabLst>
                <a:tab pos="1255085" algn="r"/>
              </a:tabLst>
              <a:defRPr/>
            </a:pPr>
            <a:r>
              <a:rPr lang="en-US" altLang="de-DE" sz="1599" b="1" dirty="0">
                <a:solidFill>
                  <a:srgbClr val="66667E"/>
                </a:solidFill>
                <a:ea typeface="Arial Unicode MS"/>
              </a:rPr>
              <a:t>Cras ultricies mi eu</a:t>
            </a:r>
            <a:endParaRPr lang="en-US" altLang="de-DE" sz="1199" dirty="0">
              <a:solidFill>
                <a:srgbClr val="66667E"/>
              </a:solidFill>
              <a:ea typeface="Arial Unicode MS"/>
              <a:cs typeface="Arial" pitchFamily="34" charset="0"/>
            </a:endParaRPr>
          </a:p>
        </p:txBody>
      </p:sp>
      <p:sp>
        <p:nvSpPr>
          <p:cNvPr id="50" name="Rechteck 28"/>
          <p:cNvSpPr/>
          <p:nvPr/>
        </p:nvSpPr>
        <p:spPr bwMode="gray">
          <a:xfrm>
            <a:off x="7598123" y="1552577"/>
            <a:ext cx="2518688" cy="719625"/>
          </a:xfrm>
          <a:prstGeom prst="rect">
            <a:avLst/>
          </a:prstGeom>
          <a:noFill/>
          <a:ln w="19050">
            <a:noFill/>
            <a:miter lim="800000"/>
          </a:ln>
          <a:effectLst/>
        </p:spPr>
        <p:txBody>
          <a:bodyPr wrap="square" lIns="143925" tIns="0" rIns="143925" bIns="0" numCol="1" spcCol="72000" rtlCol="0" anchor="t" anchorCtr="0">
            <a:noAutofit/>
          </a:bodyPr>
          <a:lstStyle/>
          <a:p>
            <a:pPr>
              <a:tabLst>
                <a:tab pos="1255085" algn="r"/>
              </a:tabLst>
              <a:defRPr/>
            </a:pPr>
            <a:r>
              <a:rPr lang="en-US" altLang="de-DE" sz="1599" b="1" dirty="0">
                <a:solidFill>
                  <a:srgbClr val="66667E"/>
                </a:solidFill>
                <a:ea typeface="Arial Unicode MS"/>
              </a:rPr>
              <a:t>At vero eos et accusam</a:t>
            </a:r>
            <a:endParaRPr lang="en-US" altLang="de-DE" sz="1199" dirty="0">
              <a:solidFill>
                <a:srgbClr val="66667E"/>
              </a:solidFill>
              <a:ea typeface="Arial Unicode MS"/>
              <a:cs typeface="Arial" pitchFamily="34" charset="0"/>
            </a:endParaRPr>
          </a:p>
        </p:txBody>
      </p:sp>
      <p:sp>
        <p:nvSpPr>
          <p:cNvPr id="51" name="Rechteck 28"/>
          <p:cNvSpPr/>
          <p:nvPr/>
        </p:nvSpPr>
        <p:spPr bwMode="gray">
          <a:xfrm>
            <a:off x="8481499" y="2867627"/>
            <a:ext cx="2518688" cy="719625"/>
          </a:xfrm>
          <a:prstGeom prst="rect">
            <a:avLst/>
          </a:prstGeom>
          <a:noFill/>
          <a:ln w="19050">
            <a:noFill/>
            <a:miter lim="800000"/>
          </a:ln>
          <a:effectLst/>
        </p:spPr>
        <p:txBody>
          <a:bodyPr wrap="square" lIns="143925" tIns="0" rIns="143925" bIns="0" numCol="1" spcCol="72000" rtlCol="0" anchor="t" anchorCtr="0">
            <a:noAutofit/>
          </a:bodyPr>
          <a:lstStyle/>
          <a:p>
            <a:pPr>
              <a:tabLst>
                <a:tab pos="1255085" algn="r"/>
              </a:tabLst>
              <a:defRPr/>
            </a:pPr>
            <a:r>
              <a:rPr lang="en-US" altLang="de-DE" sz="1599" b="1" dirty="0">
                <a:solidFill>
                  <a:srgbClr val="66667E"/>
                </a:solidFill>
                <a:ea typeface="Arial Unicode MS"/>
              </a:rPr>
              <a:t>Consetetur sadipscing elitr, seddiam nonumy</a:t>
            </a:r>
            <a:endParaRPr lang="en-US" altLang="de-DE" sz="1199" dirty="0">
              <a:solidFill>
                <a:srgbClr val="66667E"/>
              </a:solidFill>
              <a:ea typeface="Arial Unicode MS"/>
              <a:cs typeface="Arial" pitchFamily="34" charset="0"/>
            </a:endParaRPr>
          </a:p>
        </p:txBody>
      </p:sp>
      <p:sp>
        <p:nvSpPr>
          <p:cNvPr id="52" name="Rechteck 28"/>
          <p:cNvSpPr/>
          <p:nvPr/>
        </p:nvSpPr>
        <p:spPr bwMode="gray">
          <a:xfrm>
            <a:off x="8020790" y="4897088"/>
            <a:ext cx="2518688" cy="719625"/>
          </a:xfrm>
          <a:prstGeom prst="rect">
            <a:avLst/>
          </a:prstGeom>
          <a:noFill/>
          <a:ln w="19050">
            <a:noFill/>
            <a:miter lim="800000"/>
          </a:ln>
          <a:effectLst/>
        </p:spPr>
        <p:txBody>
          <a:bodyPr wrap="square" lIns="143925" tIns="0" rIns="143925" bIns="0" numCol="1" spcCol="72000" rtlCol="0" anchor="t" anchorCtr="0">
            <a:noAutofit/>
          </a:bodyPr>
          <a:lstStyle/>
          <a:p>
            <a:pPr>
              <a:tabLst>
                <a:tab pos="1255085" algn="r"/>
              </a:tabLst>
              <a:defRPr/>
            </a:pPr>
            <a:r>
              <a:rPr lang="en-US" altLang="de-DE" sz="1599" b="1" dirty="0">
                <a:solidFill>
                  <a:srgbClr val="66667E"/>
                </a:solidFill>
                <a:ea typeface="Arial Unicode MS"/>
              </a:rPr>
              <a:t>Sanctus est lorem ipsum dolor sit amet</a:t>
            </a:r>
            <a:endParaRPr lang="en-US" altLang="de-DE" sz="1199" dirty="0">
              <a:solidFill>
                <a:srgbClr val="66667E"/>
              </a:solidFill>
              <a:ea typeface="Arial Unicode MS"/>
              <a:cs typeface="Arial" pitchFamily="34" charset="0"/>
            </a:endParaRPr>
          </a:p>
        </p:txBody>
      </p:sp>
      <p:sp>
        <p:nvSpPr>
          <p:cNvPr id="53" name="Rechteck 28"/>
          <p:cNvSpPr/>
          <p:nvPr/>
        </p:nvSpPr>
        <p:spPr bwMode="gray">
          <a:xfrm>
            <a:off x="1491612" y="4728662"/>
            <a:ext cx="2518688" cy="719625"/>
          </a:xfrm>
          <a:prstGeom prst="rect">
            <a:avLst/>
          </a:prstGeom>
          <a:noFill/>
          <a:ln w="19050">
            <a:noFill/>
            <a:miter lim="800000"/>
          </a:ln>
          <a:effectLst/>
        </p:spPr>
        <p:txBody>
          <a:bodyPr wrap="square" lIns="143925" tIns="0" rIns="143925" bIns="0" numCol="1" spcCol="72000" rtlCol="0" anchor="t" anchorCtr="0">
            <a:noAutofit/>
          </a:bodyPr>
          <a:lstStyle/>
          <a:p>
            <a:pPr algn="r">
              <a:tabLst>
                <a:tab pos="1255085" algn="r"/>
              </a:tabLst>
              <a:defRPr/>
            </a:pPr>
            <a:r>
              <a:rPr lang="en-US" altLang="de-DE" sz="1599" b="1" dirty="0">
                <a:solidFill>
                  <a:srgbClr val="66667E"/>
                </a:solidFill>
                <a:ea typeface="Arial Unicode MS"/>
              </a:rPr>
              <a:t>At vero eos et accusam</a:t>
            </a:r>
            <a:endParaRPr lang="en-US" altLang="de-DE" sz="1199" dirty="0">
              <a:solidFill>
                <a:srgbClr val="66667E"/>
              </a:solidFill>
              <a:ea typeface="Arial Unicode MS"/>
              <a:cs typeface="Arial" pitchFamily="34" charset="0"/>
            </a:endParaRPr>
          </a:p>
        </p:txBody>
      </p:sp>
      <p:sp>
        <p:nvSpPr>
          <p:cNvPr id="54" name="Rechteck 28"/>
          <p:cNvSpPr/>
          <p:nvPr/>
        </p:nvSpPr>
        <p:spPr bwMode="gray">
          <a:xfrm>
            <a:off x="1177617" y="2869660"/>
            <a:ext cx="2518688" cy="719625"/>
          </a:xfrm>
          <a:prstGeom prst="rect">
            <a:avLst/>
          </a:prstGeom>
          <a:noFill/>
          <a:ln w="19050">
            <a:noFill/>
            <a:miter lim="800000"/>
          </a:ln>
          <a:effectLst/>
        </p:spPr>
        <p:txBody>
          <a:bodyPr wrap="square" lIns="143925" tIns="0" rIns="143925" bIns="0" numCol="1" spcCol="72000" rtlCol="0" anchor="t" anchorCtr="0">
            <a:noAutofit/>
          </a:bodyPr>
          <a:lstStyle/>
          <a:p>
            <a:pPr algn="r">
              <a:tabLst>
                <a:tab pos="1255085" algn="r"/>
              </a:tabLst>
              <a:defRPr/>
            </a:pPr>
            <a:r>
              <a:rPr lang="en-US" altLang="de-DE" sz="1599" b="1" dirty="0">
                <a:solidFill>
                  <a:srgbClr val="66667E"/>
                </a:solidFill>
                <a:ea typeface="Arial Unicode MS"/>
              </a:rPr>
              <a:t>Stet clita kasd gubergren, no sea takimata sanctus</a:t>
            </a:r>
            <a:endParaRPr lang="en-US" altLang="de-DE" sz="1199" dirty="0">
              <a:solidFill>
                <a:srgbClr val="66667E"/>
              </a:solidFill>
              <a:ea typeface="Arial Unicode MS"/>
              <a:cs typeface="Arial" pitchFamily="34" charset="0"/>
            </a:endParaRPr>
          </a:p>
        </p:txBody>
      </p:sp>
      <p:sp>
        <p:nvSpPr>
          <p:cNvPr id="55" name="Rechteck 28"/>
          <p:cNvSpPr/>
          <p:nvPr/>
        </p:nvSpPr>
        <p:spPr bwMode="gray">
          <a:xfrm>
            <a:off x="4834469" y="5744360"/>
            <a:ext cx="2518688" cy="423359"/>
          </a:xfrm>
          <a:prstGeom prst="rect">
            <a:avLst/>
          </a:prstGeom>
          <a:noFill/>
          <a:ln w="19050">
            <a:noFill/>
            <a:miter lim="800000"/>
          </a:ln>
          <a:effectLst/>
        </p:spPr>
        <p:txBody>
          <a:bodyPr wrap="square" lIns="0" tIns="143925" rIns="0" bIns="0" numCol="1" spcCol="72000" rtlCol="0" anchor="t" anchorCtr="0">
            <a:noAutofit/>
          </a:bodyPr>
          <a:lstStyle/>
          <a:p>
            <a:pPr algn="ctr">
              <a:tabLst>
                <a:tab pos="1255085" algn="r"/>
              </a:tabLst>
              <a:defRPr/>
            </a:pPr>
            <a:r>
              <a:rPr lang="en-US" altLang="de-DE" sz="1599" b="1" dirty="0">
                <a:solidFill>
                  <a:srgbClr val="66667E"/>
                </a:solidFill>
                <a:ea typeface="Arial Unicode MS"/>
              </a:rPr>
              <a:t>Cras ultricies mi eu</a:t>
            </a:r>
            <a:endParaRPr lang="en-US" altLang="de-DE" sz="1199" dirty="0">
              <a:solidFill>
                <a:srgbClr val="66667E"/>
              </a:solidFill>
              <a:ea typeface="Arial Unicode MS"/>
              <a:cs typeface="Arial" pitchFamily="34" charset="0"/>
            </a:endParaRPr>
          </a:p>
        </p:txBody>
      </p:sp>
      <p:grpSp>
        <p:nvGrpSpPr>
          <p:cNvPr id="37" name="Gruppieren 2">
            <a:extLst>
              <a:ext uri="{FF2B5EF4-FFF2-40B4-BE49-F238E27FC236}">
                <a16:creationId xmlns:a16="http://schemas.microsoft.com/office/drawing/2014/main" id="{34371CE7-6A8A-444D-990E-E4F63CADA643}"/>
              </a:ext>
            </a:extLst>
          </p:cNvPr>
          <p:cNvGrpSpPr/>
          <p:nvPr/>
        </p:nvGrpSpPr>
        <p:grpSpPr>
          <a:xfrm>
            <a:off x="4196111" y="1672169"/>
            <a:ext cx="3805367" cy="3811033"/>
            <a:chOff x="4179452" y="1696534"/>
            <a:chExt cx="3807349" cy="3813018"/>
          </a:xfrm>
        </p:grpSpPr>
        <p:sp>
          <p:nvSpPr>
            <p:cNvPr id="38" name="Freeform 43">
              <a:extLst>
                <a:ext uri="{FF2B5EF4-FFF2-40B4-BE49-F238E27FC236}">
                  <a16:creationId xmlns:a16="http://schemas.microsoft.com/office/drawing/2014/main" id="{9F64CD3F-32A3-45A8-BE3C-760305C8759C}"/>
                </a:ext>
              </a:extLst>
            </p:cNvPr>
            <p:cNvSpPr>
              <a:spLocks/>
            </p:cNvSpPr>
            <p:nvPr/>
          </p:nvSpPr>
          <p:spPr bwMode="auto">
            <a:xfrm>
              <a:off x="6083124" y="1696537"/>
              <a:ext cx="1478750" cy="1186964"/>
            </a:xfrm>
            <a:custGeom>
              <a:avLst/>
              <a:gdLst>
                <a:gd name="T0" fmla="*/ 15567534 w 1047"/>
                <a:gd name="T1" fmla="*/ 0 h 840"/>
                <a:gd name="T2" fmla="*/ 47378524 w 1047"/>
                <a:gd name="T3" fmla="*/ 1355664 h 840"/>
                <a:gd name="T4" fmla="*/ 79189513 w 1047"/>
                <a:gd name="T5" fmla="*/ 3389951 h 840"/>
                <a:gd name="T6" fmla="*/ 111001293 w 1047"/>
                <a:gd name="T7" fmla="*/ 6101278 h 840"/>
                <a:gd name="T8" fmla="*/ 142812282 w 1047"/>
                <a:gd name="T9" fmla="*/ 10846892 h 840"/>
                <a:gd name="T10" fmla="*/ 173947351 w 1047"/>
                <a:gd name="T11" fmla="*/ 16270338 h 840"/>
                <a:gd name="T12" fmla="*/ 205081629 w 1047"/>
                <a:gd name="T13" fmla="*/ 23727279 h 840"/>
                <a:gd name="T14" fmla="*/ 236215906 w 1047"/>
                <a:gd name="T15" fmla="*/ 31184220 h 840"/>
                <a:gd name="T16" fmla="*/ 266673472 w 1047"/>
                <a:gd name="T17" fmla="*/ 39997616 h 840"/>
                <a:gd name="T18" fmla="*/ 297131038 w 1047"/>
                <a:gd name="T19" fmla="*/ 49488053 h 840"/>
                <a:gd name="T20" fmla="*/ 326911892 w 1047"/>
                <a:gd name="T21" fmla="*/ 61012776 h 840"/>
                <a:gd name="T22" fmla="*/ 356692746 w 1047"/>
                <a:gd name="T23" fmla="*/ 72537500 h 840"/>
                <a:gd name="T24" fmla="*/ 385796888 w 1047"/>
                <a:gd name="T25" fmla="*/ 85418679 h 840"/>
                <a:gd name="T26" fmla="*/ 414223528 w 1047"/>
                <a:gd name="T27" fmla="*/ 99654729 h 840"/>
                <a:gd name="T28" fmla="*/ 441974247 w 1047"/>
                <a:gd name="T29" fmla="*/ 115247235 h 840"/>
                <a:gd name="T30" fmla="*/ 469724174 w 1047"/>
                <a:gd name="T31" fmla="*/ 130838949 h 840"/>
                <a:gd name="T32" fmla="*/ 496798182 w 1047"/>
                <a:gd name="T33" fmla="*/ 147787119 h 840"/>
                <a:gd name="T34" fmla="*/ 523194686 w 1047"/>
                <a:gd name="T35" fmla="*/ 165413120 h 840"/>
                <a:gd name="T36" fmla="*/ 548914478 w 1047"/>
                <a:gd name="T37" fmla="*/ 184394784 h 840"/>
                <a:gd name="T38" fmla="*/ 573957559 w 1047"/>
                <a:gd name="T39" fmla="*/ 204055073 h 840"/>
                <a:gd name="T40" fmla="*/ 598323137 w 1047"/>
                <a:gd name="T41" fmla="*/ 224392401 h 840"/>
                <a:gd name="T42" fmla="*/ 622689506 w 1047"/>
                <a:gd name="T43" fmla="*/ 245408352 h 840"/>
                <a:gd name="T44" fmla="*/ 645024949 w 1047"/>
                <a:gd name="T45" fmla="*/ 267779968 h 840"/>
                <a:gd name="T46" fmla="*/ 666683680 w 1047"/>
                <a:gd name="T47" fmla="*/ 290829415 h 840"/>
                <a:gd name="T48" fmla="*/ 689019122 w 1047"/>
                <a:gd name="T49" fmla="*/ 314556694 h 840"/>
                <a:gd name="T50" fmla="*/ 708647718 w 1047"/>
                <a:gd name="T51" fmla="*/ 338961804 h 840"/>
                <a:gd name="T52" fmla="*/ 425053289 w 1047"/>
                <a:gd name="T53" fmla="*/ 569455482 h 840"/>
                <a:gd name="T54" fmla="*/ 412870104 w 1047"/>
                <a:gd name="T55" fmla="*/ 554540808 h 840"/>
                <a:gd name="T56" fmla="*/ 400010208 w 1047"/>
                <a:gd name="T57" fmla="*/ 540982589 h 840"/>
                <a:gd name="T58" fmla="*/ 387150312 w 1047"/>
                <a:gd name="T59" fmla="*/ 527424371 h 840"/>
                <a:gd name="T60" fmla="*/ 372936992 w 1047"/>
                <a:gd name="T61" fmla="*/ 513187528 h 840"/>
                <a:gd name="T62" fmla="*/ 358723672 w 1047"/>
                <a:gd name="T63" fmla="*/ 500307141 h 840"/>
                <a:gd name="T64" fmla="*/ 343832850 w 1047"/>
                <a:gd name="T65" fmla="*/ 488782418 h 840"/>
                <a:gd name="T66" fmla="*/ 328942818 w 1047"/>
                <a:gd name="T67" fmla="*/ 476579863 h 840"/>
                <a:gd name="T68" fmla="*/ 313375284 w 1047"/>
                <a:gd name="T69" fmla="*/ 465055139 h 840"/>
                <a:gd name="T70" fmla="*/ 297807749 w 1047"/>
                <a:gd name="T71" fmla="*/ 454208247 h 840"/>
                <a:gd name="T72" fmla="*/ 281564295 w 1047"/>
                <a:gd name="T73" fmla="*/ 444717811 h 840"/>
                <a:gd name="T74" fmla="*/ 265320049 w 1047"/>
                <a:gd name="T75" fmla="*/ 435226583 h 840"/>
                <a:gd name="T76" fmla="*/ 248399091 w 1047"/>
                <a:gd name="T77" fmla="*/ 425736146 h 840"/>
                <a:gd name="T78" fmla="*/ 231478133 w 1047"/>
                <a:gd name="T79" fmla="*/ 417600581 h 840"/>
                <a:gd name="T80" fmla="*/ 213880463 w 1047"/>
                <a:gd name="T81" fmla="*/ 409465809 h 840"/>
                <a:gd name="T82" fmla="*/ 196282794 w 1047"/>
                <a:gd name="T83" fmla="*/ 402686699 h 840"/>
                <a:gd name="T84" fmla="*/ 178007621 w 1047"/>
                <a:gd name="T85" fmla="*/ 396585422 h 840"/>
                <a:gd name="T86" fmla="*/ 159733240 w 1047"/>
                <a:gd name="T87" fmla="*/ 390484144 h 840"/>
                <a:gd name="T88" fmla="*/ 141458859 w 1047"/>
                <a:gd name="T89" fmla="*/ 385060698 h 840"/>
                <a:gd name="T90" fmla="*/ 123184478 w 1047"/>
                <a:gd name="T91" fmla="*/ 380315084 h 840"/>
                <a:gd name="T92" fmla="*/ 104232594 w 1047"/>
                <a:gd name="T93" fmla="*/ 376247302 h 840"/>
                <a:gd name="T94" fmla="*/ 85958212 w 1047"/>
                <a:gd name="T95" fmla="*/ 372858143 h 840"/>
                <a:gd name="T96" fmla="*/ 66329616 w 1047"/>
                <a:gd name="T97" fmla="*/ 370146024 h 840"/>
                <a:gd name="T98" fmla="*/ 47378524 w 1047"/>
                <a:gd name="T99" fmla="*/ 368112529 h 840"/>
                <a:gd name="T100" fmla="*/ 28427431 w 1047"/>
                <a:gd name="T101" fmla="*/ 366756073 h 840"/>
                <a:gd name="T102" fmla="*/ 9475546 w 1047"/>
                <a:gd name="T103" fmla="*/ 366078242 h 840"/>
                <a:gd name="T104" fmla="*/ 75128451 w 1047"/>
                <a:gd name="T105" fmla="*/ 183039121 h 8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047" h="840">
                  <a:moveTo>
                    <a:pt x="0" y="0"/>
                  </a:moveTo>
                  <a:lnTo>
                    <a:pt x="23" y="0"/>
                  </a:lnTo>
                  <a:lnTo>
                    <a:pt x="47" y="1"/>
                  </a:lnTo>
                  <a:lnTo>
                    <a:pt x="70" y="2"/>
                  </a:lnTo>
                  <a:lnTo>
                    <a:pt x="94" y="3"/>
                  </a:lnTo>
                  <a:lnTo>
                    <a:pt x="117" y="5"/>
                  </a:lnTo>
                  <a:lnTo>
                    <a:pt x="140" y="7"/>
                  </a:lnTo>
                  <a:lnTo>
                    <a:pt x="164" y="9"/>
                  </a:lnTo>
                  <a:lnTo>
                    <a:pt x="187" y="13"/>
                  </a:lnTo>
                  <a:lnTo>
                    <a:pt x="211" y="16"/>
                  </a:lnTo>
                  <a:lnTo>
                    <a:pt x="234" y="20"/>
                  </a:lnTo>
                  <a:lnTo>
                    <a:pt x="257" y="24"/>
                  </a:lnTo>
                  <a:lnTo>
                    <a:pt x="280" y="29"/>
                  </a:lnTo>
                  <a:lnTo>
                    <a:pt x="303" y="35"/>
                  </a:lnTo>
                  <a:lnTo>
                    <a:pt x="326" y="40"/>
                  </a:lnTo>
                  <a:lnTo>
                    <a:pt x="349" y="46"/>
                  </a:lnTo>
                  <a:lnTo>
                    <a:pt x="371" y="52"/>
                  </a:lnTo>
                  <a:lnTo>
                    <a:pt x="394" y="59"/>
                  </a:lnTo>
                  <a:lnTo>
                    <a:pt x="416" y="66"/>
                  </a:lnTo>
                  <a:lnTo>
                    <a:pt x="439" y="73"/>
                  </a:lnTo>
                  <a:lnTo>
                    <a:pt x="461" y="81"/>
                  </a:lnTo>
                  <a:lnTo>
                    <a:pt x="483" y="90"/>
                  </a:lnTo>
                  <a:lnTo>
                    <a:pt x="505" y="98"/>
                  </a:lnTo>
                  <a:lnTo>
                    <a:pt x="527" y="107"/>
                  </a:lnTo>
                  <a:lnTo>
                    <a:pt x="548" y="116"/>
                  </a:lnTo>
                  <a:lnTo>
                    <a:pt x="570" y="126"/>
                  </a:lnTo>
                  <a:lnTo>
                    <a:pt x="591" y="136"/>
                  </a:lnTo>
                  <a:lnTo>
                    <a:pt x="612" y="147"/>
                  </a:lnTo>
                  <a:lnTo>
                    <a:pt x="632" y="158"/>
                  </a:lnTo>
                  <a:lnTo>
                    <a:pt x="653" y="170"/>
                  </a:lnTo>
                  <a:lnTo>
                    <a:pt x="674" y="180"/>
                  </a:lnTo>
                  <a:lnTo>
                    <a:pt x="694" y="193"/>
                  </a:lnTo>
                  <a:lnTo>
                    <a:pt x="714" y="205"/>
                  </a:lnTo>
                  <a:lnTo>
                    <a:pt x="734" y="218"/>
                  </a:lnTo>
                  <a:lnTo>
                    <a:pt x="754" y="231"/>
                  </a:lnTo>
                  <a:lnTo>
                    <a:pt x="773" y="244"/>
                  </a:lnTo>
                  <a:lnTo>
                    <a:pt x="792" y="258"/>
                  </a:lnTo>
                  <a:lnTo>
                    <a:pt x="811" y="272"/>
                  </a:lnTo>
                  <a:lnTo>
                    <a:pt x="829" y="286"/>
                  </a:lnTo>
                  <a:lnTo>
                    <a:pt x="848" y="301"/>
                  </a:lnTo>
                  <a:lnTo>
                    <a:pt x="866" y="315"/>
                  </a:lnTo>
                  <a:lnTo>
                    <a:pt x="884" y="331"/>
                  </a:lnTo>
                  <a:lnTo>
                    <a:pt x="902" y="347"/>
                  </a:lnTo>
                  <a:lnTo>
                    <a:pt x="920" y="362"/>
                  </a:lnTo>
                  <a:lnTo>
                    <a:pt x="936" y="379"/>
                  </a:lnTo>
                  <a:lnTo>
                    <a:pt x="953" y="395"/>
                  </a:lnTo>
                  <a:lnTo>
                    <a:pt x="970" y="412"/>
                  </a:lnTo>
                  <a:lnTo>
                    <a:pt x="985" y="429"/>
                  </a:lnTo>
                  <a:lnTo>
                    <a:pt x="1002" y="446"/>
                  </a:lnTo>
                  <a:lnTo>
                    <a:pt x="1018" y="464"/>
                  </a:lnTo>
                  <a:lnTo>
                    <a:pt x="1032" y="482"/>
                  </a:lnTo>
                  <a:lnTo>
                    <a:pt x="1047" y="500"/>
                  </a:lnTo>
                  <a:lnTo>
                    <a:pt x="930" y="789"/>
                  </a:lnTo>
                  <a:lnTo>
                    <a:pt x="628" y="840"/>
                  </a:lnTo>
                  <a:lnTo>
                    <a:pt x="619" y="830"/>
                  </a:lnTo>
                  <a:lnTo>
                    <a:pt x="610" y="818"/>
                  </a:lnTo>
                  <a:lnTo>
                    <a:pt x="600" y="808"/>
                  </a:lnTo>
                  <a:lnTo>
                    <a:pt x="591" y="798"/>
                  </a:lnTo>
                  <a:lnTo>
                    <a:pt x="581" y="787"/>
                  </a:lnTo>
                  <a:lnTo>
                    <a:pt x="572" y="778"/>
                  </a:lnTo>
                  <a:lnTo>
                    <a:pt x="561" y="767"/>
                  </a:lnTo>
                  <a:lnTo>
                    <a:pt x="551" y="757"/>
                  </a:lnTo>
                  <a:lnTo>
                    <a:pt x="540" y="748"/>
                  </a:lnTo>
                  <a:lnTo>
                    <a:pt x="530" y="738"/>
                  </a:lnTo>
                  <a:lnTo>
                    <a:pt x="519" y="730"/>
                  </a:lnTo>
                  <a:lnTo>
                    <a:pt x="508" y="721"/>
                  </a:lnTo>
                  <a:lnTo>
                    <a:pt x="498" y="712"/>
                  </a:lnTo>
                  <a:lnTo>
                    <a:pt x="486" y="703"/>
                  </a:lnTo>
                  <a:lnTo>
                    <a:pt x="475" y="695"/>
                  </a:lnTo>
                  <a:lnTo>
                    <a:pt x="463" y="686"/>
                  </a:lnTo>
                  <a:lnTo>
                    <a:pt x="452" y="679"/>
                  </a:lnTo>
                  <a:lnTo>
                    <a:pt x="440" y="670"/>
                  </a:lnTo>
                  <a:lnTo>
                    <a:pt x="429" y="663"/>
                  </a:lnTo>
                  <a:lnTo>
                    <a:pt x="416" y="656"/>
                  </a:lnTo>
                  <a:lnTo>
                    <a:pt x="404" y="649"/>
                  </a:lnTo>
                  <a:lnTo>
                    <a:pt x="392" y="642"/>
                  </a:lnTo>
                  <a:lnTo>
                    <a:pt x="379" y="635"/>
                  </a:lnTo>
                  <a:lnTo>
                    <a:pt x="367" y="628"/>
                  </a:lnTo>
                  <a:lnTo>
                    <a:pt x="354" y="622"/>
                  </a:lnTo>
                  <a:lnTo>
                    <a:pt x="342" y="616"/>
                  </a:lnTo>
                  <a:lnTo>
                    <a:pt x="329" y="610"/>
                  </a:lnTo>
                  <a:lnTo>
                    <a:pt x="316" y="604"/>
                  </a:lnTo>
                  <a:lnTo>
                    <a:pt x="303" y="599"/>
                  </a:lnTo>
                  <a:lnTo>
                    <a:pt x="290" y="594"/>
                  </a:lnTo>
                  <a:lnTo>
                    <a:pt x="277" y="589"/>
                  </a:lnTo>
                  <a:lnTo>
                    <a:pt x="263" y="585"/>
                  </a:lnTo>
                  <a:lnTo>
                    <a:pt x="250" y="579"/>
                  </a:lnTo>
                  <a:lnTo>
                    <a:pt x="236" y="576"/>
                  </a:lnTo>
                  <a:lnTo>
                    <a:pt x="223" y="571"/>
                  </a:lnTo>
                  <a:lnTo>
                    <a:pt x="209" y="568"/>
                  </a:lnTo>
                  <a:lnTo>
                    <a:pt x="195" y="564"/>
                  </a:lnTo>
                  <a:lnTo>
                    <a:pt x="182" y="561"/>
                  </a:lnTo>
                  <a:lnTo>
                    <a:pt x="168" y="557"/>
                  </a:lnTo>
                  <a:lnTo>
                    <a:pt x="154" y="555"/>
                  </a:lnTo>
                  <a:lnTo>
                    <a:pt x="140" y="552"/>
                  </a:lnTo>
                  <a:lnTo>
                    <a:pt x="127" y="550"/>
                  </a:lnTo>
                  <a:lnTo>
                    <a:pt x="112" y="548"/>
                  </a:lnTo>
                  <a:lnTo>
                    <a:pt x="98" y="546"/>
                  </a:lnTo>
                  <a:lnTo>
                    <a:pt x="84" y="545"/>
                  </a:lnTo>
                  <a:lnTo>
                    <a:pt x="70" y="543"/>
                  </a:lnTo>
                  <a:lnTo>
                    <a:pt x="56" y="542"/>
                  </a:lnTo>
                  <a:lnTo>
                    <a:pt x="42" y="541"/>
                  </a:lnTo>
                  <a:lnTo>
                    <a:pt x="28" y="540"/>
                  </a:lnTo>
                  <a:lnTo>
                    <a:pt x="14" y="540"/>
                  </a:lnTo>
                  <a:lnTo>
                    <a:pt x="0" y="540"/>
                  </a:lnTo>
                  <a:lnTo>
                    <a:pt x="111" y="270"/>
                  </a:lnTo>
                  <a:lnTo>
                    <a:pt x="0" y="0"/>
                  </a:lnTo>
                  <a:close/>
                </a:path>
              </a:pathLst>
            </a:custGeom>
            <a:solidFill>
              <a:srgbClr val="00646E"/>
            </a:solidFill>
            <a:ln w="38100" cmpd="sng">
              <a:solidFill>
                <a:schemeClr val="bg1"/>
              </a:solidFill>
              <a:prstDash val="solid"/>
              <a:round/>
              <a:headEnd/>
              <a:tailEnd/>
            </a:ln>
          </p:spPr>
          <p:txBody>
            <a:bodyPr lIns="0" tIns="0" rIns="0" bIns="0">
              <a:noAutofit/>
            </a:bodyPr>
            <a:lstStyle/>
            <a:p>
              <a:pPr algn="ctr"/>
              <a:endParaRPr lang="en-US" sz="1799" dirty="0">
                <a:solidFill>
                  <a:schemeClr val="bg1"/>
                </a:solidFill>
              </a:endParaRPr>
            </a:p>
          </p:txBody>
        </p:sp>
        <p:sp>
          <p:nvSpPr>
            <p:cNvPr id="39" name="Freeform 44">
              <a:extLst>
                <a:ext uri="{FF2B5EF4-FFF2-40B4-BE49-F238E27FC236}">
                  <a16:creationId xmlns:a16="http://schemas.microsoft.com/office/drawing/2014/main" id="{3AF6A2E3-F4AC-4AA4-A274-5798A17A7A4C}"/>
                </a:ext>
              </a:extLst>
            </p:cNvPr>
            <p:cNvSpPr>
              <a:spLocks/>
            </p:cNvSpPr>
            <p:nvPr/>
          </p:nvSpPr>
          <p:spPr bwMode="auto">
            <a:xfrm>
              <a:off x="6969809" y="2404748"/>
              <a:ext cx="1016992" cy="1719540"/>
            </a:xfrm>
            <a:custGeom>
              <a:avLst/>
              <a:gdLst>
                <a:gd name="T0" fmla="*/ 293885413 w 720"/>
                <a:gd name="T1" fmla="*/ 12175689 h 1218"/>
                <a:gd name="T2" fmla="*/ 313522839 w 720"/>
                <a:gd name="T3" fmla="*/ 37879920 h 1218"/>
                <a:gd name="T4" fmla="*/ 331129162 w 720"/>
                <a:gd name="T5" fmla="*/ 63584943 h 1218"/>
                <a:gd name="T6" fmla="*/ 348734694 w 720"/>
                <a:gd name="T7" fmla="*/ 90642028 h 1218"/>
                <a:gd name="T8" fmla="*/ 365664246 w 720"/>
                <a:gd name="T9" fmla="*/ 117699114 h 1218"/>
                <a:gd name="T10" fmla="*/ 380561113 w 720"/>
                <a:gd name="T11" fmla="*/ 145433418 h 1218"/>
                <a:gd name="T12" fmla="*/ 394781209 w 720"/>
                <a:gd name="T13" fmla="*/ 174519785 h 1218"/>
                <a:gd name="T14" fmla="*/ 408324534 w 720"/>
                <a:gd name="T15" fmla="*/ 202929725 h 1218"/>
                <a:gd name="T16" fmla="*/ 421190297 w 720"/>
                <a:gd name="T17" fmla="*/ 232693311 h 1218"/>
                <a:gd name="T18" fmla="*/ 432702520 w 720"/>
                <a:gd name="T19" fmla="*/ 262456105 h 1218"/>
                <a:gd name="T20" fmla="*/ 442859618 w 720"/>
                <a:gd name="T21" fmla="*/ 292896117 h 1218"/>
                <a:gd name="T22" fmla="*/ 452339946 w 720"/>
                <a:gd name="T23" fmla="*/ 322658912 h 1218"/>
                <a:gd name="T24" fmla="*/ 460465941 w 720"/>
                <a:gd name="T25" fmla="*/ 353098133 h 1218"/>
                <a:gd name="T26" fmla="*/ 467914374 w 720"/>
                <a:gd name="T27" fmla="*/ 384891000 h 1218"/>
                <a:gd name="T28" fmla="*/ 473331705 w 720"/>
                <a:gd name="T29" fmla="*/ 416006649 h 1218"/>
                <a:gd name="T30" fmla="*/ 478749035 w 720"/>
                <a:gd name="T31" fmla="*/ 447798724 h 1218"/>
                <a:gd name="T32" fmla="*/ 482134470 w 720"/>
                <a:gd name="T33" fmla="*/ 479591591 h 1218"/>
                <a:gd name="T34" fmla="*/ 484843135 w 720"/>
                <a:gd name="T35" fmla="*/ 510707240 h 1218"/>
                <a:gd name="T36" fmla="*/ 486875030 w 720"/>
                <a:gd name="T37" fmla="*/ 542500107 h 1218"/>
                <a:gd name="T38" fmla="*/ 487551801 w 720"/>
                <a:gd name="T39" fmla="*/ 574292182 h 1218"/>
                <a:gd name="T40" fmla="*/ 486875030 w 720"/>
                <a:gd name="T41" fmla="*/ 606760685 h 1218"/>
                <a:gd name="T42" fmla="*/ 484843135 w 720"/>
                <a:gd name="T43" fmla="*/ 638553552 h 1218"/>
                <a:gd name="T44" fmla="*/ 482134470 w 720"/>
                <a:gd name="T45" fmla="*/ 670345628 h 1218"/>
                <a:gd name="T46" fmla="*/ 478749035 w 720"/>
                <a:gd name="T47" fmla="*/ 702138495 h 1218"/>
                <a:gd name="T48" fmla="*/ 473331705 w 720"/>
                <a:gd name="T49" fmla="*/ 733254143 h 1218"/>
                <a:gd name="T50" fmla="*/ 467914374 w 720"/>
                <a:gd name="T51" fmla="*/ 764369792 h 1218"/>
                <a:gd name="T52" fmla="*/ 267476324 w 720"/>
                <a:gd name="T53" fmla="*/ 823896171 h 1218"/>
                <a:gd name="T54" fmla="*/ 109699353 w 720"/>
                <a:gd name="T55" fmla="*/ 688609161 h 1218"/>
                <a:gd name="T56" fmla="*/ 113762351 w 720"/>
                <a:gd name="T57" fmla="*/ 669669201 h 1218"/>
                <a:gd name="T58" fmla="*/ 117147786 w 720"/>
                <a:gd name="T59" fmla="*/ 650729241 h 1218"/>
                <a:gd name="T60" fmla="*/ 119179681 w 720"/>
                <a:gd name="T61" fmla="*/ 631789281 h 1218"/>
                <a:gd name="T62" fmla="*/ 120534013 w 720"/>
                <a:gd name="T63" fmla="*/ 612848529 h 1218"/>
                <a:gd name="T64" fmla="*/ 121888346 w 720"/>
                <a:gd name="T65" fmla="*/ 593908569 h 1218"/>
                <a:gd name="T66" fmla="*/ 122565116 w 720"/>
                <a:gd name="T67" fmla="*/ 574292182 h 1218"/>
                <a:gd name="T68" fmla="*/ 121888346 w 720"/>
                <a:gd name="T69" fmla="*/ 555352222 h 1218"/>
                <a:gd name="T70" fmla="*/ 120534013 w 720"/>
                <a:gd name="T71" fmla="*/ 536412262 h 1218"/>
                <a:gd name="T72" fmla="*/ 119179681 w 720"/>
                <a:gd name="T73" fmla="*/ 517471511 h 1218"/>
                <a:gd name="T74" fmla="*/ 117147786 w 720"/>
                <a:gd name="T75" fmla="*/ 497855124 h 1218"/>
                <a:gd name="T76" fmla="*/ 113762351 w 720"/>
                <a:gd name="T77" fmla="*/ 479591591 h 1218"/>
                <a:gd name="T78" fmla="*/ 109699353 w 720"/>
                <a:gd name="T79" fmla="*/ 460651631 h 1218"/>
                <a:gd name="T80" fmla="*/ 105636355 w 720"/>
                <a:gd name="T81" fmla="*/ 442387307 h 1218"/>
                <a:gd name="T82" fmla="*/ 101573358 w 720"/>
                <a:gd name="T83" fmla="*/ 423447347 h 1218"/>
                <a:gd name="T84" fmla="*/ 94801695 w 720"/>
                <a:gd name="T85" fmla="*/ 405183814 h 1218"/>
                <a:gd name="T86" fmla="*/ 89384365 w 720"/>
                <a:gd name="T87" fmla="*/ 386920281 h 1218"/>
                <a:gd name="T88" fmla="*/ 82612702 w 720"/>
                <a:gd name="T89" fmla="*/ 369332385 h 1218"/>
                <a:gd name="T90" fmla="*/ 74486707 w 720"/>
                <a:gd name="T91" fmla="*/ 351745279 h 1218"/>
                <a:gd name="T92" fmla="*/ 66361503 w 720"/>
                <a:gd name="T93" fmla="*/ 334158173 h 1218"/>
                <a:gd name="T94" fmla="*/ 58235508 w 720"/>
                <a:gd name="T95" fmla="*/ 317247495 h 1218"/>
                <a:gd name="T96" fmla="*/ 48755180 w 720"/>
                <a:gd name="T97" fmla="*/ 300336816 h 1218"/>
                <a:gd name="T98" fmla="*/ 38598082 w 720"/>
                <a:gd name="T99" fmla="*/ 284101773 h 1218"/>
                <a:gd name="T100" fmla="*/ 28440192 w 720"/>
                <a:gd name="T101" fmla="*/ 268543949 h 1218"/>
                <a:gd name="T102" fmla="*/ 17606323 w 720"/>
                <a:gd name="T103" fmla="*/ 252309698 h 1218"/>
                <a:gd name="T104" fmla="*/ 6094101 w 720"/>
                <a:gd name="T105" fmla="*/ 237428301 h 1218"/>
                <a:gd name="T106" fmla="*/ 204501048 w 720"/>
                <a:gd name="T107" fmla="*/ 194812599 h 121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0" h="1218">
                  <a:moveTo>
                    <a:pt x="419" y="0"/>
                  </a:moveTo>
                  <a:lnTo>
                    <a:pt x="434" y="18"/>
                  </a:lnTo>
                  <a:lnTo>
                    <a:pt x="449" y="37"/>
                  </a:lnTo>
                  <a:lnTo>
                    <a:pt x="463" y="56"/>
                  </a:lnTo>
                  <a:lnTo>
                    <a:pt x="477" y="75"/>
                  </a:lnTo>
                  <a:lnTo>
                    <a:pt x="489" y="94"/>
                  </a:lnTo>
                  <a:lnTo>
                    <a:pt x="502" y="114"/>
                  </a:lnTo>
                  <a:lnTo>
                    <a:pt x="515" y="134"/>
                  </a:lnTo>
                  <a:lnTo>
                    <a:pt x="528" y="155"/>
                  </a:lnTo>
                  <a:lnTo>
                    <a:pt x="540" y="174"/>
                  </a:lnTo>
                  <a:lnTo>
                    <a:pt x="551" y="195"/>
                  </a:lnTo>
                  <a:lnTo>
                    <a:pt x="562" y="215"/>
                  </a:lnTo>
                  <a:lnTo>
                    <a:pt x="573" y="237"/>
                  </a:lnTo>
                  <a:lnTo>
                    <a:pt x="583" y="258"/>
                  </a:lnTo>
                  <a:lnTo>
                    <a:pt x="594" y="278"/>
                  </a:lnTo>
                  <a:lnTo>
                    <a:pt x="603" y="300"/>
                  </a:lnTo>
                  <a:lnTo>
                    <a:pt x="612" y="322"/>
                  </a:lnTo>
                  <a:lnTo>
                    <a:pt x="622" y="344"/>
                  </a:lnTo>
                  <a:lnTo>
                    <a:pt x="631" y="366"/>
                  </a:lnTo>
                  <a:lnTo>
                    <a:pt x="639" y="388"/>
                  </a:lnTo>
                  <a:lnTo>
                    <a:pt x="646" y="410"/>
                  </a:lnTo>
                  <a:lnTo>
                    <a:pt x="654" y="433"/>
                  </a:lnTo>
                  <a:lnTo>
                    <a:pt x="661" y="455"/>
                  </a:lnTo>
                  <a:lnTo>
                    <a:pt x="668" y="477"/>
                  </a:lnTo>
                  <a:lnTo>
                    <a:pt x="674" y="500"/>
                  </a:lnTo>
                  <a:lnTo>
                    <a:pt x="680" y="522"/>
                  </a:lnTo>
                  <a:lnTo>
                    <a:pt x="685" y="546"/>
                  </a:lnTo>
                  <a:lnTo>
                    <a:pt x="691" y="569"/>
                  </a:lnTo>
                  <a:lnTo>
                    <a:pt x="695" y="592"/>
                  </a:lnTo>
                  <a:lnTo>
                    <a:pt x="699" y="615"/>
                  </a:lnTo>
                  <a:lnTo>
                    <a:pt x="704" y="638"/>
                  </a:lnTo>
                  <a:lnTo>
                    <a:pt x="707" y="662"/>
                  </a:lnTo>
                  <a:lnTo>
                    <a:pt x="710" y="685"/>
                  </a:lnTo>
                  <a:lnTo>
                    <a:pt x="712" y="709"/>
                  </a:lnTo>
                  <a:lnTo>
                    <a:pt x="715" y="732"/>
                  </a:lnTo>
                  <a:lnTo>
                    <a:pt x="716" y="755"/>
                  </a:lnTo>
                  <a:lnTo>
                    <a:pt x="718" y="779"/>
                  </a:lnTo>
                  <a:lnTo>
                    <a:pt x="719" y="802"/>
                  </a:lnTo>
                  <a:lnTo>
                    <a:pt x="720" y="826"/>
                  </a:lnTo>
                  <a:lnTo>
                    <a:pt x="720" y="849"/>
                  </a:lnTo>
                  <a:lnTo>
                    <a:pt x="720" y="873"/>
                  </a:lnTo>
                  <a:lnTo>
                    <a:pt x="719" y="897"/>
                  </a:lnTo>
                  <a:lnTo>
                    <a:pt x="718" y="920"/>
                  </a:lnTo>
                  <a:lnTo>
                    <a:pt x="716" y="944"/>
                  </a:lnTo>
                  <a:lnTo>
                    <a:pt x="715" y="967"/>
                  </a:lnTo>
                  <a:lnTo>
                    <a:pt x="712" y="991"/>
                  </a:lnTo>
                  <a:lnTo>
                    <a:pt x="710" y="1014"/>
                  </a:lnTo>
                  <a:lnTo>
                    <a:pt x="707" y="1038"/>
                  </a:lnTo>
                  <a:lnTo>
                    <a:pt x="704" y="1060"/>
                  </a:lnTo>
                  <a:lnTo>
                    <a:pt x="699" y="1084"/>
                  </a:lnTo>
                  <a:lnTo>
                    <a:pt x="695" y="1107"/>
                  </a:lnTo>
                  <a:lnTo>
                    <a:pt x="691" y="1130"/>
                  </a:lnTo>
                  <a:lnTo>
                    <a:pt x="685" y="1153"/>
                  </a:lnTo>
                  <a:lnTo>
                    <a:pt x="395" y="1218"/>
                  </a:lnTo>
                  <a:lnTo>
                    <a:pt x="160" y="1031"/>
                  </a:lnTo>
                  <a:lnTo>
                    <a:pt x="162" y="1018"/>
                  </a:lnTo>
                  <a:lnTo>
                    <a:pt x="166" y="1004"/>
                  </a:lnTo>
                  <a:lnTo>
                    <a:pt x="168" y="990"/>
                  </a:lnTo>
                  <a:lnTo>
                    <a:pt x="170" y="976"/>
                  </a:lnTo>
                  <a:lnTo>
                    <a:pt x="173" y="962"/>
                  </a:lnTo>
                  <a:lnTo>
                    <a:pt x="174" y="948"/>
                  </a:lnTo>
                  <a:lnTo>
                    <a:pt x="176" y="934"/>
                  </a:lnTo>
                  <a:lnTo>
                    <a:pt x="177" y="920"/>
                  </a:lnTo>
                  <a:lnTo>
                    <a:pt x="178" y="906"/>
                  </a:lnTo>
                  <a:lnTo>
                    <a:pt x="179" y="892"/>
                  </a:lnTo>
                  <a:lnTo>
                    <a:pt x="180" y="878"/>
                  </a:lnTo>
                  <a:lnTo>
                    <a:pt x="181" y="864"/>
                  </a:lnTo>
                  <a:lnTo>
                    <a:pt x="181" y="849"/>
                  </a:lnTo>
                  <a:lnTo>
                    <a:pt x="181" y="835"/>
                  </a:lnTo>
                  <a:lnTo>
                    <a:pt x="180" y="821"/>
                  </a:lnTo>
                  <a:lnTo>
                    <a:pt x="179" y="807"/>
                  </a:lnTo>
                  <a:lnTo>
                    <a:pt x="178" y="793"/>
                  </a:lnTo>
                  <a:lnTo>
                    <a:pt x="177" y="779"/>
                  </a:lnTo>
                  <a:lnTo>
                    <a:pt x="176" y="765"/>
                  </a:lnTo>
                  <a:lnTo>
                    <a:pt x="174" y="751"/>
                  </a:lnTo>
                  <a:lnTo>
                    <a:pt x="173" y="736"/>
                  </a:lnTo>
                  <a:lnTo>
                    <a:pt x="170" y="722"/>
                  </a:lnTo>
                  <a:lnTo>
                    <a:pt x="168" y="709"/>
                  </a:lnTo>
                  <a:lnTo>
                    <a:pt x="166" y="695"/>
                  </a:lnTo>
                  <a:lnTo>
                    <a:pt x="162" y="681"/>
                  </a:lnTo>
                  <a:lnTo>
                    <a:pt x="160" y="667"/>
                  </a:lnTo>
                  <a:lnTo>
                    <a:pt x="156" y="654"/>
                  </a:lnTo>
                  <a:lnTo>
                    <a:pt x="153" y="640"/>
                  </a:lnTo>
                  <a:lnTo>
                    <a:pt x="150" y="626"/>
                  </a:lnTo>
                  <a:lnTo>
                    <a:pt x="145" y="613"/>
                  </a:lnTo>
                  <a:lnTo>
                    <a:pt x="140" y="599"/>
                  </a:lnTo>
                  <a:lnTo>
                    <a:pt x="136" y="586"/>
                  </a:lnTo>
                  <a:lnTo>
                    <a:pt x="132" y="572"/>
                  </a:lnTo>
                  <a:lnTo>
                    <a:pt x="127" y="559"/>
                  </a:lnTo>
                  <a:lnTo>
                    <a:pt x="122" y="546"/>
                  </a:lnTo>
                  <a:lnTo>
                    <a:pt x="117" y="533"/>
                  </a:lnTo>
                  <a:lnTo>
                    <a:pt x="110" y="520"/>
                  </a:lnTo>
                  <a:lnTo>
                    <a:pt x="104" y="507"/>
                  </a:lnTo>
                  <a:lnTo>
                    <a:pt x="98" y="494"/>
                  </a:lnTo>
                  <a:lnTo>
                    <a:pt x="92" y="482"/>
                  </a:lnTo>
                  <a:lnTo>
                    <a:pt x="86" y="469"/>
                  </a:lnTo>
                  <a:lnTo>
                    <a:pt x="79" y="456"/>
                  </a:lnTo>
                  <a:lnTo>
                    <a:pt x="72" y="444"/>
                  </a:lnTo>
                  <a:lnTo>
                    <a:pt x="65" y="433"/>
                  </a:lnTo>
                  <a:lnTo>
                    <a:pt x="57" y="420"/>
                  </a:lnTo>
                  <a:lnTo>
                    <a:pt x="50" y="408"/>
                  </a:lnTo>
                  <a:lnTo>
                    <a:pt x="42" y="397"/>
                  </a:lnTo>
                  <a:lnTo>
                    <a:pt x="34" y="385"/>
                  </a:lnTo>
                  <a:lnTo>
                    <a:pt x="26" y="373"/>
                  </a:lnTo>
                  <a:lnTo>
                    <a:pt x="18" y="362"/>
                  </a:lnTo>
                  <a:lnTo>
                    <a:pt x="9" y="351"/>
                  </a:lnTo>
                  <a:lnTo>
                    <a:pt x="0" y="339"/>
                  </a:lnTo>
                  <a:lnTo>
                    <a:pt x="302" y="288"/>
                  </a:lnTo>
                  <a:lnTo>
                    <a:pt x="419" y="0"/>
                  </a:lnTo>
                  <a:close/>
                </a:path>
              </a:pathLst>
            </a:custGeom>
            <a:solidFill>
              <a:srgbClr val="00AF8E"/>
            </a:solidFill>
            <a:ln w="38100" cmpd="sng">
              <a:solidFill>
                <a:schemeClr val="bg1"/>
              </a:solidFill>
              <a:prstDash val="solid"/>
              <a:round/>
              <a:headEnd/>
              <a:tailEnd/>
            </a:ln>
          </p:spPr>
          <p:txBody>
            <a:bodyPr lIns="0" tIns="0" rIns="0" bIns="0">
              <a:noAutofit/>
            </a:bodyPr>
            <a:lstStyle/>
            <a:p>
              <a:pPr algn="ctr"/>
              <a:endParaRPr lang="en-US" sz="1799" dirty="0">
                <a:solidFill>
                  <a:schemeClr val="bg1"/>
                </a:solidFill>
              </a:endParaRPr>
            </a:p>
          </p:txBody>
        </p:sp>
        <p:sp>
          <p:nvSpPr>
            <p:cNvPr id="43" name="Freeform 45">
              <a:extLst>
                <a:ext uri="{FF2B5EF4-FFF2-40B4-BE49-F238E27FC236}">
                  <a16:creationId xmlns:a16="http://schemas.microsoft.com/office/drawing/2014/main" id="{FD859E99-0735-4DE4-913A-8234C2A59872}"/>
                </a:ext>
              </a:extLst>
            </p:cNvPr>
            <p:cNvSpPr>
              <a:spLocks/>
            </p:cNvSpPr>
            <p:nvPr/>
          </p:nvSpPr>
          <p:spPr bwMode="auto">
            <a:xfrm>
              <a:off x="6584545" y="3860835"/>
              <a:ext cx="1354102" cy="1456085"/>
            </a:xfrm>
            <a:custGeom>
              <a:avLst/>
              <a:gdLst>
                <a:gd name="T0" fmla="*/ 644698825 w 961"/>
                <a:gd name="T1" fmla="*/ 97379342 h 1032"/>
                <a:gd name="T2" fmla="*/ 636606008 w 961"/>
                <a:gd name="T3" fmla="*/ 128486808 h 1032"/>
                <a:gd name="T4" fmla="*/ 627165309 w 961"/>
                <a:gd name="T5" fmla="*/ 159594273 h 1032"/>
                <a:gd name="T6" fmla="*/ 616375149 w 961"/>
                <a:gd name="T7" fmla="*/ 189349687 h 1032"/>
                <a:gd name="T8" fmla="*/ 605584989 w 961"/>
                <a:gd name="T9" fmla="*/ 219104310 h 1032"/>
                <a:gd name="T10" fmla="*/ 592771823 w 961"/>
                <a:gd name="T11" fmla="*/ 248858934 h 1032"/>
                <a:gd name="T12" fmla="*/ 579284320 w 961"/>
                <a:gd name="T13" fmla="*/ 277261505 h 1032"/>
                <a:gd name="T14" fmla="*/ 565122482 w 961"/>
                <a:gd name="T15" fmla="*/ 305664077 h 1032"/>
                <a:gd name="T16" fmla="*/ 549611973 w 961"/>
                <a:gd name="T17" fmla="*/ 334066649 h 1032"/>
                <a:gd name="T18" fmla="*/ 533427128 w 961"/>
                <a:gd name="T19" fmla="*/ 361116378 h 1032"/>
                <a:gd name="T20" fmla="*/ 515893612 w 961"/>
                <a:gd name="T21" fmla="*/ 388166107 h 1032"/>
                <a:gd name="T22" fmla="*/ 497685760 w 961"/>
                <a:gd name="T23" fmla="*/ 413863785 h 1032"/>
                <a:gd name="T24" fmla="*/ 478129237 w 961"/>
                <a:gd name="T25" fmla="*/ 439561463 h 1032"/>
                <a:gd name="T26" fmla="*/ 458571924 w 961"/>
                <a:gd name="T27" fmla="*/ 463906298 h 1032"/>
                <a:gd name="T28" fmla="*/ 437666729 w 961"/>
                <a:gd name="T29" fmla="*/ 488251134 h 1032"/>
                <a:gd name="T30" fmla="*/ 416087199 w 961"/>
                <a:gd name="T31" fmla="*/ 511243127 h 1032"/>
                <a:gd name="T32" fmla="*/ 393158208 w 961"/>
                <a:gd name="T33" fmla="*/ 533559885 h 1032"/>
                <a:gd name="T34" fmla="*/ 370904342 w 961"/>
                <a:gd name="T35" fmla="*/ 555875853 h 1032"/>
                <a:gd name="T36" fmla="*/ 346626680 w 961"/>
                <a:gd name="T37" fmla="*/ 576839769 h 1032"/>
                <a:gd name="T38" fmla="*/ 321674682 w 961"/>
                <a:gd name="T39" fmla="*/ 597126868 h 1032"/>
                <a:gd name="T40" fmla="*/ 296049138 w 961"/>
                <a:gd name="T41" fmla="*/ 616061916 h 1032"/>
                <a:gd name="T42" fmla="*/ 270422805 w 961"/>
                <a:gd name="T43" fmla="*/ 634320938 h 1032"/>
                <a:gd name="T44" fmla="*/ 243447800 w 961"/>
                <a:gd name="T45" fmla="*/ 651903143 h 1032"/>
                <a:gd name="T46" fmla="*/ 216472795 w 961"/>
                <a:gd name="T47" fmla="*/ 668133297 h 1032"/>
                <a:gd name="T48" fmla="*/ 188824244 w 961"/>
                <a:gd name="T49" fmla="*/ 683686634 h 1032"/>
                <a:gd name="T50" fmla="*/ 160500568 w 961"/>
                <a:gd name="T51" fmla="*/ 697887920 h 1032"/>
                <a:gd name="T52" fmla="*/ 674336 w 961"/>
                <a:gd name="T53" fmla="*/ 369231060 h 1032"/>
                <a:gd name="T54" fmla="*/ 17533516 w 961"/>
                <a:gd name="T55" fmla="*/ 361116378 h 1032"/>
                <a:gd name="T56" fmla="*/ 34392697 w 961"/>
                <a:gd name="T57" fmla="*/ 351648854 h 1032"/>
                <a:gd name="T58" fmla="*/ 51251877 w 961"/>
                <a:gd name="T59" fmla="*/ 341505304 h 1032"/>
                <a:gd name="T60" fmla="*/ 66762387 w 961"/>
                <a:gd name="T61" fmla="*/ 331361755 h 1032"/>
                <a:gd name="T62" fmla="*/ 82272896 w 961"/>
                <a:gd name="T63" fmla="*/ 320541388 h 1032"/>
                <a:gd name="T64" fmla="*/ 97783406 w 961"/>
                <a:gd name="T65" fmla="*/ 309044997 h 1032"/>
                <a:gd name="T66" fmla="*/ 112619579 w 961"/>
                <a:gd name="T67" fmla="*/ 296872579 h 1032"/>
                <a:gd name="T68" fmla="*/ 126107082 w 961"/>
                <a:gd name="T69" fmla="*/ 284024135 h 1032"/>
                <a:gd name="T70" fmla="*/ 140943255 w 961"/>
                <a:gd name="T71" fmla="*/ 271175692 h 1032"/>
                <a:gd name="T72" fmla="*/ 153756422 w 961"/>
                <a:gd name="T73" fmla="*/ 257650432 h 1032"/>
                <a:gd name="T74" fmla="*/ 166569589 w 961"/>
                <a:gd name="T75" fmla="*/ 243449146 h 1032"/>
                <a:gd name="T76" fmla="*/ 179382756 w 961"/>
                <a:gd name="T77" fmla="*/ 229247860 h 1032"/>
                <a:gd name="T78" fmla="*/ 191521587 w 961"/>
                <a:gd name="T79" fmla="*/ 214370548 h 1032"/>
                <a:gd name="T80" fmla="*/ 202985293 w 961"/>
                <a:gd name="T81" fmla="*/ 198817211 h 1032"/>
                <a:gd name="T82" fmla="*/ 213775453 w 961"/>
                <a:gd name="T83" fmla="*/ 183263083 h 1032"/>
                <a:gd name="T84" fmla="*/ 223891277 w 961"/>
                <a:gd name="T85" fmla="*/ 167032929 h 1032"/>
                <a:gd name="T86" fmla="*/ 234007101 w 961"/>
                <a:gd name="T87" fmla="*/ 151479591 h 1032"/>
                <a:gd name="T88" fmla="*/ 243447800 w 961"/>
                <a:gd name="T89" fmla="*/ 134573412 h 1032"/>
                <a:gd name="T90" fmla="*/ 251540617 w 961"/>
                <a:gd name="T91" fmla="*/ 116991206 h 1032"/>
                <a:gd name="T92" fmla="*/ 259632645 w 961"/>
                <a:gd name="T93" fmla="*/ 100085027 h 1032"/>
                <a:gd name="T94" fmla="*/ 267725462 w 961"/>
                <a:gd name="T95" fmla="*/ 82502030 h 1032"/>
                <a:gd name="T96" fmla="*/ 274468819 w 961"/>
                <a:gd name="T97" fmla="*/ 64243799 h 1032"/>
                <a:gd name="T98" fmla="*/ 280538629 w 961"/>
                <a:gd name="T99" fmla="*/ 45984777 h 1032"/>
                <a:gd name="T100" fmla="*/ 286607650 w 961"/>
                <a:gd name="T101" fmla="*/ 27726546 h 1032"/>
                <a:gd name="T102" fmla="*/ 290653664 w 961"/>
                <a:gd name="T103" fmla="*/ 9467524 h 1032"/>
                <a:gd name="T104" fmla="*/ 451828567 w 961"/>
                <a:gd name="T105" fmla="*/ 126458730 h 103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961" h="1032">
                  <a:moveTo>
                    <a:pt x="961" y="122"/>
                  </a:moveTo>
                  <a:lnTo>
                    <a:pt x="956" y="144"/>
                  </a:lnTo>
                  <a:lnTo>
                    <a:pt x="950" y="168"/>
                  </a:lnTo>
                  <a:lnTo>
                    <a:pt x="944" y="190"/>
                  </a:lnTo>
                  <a:lnTo>
                    <a:pt x="937" y="213"/>
                  </a:lnTo>
                  <a:lnTo>
                    <a:pt x="930" y="236"/>
                  </a:lnTo>
                  <a:lnTo>
                    <a:pt x="922" y="257"/>
                  </a:lnTo>
                  <a:lnTo>
                    <a:pt x="914" y="280"/>
                  </a:lnTo>
                  <a:lnTo>
                    <a:pt x="906" y="302"/>
                  </a:lnTo>
                  <a:lnTo>
                    <a:pt x="898" y="324"/>
                  </a:lnTo>
                  <a:lnTo>
                    <a:pt x="888" y="346"/>
                  </a:lnTo>
                  <a:lnTo>
                    <a:pt x="879" y="368"/>
                  </a:lnTo>
                  <a:lnTo>
                    <a:pt x="869" y="389"/>
                  </a:lnTo>
                  <a:lnTo>
                    <a:pt x="859" y="410"/>
                  </a:lnTo>
                  <a:lnTo>
                    <a:pt x="848" y="431"/>
                  </a:lnTo>
                  <a:lnTo>
                    <a:pt x="838" y="452"/>
                  </a:lnTo>
                  <a:lnTo>
                    <a:pt x="827" y="473"/>
                  </a:lnTo>
                  <a:lnTo>
                    <a:pt x="815" y="494"/>
                  </a:lnTo>
                  <a:lnTo>
                    <a:pt x="803" y="514"/>
                  </a:lnTo>
                  <a:lnTo>
                    <a:pt x="791" y="534"/>
                  </a:lnTo>
                  <a:lnTo>
                    <a:pt x="778" y="554"/>
                  </a:lnTo>
                  <a:lnTo>
                    <a:pt x="765" y="574"/>
                  </a:lnTo>
                  <a:lnTo>
                    <a:pt x="752" y="593"/>
                  </a:lnTo>
                  <a:lnTo>
                    <a:pt x="738" y="612"/>
                  </a:lnTo>
                  <a:lnTo>
                    <a:pt x="724" y="631"/>
                  </a:lnTo>
                  <a:lnTo>
                    <a:pt x="709" y="650"/>
                  </a:lnTo>
                  <a:lnTo>
                    <a:pt x="695" y="669"/>
                  </a:lnTo>
                  <a:lnTo>
                    <a:pt x="680" y="686"/>
                  </a:lnTo>
                  <a:lnTo>
                    <a:pt x="665" y="704"/>
                  </a:lnTo>
                  <a:lnTo>
                    <a:pt x="649" y="722"/>
                  </a:lnTo>
                  <a:lnTo>
                    <a:pt x="633" y="739"/>
                  </a:lnTo>
                  <a:lnTo>
                    <a:pt x="617" y="756"/>
                  </a:lnTo>
                  <a:lnTo>
                    <a:pt x="601" y="773"/>
                  </a:lnTo>
                  <a:lnTo>
                    <a:pt x="583" y="789"/>
                  </a:lnTo>
                  <a:lnTo>
                    <a:pt x="567" y="806"/>
                  </a:lnTo>
                  <a:lnTo>
                    <a:pt x="550" y="822"/>
                  </a:lnTo>
                  <a:lnTo>
                    <a:pt x="531" y="837"/>
                  </a:lnTo>
                  <a:lnTo>
                    <a:pt x="514" y="853"/>
                  </a:lnTo>
                  <a:lnTo>
                    <a:pt x="496" y="868"/>
                  </a:lnTo>
                  <a:lnTo>
                    <a:pt x="477" y="883"/>
                  </a:lnTo>
                  <a:lnTo>
                    <a:pt x="459" y="897"/>
                  </a:lnTo>
                  <a:lnTo>
                    <a:pt x="439" y="911"/>
                  </a:lnTo>
                  <a:lnTo>
                    <a:pt x="420" y="925"/>
                  </a:lnTo>
                  <a:lnTo>
                    <a:pt x="401" y="938"/>
                  </a:lnTo>
                  <a:lnTo>
                    <a:pt x="381" y="951"/>
                  </a:lnTo>
                  <a:lnTo>
                    <a:pt x="361" y="964"/>
                  </a:lnTo>
                  <a:lnTo>
                    <a:pt x="341" y="976"/>
                  </a:lnTo>
                  <a:lnTo>
                    <a:pt x="321" y="988"/>
                  </a:lnTo>
                  <a:lnTo>
                    <a:pt x="300" y="1000"/>
                  </a:lnTo>
                  <a:lnTo>
                    <a:pt x="280" y="1011"/>
                  </a:lnTo>
                  <a:lnTo>
                    <a:pt x="259" y="1022"/>
                  </a:lnTo>
                  <a:lnTo>
                    <a:pt x="238" y="1032"/>
                  </a:lnTo>
                  <a:lnTo>
                    <a:pt x="0" y="847"/>
                  </a:lnTo>
                  <a:lnTo>
                    <a:pt x="1" y="546"/>
                  </a:lnTo>
                  <a:lnTo>
                    <a:pt x="14" y="540"/>
                  </a:lnTo>
                  <a:lnTo>
                    <a:pt x="26" y="534"/>
                  </a:lnTo>
                  <a:lnTo>
                    <a:pt x="39" y="527"/>
                  </a:lnTo>
                  <a:lnTo>
                    <a:pt x="51" y="520"/>
                  </a:lnTo>
                  <a:lnTo>
                    <a:pt x="63" y="513"/>
                  </a:lnTo>
                  <a:lnTo>
                    <a:pt x="76" y="505"/>
                  </a:lnTo>
                  <a:lnTo>
                    <a:pt x="87" y="498"/>
                  </a:lnTo>
                  <a:lnTo>
                    <a:pt x="99" y="490"/>
                  </a:lnTo>
                  <a:lnTo>
                    <a:pt x="110" y="482"/>
                  </a:lnTo>
                  <a:lnTo>
                    <a:pt x="122" y="474"/>
                  </a:lnTo>
                  <a:lnTo>
                    <a:pt x="133" y="465"/>
                  </a:lnTo>
                  <a:lnTo>
                    <a:pt x="145" y="457"/>
                  </a:lnTo>
                  <a:lnTo>
                    <a:pt x="155" y="448"/>
                  </a:lnTo>
                  <a:lnTo>
                    <a:pt x="167" y="439"/>
                  </a:lnTo>
                  <a:lnTo>
                    <a:pt x="177" y="430"/>
                  </a:lnTo>
                  <a:lnTo>
                    <a:pt x="187" y="420"/>
                  </a:lnTo>
                  <a:lnTo>
                    <a:pt x="198" y="410"/>
                  </a:lnTo>
                  <a:lnTo>
                    <a:pt x="209" y="401"/>
                  </a:lnTo>
                  <a:lnTo>
                    <a:pt x="219" y="391"/>
                  </a:lnTo>
                  <a:lnTo>
                    <a:pt x="228" y="381"/>
                  </a:lnTo>
                  <a:lnTo>
                    <a:pt x="238" y="371"/>
                  </a:lnTo>
                  <a:lnTo>
                    <a:pt x="247" y="360"/>
                  </a:lnTo>
                  <a:lnTo>
                    <a:pt x="257" y="350"/>
                  </a:lnTo>
                  <a:lnTo>
                    <a:pt x="266" y="339"/>
                  </a:lnTo>
                  <a:lnTo>
                    <a:pt x="275" y="328"/>
                  </a:lnTo>
                  <a:lnTo>
                    <a:pt x="284" y="317"/>
                  </a:lnTo>
                  <a:lnTo>
                    <a:pt x="293" y="305"/>
                  </a:lnTo>
                  <a:lnTo>
                    <a:pt x="301" y="294"/>
                  </a:lnTo>
                  <a:lnTo>
                    <a:pt x="309" y="283"/>
                  </a:lnTo>
                  <a:lnTo>
                    <a:pt x="317" y="271"/>
                  </a:lnTo>
                  <a:lnTo>
                    <a:pt x="325" y="259"/>
                  </a:lnTo>
                  <a:lnTo>
                    <a:pt x="332" y="247"/>
                  </a:lnTo>
                  <a:lnTo>
                    <a:pt x="340" y="236"/>
                  </a:lnTo>
                  <a:lnTo>
                    <a:pt x="347" y="224"/>
                  </a:lnTo>
                  <a:lnTo>
                    <a:pt x="354" y="210"/>
                  </a:lnTo>
                  <a:lnTo>
                    <a:pt x="361" y="199"/>
                  </a:lnTo>
                  <a:lnTo>
                    <a:pt x="367" y="186"/>
                  </a:lnTo>
                  <a:lnTo>
                    <a:pt x="373" y="173"/>
                  </a:lnTo>
                  <a:lnTo>
                    <a:pt x="379" y="160"/>
                  </a:lnTo>
                  <a:lnTo>
                    <a:pt x="385" y="148"/>
                  </a:lnTo>
                  <a:lnTo>
                    <a:pt x="392" y="135"/>
                  </a:lnTo>
                  <a:lnTo>
                    <a:pt x="397" y="122"/>
                  </a:lnTo>
                  <a:lnTo>
                    <a:pt x="402" y="108"/>
                  </a:lnTo>
                  <a:lnTo>
                    <a:pt x="407" y="95"/>
                  </a:lnTo>
                  <a:lnTo>
                    <a:pt x="412" y="82"/>
                  </a:lnTo>
                  <a:lnTo>
                    <a:pt x="416" y="68"/>
                  </a:lnTo>
                  <a:lnTo>
                    <a:pt x="420" y="55"/>
                  </a:lnTo>
                  <a:lnTo>
                    <a:pt x="425" y="41"/>
                  </a:lnTo>
                  <a:lnTo>
                    <a:pt x="428" y="28"/>
                  </a:lnTo>
                  <a:lnTo>
                    <a:pt x="431" y="14"/>
                  </a:lnTo>
                  <a:lnTo>
                    <a:pt x="435" y="0"/>
                  </a:lnTo>
                  <a:lnTo>
                    <a:pt x="670" y="187"/>
                  </a:lnTo>
                  <a:lnTo>
                    <a:pt x="961" y="122"/>
                  </a:lnTo>
                  <a:close/>
                </a:path>
              </a:pathLst>
            </a:custGeom>
            <a:solidFill>
              <a:schemeClr val="accent2"/>
            </a:solidFill>
            <a:ln w="38100" cmpd="sng">
              <a:solidFill>
                <a:schemeClr val="bg1"/>
              </a:solidFill>
              <a:prstDash val="solid"/>
              <a:round/>
              <a:headEnd/>
              <a:tailEnd/>
            </a:ln>
          </p:spPr>
          <p:txBody>
            <a:bodyPr lIns="0" tIns="0" rIns="0" bIns="0">
              <a:noAutofit/>
            </a:bodyPr>
            <a:lstStyle/>
            <a:p>
              <a:pPr algn="ctr"/>
              <a:endParaRPr lang="en-US" sz="1799" dirty="0">
                <a:solidFill>
                  <a:schemeClr val="bg1"/>
                </a:solidFill>
              </a:endParaRPr>
            </a:p>
          </p:txBody>
        </p:sp>
        <p:sp>
          <p:nvSpPr>
            <p:cNvPr id="44" name="Freeform 46">
              <a:extLst>
                <a:ext uri="{FF2B5EF4-FFF2-40B4-BE49-F238E27FC236}">
                  <a16:creationId xmlns:a16="http://schemas.microsoft.com/office/drawing/2014/main" id="{538B888B-41D8-48AC-A616-31CA089E089F}"/>
                </a:ext>
              </a:extLst>
            </p:cNvPr>
            <p:cNvSpPr>
              <a:spLocks/>
            </p:cNvSpPr>
            <p:nvPr/>
          </p:nvSpPr>
          <p:spPr bwMode="auto">
            <a:xfrm>
              <a:off x="5247436" y="4631369"/>
              <a:ext cx="1671382" cy="878183"/>
            </a:xfrm>
            <a:custGeom>
              <a:avLst/>
              <a:gdLst>
                <a:gd name="T0" fmla="*/ 787074831 w 1182"/>
                <a:gd name="T1" fmla="*/ 334856250 h 622"/>
                <a:gd name="T2" fmla="*/ 757923765 w 1182"/>
                <a:gd name="T3" fmla="*/ 348385731 h 622"/>
                <a:gd name="T4" fmla="*/ 728095190 w 1182"/>
                <a:gd name="T5" fmla="*/ 360562265 h 622"/>
                <a:gd name="T6" fmla="*/ 698265824 w 1182"/>
                <a:gd name="T7" fmla="*/ 370709376 h 622"/>
                <a:gd name="T8" fmla="*/ 667759741 w 1182"/>
                <a:gd name="T9" fmla="*/ 380856487 h 622"/>
                <a:gd name="T10" fmla="*/ 637252867 w 1182"/>
                <a:gd name="T11" fmla="*/ 389650650 h 622"/>
                <a:gd name="T12" fmla="*/ 606067692 w 1182"/>
                <a:gd name="T13" fmla="*/ 397091865 h 622"/>
                <a:gd name="T14" fmla="*/ 574883309 w 1182"/>
                <a:gd name="T15" fmla="*/ 403856606 h 622"/>
                <a:gd name="T16" fmla="*/ 543698134 w 1182"/>
                <a:gd name="T17" fmla="*/ 409268398 h 622"/>
                <a:gd name="T18" fmla="*/ 511835451 w 1182"/>
                <a:gd name="T19" fmla="*/ 414003717 h 622"/>
                <a:gd name="T20" fmla="*/ 479973560 w 1182"/>
                <a:gd name="T21" fmla="*/ 417386087 h 622"/>
                <a:gd name="T22" fmla="*/ 448110878 w 1182"/>
                <a:gd name="T23" fmla="*/ 419415509 h 622"/>
                <a:gd name="T24" fmla="*/ 416248195 w 1182"/>
                <a:gd name="T25" fmla="*/ 420768457 h 622"/>
                <a:gd name="T26" fmla="*/ 384385512 w 1182"/>
                <a:gd name="T27" fmla="*/ 420768457 h 622"/>
                <a:gd name="T28" fmla="*/ 352522829 w 1182"/>
                <a:gd name="T29" fmla="*/ 419415509 h 622"/>
                <a:gd name="T30" fmla="*/ 320660146 w 1182"/>
                <a:gd name="T31" fmla="*/ 417386087 h 622"/>
                <a:gd name="T32" fmla="*/ 288797463 w 1182"/>
                <a:gd name="T33" fmla="*/ 414003717 h 622"/>
                <a:gd name="T34" fmla="*/ 257613080 w 1182"/>
                <a:gd name="T35" fmla="*/ 409268398 h 622"/>
                <a:gd name="T36" fmla="*/ 225750397 w 1182"/>
                <a:gd name="T37" fmla="*/ 403856606 h 622"/>
                <a:gd name="T38" fmla="*/ 194565222 w 1182"/>
                <a:gd name="T39" fmla="*/ 397091865 h 622"/>
                <a:gd name="T40" fmla="*/ 164058348 w 1182"/>
                <a:gd name="T41" fmla="*/ 389650650 h 622"/>
                <a:gd name="T42" fmla="*/ 132873965 w 1182"/>
                <a:gd name="T43" fmla="*/ 380856487 h 622"/>
                <a:gd name="T44" fmla="*/ 103045391 w 1182"/>
                <a:gd name="T45" fmla="*/ 370709376 h 622"/>
                <a:gd name="T46" fmla="*/ 73216024 w 1182"/>
                <a:gd name="T47" fmla="*/ 360562265 h 622"/>
                <a:gd name="T48" fmla="*/ 43387449 w 1182"/>
                <a:gd name="T49" fmla="*/ 348385731 h 622"/>
                <a:gd name="T50" fmla="*/ 14236383 w 1182"/>
                <a:gd name="T51" fmla="*/ 334856250 h 622"/>
                <a:gd name="T52" fmla="*/ 0 w 1182"/>
                <a:gd name="T53" fmla="*/ 126501443 h 622"/>
                <a:gd name="T54" fmla="*/ 168804073 w 1182"/>
                <a:gd name="T55" fmla="*/ 4058844 h 622"/>
                <a:gd name="T56" fmla="*/ 186430373 w 1182"/>
                <a:gd name="T57" fmla="*/ 12176533 h 622"/>
                <a:gd name="T58" fmla="*/ 204056672 w 1182"/>
                <a:gd name="T59" fmla="*/ 19617748 h 622"/>
                <a:gd name="T60" fmla="*/ 221682180 w 1182"/>
                <a:gd name="T61" fmla="*/ 25706015 h 622"/>
                <a:gd name="T62" fmla="*/ 239986780 w 1182"/>
                <a:gd name="T63" fmla="*/ 31794282 h 622"/>
                <a:gd name="T64" fmla="*/ 258290588 w 1182"/>
                <a:gd name="T65" fmla="*/ 37206074 h 622"/>
                <a:gd name="T66" fmla="*/ 277272696 w 1182"/>
                <a:gd name="T67" fmla="*/ 41941393 h 622"/>
                <a:gd name="T68" fmla="*/ 295576504 w 1182"/>
                <a:gd name="T69" fmla="*/ 46000237 h 622"/>
                <a:gd name="T70" fmla="*/ 314558612 w 1182"/>
                <a:gd name="T71" fmla="*/ 48706133 h 622"/>
                <a:gd name="T72" fmla="*/ 333540720 w 1182"/>
                <a:gd name="T73" fmla="*/ 51412030 h 622"/>
                <a:gd name="T74" fmla="*/ 353200337 w 1182"/>
                <a:gd name="T75" fmla="*/ 53441452 h 622"/>
                <a:gd name="T76" fmla="*/ 371504937 w 1182"/>
                <a:gd name="T77" fmla="*/ 54794400 h 622"/>
                <a:gd name="T78" fmla="*/ 390487045 w 1182"/>
                <a:gd name="T79" fmla="*/ 56147348 h 622"/>
                <a:gd name="T80" fmla="*/ 410146661 w 1182"/>
                <a:gd name="T81" fmla="*/ 56147348 h 622"/>
                <a:gd name="T82" fmla="*/ 429128769 w 1182"/>
                <a:gd name="T83" fmla="*/ 54794400 h 622"/>
                <a:gd name="T84" fmla="*/ 448110878 w 1182"/>
                <a:gd name="T85" fmla="*/ 53441452 h 622"/>
                <a:gd name="T86" fmla="*/ 467092193 w 1182"/>
                <a:gd name="T87" fmla="*/ 51412030 h 622"/>
                <a:gd name="T88" fmla="*/ 486752602 w 1182"/>
                <a:gd name="T89" fmla="*/ 48706133 h 622"/>
                <a:gd name="T90" fmla="*/ 505056410 w 1182"/>
                <a:gd name="T91" fmla="*/ 46000237 h 622"/>
                <a:gd name="T92" fmla="*/ 523361010 w 1182"/>
                <a:gd name="T93" fmla="*/ 41941393 h 622"/>
                <a:gd name="T94" fmla="*/ 542342326 w 1182"/>
                <a:gd name="T95" fmla="*/ 37206074 h 622"/>
                <a:gd name="T96" fmla="*/ 560646926 w 1182"/>
                <a:gd name="T97" fmla="*/ 31794282 h 622"/>
                <a:gd name="T98" fmla="*/ 578950734 w 1182"/>
                <a:gd name="T99" fmla="*/ 25706015 h 622"/>
                <a:gd name="T100" fmla="*/ 597254542 w 1182"/>
                <a:gd name="T101" fmla="*/ 19617748 h 622"/>
                <a:gd name="T102" fmla="*/ 614880842 w 1182"/>
                <a:gd name="T103" fmla="*/ 12176533 h 622"/>
                <a:gd name="T104" fmla="*/ 632507141 w 1182"/>
                <a:gd name="T105" fmla="*/ 4058844 h 622"/>
                <a:gd name="T106" fmla="*/ 639964483 w 1182"/>
                <a:gd name="T107" fmla="*/ 203619488 h 62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182" h="622">
                  <a:moveTo>
                    <a:pt x="1182" y="485"/>
                  </a:moveTo>
                  <a:lnTo>
                    <a:pt x="1161" y="495"/>
                  </a:lnTo>
                  <a:lnTo>
                    <a:pt x="1140" y="505"/>
                  </a:lnTo>
                  <a:lnTo>
                    <a:pt x="1118" y="515"/>
                  </a:lnTo>
                  <a:lnTo>
                    <a:pt x="1096" y="524"/>
                  </a:lnTo>
                  <a:lnTo>
                    <a:pt x="1074" y="533"/>
                  </a:lnTo>
                  <a:lnTo>
                    <a:pt x="1052" y="540"/>
                  </a:lnTo>
                  <a:lnTo>
                    <a:pt x="1030" y="548"/>
                  </a:lnTo>
                  <a:lnTo>
                    <a:pt x="1008" y="556"/>
                  </a:lnTo>
                  <a:lnTo>
                    <a:pt x="985" y="563"/>
                  </a:lnTo>
                  <a:lnTo>
                    <a:pt x="962" y="570"/>
                  </a:lnTo>
                  <a:lnTo>
                    <a:pt x="940" y="576"/>
                  </a:lnTo>
                  <a:lnTo>
                    <a:pt x="917" y="582"/>
                  </a:lnTo>
                  <a:lnTo>
                    <a:pt x="894" y="587"/>
                  </a:lnTo>
                  <a:lnTo>
                    <a:pt x="871" y="593"/>
                  </a:lnTo>
                  <a:lnTo>
                    <a:pt x="848" y="597"/>
                  </a:lnTo>
                  <a:lnTo>
                    <a:pt x="825" y="601"/>
                  </a:lnTo>
                  <a:lnTo>
                    <a:pt x="802" y="605"/>
                  </a:lnTo>
                  <a:lnTo>
                    <a:pt x="778" y="609"/>
                  </a:lnTo>
                  <a:lnTo>
                    <a:pt x="755" y="612"/>
                  </a:lnTo>
                  <a:lnTo>
                    <a:pt x="731" y="614"/>
                  </a:lnTo>
                  <a:lnTo>
                    <a:pt x="708" y="617"/>
                  </a:lnTo>
                  <a:lnTo>
                    <a:pt x="685" y="618"/>
                  </a:lnTo>
                  <a:lnTo>
                    <a:pt x="661" y="620"/>
                  </a:lnTo>
                  <a:lnTo>
                    <a:pt x="638" y="621"/>
                  </a:lnTo>
                  <a:lnTo>
                    <a:pt x="614" y="622"/>
                  </a:lnTo>
                  <a:lnTo>
                    <a:pt x="591" y="622"/>
                  </a:lnTo>
                  <a:lnTo>
                    <a:pt x="567" y="622"/>
                  </a:lnTo>
                  <a:lnTo>
                    <a:pt x="543" y="621"/>
                  </a:lnTo>
                  <a:lnTo>
                    <a:pt x="520" y="620"/>
                  </a:lnTo>
                  <a:lnTo>
                    <a:pt x="496" y="618"/>
                  </a:lnTo>
                  <a:lnTo>
                    <a:pt x="473" y="617"/>
                  </a:lnTo>
                  <a:lnTo>
                    <a:pt x="449" y="614"/>
                  </a:lnTo>
                  <a:lnTo>
                    <a:pt x="426" y="612"/>
                  </a:lnTo>
                  <a:lnTo>
                    <a:pt x="403" y="609"/>
                  </a:lnTo>
                  <a:lnTo>
                    <a:pt x="380" y="605"/>
                  </a:lnTo>
                  <a:lnTo>
                    <a:pt x="357" y="601"/>
                  </a:lnTo>
                  <a:lnTo>
                    <a:pt x="333" y="597"/>
                  </a:lnTo>
                  <a:lnTo>
                    <a:pt x="311" y="593"/>
                  </a:lnTo>
                  <a:lnTo>
                    <a:pt x="287" y="587"/>
                  </a:lnTo>
                  <a:lnTo>
                    <a:pt x="264" y="582"/>
                  </a:lnTo>
                  <a:lnTo>
                    <a:pt x="242" y="576"/>
                  </a:lnTo>
                  <a:lnTo>
                    <a:pt x="218" y="570"/>
                  </a:lnTo>
                  <a:lnTo>
                    <a:pt x="196" y="563"/>
                  </a:lnTo>
                  <a:lnTo>
                    <a:pt x="174" y="556"/>
                  </a:lnTo>
                  <a:lnTo>
                    <a:pt x="152" y="548"/>
                  </a:lnTo>
                  <a:lnTo>
                    <a:pt x="129" y="540"/>
                  </a:lnTo>
                  <a:lnTo>
                    <a:pt x="108" y="533"/>
                  </a:lnTo>
                  <a:lnTo>
                    <a:pt x="86" y="524"/>
                  </a:lnTo>
                  <a:lnTo>
                    <a:pt x="64" y="515"/>
                  </a:lnTo>
                  <a:lnTo>
                    <a:pt x="42" y="505"/>
                  </a:lnTo>
                  <a:lnTo>
                    <a:pt x="21" y="495"/>
                  </a:lnTo>
                  <a:lnTo>
                    <a:pt x="0" y="485"/>
                  </a:lnTo>
                  <a:lnTo>
                    <a:pt x="0" y="187"/>
                  </a:lnTo>
                  <a:lnTo>
                    <a:pt x="236" y="0"/>
                  </a:lnTo>
                  <a:lnTo>
                    <a:pt x="249" y="6"/>
                  </a:lnTo>
                  <a:lnTo>
                    <a:pt x="262" y="12"/>
                  </a:lnTo>
                  <a:lnTo>
                    <a:pt x="275" y="18"/>
                  </a:lnTo>
                  <a:lnTo>
                    <a:pt x="288" y="23"/>
                  </a:lnTo>
                  <a:lnTo>
                    <a:pt x="301" y="29"/>
                  </a:lnTo>
                  <a:lnTo>
                    <a:pt x="314" y="34"/>
                  </a:lnTo>
                  <a:lnTo>
                    <a:pt x="327" y="38"/>
                  </a:lnTo>
                  <a:lnTo>
                    <a:pt x="341" y="42"/>
                  </a:lnTo>
                  <a:lnTo>
                    <a:pt x="354" y="47"/>
                  </a:lnTo>
                  <a:lnTo>
                    <a:pt x="368" y="51"/>
                  </a:lnTo>
                  <a:lnTo>
                    <a:pt x="381" y="55"/>
                  </a:lnTo>
                  <a:lnTo>
                    <a:pt x="395" y="58"/>
                  </a:lnTo>
                  <a:lnTo>
                    <a:pt x="409" y="62"/>
                  </a:lnTo>
                  <a:lnTo>
                    <a:pt x="423" y="64"/>
                  </a:lnTo>
                  <a:lnTo>
                    <a:pt x="436" y="68"/>
                  </a:lnTo>
                  <a:lnTo>
                    <a:pt x="450" y="70"/>
                  </a:lnTo>
                  <a:lnTo>
                    <a:pt x="464" y="72"/>
                  </a:lnTo>
                  <a:lnTo>
                    <a:pt x="478" y="74"/>
                  </a:lnTo>
                  <a:lnTo>
                    <a:pt x="492" y="76"/>
                  </a:lnTo>
                  <a:lnTo>
                    <a:pt x="506" y="78"/>
                  </a:lnTo>
                  <a:lnTo>
                    <a:pt x="521" y="79"/>
                  </a:lnTo>
                  <a:lnTo>
                    <a:pt x="534" y="80"/>
                  </a:lnTo>
                  <a:lnTo>
                    <a:pt x="548" y="81"/>
                  </a:lnTo>
                  <a:lnTo>
                    <a:pt x="562" y="82"/>
                  </a:lnTo>
                  <a:lnTo>
                    <a:pt x="576" y="83"/>
                  </a:lnTo>
                  <a:lnTo>
                    <a:pt x="591" y="83"/>
                  </a:lnTo>
                  <a:lnTo>
                    <a:pt x="605" y="83"/>
                  </a:lnTo>
                  <a:lnTo>
                    <a:pt x="619" y="82"/>
                  </a:lnTo>
                  <a:lnTo>
                    <a:pt x="633" y="81"/>
                  </a:lnTo>
                  <a:lnTo>
                    <a:pt x="647" y="80"/>
                  </a:lnTo>
                  <a:lnTo>
                    <a:pt x="661" y="79"/>
                  </a:lnTo>
                  <a:lnTo>
                    <a:pt x="675" y="78"/>
                  </a:lnTo>
                  <a:lnTo>
                    <a:pt x="689" y="76"/>
                  </a:lnTo>
                  <a:lnTo>
                    <a:pt x="703" y="74"/>
                  </a:lnTo>
                  <a:lnTo>
                    <a:pt x="718" y="72"/>
                  </a:lnTo>
                  <a:lnTo>
                    <a:pt x="731" y="70"/>
                  </a:lnTo>
                  <a:lnTo>
                    <a:pt x="745" y="68"/>
                  </a:lnTo>
                  <a:lnTo>
                    <a:pt x="759" y="64"/>
                  </a:lnTo>
                  <a:lnTo>
                    <a:pt x="772" y="62"/>
                  </a:lnTo>
                  <a:lnTo>
                    <a:pt x="786" y="58"/>
                  </a:lnTo>
                  <a:lnTo>
                    <a:pt x="800" y="55"/>
                  </a:lnTo>
                  <a:lnTo>
                    <a:pt x="814" y="51"/>
                  </a:lnTo>
                  <a:lnTo>
                    <a:pt x="827" y="47"/>
                  </a:lnTo>
                  <a:lnTo>
                    <a:pt x="841" y="42"/>
                  </a:lnTo>
                  <a:lnTo>
                    <a:pt x="854" y="38"/>
                  </a:lnTo>
                  <a:lnTo>
                    <a:pt x="868" y="34"/>
                  </a:lnTo>
                  <a:lnTo>
                    <a:pt x="881" y="29"/>
                  </a:lnTo>
                  <a:lnTo>
                    <a:pt x="894" y="23"/>
                  </a:lnTo>
                  <a:lnTo>
                    <a:pt x="907" y="18"/>
                  </a:lnTo>
                  <a:lnTo>
                    <a:pt x="920" y="12"/>
                  </a:lnTo>
                  <a:lnTo>
                    <a:pt x="933" y="6"/>
                  </a:lnTo>
                  <a:lnTo>
                    <a:pt x="945" y="0"/>
                  </a:lnTo>
                  <a:lnTo>
                    <a:pt x="944" y="301"/>
                  </a:lnTo>
                  <a:lnTo>
                    <a:pt x="1182" y="485"/>
                  </a:lnTo>
                  <a:close/>
                </a:path>
              </a:pathLst>
            </a:custGeom>
            <a:solidFill>
              <a:srgbClr val="CCCCD4"/>
            </a:solidFill>
            <a:ln w="38100" cmpd="sng">
              <a:solidFill>
                <a:schemeClr val="bg1"/>
              </a:solidFill>
              <a:prstDash val="solid"/>
              <a:round/>
              <a:headEnd/>
              <a:tailEnd/>
            </a:ln>
          </p:spPr>
          <p:txBody>
            <a:bodyPr lIns="0" tIns="0" rIns="0" bIns="0">
              <a:noAutofit/>
            </a:bodyPr>
            <a:lstStyle/>
            <a:p>
              <a:pPr algn="ctr"/>
              <a:endParaRPr lang="en-US" sz="1799" dirty="0">
                <a:solidFill>
                  <a:schemeClr val="bg1"/>
                </a:solidFill>
              </a:endParaRPr>
            </a:p>
          </p:txBody>
        </p:sp>
        <p:sp>
          <p:nvSpPr>
            <p:cNvPr id="45" name="Freeform 47">
              <a:extLst>
                <a:ext uri="{FF2B5EF4-FFF2-40B4-BE49-F238E27FC236}">
                  <a16:creationId xmlns:a16="http://schemas.microsoft.com/office/drawing/2014/main" id="{E599EE2D-CB68-4B8E-8235-12AB63E7469A}"/>
                </a:ext>
              </a:extLst>
            </p:cNvPr>
            <p:cNvSpPr>
              <a:spLocks/>
            </p:cNvSpPr>
            <p:nvPr/>
          </p:nvSpPr>
          <p:spPr bwMode="auto">
            <a:xfrm>
              <a:off x="4227612" y="3773017"/>
              <a:ext cx="1354102" cy="1543904"/>
            </a:xfrm>
            <a:custGeom>
              <a:avLst/>
              <a:gdLst>
                <a:gd name="T0" fmla="*/ 474779693 w 958"/>
                <a:gd name="T1" fmla="*/ 733957803 h 1094"/>
                <a:gd name="T2" fmla="*/ 446333261 w 958"/>
                <a:gd name="T3" fmla="*/ 719061385 h 1094"/>
                <a:gd name="T4" fmla="*/ 418564860 w 958"/>
                <a:gd name="T5" fmla="*/ 702811825 h 1094"/>
                <a:gd name="T6" fmla="*/ 391472907 w 958"/>
                <a:gd name="T7" fmla="*/ 685884509 h 1094"/>
                <a:gd name="T8" fmla="*/ 365058985 w 958"/>
                <a:gd name="T9" fmla="*/ 668280227 h 1094"/>
                <a:gd name="T10" fmla="*/ 339998749 w 958"/>
                <a:gd name="T11" fmla="*/ 649322012 h 1094"/>
                <a:gd name="T12" fmla="*/ 314939306 w 958"/>
                <a:gd name="T13" fmla="*/ 629686832 h 1094"/>
                <a:gd name="T14" fmla="*/ 289879863 w 958"/>
                <a:gd name="T15" fmla="*/ 608696928 h 1094"/>
                <a:gd name="T16" fmla="*/ 266852138 w 958"/>
                <a:gd name="T17" fmla="*/ 587707815 h 1094"/>
                <a:gd name="T18" fmla="*/ 243824413 w 958"/>
                <a:gd name="T19" fmla="*/ 565363979 h 1094"/>
                <a:gd name="T20" fmla="*/ 221473136 w 958"/>
                <a:gd name="T21" fmla="*/ 542343177 h 1094"/>
                <a:gd name="T22" fmla="*/ 200477921 w 958"/>
                <a:gd name="T23" fmla="*/ 518645409 h 1094"/>
                <a:gd name="T24" fmla="*/ 179481915 w 958"/>
                <a:gd name="T25" fmla="*/ 494947640 h 1094"/>
                <a:gd name="T26" fmla="*/ 160517627 w 958"/>
                <a:gd name="T27" fmla="*/ 469218183 h 1094"/>
                <a:gd name="T28" fmla="*/ 141553338 w 958"/>
                <a:gd name="T29" fmla="*/ 443488726 h 1094"/>
                <a:gd name="T30" fmla="*/ 123266289 w 958"/>
                <a:gd name="T31" fmla="*/ 417083093 h 1094"/>
                <a:gd name="T32" fmla="*/ 107011751 w 958"/>
                <a:gd name="T33" fmla="*/ 389999703 h 1094"/>
                <a:gd name="T34" fmla="*/ 91433660 w 958"/>
                <a:gd name="T35" fmla="*/ 362239348 h 1094"/>
                <a:gd name="T36" fmla="*/ 75856361 w 958"/>
                <a:gd name="T37" fmla="*/ 333802026 h 1094"/>
                <a:gd name="T38" fmla="*/ 61633541 w 958"/>
                <a:gd name="T39" fmla="*/ 305363913 h 1094"/>
                <a:gd name="T40" fmla="*/ 48765200 w 958"/>
                <a:gd name="T41" fmla="*/ 276249625 h 1094"/>
                <a:gd name="T42" fmla="*/ 37250545 w 958"/>
                <a:gd name="T43" fmla="*/ 246458371 h 1094"/>
                <a:gd name="T44" fmla="*/ 25736683 w 958"/>
                <a:gd name="T45" fmla="*/ 215989360 h 1094"/>
                <a:gd name="T46" fmla="*/ 16255331 w 958"/>
                <a:gd name="T47" fmla="*/ 186197315 h 1094"/>
                <a:gd name="T48" fmla="*/ 7450426 w 958"/>
                <a:gd name="T49" fmla="*/ 155729095 h 1094"/>
                <a:gd name="T50" fmla="*/ 0 w 958"/>
                <a:gd name="T51" fmla="*/ 124583118 h 1094"/>
                <a:gd name="T52" fmla="*/ 356254080 w 958"/>
                <a:gd name="T53" fmla="*/ 41979017 h 1094"/>
                <a:gd name="T54" fmla="*/ 360317516 w 958"/>
                <a:gd name="T55" fmla="*/ 60937231 h 1094"/>
                <a:gd name="T56" fmla="*/ 365058985 w 958"/>
                <a:gd name="T57" fmla="*/ 79218480 h 1094"/>
                <a:gd name="T58" fmla="*/ 371831379 w 958"/>
                <a:gd name="T59" fmla="*/ 97499728 h 1094"/>
                <a:gd name="T60" fmla="*/ 377927326 w 958"/>
                <a:gd name="T61" fmla="*/ 115104010 h 1094"/>
                <a:gd name="T62" fmla="*/ 385377752 w 958"/>
                <a:gd name="T63" fmla="*/ 133385259 h 1094"/>
                <a:gd name="T64" fmla="*/ 392827385 w 958"/>
                <a:gd name="T65" fmla="*/ 150312575 h 1094"/>
                <a:gd name="T66" fmla="*/ 400955051 w 958"/>
                <a:gd name="T67" fmla="*/ 167916067 h 1094"/>
                <a:gd name="T68" fmla="*/ 410437195 w 958"/>
                <a:gd name="T69" fmla="*/ 184166417 h 1094"/>
                <a:gd name="T70" fmla="*/ 419919339 w 958"/>
                <a:gd name="T71" fmla="*/ 201770699 h 1094"/>
                <a:gd name="T72" fmla="*/ 430078722 w 958"/>
                <a:gd name="T73" fmla="*/ 217343292 h 1094"/>
                <a:gd name="T74" fmla="*/ 440238106 w 958"/>
                <a:gd name="T75" fmla="*/ 233593642 h 1094"/>
                <a:gd name="T76" fmla="*/ 451751968 w 958"/>
                <a:gd name="T77" fmla="*/ 248489269 h 1094"/>
                <a:gd name="T78" fmla="*/ 463265831 w 958"/>
                <a:gd name="T79" fmla="*/ 264061863 h 1094"/>
                <a:gd name="T80" fmla="*/ 475456933 w 958"/>
                <a:gd name="T81" fmla="*/ 278958280 h 1094"/>
                <a:gd name="T82" fmla="*/ 488325274 w 958"/>
                <a:gd name="T83" fmla="*/ 293176941 h 1094"/>
                <a:gd name="T84" fmla="*/ 501870855 w 958"/>
                <a:gd name="T85" fmla="*/ 306718636 h 1094"/>
                <a:gd name="T86" fmla="*/ 515417228 w 958"/>
                <a:gd name="T87" fmla="*/ 319582574 h 1094"/>
                <a:gd name="T88" fmla="*/ 529640048 w 958"/>
                <a:gd name="T89" fmla="*/ 333124269 h 1094"/>
                <a:gd name="T90" fmla="*/ 544540107 w 958"/>
                <a:gd name="T91" fmla="*/ 345312031 h 1094"/>
                <a:gd name="T92" fmla="*/ 559440959 w 958"/>
                <a:gd name="T93" fmla="*/ 356822828 h 1094"/>
                <a:gd name="T94" fmla="*/ 575018258 w 958"/>
                <a:gd name="T95" fmla="*/ 368332834 h 1094"/>
                <a:gd name="T96" fmla="*/ 590596349 w 958"/>
                <a:gd name="T97" fmla="*/ 379165873 h 1094"/>
                <a:gd name="T98" fmla="*/ 607528127 w 958"/>
                <a:gd name="T99" fmla="*/ 389322737 h 1094"/>
                <a:gd name="T100" fmla="*/ 623783457 w 958"/>
                <a:gd name="T101" fmla="*/ 398801845 h 1094"/>
                <a:gd name="T102" fmla="*/ 640715235 w 958"/>
                <a:gd name="T103" fmla="*/ 407603986 h 1094"/>
                <a:gd name="T104" fmla="*/ 489002513 w 958"/>
                <a:gd name="T105" fmla="*/ 538280589 h 109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958" h="1094">
                  <a:moveTo>
                    <a:pt x="722" y="1094"/>
                  </a:moveTo>
                  <a:lnTo>
                    <a:pt x="701" y="1084"/>
                  </a:lnTo>
                  <a:lnTo>
                    <a:pt x="679" y="1073"/>
                  </a:lnTo>
                  <a:lnTo>
                    <a:pt x="659" y="1062"/>
                  </a:lnTo>
                  <a:lnTo>
                    <a:pt x="639" y="1050"/>
                  </a:lnTo>
                  <a:lnTo>
                    <a:pt x="618" y="1038"/>
                  </a:lnTo>
                  <a:lnTo>
                    <a:pt x="598" y="1026"/>
                  </a:lnTo>
                  <a:lnTo>
                    <a:pt x="578" y="1013"/>
                  </a:lnTo>
                  <a:lnTo>
                    <a:pt x="559" y="1000"/>
                  </a:lnTo>
                  <a:lnTo>
                    <a:pt x="539" y="987"/>
                  </a:lnTo>
                  <a:lnTo>
                    <a:pt x="520" y="973"/>
                  </a:lnTo>
                  <a:lnTo>
                    <a:pt x="502" y="959"/>
                  </a:lnTo>
                  <a:lnTo>
                    <a:pt x="483" y="945"/>
                  </a:lnTo>
                  <a:lnTo>
                    <a:pt x="465" y="930"/>
                  </a:lnTo>
                  <a:lnTo>
                    <a:pt x="446" y="915"/>
                  </a:lnTo>
                  <a:lnTo>
                    <a:pt x="428" y="899"/>
                  </a:lnTo>
                  <a:lnTo>
                    <a:pt x="411" y="884"/>
                  </a:lnTo>
                  <a:lnTo>
                    <a:pt x="394" y="868"/>
                  </a:lnTo>
                  <a:lnTo>
                    <a:pt x="376" y="851"/>
                  </a:lnTo>
                  <a:lnTo>
                    <a:pt x="360" y="835"/>
                  </a:lnTo>
                  <a:lnTo>
                    <a:pt x="343" y="818"/>
                  </a:lnTo>
                  <a:lnTo>
                    <a:pt x="327" y="801"/>
                  </a:lnTo>
                  <a:lnTo>
                    <a:pt x="311" y="784"/>
                  </a:lnTo>
                  <a:lnTo>
                    <a:pt x="296" y="766"/>
                  </a:lnTo>
                  <a:lnTo>
                    <a:pt x="280" y="748"/>
                  </a:lnTo>
                  <a:lnTo>
                    <a:pt x="265" y="731"/>
                  </a:lnTo>
                  <a:lnTo>
                    <a:pt x="251" y="712"/>
                  </a:lnTo>
                  <a:lnTo>
                    <a:pt x="237" y="693"/>
                  </a:lnTo>
                  <a:lnTo>
                    <a:pt x="223" y="674"/>
                  </a:lnTo>
                  <a:lnTo>
                    <a:pt x="209" y="655"/>
                  </a:lnTo>
                  <a:lnTo>
                    <a:pt x="195" y="636"/>
                  </a:lnTo>
                  <a:lnTo>
                    <a:pt x="182" y="616"/>
                  </a:lnTo>
                  <a:lnTo>
                    <a:pt x="170" y="596"/>
                  </a:lnTo>
                  <a:lnTo>
                    <a:pt x="158" y="576"/>
                  </a:lnTo>
                  <a:lnTo>
                    <a:pt x="146" y="556"/>
                  </a:lnTo>
                  <a:lnTo>
                    <a:pt x="135" y="535"/>
                  </a:lnTo>
                  <a:lnTo>
                    <a:pt x="123" y="514"/>
                  </a:lnTo>
                  <a:lnTo>
                    <a:pt x="112" y="493"/>
                  </a:lnTo>
                  <a:lnTo>
                    <a:pt x="102" y="472"/>
                  </a:lnTo>
                  <a:lnTo>
                    <a:pt x="91" y="451"/>
                  </a:lnTo>
                  <a:lnTo>
                    <a:pt x="82" y="430"/>
                  </a:lnTo>
                  <a:lnTo>
                    <a:pt x="72" y="408"/>
                  </a:lnTo>
                  <a:lnTo>
                    <a:pt x="63" y="386"/>
                  </a:lnTo>
                  <a:lnTo>
                    <a:pt x="55" y="364"/>
                  </a:lnTo>
                  <a:lnTo>
                    <a:pt x="46" y="342"/>
                  </a:lnTo>
                  <a:lnTo>
                    <a:pt x="38" y="319"/>
                  </a:lnTo>
                  <a:lnTo>
                    <a:pt x="31" y="298"/>
                  </a:lnTo>
                  <a:lnTo>
                    <a:pt x="24" y="275"/>
                  </a:lnTo>
                  <a:lnTo>
                    <a:pt x="18" y="252"/>
                  </a:lnTo>
                  <a:lnTo>
                    <a:pt x="11" y="230"/>
                  </a:lnTo>
                  <a:lnTo>
                    <a:pt x="5" y="206"/>
                  </a:lnTo>
                  <a:lnTo>
                    <a:pt x="0" y="184"/>
                  </a:lnTo>
                  <a:lnTo>
                    <a:pt x="233" y="0"/>
                  </a:lnTo>
                  <a:lnTo>
                    <a:pt x="526" y="62"/>
                  </a:lnTo>
                  <a:lnTo>
                    <a:pt x="528" y="76"/>
                  </a:lnTo>
                  <a:lnTo>
                    <a:pt x="532" y="90"/>
                  </a:lnTo>
                  <a:lnTo>
                    <a:pt x="536" y="103"/>
                  </a:lnTo>
                  <a:lnTo>
                    <a:pt x="539" y="117"/>
                  </a:lnTo>
                  <a:lnTo>
                    <a:pt x="544" y="130"/>
                  </a:lnTo>
                  <a:lnTo>
                    <a:pt x="549" y="144"/>
                  </a:lnTo>
                  <a:lnTo>
                    <a:pt x="553" y="157"/>
                  </a:lnTo>
                  <a:lnTo>
                    <a:pt x="558" y="170"/>
                  </a:lnTo>
                  <a:lnTo>
                    <a:pt x="563" y="184"/>
                  </a:lnTo>
                  <a:lnTo>
                    <a:pt x="569" y="197"/>
                  </a:lnTo>
                  <a:lnTo>
                    <a:pt x="574" y="210"/>
                  </a:lnTo>
                  <a:lnTo>
                    <a:pt x="580" y="222"/>
                  </a:lnTo>
                  <a:lnTo>
                    <a:pt x="586" y="235"/>
                  </a:lnTo>
                  <a:lnTo>
                    <a:pt x="592" y="248"/>
                  </a:lnTo>
                  <a:lnTo>
                    <a:pt x="599" y="261"/>
                  </a:lnTo>
                  <a:lnTo>
                    <a:pt x="606" y="272"/>
                  </a:lnTo>
                  <a:lnTo>
                    <a:pt x="613" y="286"/>
                  </a:lnTo>
                  <a:lnTo>
                    <a:pt x="620" y="298"/>
                  </a:lnTo>
                  <a:lnTo>
                    <a:pt x="627" y="309"/>
                  </a:lnTo>
                  <a:lnTo>
                    <a:pt x="635" y="321"/>
                  </a:lnTo>
                  <a:lnTo>
                    <a:pt x="642" y="333"/>
                  </a:lnTo>
                  <a:lnTo>
                    <a:pt x="650" y="345"/>
                  </a:lnTo>
                  <a:lnTo>
                    <a:pt x="659" y="356"/>
                  </a:lnTo>
                  <a:lnTo>
                    <a:pt x="667" y="367"/>
                  </a:lnTo>
                  <a:lnTo>
                    <a:pt x="675" y="379"/>
                  </a:lnTo>
                  <a:lnTo>
                    <a:pt x="684" y="390"/>
                  </a:lnTo>
                  <a:lnTo>
                    <a:pt x="693" y="401"/>
                  </a:lnTo>
                  <a:lnTo>
                    <a:pt x="702" y="412"/>
                  </a:lnTo>
                  <a:lnTo>
                    <a:pt x="712" y="422"/>
                  </a:lnTo>
                  <a:lnTo>
                    <a:pt x="721" y="433"/>
                  </a:lnTo>
                  <a:lnTo>
                    <a:pt x="731" y="443"/>
                  </a:lnTo>
                  <a:lnTo>
                    <a:pt x="741" y="453"/>
                  </a:lnTo>
                  <a:lnTo>
                    <a:pt x="751" y="463"/>
                  </a:lnTo>
                  <a:lnTo>
                    <a:pt x="761" y="472"/>
                  </a:lnTo>
                  <a:lnTo>
                    <a:pt x="772" y="482"/>
                  </a:lnTo>
                  <a:lnTo>
                    <a:pt x="782" y="492"/>
                  </a:lnTo>
                  <a:lnTo>
                    <a:pt x="793" y="501"/>
                  </a:lnTo>
                  <a:lnTo>
                    <a:pt x="804" y="510"/>
                  </a:lnTo>
                  <a:lnTo>
                    <a:pt x="815" y="519"/>
                  </a:lnTo>
                  <a:lnTo>
                    <a:pt x="826" y="527"/>
                  </a:lnTo>
                  <a:lnTo>
                    <a:pt x="837" y="536"/>
                  </a:lnTo>
                  <a:lnTo>
                    <a:pt x="849" y="544"/>
                  </a:lnTo>
                  <a:lnTo>
                    <a:pt x="861" y="552"/>
                  </a:lnTo>
                  <a:lnTo>
                    <a:pt x="872" y="560"/>
                  </a:lnTo>
                  <a:lnTo>
                    <a:pt x="884" y="567"/>
                  </a:lnTo>
                  <a:lnTo>
                    <a:pt x="897" y="575"/>
                  </a:lnTo>
                  <a:lnTo>
                    <a:pt x="908" y="582"/>
                  </a:lnTo>
                  <a:lnTo>
                    <a:pt x="921" y="589"/>
                  </a:lnTo>
                  <a:lnTo>
                    <a:pt x="933" y="596"/>
                  </a:lnTo>
                  <a:lnTo>
                    <a:pt x="946" y="602"/>
                  </a:lnTo>
                  <a:lnTo>
                    <a:pt x="958" y="608"/>
                  </a:lnTo>
                  <a:lnTo>
                    <a:pt x="722" y="795"/>
                  </a:lnTo>
                  <a:lnTo>
                    <a:pt x="722" y="1094"/>
                  </a:lnTo>
                  <a:close/>
                </a:path>
              </a:pathLst>
            </a:custGeom>
            <a:solidFill>
              <a:srgbClr val="9999A9"/>
            </a:solidFill>
            <a:ln w="38100" cmpd="sng">
              <a:solidFill>
                <a:schemeClr val="bg1"/>
              </a:solidFill>
              <a:prstDash val="solid"/>
              <a:round/>
              <a:headEnd/>
              <a:tailEnd/>
            </a:ln>
          </p:spPr>
          <p:txBody>
            <a:bodyPr lIns="0" tIns="0" rIns="0" bIns="0">
              <a:noAutofit/>
            </a:bodyPr>
            <a:lstStyle/>
            <a:p>
              <a:pPr algn="ctr"/>
              <a:endParaRPr lang="en-US" sz="1799" dirty="0">
                <a:solidFill>
                  <a:schemeClr val="bg1"/>
                </a:solidFill>
              </a:endParaRPr>
            </a:p>
          </p:txBody>
        </p:sp>
        <p:sp>
          <p:nvSpPr>
            <p:cNvPr id="46" name="Freeform 48">
              <a:extLst>
                <a:ext uri="{FF2B5EF4-FFF2-40B4-BE49-F238E27FC236}">
                  <a16:creationId xmlns:a16="http://schemas.microsoft.com/office/drawing/2014/main" id="{9D9A2442-F982-4D76-895F-9811E75353D2}"/>
                </a:ext>
              </a:extLst>
            </p:cNvPr>
            <p:cNvSpPr>
              <a:spLocks/>
            </p:cNvSpPr>
            <p:nvPr/>
          </p:nvSpPr>
          <p:spPr bwMode="auto">
            <a:xfrm>
              <a:off x="4179452" y="2404748"/>
              <a:ext cx="1016994" cy="1626056"/>
            </a:xfrm>
            <a:custGeom>
              <a:avLst/>
              <a:gdLst>
                <a:gd name="T0" fmla="*/ 20371021 w 719"/>
                <a:gd name="T1" fmla="*/ 763573357 h 1153"/>
                <a:gd name="T2" fmla="*/ 13581209 w 719"/>
                <a:gd name="T3" fmla="*/ 732489757 h 1153"/>
                <a:gd name="T4" fmla="*/ 8827707 w 719"/>
                <a:gd name="T5" fmla="*/ 701406158 h 1153"/>
                <a:gd name="T6" fmla="*/ 4753502 w 719"/>
                <a:gd name="T7" fmla="*/ 669646845 h 1153"/>
                <a:gd name="T8" fmla="*/ 2716400 w 719"/>
                <a:gd name="T9" fmla="*/ 637887532 h 1153"/>
                <a:gd name="T10" fmla="*/ 679298 w 719"/>
                <a:gd name="T11" fmla="*/ 606128219 h 1153"/>
                <a:gd name="T12" fmla="*/ 0 w 719"/>
                <a:gd name="T13" fmla="*/ 573693193 h 1153"/>
                <a:gd name="T14" fmla="*/ 679298 w 719"/>
                <a:gd name="T15" fmla="*/ 541933880 h 1153"/>
                <a:gd name="T16" fmla="*/ 2716400 w 719"/>
                <a:gd name="T17" fmla="*/ 510174567 h 1153"/>
                <a:gd name="T18" fmla="*/ 4753502 w 719"/>
                <a:gd name="T19" fmla="*/ 479091757 h 1153"/>
                <a:gd name="T20" fmla="*/ 8827707 w 719"/>
                <a:gd name="T21" fmla="*/ 447332444 h 1153"/>
                <a:gd name="T22" fmla="*/ 13581209 w 719"/>
                <a:gd name="T23" fmla="*/ 415573131 h 1153"/>
                <a:gd name="T24" fmla="*/ 20371021 w 719"/>
                <a:gd name="T25" fmla="*/ 384489532 h 1153"/>
                <a:gd name="T26" fmla="*/ 27161626 w 719"/>
                <a:gd name="T27" fmla="*/ 352730219 h 1153"/>
                <a:gd name="T28" fmla="*/ 35310034 w 719"/>
                <a:gd name="T29" fmla="*/ 322322332 h 1153"/>
                <a:gd name="T30" fmla="*/ 44817039 w 719"/>
                <a:gd name="T31" fmla="*/ 292590159 h 1153"/>
                <a:gd name="T32" fmla="*/ 55002549 w 719"/>
                <a:gd name="T33" fmla="*/ 262182272 h 1153"/>
                <a:gd name="T34" fmla="*/ 66545864 w 719"/>
                <a:gd name="T35" fmla="*/ 232450889 h 1153"/>
                <a:gd name="T36" fmla="*/ 79447775 w 719"/>
                <a:gd name="T37" fmla="*/ 202718716 h 1153"/>
                <a:gd name="T38" fmla="*/ 92349685 w 719"/>
                <a:gd name="T39" fmla="*/ 174337970 h 1153"/>
                <a:gd name="T40" fmla="*/ 107288698 w 719"/>
                <a:gd name="T41" fmla="*/ 145281510 h 1153"/>
                <a:gd name="T42" fmla="*/ 122906217 w 719"/>
                <a:gd name="T43" fmla="*/ 117576476 h 1153"/>
                <a:gd name="T44" fmla="*/ 139203826 w 719"/>
                <a:gd name="T45" fmla="*/ 90547946 h 1153"/>
                <a:gd name="T46" fmla="*/ 156179149 w 719"/>
                <a:gd name="T47" fmla="*/ 63518626 h 1153"/>
                <a:gd name="T48" fmla="*/ 175192366 w 719"/>
                <a:gd name="T49" fmla="*/ 37840732 h 1153"/>
                <a:gd name="T50" fmla="*/ 193527077 w 719"/>
                <a:gd name="T51" fmla="*/ 12162838 h 1153"/>
                <a:gd name="T52" fmla="*/ 418289192 w 719"/>
                <a:gd name="T53" fmla="*/ 28380747 h 1153"/>
                <a:gd name="T54" fmla="*/ 482119448 w 719"/>
                <a:gd name="T55" fmla="*/ 237180882 h 1153"/>
                <a:gd name="T56" fmla="*/ 471254639 w 719"/>
                <a:gd name="T57" fmla="*/ 252046574 h 1153"/>
                <a:gd name="T58" fmla="*/ 459711325 w 719"/>
                <a:gd name="T59" fmla="*/ 268264482 h 1153"/>
                <a:gd name="T60" fmla="*/ 449525022 w 719"/>
                <a:gd name="T61" fmla="*/ 283805887 h 1153"/>
                <a:gd name="T62" fmla="*/ 440018810 w 719"/>
                <a:gd name="T63" fmla="*/ 300023005 h 1153"/>
                <a:gd name="T64" fmla="*/ 430512597 w 719"/>
                <a:gd name="T65" fmla="*/ 316916626 h 1153"/>
                <a:gd name="T66" fmla="*/ 421684891 w 719"/>
                <a:gd name="T67" fmla="*/ 333809457 h 1153"/>
                <a:gd name="T68" fmla="*/ 413536482 w 719"/>
                <a:gd name="T69" fmla="*/ 351378792 h 1153"/>
                <a:gd name="T70" fmla="*/ 406066579 w 719"/>
                <a:gd name="T71" fmla="*/ 368947337 h 1153"/>
                <a:gd name="T72" fmla="*/ 399275975 w 719"/>
                <a:gd name="T73" fmla="*/ 386516671 h 1153"/>
                <a:gd name="T74" fmla="*/ 393164669 w 719"/>
                <a:gd name="T75" fmla="*/ 404760929 h 1153"/>
                <a:gd name="T76" fmla="*/ 387732661 w 719"/>
                <a:gd name="T77" fmla="*/ 423005977 h 1153"/>
                <a:gd name="T78" fmla="*/ 382300652 w 719"/>
                <a:gd name="T79" fmla="*/ 441925948 h 1153"/>
                <a:gd name="T80" fmla="*/ 378225656 w 719"/>
                <a:gd name="T81" fmla="*/ 460170996 h 1153"/>
                <a:gd name="T82" fmla="*/ 374830750 w 719"/>
                <a:gd name="T83" fmla="*/ 479091757 h 1153"/>
                <a:gd name="T84" fmla="*/ 371435844 w 719"/>
                <a:gd name="T85" fmla="*/ 497336015 h 1153"/>
                <a:gd name="T86" fmla="*/ 369398742 w 719"/>
                <a:gd name="T87" fmla="*/ 516932489 h 1153"/>
                <a:gd name="T88" fmla="*/ 367361640 w 719"/>
                <a:gd name="T89" fmla="*/ 535852460 h 1153"/>
                <a:gd name="T90" fmla="*/ 366682341 w 719"/>
                <a:gd name="T91" fmla="*/ 554773222 h 1153"/>
                <a:gd name="T92" fmla="*/ 366682341 w 719"/>
                <a:gd name="T93" fmla="*/ 573693193 h 1153"/>
                <a:gd name="T94" fmla="*/ 366682341 w 719"/>
                <a:gd name="T95" fmla="*/ 593289667 h 1153"/>
                <a:gd name="T96" fmla="*/ 367361640 w 719"/>
                <a:gd name="T97" fmla="*/ 612209638 h 1153"/>
                <a:gd name="T98" fmla="*/ 369398742 w 719"/>
                <a:gd name="T99" fmla="*/ 631130399 h 1153"/>
                <a:gd name="T100" fmla="*/ 371435844 w 719"/>
                <a:gd name="T101" fmla="*/ 650050370 h 1153"/>
                <a:gd name="T102" fmla="*/ 374830750 w 719"/>
                <a:gd name="T103" fmla="*/ 668971131 h 1153"/>
                <a:gd name="T104" fmla="*/ 378225656 w 719"/>
                <a:gd name="T105" fmla="*/ 687891102 h 1153"/>
                <a:gd name="T106" fmla="*/ 181982970 w 719"/>
                <a:gd name="T107" fmla="*/ 654780363 h 115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19" h="1153">
                  <a:moveTo>
                    <a:pt x="35" y="1153"/>
                  </a:moveTo>
                  <a:lnTo>
                    <a:pt x="30" y="1130"/>
                  </a:lnTo>
                  <a:lnTo>
                    <a:pt x="24" y="1107"/>
                  </a:lnTo>
                  <a:lnTo>
                    <a:pt x="20" y="1084"/>
                  </a:lnTo>
                  <a:lnTo>
                    <a:pt x="17" y="1060"/>
                  </a:lnTo>
                  <a:lnTo>
                    <a:pt x="13" y="1038"/>
                  </a:lnTo>
                  <a:lnTo>
                    <a:pt x="9" y="1014"/>
                  </a:lnTo>
                  <a:lnTo>
                    <a:pt x="7" y="991"/>
                  </a:lnTo>
                  <a:lnTo>
                    <a:pt x="5" y="967"/>
                  </a:lnTo>
                  <a:lnTo>
                    <a:pt x="4" y="944"/>
                  </a:lnTo>
                  <a:lnTo>
                    <a:pt x="2" y="920"/>
                  </a:lnTo>
                  <a:lnTo>
                    <a:pt x="1" y="897"/>
                  </a:lnTo>
                  <a:lnTo>
                    <a:pt x="0" y="873"/>
                  </a:lnTo>
                  <a:lnTo>
                    <a:pt x="0" y="849"/>
                  </a:lnTo>
                  <a:lnTo>
                    <a:pt x="0" y="826"/>
                  </a:lnTo>
                  <a:lnTo>
                    <a:pt x="1" y="802"/>
                  </a:lnTo>
                  <a:lnTo>
                    <a:pt x="2" y="779"/>
                  </a:lnTo>
                  <a:lnTo>
                    <a:pt x="4" y="755"/>
                  </a:lnTo>
                  <a:lnTo>
                    <a:pt x="5" y="732"/>
                  </a:lnTo>
                  <a:lnTo>
                    <a:pt x="7" y="709"/>
                  </a:lnTo>
                  <a:lnTo>
                    <a:pt x="9" y="685"/>
                  </a:lnTo>
                  <a:lnTo>
                    <a:pt x="13" y="662"/>
                  </a:lnTo>
                  <a:lnTo>
                    <a:pt x="17" y="638"/>
                  </a:lnTo>
                  <a:lnTo>
                    <a:pt x="20" y="615"/>
                  </a:lnTo>
                  <a:lnTo>
                    <a:pt x="24" y="592"/>
                  </a:lnTo>
                  <a:lnTo>
                    <a:pt x="30" y="569"/>
                  </a:lnTo>
                  <a:lnTo>
                    <a:pt x="35" y="546"/>
                  </a:lnTo>
                  <a:lnTo>
                    <a:pt x="40" y="522"/>
                  </a:lnTo>
                  <a:lnTo>
                    <a:pt x="46" y="500"/>
                  </a:lnTo>
                  <a:lnTo>
                    <a:pt x="52" y="477"/>
                  </a:lnTo>
                  <a:lnTo>
                    <a:pt x="59" y="455"/>
                  </a:lnTo>
                  <a:lnTo>
                    <a:pt x="66" y="433"/>
                  </a:lnTo>
                  <a:lnTo>
                    <a:pt x="73" y="410"/>
                  </a:lnTo>
                  <a:lnTo>
                    <a:pt x="81" y="388"/>
                  </a:lnTo>
                  <a:lnTo>
                    <a:pt x="89" y="366"/>
                  </a:lnTo>
                  <a:lnTo>
                    <a:pt x="98" y="344"/>
                  </a:lnTo>
                  <a:lnTo>
                    <a:pt x="107" y="322"/>
                  </a:lnTo>
                  <a:lnTo>
                    <a:pt x="117" y="300"/>
                  </a:lnTo>
                  <a:lnTo>
                    <a:pt x="126" y="278"/>
                  </a:lnTo>
                  <a:lnTo>
                    <a:pt x="136" y="258"/>
                  </a:lnTo>
                  <a:lnTo>
                    <a:pt x="147" y="237"/>
                  </a:lnTo>
                  <a:lnTo>
                    <a:pt x="158" y="215"/>
                  </a:lnTo>
                  <a:lnTo>
                    <a:pt x="169" y="195"/>
                  </a:lnTo>
                  <a:lnTo>
                    <a:pt x="181" y="174"/>
                  </a:lnTo>
                  <a:lnTo>
                    <a:pt x="193" y="155"/>
                  </a:lnTo>
                  <a:lnTo>
                    <a:pt x="205" y="134"/>
                  </a:lnTo>
                  <a:lnTo>
                    <a:pt x="217" y="114"/>
                  </a:lnTo>
                  <a:lnTo>
                    <a:pt x="230" y="94"/>
                  </a:lnTo>
                  <a:lnTo>
                    <a:pt x="244" y="75"/>
                  </a:lnTo>
                  <a:lnTo>
                    <a:pt x="258" y="56"/>
                  </a:lnTo>
                  <a:lnTo>
                    <a:pt x="271" y="37"/>
                  </a:lnTo>
                  <a:lnTo>
                    <a:pt x="285" y="18"/>
                  </a:lnTo>
                  <a:lnTo>
                    <a:pt x="300" y="0"/>
                  </a:lnTo>
                  <a:lnTo>
                    <a:pt x="616" y="42"/>
                  </a:lnTo>
                  <a:lnTo>
                    <a:pt x="719" y="339"/>
                  </a:lnTo>
                  <a:lnTo>
                    <a:pt x="710" y="351"/>
                  </a:lnTo>
                  <a:lnTo>
                    <a:pt x="702" y="362"/>
                  </a:lnTo>
                  <a:lnTo>
                    <a:pt x="694" y="373"/>
                  </a:lnTo>
                  <a:lnTo>
                    <a:pt x="685" y="385"/>
                  </a:lnTo>
                  <a:lnTo>
                    <a:pt x="677" y="397"/>
                  </a:lnTo>
                  <a:lnTo>
                    <a:pt x="670" y="408"/>
                  </a:lnTo>
                  <a:lnTo>
                    <a:pt x="662" y="420"/>
                  </a:lnTo>
                  <a:lnTo>
                    <a:pt x="655" y="433"/>
                  </a:lnTo>
                  <a:lnTo>
                    <a:pt x="648" y="444"/>
                  </a:lnTo>
                  <a:lnTo>
                    <a:pt x="641" y="456"/>
                  </a:lnTo>
                  <a:lnTo>
                    <a:pt x="634" y="469"/>
                  </a:lnTo>
                  <a:lnTo>
                    <a:pt x="627" y="482"/>
                  </a:lnTo>
                  <a:lnTo>
                    <a:pt x="621" y="494"/>
                  </a:lnTo>
                  <a:lnTo>
                    <a:pt x="615" y="507"/>
                  </a:lnTo>
                  <a:lnTo>
                    <a:pt x="609" y="520"/>
                  </a:lnTo>
                  <a:lnTo>
                    <a:pt x="604" y="533"/>
                  </a:lnTo>
                  <a:lnTo>
                    <a:pt x="598" y="546"/>
                  </a:lnTo>
                  <a:lnTo>
                    <a:pt x="593" y="559"/>
                  </a:lnTo>
                  <a:lnTo>
                    <a:pt x="588" y="572"/>
                  </a:lnTo>
                  <a:lnTo>
                    <a:pt x="584" y="586"/>
                  </a:lnTo>
                  <a:lnTo>
                    <a:pt x="579" y="599"/>
                  </a:lnTo>
                  <a:lnTo>
                    <a:pt x="574" y="613"/>
                  </a:lnTo>
                  <a:lnTo>
                    <a:pt x="571" y="626"/>
                  </a:lnTo>
                  <a:lnTo>
                    <a:pt x="567" y="640"/>
                  </a:lnTo>
                  <a:lnTo>
                    <a:pt x="563" y="654"/>
                  </a:lnTo>
                  <a:lnTo>
                    <a:pt x="560" y="667"/>
                  </a:lnTo>
                  <a:lnTo>
                    <a:pt x="557" y="681"/>
                  </a:lnTo>
                  <a:lnTo>
                    <a:pt x="554" y="695"/>
                  </a:lnTo>
                  <a:lnTo>
                    <a:pt x="552" y="709"/>
                  </a:lnTo>
                  <a:lnTo>
                    <a:pt x="549" y="722"/>
                  </a:lnTo>
                  <a:lnTo>
                    <a:pt x="547" y="736"/>
                  </a:lnTo>
                  <a:lnTo>
                    <a:pt x="546" y="751"/>
                  </a:lnTo>
                  <a:lnTo>
                    <a:pt x="544" y="765"/>
                  </a:lnTo>
                  <a:lnTo>
                    <a:pt x="542" y="779"/>
                  </a:lnTo>
                  <a:lnTo>
                    <a:pt x="541" y="793"/>
                  </a:lnTo>
                  <a:lnTo>
                    <a:pt x="541" y="807"/>
                  </a:lnTo>
                  <a:lnTo>
                    <a:pt x="540" y="821"/>
                  </a:lnTo>
                  <a:lnTo>
                    <a:pt x="540" y="835"/>
                  </a:lnTo>
                  <a:lnTo>
                    <a:pt x="540" y="849"/>
                  </a:lnTo>
                  <a:lnTo>
                    <a:pt x="540" y="864"/>
                  </a:lnTo>
                  <a:lnTo>
                    <a:pt x="540" y="878"/>
                  </a:lnTo>
                  <a:lnTo>
                    <a:pt x="541" y="892"/>
                  </a:lnTo>
                  <a:lnTo>
                    <a:pt x="541" y="906"/>
                  </a:lnTo>
                  <a:lnTo>
                    <a:pt x="542" y="920"/>
                  </a:lnTo>
                  <a:lnTo>
                    <a:pt x="544" y="934"/>
                  </a:lnTo>
                  <a:lnTo>
                    <a:pt x="546" y="948"/>
                  </a:lnTo>
                  <a:lnTo>
                    <a:pt x="547" y="962"/>
                  </a:lnTo>
                  <a:lnTo>
                    <a:pt x="549" y="976"/>
                  </a:lnTo>
                  <a:lnTo>
                    <a:pt x="552" y="990"/>
                  </a:lnTo>
                  <a:lnTo>
                    <a:pt x="554" y="1004"/>
                  </a:lnTo>
                  <a:lnTo>
                    <a:pt x="557" y="1018"/>
                  </a:lnTo>
                  <a:lnTo>
                    <a:pt x="560" y="1031"/>
                  </a:lnTo>
                  <a:lnTo>
                    <a:pt x="268" y="969"/>
                  </a:lnTo>
                  <a:lnTo>
                    <a:pt x="35" y="1153"/>
                  </a:lnTo>
                  <a:close/>
                </a:path>
              </a:pathLst>
            </a:custGeom>
            <a:solidFill>
              <a:srgbClr val="66667E"/>
            </a:solidFill>
            <a:ln w="38100" cmpd="sng">
              <a:solidFill>
                <a:schemeClr val="bg1"/>
              </a:solidFill>
              <a:prstDash val="solid"/>
              <a:round/>
              <a:headEnd/>
              <a:tailEnd/>
            </a:ln>
          </p:spPr>
          <p:txBody>
            <a:bodyPr lIns="0" tIns="0" rIns="0" bIns="0">
              <a:noAutofit/>
            </a:bodyPr>
            <a:lstStyle/>
            <a:p>
              <a:pPr algn="ctr"/>
              <a:endParaRPr lang="en-US" sz="1799" dirty="0">
                <a:solidFill>
                  <a:schemeClr val="bg1"/>
                </a:solidFill>
              </a:endParaRPr>
            </a:p>
          </p:txBody>
        </p:sp>
        <p:sp>
          <p:nvSpPr>
            <p:cNvPr id="47" name="Freeform 49">
              <a:extLst>
                <a:ext uri="{FF2B5EF4-FFF2-40B4-BE49-F238E27FC236}">
                  <a16:creationId xmlns:a16="http://schemas.microsoft.com/office/drawing/2014/main" id="{CAC416E6-9CED-4269-B0C4-87347CB0C3AA}"/>
                </a:ext>
              </a:extLst>
            </p:cNvPr>
            <p:cNvSpPr>
              <a:spLocks/>
            </p:cNvSpPr>
            <p:nvPr/>
          </p:nvSpPr>
          <p:spPr bwMode="auto">
            <a:xfrm>
              <a:off x="4604378" y="1696534"/>
              <a:ext cx="1634555" cy="1186964"/>
            </a:xfrm>
            <a:custGeom>
              <a:avLst/>
              <a:gdLst>
                <a:gd name="T0" fmla="*/ 9457043 w 1159"/>
                <a:gd name="T1" fmla="*/ 326759249 h 840"/>
                <a:gd name="T2" fmla="*/ 31072463 w 1159"/>
                <a:gd name="T3" fmla="*/ 302354138 h 840"/>
                <a:gd name="T4" fmla="*/ 52688673 w 1159"/>
                <a:gd name="T5" fmla="*/ 279304691 h 840"/>
                <a:gd name="T6" fmla="*/ 74979822 w 1159"/>
                <a:gd name="T7" fmla="*/ 256933076 h 840"/>
                <a:gd name="T8" fmla="*/ 98622428 w 1159"/>
                <a:gd name="T9" fmla="*/ 235239292 h 840"/>
                <a:gd name="T10" fmla="*/ 122264245 w 1159"/>
                <a:gd name="T11" fmla="*/ 213545509 h 840"/>
                <a:gd name="T12" fmla="*/ 147257519 w 1159"/>
                <a:gd name="T13" fmla="*/ 193886013 h 840"/>
                <a:gd name="T14" fmla="*/ 172250793 w 1159"/>
                <a:gd name="T15" fmla="*/ 174904348 h 840"/>
                <a:gd name="T16" fmla="*/ 198594734 w 1159"/>
                <a:gd name="T17" fmla="*/ 156600515 h 840"/>
                <a:gd name="T18" fmla="*/ 224939466 w 1159"/>
                <a:gd name="T19" fmla="*/ 138974514 h 840"/>
                <a:gd name="T20" fmla="*/ 252634865 w 1159"/>
                <a:gd name="T21" fmla="*/ 122026344 h 840"/>
                <a:gd name="T22" fmla="*/ 279654535 w 1159"/>
                <a:gd name="T23" fmla="*/ 107111670 h 840"/>
                <a:gd name="T24" fmla="*/ 308700601 w 1159"/>
                <a:gd name="T25" fmla="*/ 92197788 h 840"/>
                <a:gd name="T26" fmla="*/ 337746668 w 1159"/>
                <a:gd name="T27" fmla="*/ 78638777 h 840"/>
                <a:gd name="T28" fmla="*/ 366792734 w 1159"/>
                <a:gd name="T29" fmla="*/ 66436222 h 840"/>
                <a:gd name="T30" fmla="*/ 396514529 w 1159"/>
                <a:gd name="T31" fmla="*/ 54911499 h 840"/>
                <a:gd name="T32" fmla="*/ 426912053 w 1159"/>
                <a:gd name="T33" fmla="*/ 44743231 h 840"/>
                <a:gd name="T34" fmla="*/ 456633849 w 1159"/>
                <a:gd name="T35" fmla="*/ 35252002 h 840"/>
                <a:gd name="T36" fmla="*/ 487706311 w 1159"/>
                <a:gd name="T37" fmla="*/ 27117229 h 840"/>
                <a:gd name="T38" fmla="*/ 518778774 w 1159"/>
                <a:gd name="T39" fmla="*/ 19659496 h 840"/>
                <a:gd name="T40" fmla="*/ 549852027 w 1159"/>
                <a:gd name="T41" fmla="*/ 13558219 h 840"/>
                <a:gd name="T42" fmla="*/ 580924490 w 1159"/>
                <a:gd name="T43" fmla="*/ 8813397 h 840"/>
                <a:gd name="T44" fmla="*/ 612672681 w 1159"/>
                <a:gd name="T45" fmla="*/ 4745614 h 840"/>
                <a:gd name="T46" fmla="*/ 644420873 w 1159"/>
                <a:gd name="T47" fmla="*/ 2033495 h 840"/>
                <a:gd name="T48" fmla="*/ 676169064 w 1159"/>
                <a:gd name="T49" fmla="*/ 677832 h 840"/>
                <a:gd name="T50" fmla="*/ 707917256 w 1159"/>
                <a:gd name="T51" fmla="*/ 0 h 840"/>
                <a:gd name="T52" fmla="*/ 707917256 w 1159"/>
                <a:gd name="T53" fmla="*/ 366078242 h 840"/>
                <a:gd name="T54" fmla="*/ 689003170 w 1159"/>
                <a:gd name="T55" fmla="*/ 366078242 h 840"/>
                <a:gd name="T56" fmla="*/ 670089875 w 1159"/>
                <a:gd name="T57" fmla="*/ 367434697 h 840"/>
                <a:gd name="T58" fmla="*/ 650500061 w 1159"/>
                <a:gd name="T59" fmla="*/ 369468192 h 840"/>
                <a:gd name="T60" fmla="*/ 631586766 w 1159"/>
                <a:gd name="T61" fmla="*/ 371501687 h 840"/>
                <a:gd name="T62" fmla="*/ 612672681 w 1159"/>
                <a:gd name="T63" fmla="*/ 374213806 h 840"/>
                <a:gd name="T64" fmla="*/ 594434325 w 1159"/>
                <a:gd name="T65" fmla="*/ 377602965 h 840"/>
                <a:gd name="T66" fmla="*/ 575520239 w 1159"/>
                <a:gd name="T67" fmla="*/ 382348579 h 840"/>
                <a:gd name="T68" fmla="*/ 557281883 w 1159"/>
                <a:gd name="T69" fmla="*/ 387094193 h 840"/>
                <a:gd name="T70" fmla="*/ 539043527 w 1159"/>
                <a:gd name="T71" fmla="*/ 392517639 h 840"/>
                <a:gd name="T72" fmla="*/ 520805170 w 1159"/>
                <a:gd name="T73" fmla="*/ 399296749 h 840"/>
                <a:gd name="T74" fmla="*/ 503242543 w 1159"/>
                <a:gd name="T75" fmla="*/ 406075858 h 840"/>
                <a:gd name="T76" fmla="*/ 485679915 w 1159"/>
                <a:gd name="T77" fmla="*/ 413532799 h 840"/>
                <a:gd name="T78" fmla="*/ 468117288 w 1159"/>
                <a:gd name="T79" fmla="*/ 421668364 h 840"/>
                <a:gd name="T80" fmla="*/ 451229599 w 1159"/>
                <a:gd name="T81" fmla="*/ 430480969 h 840"/>
                <a:gd name="T82" fmla="*/ 435017638 w 1159"/>
                <a:gd name="T83" fmla="*/ 439972197 h 840"/>
                <a:gd name="T84" fmla="*/ 418805678 w 1159"/>
                <a:gd name="T85" fmla="*/ 449463425 h 840"/>
                <a:gd name="T86" fmla="*/ 402594508 w 1159"/>
                <a:gd name="T87" fmla="*/ 460309525 h 840"/>
                <a:gd name="T88" fmla="*/ 387057487 w 1159"/>
                <a:gd name="T89" fmla="*/ 471156417 h 840"/>
                <a:gd name="T90" fmla="*/ 371521255 w 1159"/>
                <a:gd name="T91" fmla="*/ 482681140 h 840"/>
                <a:gd name="T92" fmla="*/ 356660753 w 1159"/>
                <a:gd name="T93" fmla="*/ 494883695 h 840"/>
                <a:gd name="T94" fmla="*/ 342475189 w 1159"/>
                <a:gd name="T95" fmla="*/ 507086251 h 840"/>
                <a:gd name="T96" fmla="*/ 328289625 w 1159"/>
                <a:gd name="T97" fmla="*/ 519967430 h 840"/>
                <a:gd name="T98" fmla="*/ 314779790 w 1159"/>
                <a:gd name="T99" fmla="*/ 533525648 h 840"/>
                <a:gd name="T100" fmla="*/ 301945684 w 1159"/>
                <a:gd name="T101" fmla="*/ 547761699 h 840"/>
                <a:gd name="T102" fmla="*/ 289111577 w 1159"/>
                <a:gd name="T103" fmla="*/ 562676373 h 840"/>
                <a:gd name="T104" fmla="*/ 213456027 w 1159"/>
                <a:gd name="T105" fmla="*/ 370146024 h 8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159" h="840">
                  <a:moveTo>
                    <a:pt x="0" y="500"/>
                  </a:moveTo>
                  <a:lnTo>
                    <a:pt x="14" y="482"/>
                  </a:lnTo>
                  <a:lnTo>
                    <a:pt x="30" y="464"/>
                  </a:lnTo>
                  <a:lnTo>
                    <a:pt x="46" y="446"/>
                  </a:lnTo>
                  <a:lnTo>
                    <a:pt x="61" y="429"/>
                  </a:lnTo>
                  <a:lnTo>
                    <a:pt x="78" y="412"/>
                  </a:lnTo>
                  <a:lnTo>
                    <a:pt x="94" y="395"/>
                  </a:lnTo>
                  <a:lnTo>
                    <a:pt x="111" y="379"/>
                  </a:lnTo>
                  <a:lnTo>
                    <a:pt x="128" y="362"/>
                  </a:lnTo>
                  <a:lnTo>
                    <a:pt x="146" y="347"/>
                  </a:lnTo>
                  <a:lnTo>
                    <a:pt x="163" y="331"/>
                  </a:lnTo>
                  <a:lnTo>
                    <a:pt x="181" y="315"/>
                  </a:lnTo>
                  <a:lnTo>
                    <a:pt x="199" y="301"/>
                  </a:lnTo>
                  <a:lnTo>
                    <a:pt x="218" y="286"/>
                  </a:lnTo>
                  <a:lnTo>
                    <a:pt x="237" y="272"/>
                  </a:lnTo>
                  <a:lnTo>
                    <a:pt x="255" y="258"/>
                  </a:lnTo>
                  <a:lnTo>
                    <a:pt x="274" y="244"/>
                  </a:lnTo>
                  <a:lnTo>
                    <a:pt x="294" y="231"/>
                  </a:lnTo>
                  <a:lnTo>
                    <a:pt x="313" y="218"/>
                  </a:lnTo>
                  <a:lnTo>
                    <a:pt x="333" y="205"/>
                  </a:lnTo>
                  <a:lnTo>
                    <a:pt x="353" y="193"/>
                  </a:lnTo>
                  <a:lnTo>
                    <a:pt x="374" y="180"/>
                  </a:lnTo>
                  <a:lnTo>
                    <a:pt x="394" y="170"/>
                  </a:lnTo>
                  <a:lnTo>
                    <a:pt x="414" y="158"/>
                  </a:lnTo>
                  <a:lnTo>
                    <a:pt x="436" y="147"/>
                  </a:lnTo>
                  <a:lnTo>
                    <a:pt x="457" y="136"/>
                  </a:lnTo>
                  <a:lnTo>
                    <a:pt x="478" y="126"/>
                  </a:lnTo>
                  <a:lnTo>
                    <a:pt x="500" y="116"/>
                  </a:lnTo>
                  <a:lnTo>
                    <a:pt x="522" y="107"/>
                  </a:lnTo>
                  <a:lnTo>
                    <a:pt x="543" y="98"/>
                  </a:lnTo>
                  <a:lnTo>
                    <a:pt x="565" y="90"/>
                  </a:lnTo>
                  <a:lnTo>
                    <a:pt x="587" y="81"/>
                  </a:lnTo>
                  <a:lnTo>
                    <a:pt x="609" y="73"/>
                  </a:lnTo>
                  <a:lnTo>
                    <a:pt x="632" y="66"/>
                  </a:lnTo>
                  <a:lnTo>
                    <a:pt x="653" y="59"/>
                  </a:lnTo>
                  <a:lnTo>
                    <a:pt x="676" y="52"/>
                  </a:lnTo>
                  <a:lnTo>
                    <a:pt x="699" y="46"/>
                  </a:lnTo>
                  <a:lnTo>
                    <a:pt x="722" y="40"/>
                  </a:lnTo>
                  <a:lnTo>
                    <a:pt x="744" y="35"/>
                  </a:lnTo>
                  <a:lnTo>
                    <a:pt x="768" y="29"/>
                  </a:lnTo>
                  <a:lnTo>
                    <a:pt x="790" y="24"/>
                  </a:lnTo>
                  <a:lnTo>
                    <a:pt x="814" y="20"/>
                  </a:lnTo>
                  <a:lnTo>
                    <a:pt x="837" y="16"/>
                  </a:lnTo>
                  <a:lnTo>
                    <a:pt x="860" y="13"/>
                  </a:lnTo>
                  <a:lnTo>
                    <a:pt x="883" y="9"/>
                  </a:lnTo>
                  <a:lnTo>
                    <a:pt x="907" y="7"/>
                  </a:lnTo>
                  <a:lnTo>
                    <a:pt x="930" y="5"/>
                  </a:lnTo>
                  <a:lnTo>
                    <a:pt x="954" y="3"/>
                  </a:lnTo>
                  <a:lnTo>
                    <a:pt x="977" y="2"/>
                  </a:lnTo>
                  <a:lnTo>
                    <a:pt x="1001" y="1"/>
                  </a:lnTo>
                  <a:lnTo>
                    <a:pt x="1025" y="0"/>
                  </a:lnTo>
                  <a:lnTo>
                    <a:pt x="1048" y="0"/>
                  </a:lnTo>
                  <a:lnTo>
                    <a:pt x="1159" y="267"/>
                  </a:lnTo>
                  <a:lnTo>
                    <a:pt x="1048" y="540"/>
                  </a:lnTo>
                  <a:lnTo>
                    <a:pt x="1034" y="540"/>
                  </a:lnTo>
                  <a:lnTo>
                    <a:pt x="1020" y="540"/>
                  </a:lnTo>
                  <a:lnTo>
                    <a:pt x="1006" y="541"/>
                  </a:lnTo>
                  <a:lnTo>
                    <a:pt x="992" y="542"/>
                  </a:lnTo>
                  <a:lnTo>
                    <a:pt x="978" y="543"/>
                  </a:lnTo>
                  <a:lnTo>
                    <a:pt x="963" y="545"/>
                  </a:lnTo>
                  <a:lnTo>
                    <a:pt x="949" y="546"/>
                  </a:lnTo>
                  <a:lnTo>
                    <a:pt x="935" y="548"/>
                  </a:lnTo>
                  <a:lnTo>
                    <a:pt x="921" y="550"/>
                  </a:lnTo>
                  <a:lnTo>
                    <a:pt x="907" y="552"/>
                  </a:lnTo>
                  <a:lnTo>
                    <a:pt x="893" y="555"/>
                  </a:lnTo>
                  <a:lnTo>
                    <a:pt x="880" y="557"/>
                  </a:lnTo>
                  <a:lnTo>
                    <a:pt x="866" y="561"/>
                  </a:lnTo>
                  <a:lnTo>
                    <a:pt x="852" y="564"/>
                  </a:lnTo>
                  <a:lnTo>
                    <a:pt x="839" y="568"/>
                  </a:lnTo>
                  <a:lnTo>
                    <a:pt x="825" y="571"/>
                  </a:lnTo>
                  <a:lnTo>
                    <a:pt x="811" y="576"/>
                  </a:lnTo>
                  <a:lnTo>
                    <a:pt x="798" y="579"/>
                  </a:lnTo>
                  <a:lnTo>
                    <a:pt x="784" y="585"/>
                  </a:lnTo>
                  <a:lnTo>
                    <a:pt x="771" y="589"/>
                  </a:lnTo>
                  <a:lnTo>
                    <a:pt x="758" y="594"/>
                  </a:lnTo>
                  <a:lnTo>
                    <a:pt x="745" y="599"/>
                  </a:lnTo>
                  <a:lnTo>
                    <a:pt x="732" y="604"/>
                  </a:lnTo>
                  <a:lnTo>
                    <a:pt x="719" y="610"/>
                  </a:lnTo>
                  <a:lnTo>
                    <a:pt x="706" y="616"/>
                  </a:lnTo>
                  <a:lnTo>
                    <a:pt x="693" y="622"/>
                  </a:lnTo>
                  <a:lnTo>
                    <a:pt x="681" y="628"/>
                  </a:lnTo>
                  <a:lnTo>
                    <a:pt x="668" y="635"/>
                  </a:lnTo>
                  <a:lnTo>
                    <a:pt x="656" y="642"/>
                  </a:lnTo>
                  <a:lnTo>
                    <a:pt x="644" y="649"/>
                  </a:lnTo>
                  <a:lnTo>
                    <a:pt x="632" y="656"/>
                  </a:lnTo>
                  <a:lnTo>
                    <a:pt x="620" y="663"/>
                  </a:lnTo>
                  <a:lnTo>
                    <a:pt x="607" y="670"/>
                  </a:lnTo>
                  <a:lnTo>
                    <a:pt x="596" y="679"/>
                  </a:lnTo>
                  <a:lnTo>
                    <a:pt x="584" y="686"/>
                  </a:lnTo>
                  <a:lnTo>
                    <a:pt x="573" y="695"/>
                  </a:lnTo>
                  <a:lnTo>
                    <a:pt x="561" y="703"/>
                  </a:lnTo>
                  <a:lnTo>
                    <a:pt x="550" y="712"/>
                  </a:lnTo>
                  <a:lnTo>
                    <a:pt x="539" y="721"/>
                  </a:lnTo>
                  <a:lnTo>
                    <a:pt x="528" y="730"/>
                  </a:lnTo>
                  <a:lnTo>
                    <a:pt x="517" y="738"/>
                  </a:lnTo>
                  <a:lnTo>
                    <a:pt x="507" y="748"/>
                  </a:lnTo>
                  <a:lnTo>
                    <a:pt x="496" y="757"/>
                  </a:lnTo>
                  <a:lnTo>
                    <a:pt x="486" y="767"/>
                  </a:lnTo>
                  <a:lnTo>
                    <a:pt x="476" y="778"/>
                  </a:lnTo>
                  <a:lnTo>
                    <a:pt x="466" y="787"/>
                  </a:lnTo>
                  <a:lnTo>
                    <a:pt x="456" y="798"/>
                  </a:lnTo>
                  <a:lnTo>
                    <a:pt x="447" y="808"/>
                  </a:lnTo>
                  <a:lnTo>
                    <a:pt x="437" y="818"/>
                  </a:lnTo>
                  <a:lnTo>
                    <a:pt x="428" y="830"/>
                  </a:lnTo>
                  <a:lnTo>
                    <a:pt x="419" y="840"/>
                  </a:lnTo>
                  <a:lnTo>
                    <a:pt x="316" y="546"/>
                  </a:lnTo>
                  <a:lnTo>
                    <a:pt x="0" y="500"/>
                  </a:lnTo>
                  <a:close/>
                </a:path>
              </a:pathLst>
            </a:custGeom>
            <a:solidFill>
              <a:srgbClr val="333353"/>
            </a:solidFill>
            <a:ln w="38100" cmpd="sng">
              <a:solidFill>
                <a:schemeClr val="bg1"/>
              </a:solidFill>
              <a:prstDash val="solid"/>
              <a:round/>
              <a:headEnd/>
              <a:tailEnd/>
            </a:ln>
          </p:spPr>
          <p:txBody>
            <a:bodyPr lIns="0" tIns="0" rIns="0" bIns="0">
              <a:noAutofit/>
            </a:bodyPr>
            <a:lstStyle/>
            <a:p>
              <a:pPr algn="ctr"/>
              <a:endParaRPr lang="en-US" sz="1799" dirty="0">
                <a:solidFill>
                  <a:schemeClr val="bg1"/>
                </a:solidFill>
              </a:endParaRPr>
            </a:p>
          </p:txBody>
        </p:sp>
      </p:grpSp>
      <p:sp>
        <p:nvSpPr>
          <p:cNvPr id="32" name="Rectangle 35"/>
          <p:cNvSpPr>
            <a:spLocks noChangeArrowheads="1"/>
          </p:cNvSpPr>
          <p:nvPr/>
        </p:nvSpPr>
        <p:spPr bwMode="gray">
          <a:xfrm rot="17433571">
            <a:off x="4635229" y="2116438"/>
            <a:ext cx="2953674" cy="2953672"/>
          </a:xfrm>
          <a:prstGeom prst="rect">
            <a:avLst/>
          </a:prstGeom>
          <a:noFill/>
          <a:ln w="9525">
            <a:noFill/>
            <a:miter lim="800000"/>
            <a:headEnd/>
            <a:tailEnd/>
          </a:ln>
        </p:spPr>
        <p:txBody>
          <a:bodyPr spcFirstLastPara="1" wrap="none" lIns="0" tIns="0" rIns="0" bIns="0" numCol="1">
            <a:prstTxWarp prst="textArchUp">
              <a:avLst>
                <a:gd name="adj" fmla="val 10792046"/>
              </a:avLst>
            </a:prstTxWarp>
            <a:sp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ctr">
              <a:spcBef>
                <a:spcPts val="0"/>
              </a:spcBef>
            </a:pPr>
            <a:r>
              <a:rPr lang="en-US" sz="1599" b="1" dirty="0">
                <a:solidFill>
                  <a:schemeClr val="bg1"/>
                </a:solidFill>
                <a:latin typeface="+mn-lt"/>
              </a:rPr>
              <a:t>Xeronti</a:t>
            </a:r>
          </a:p>
        </p:txBody>
      </p:sp>
      <p:sp>
        <p:nvSpPr>
          <p:cNvPr id="40" name="Rectangle 35"/>
          <p:cNvSpPr>
            <a:spLocks noChangeArrowheads="1"/>
          </p:cNvSpPr>
          <p:nvPr/>
        </p:nvSpPr>
        <p:spPr bwMode="gray">
          <a:xfrm rot="20400000">
            <a:off x="4635681" y="2116439"/>
            <a:ext cx="2953674" cy="2953672"/>
          </a:xfrm>
          <a:prstGeom prst="rect">
            <a:avLst/>
          </a:prstGeom>
          <a:noFill/>
          <a:ln w="9525">
            <a:noFill/>
            <a:miter lim="800000"/>
            <a:headEnd/>
            <a:tailEnd/>
          </a:ln>
        </p:spPr>
        <p:txBody>
          <a:bodyPr spcFirstLastPara="1" wrap="none" lIns="0" tIns="0" rIns="0" bIns="0" numCol="1">
            <a:prstTxWarp prst="textArchUp">
              <a:avLst>
                <a:gd name="adj" fmla="val 10792046"/>
              </a:avLst>
            </a:prstTxWarp>
            <a:sp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ctr">
              <a:spcBef>
                <a:spcPts val="0"/>
              </a:spcBef>
            </a:pPr>
            <a:r>
              <a:rPr lang="en-US" sz="1599" b="1" dirty="0">
                <a:solidFill>
                  <a:schemeClr val="bg1"/>
                </a:solidFill>
                <a:latin typeface="+mn-lt"/>
              </a:rPr>
              <a:t>Lorem</a:t>
            </a:r>
          </a:p>
        </p:txBody>
      </p:sp>
      <p:sp>
        <p:nvSpPr>
          <p:cNvPr id="41" name="Rectangle 35"/>
          <p:cNvSpPr>
            <a:spLocks noChangeArrowheads="1"/>
          </p:cNvSpPr>
          <p:nvPr/>
        </p:nvSpPr>
        <p:spPr bwMode="gray">
          <a:xfrm rot="1831260">
            <a:off x="4635681" y="2116438"/>
            <a:ext cx="2953674" cy="2953672"/>
          </a:xfrm>
          <a:prstGeom prst="rect">
            <a:avLst/>
          </a:prstGeom>
          <a:noFill/>
          <a:ln w="9525">
            <a:noFill/>
            <a:miter lim="800000"/>
            <a:headEnd/>
            <a:tailEnd/>
          </a:ln>
        </p:spPr>
        <p:txBody>
          <a:bodyPr spcFirstLastPara="1" wrap="none" lIns="0" tIns="0" rIns="0" bIns="0" numCol="1">
            <a:prstTxWarp prst="textArchUp">
              <a:avLst>
                <a:gd name="adj" fmla="val 10792046"/>
              </a:avLst>
            </a:prstTxWarp>
            <a:sp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ctr">
              <a:spcBef>
                <a:spcPts val="0"/>
              </a:spcBef>
            </a:pPr>
            <a:r>
              <a:rPr lang="en-US" sz="1599" b="1" dirty="0">
                <a:solidFill>
                  <a:schemeClr val="bg1"/>
                </a:solidFill>
                <a:latin typeface="+mn-lt"/>
              </a:rPr>
              <a:t>Ipsum</a:t>
            </a:r>
          </a:p>
        </p:txBody>
      </p:sp>
      <p:sp>
        <p:nvSpPr>
          <p:cNvPr id="42" name="Rectangle 35"/>
          <p:cNvSpPr>
            <a:spLocks noChangeArrowheads="1"/>
          </p:cNvSpPr>
          <p:nvPr/>
        </p:nvSpPr>
        <p:spPr bwMode="gray">
          <a:xfrm rot="4914795">
            <a:off x="4635681" y="2116438"/>
            <a:ext cx="2953674" cy="2953672"/>
          </a:xfrm>
          <a:prstGeom prst="rect">
            <a:avLst/>
          </a:prstGeom>
          <a:noFill/>
          <a:ln w="9525">
            <a:noFill/>
            <a:miter lim="800000"/>
            <a:headEnd/>
            <a:tailEnd/>
          </a:ln>
        </p:spPr>
        <p:txBody>
          <a:bodyPr spcFirstLastPara="1" wrap="none" lIns="0" tIns="0" rIns="0" bIns="0" numCol="1">
            <a:prstTxWarp prst="textArchUp">
              <a:avLst>
                <a:gd name="adj" fmla="val 10792046"/>
              </a:avLst>
            </a:prstTxWarp>
            <a:sp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ctr">
              <a:spcBef>
                <a:spcPts val="0"/>
              </a:spcBef>
            </a:pPr>
            <a:r>
              <a:rPr lang="en-US" sz="1599" b="1" dirty="0">
                <a:solidFill>
                  <a:schemeClr val="bg1"/>
                </a:solidFill>
                <a:latin typeface="+mn-lt"/>
              </a:rPr>
              <a:t>Dolores</a:t>
            </a:r>
          </a:p>
        </p:txBody>
      </p:sp>
      <p:sp>
        <p:nvSpPr>
          <p:cNvPr id="34" name="Rectangle 35">
            <a:extLst>
              <a:ext uri="{FF2B5EF4-FFF2-40B4-BE49-F238E27FC236}">
                <a16:creationId xmlns:a16="http://schemas.microsoft.com/office/drawing/2014/main" id="{8EDB02E5-4B52-49D6-8865-3A3DCAAEEE90}"/>
              </a:ext>
            </a:extLst>
          </p:cNvPr>
          <p:cNvSpPr>
            <a:spLocks noChangeArrowheads="1"/>
          </p:cNvSpPr>
          <p:nvPr/>
        </p:nvSpPr>
        <p:spPr bwMode="gray">
          <a:xfrm rot="234136">
            <a:off x="4607443" y="2165409"/>
            <a:ext cx="2954061" cy="2954061"/>
          </a:xfrm>
          <a:prstGeom prst="rect">
            <a:avLst/>
          </a:prstGeom>
          <a:noFill/>
          <a:ln w="9525">
            <a:noFill/>
            <a:miter lim="800000"/>
            <a:headEnd/>
            <a:tailEnd/>
          </a:ln>
        </p:spPr>
        <p:txBody>
          <a:bodyPr spcFirstLastPara="1" wrap="none" lIns="0" tIns="0" rIns="0" bIns="0" numCol="1">
            <a:prstTxWarp prst="textArchDown">
              <a:avLst/>
            </a:prstTxWarp>
            <a:sp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ctr">
              <a:spcBef>
                <a:spcPts val="0"/>
              </a:spcBef>
            </a:pPr>
            <a:r>
              <a:rPr lang="en-US" sz="1599" b="1" dirty="0">
                <a:solidFill>
                  <a:srgbClr val="333353"/>
                </a:solidFill>
                <a:latin typeface="+mn-lt"/>
              </a:rPr>
              <a:t>Xeronti</a:t>
            </a:r>
          </a:p>
        </p:txBody>
      </p:sp>
      <p:sp>
        <p:nvSpPr>
          <p:cNvPr id="35" name="Rectangle 35">
            <a:extLst>
              <a:ext uri="{FF2B5EF4-FFF2-40B4-BE49-F238E27FC236}">
                <a16:creationId xmlns:a16="http://schemas.microsoft.com/office/drawing/2014/main" id="{8662B6CE-6C65-412F-BB6D-7A6D404A8E82}"/>
              </a:ext>
            </a:extLst>
          </p:cNvPr>
          <p:cNvSpPr>
            <a:spLocks noChangeArrowheads="1"/>
          </p:cNvSpPr>
          <p:nvPr/>
        </p:nvSpPr>
        <p:spPr bwMode="gray">
          <a:xfrm rot="18739863">
            <a:off x="4650789" y="2145959"/>
            <a:ext cx="2954061" cy="2954061"/>
          </a:xfrm>
          <a:prstGeom prst="rect">
            <a:avLst/>
          </a:prstGeom>
          <a:noFill/>
          <a:ln w="9525">
            <a:noFill/>
            <a:miter lim="800000"/>
            <a:headEnd/>
            <a:tailEnd/>
          </a:ln>
        </p:spPr>
        <p:txBody>
          <a:bodyPr spcFirstLastPara="1" wrap="none" lIns="0" tIns="0" rIns="0" bIns="0" numCol="1">
            <a:prstTxWarp prst="textArchDown">
              <a:avLst/>
            </a:prstTxWarp>
            <a:sp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ctr">
              <a:spcBef>
                <a:spcPts val="0"/>
              </a:spcBef>
            </a:pPr>
            <a:r>
              <a:rPr lang="en-US" sz="1599" b="1" dirty="0">
                <a:solidFill>
                  <a:schemeClr val="bg1"/>
                </a:solidFill>
                <a:latin typeface="+mn-lt"/>
              </a:rPr>
              <a:t>Ipsum</a:t>
            </a:r>
          </a:p>
        </p:txBody>
      </p:sp>
      <p:sp>
        <p:nvSpPr>
          <p:cNvPr id="36" name="Rectangle 35">
            <a:extLst>
              <a:ext uri="{FF2B5EF4-FFF2-40B4-BE49-F238E27FC236}">
                <a16:creationId xmlns:a16="http://schemas.microsoft.com/office/drawing/2014/main" id="{6F4A3940-9472-42B3-B456-BAA7C4641694}"/>
              </a:ext>
            </a:extLst>
          </p:cNvPr>
          <p:cNvSpPr>
            <a:spLocks noChangeArrowheads="1"/>
          </p:cNvSpPr>
          <p:nvPr/>
        </p:nvSpPr>
        <p:spPr bwMode="gray">
          <a:xfrm rot="3285176">
            <a:off x="4563181" y="2110222"/>
            <a:ext cx="2954061" cy="2954061"/>
          </a:xfrm>
          <a:prstGeom prst="rect">
            <a:avLst/>
          </a:prstGeom>
          <a:noFill/>
          <a:ln w="9525">
            <a:noFill/>
            <a:miter lim="800000"/>
            <a:headEnd/>
            <a:tailEnd/>
          </a:ln>
        </p:spPr>
        <p:txBody>
          <a:bodyPr spcFirstLastPara="1" wrap="none" lIns="0" tIns="0" rIns="0" bIns="0" numCol="1">
            <a:prstTxWarp prst="textArchDown">
              <a:avLst/>
            </a:prstTxWarp>
            <a:sp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ctr">
              <a:spcBef>
                <a:spcPts val="0"/>
              </a:spcBef>
            </a:pPr>
            <a:r>
              <a:rPr lang="en-US" sz="1599" b="1" dirty="0">
                <a:solidFill>
                  <a:schemeClr val="bg1"/>
                </a:solidFill>
                <a:latin typeface="+mn-lt"/>
              </a:rPr>
              <a:t>Dolore</a:t>
            </a:r>
          </a:p>
        </p:txBody>
      </p:sp>
      <p:sp>
        <p:nvSpPr>
          <p:cNvPr id="3" name="Footer Placeholder 2">
            <a:extLst>
              <a:ext uri="{FF2B5EF4-FFF2-40B4-BE49-F238E27FC236}">
                <a16:creationId xmlns:a16="http://schemas.microsoft.com/office/drawing/2014/main" id="{A16FC593-EC00-4F0C-9FD8-9484F15C0225}"/>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8EB47041-3C6F-489C-96D3-5FEF77235414}"/>
              </a:ext>
            </a:extLst>
          </p:cNvPr>
          <p:cNvSpPr>
            <a:spLocks noGrp="1"/>
          </p:cNvSpPr>
          <p:nvPr>
            <p:ph type="sldNum" sz="quarter" idx="11"/>
          </p:nvPr>
        </p:nvSpPr>
        <p:spPr/>
        <p:txBody>
          <a:bodyPr/>
          <a:lstStyle/>
          <a:p>
            <a:r>
              <a:rPr lang="en-US" dirty="0"/>
              <a:t>Page </a:t>
            </a:r>
            <a:fld id="{15EBE321-CBB1-4E91-BD14-37C8D44326FB}" type="slidenum">
              <a:rPr lang="en-US" smtClean="0"/>
              <a:pPr/>
              <a:t>130</a:t>
            </a:fld>
            <a:endParaRPr lang="en-US" dirty="0"/>
          </a:p>
        </p:txBody>
      </p:sp>
    </p:spTree>
    <p:extLst>
      <p:ext uri="{BB962C8B-B14F-4D97-AF65-F5344CB8AC3E}">
        <p14:creationId xmlns:p14="http://schemas.microsoft.com/office/powerpoint/2010/main" val="1136401905"/>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Radial diagram </a:t>
            </a:r>
          </a:p>
        </p:txBody>
      </p:sp>
      <p:cxnSp>
        <p:nvCxnSpPr>
          <p:cNvPr id="33" name="Gerade Verbindung mit Pfeil 32"/>
          <p:cNvCxnSpPr>
            <a:cxnSpLocks/>
          </p:cNvCxnSpPr>
          <p:nvPr/>
        </p:nvCxnSpPr>
        <p:spPr bwMode="auto">
          <a:xfrm>
            <a:off x="6093814" y="5545743"/>
            <a:ext cx="0" cy="203019"/>
          </a:xfrm>
          <a:prstGeom prst="straightConnector1">
            <a:avLst/>
          </a:prstGeom>
          <a:noFill/>
          <a:ln w="12700" cap="flat" cmpd="sng" algn="ctr">
            <a:solidFill>
              <a:srgbClr val="9999A9"/>
            </a:solidFill>
            <a:prstDash val="solid"/>
            <a:round/>
            <a:headEnd type="none" w="lg" len="lg"/>
            <a:tailEnd type="none" w="lg" len="lg"/>
          </a:ln>
          <a:effectLst/>
        </p:spPr>
      </p:cxnSp>
      <p:sp>
        <p:nvSpPr>
          <p:cNvPr id="89" name="Freihandform 88"/>
          <p:cNvSpPr/>
          <p:nvPr/>
        </p:nvSpPr>
        <p:spPr bwMode="gray">
          <a:xfrm flipH="1" flipV="1">
            <a:off x="7551346" y="4897977"/>
            <a:ext cx="468542" cy="117135"/>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9999A9"/>
            </a:solidFill>
            <a:prstDash val="solid"/>
            <a:round/>
            <a:headEnd type="none" w="lg" len="lg"/>
            <a:tailEnd type="none" w="lg" len="lg"/>
          </a:ln>
          <a:effectLst/>
        </p:spPr>
        <p:txBody>
          <a:bodyPr rtlCol="0" anchor="ctr"/>
          <a:lstStyle/>
          <a:p>
            <a:pPr algn="ctr"/>
            <a:endParaRPr lang="en-US" sz="1799" dirty="0">
              <a:ea typeface="Arial Unicode MS"/>
            </a:endParaRPr>
          </a:p>
        </p:txBody>
      </p:sp>
      <p:sp>
        <p:nvSpPr>
          <p:cNvPr id="86" name="Freihandform 85"/>
          <p:cNvSpPr/>
          <p:nvPr/>
        </p:nvSpPr>
        <p:spPr bwMode="gray">
          <a:xfrm flipH="1">
            <a:off x="8003548" y="2997348"/>
            <a:ext cx="477950" cy="119488"/>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9999A9"/>
            </a:solidFill>
            <a:prstDash val="solid"/>
            <a:round/>
            <a:headEnd type="none" w="lg" len="lg"/>
            <a:tailEnd type="none" w="lg" len="lg"/>
          </a:ln>
          <a:effectLst/>
        </p:spPr>
        <p:txBody>
          <a:bodyPr rtlCol="0" anchor="ctr"/>
          <a:lstStyle/>
          <a:p>
            <a:pPr algn="ctr"/>
            <a:endParaRPr lang="en-US" sz="1799" dirty="0">
              <a:ea typeface="Arial Unicode MS"/>
            </a:endParaRPr>
          </a:p>
        </p:txBody>
      </p:sp>
      <p:sp>
        <p:nvSpPr>
          <p:cNvPr id="20" name="Freihandform 19"/>
          <p:cNvSpPr/>
          <p:nvPr/>
        </p:nvSpPr>
        <p:spPr bwMode="gray">
          <a:xfrm flipH="1">
            <a:off x="7129295" y="1671936"/>
            <a:ext cx="464783" cy="232391"/>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9999A9"/>
            </a:solidFill>
            <a:prstDash val="solid"/>
            <a:round/>
            <a:headEnd type="none" w="lg" len="lg"/>
            <a:tailEnd type="none" w="lg" len="lg"/>
          </a:ln>
          <a:effectLst/>
        </p:spPr>
        <p:txBody>
          <a:bodyPr rtlCol="0" anchor="ctr"/>
          <a:lstStyle/>
          <a:p>
            <a:pPr algn="ctr"/>
            <a:endParaRPr lang="en-US" sz="1799" dirty="0">
              <a:ea typeface="Arial Unicode MS"/>
            </a:endParaRPr>
          </a:p>
        </p:txBody>
      </p:sp>
      <p:sp>
        <p:nvSpPr>
          <p:cNvPr id="95" name="Freihandform 94"/>
          <p:cNvSpPr/>
          <p:nvPr/>
        </p:nvSpPr>
        <p:spPr bwMode="gray">
          <a:xfrm flipV="1">
            <a:off x="4012998" y="4727792"/>
            <a:ext cx="482417" cy="120604"/>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9999A9"/>
            </a:solidFill>
            <a:prstDash val="solid"/>
            <a:round/>
            <a:headEnd type="none" w="lg" len="lg"/>
            <a:tailEnd type="none" w="lg" len="lg"/>
          </a:ln>
          <a:effectLst/>
        </p:spPr>
        <p:txBody>
          <a:bodyPr rtlCol="0" anchor="ctr"/>
          <a:lstStyle/>
          <a:p>
            <a:pPr algn="ctr"/>
            <a:endParaRPr lang="en-US" sz="1799" dirty="0">
              <a:ea typeface="Arial Unicode MS"/>
            </a:endParaRPr>
          </a:p>
        </p:txBody>
      </p:sp>
      <p:sp>
        <p:nvSpPr>
          <p:cNvPr id="98" name="Freihandform 97"/>
          <p:cNvSpPr/>
          <p:nvPr/>
        </p:nvSpPr>
        <p:spPr bwMode="gray">
          <a:xfrm>
            <a:off x="3696306" y="2997348"/>
            <a:ext cx="483137" cy="120784"/>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9999A9"/>
            </a:solidFill>
            <a:prstDash val="solid"/>
            <a:round/>
            <a:headEnd type="none" w="lg" len="lg"/>
            <a:tailEnd type="none" w="lg" len="lg"/>
          </a:ln>
          <a:effectLst/>
        </p:spPr>
        <p:txBody>
          <a:bodyPr rtlCol="0" anchor="ctr"/>
          <a:lstStyle/>
          <a:p>
            <a:pPr algn="ctr"/>
            <a:endParaRPr lang="en-US" sz="1799" dirty="0">
              <a:ea typeface="Arial Unicode MS"/>
            </a:endParaRPr>
          </a:p>
        </p:txBody>
      </p:sp>
      <p:sp>
        <p:nvSpPr>
          <p:cNvPr id="101" name="Freihandform 100"/>
          <p:cNvSpPr/>
          <p:nvPr/>
        </p:nvSpPr>
        <p:spPr bwMode="gray">
          <a:xfrm>
            <a:off x="4565463" y="1671936"/>
            <a:ext cx="482114" cy="241056"/>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9999A9"/>
            </a:solidFill>
            <a:prstDash val="solid"/>
            <a:round/>
            <a:headEnd type="none" w="lg" len="lg"/>
            <a:tailEnd type="none" w="lg" len="lg"/>
          </a:ln>
          <a:effectLst/>
        </p:spPr>
        <p:txBody>
          <a:bodyPr rtlCol="0" anchor="ctr"/>
          <a:lstStyle/>
          <a:p>
            <a:pPr algn="ctr"/>
            <a:endParaRPr lang="en-US" sz="1799" dirty="0">
              <a:ea typeface="Arial Unicode MS"/>
            </a:endParaRPr>
          </a:p>
        </p:txBody>
      </p:sp>
      <p:sp>
        <p:nvSpPr>
          <p:cNvPr id="49" name="Rechteck 28"/>
          <p:cNvSpPr/>
          <p:nvPr/>
        </p:nvSpPr>
        <p:spPr bwMode="gray">
          <a:xfrm>
            <a:off x="2043197" y="1552577"/>
            <a:ext cx="2518688" cy="719625"/>
          </a:xfrm>
          <a:prstGeom prst="rect">
            <a:avLst/>
          </a:prstGeom>
          <a:noFill/>
          <a:ln w="19050">
            <a:noFill/>
            <a:miter lim="800000"/>
          </a:ln>
          <a:effectLst/>
        </p:spPr>
        <p:txBody>
          <a:bodyPr wrap="square" lIns="143925" tIns="0" rIns="143925" bIns="0" numCol="1" spcCol="72000" rtlCol="0" anchor="t" anchorCtr="0">
            <a:noAutofit/>
          </a:bodyPr>
          <a:lstStyle/>
          <a:p>
            <a:pPr algn="r">
              <a:tabLst>
                <a:tab pos="1255085" algn="r"/>
              </a:tabLst>
              <a:defRPr/>
            </a:pPr>
            <a:r>
              <a:rPr lang="en-US" altLang="de-DE" sz="1599" b="1" dirty="0">
                <a:solidFill>
                  <a:srgbClr val="9999A9"/>
                </a:solidFill>
                <a:ea typeface="Arial Unicode MS"/>
              </a:rPr>
              <a:t>Cras ultricies mi eu</a:t>
            </a:r>
            <a:endParaRPr lang="en-US" altLang="de-DE" sz="1199" dirty="0">
              <a:solidFill>
                <a:srgbClr val="9999A9"/>
              </a:solidFill>
              <a:ea typeface="Arial Unicode MS"/>
              <a:cs typeface="Arial" pitchFamily="34" charset="0"/>
            </a:endParaRPr>
          </a:p>
        </p:txBody>
      </p:sp>
      <p:sp>
        <p:nvSpPr>
          <p:cNvPr id="50" name="Rechteck 28"/>
          <p:cNvSpPr/>
          <p:nvPr/>
        </p:nvSpPr>
        <p:spPr bwMode="gray">
          <a:xfrm>
            <a:off x="7598123" y="1552577"/>
            <a:ext cx="2518688" cy="719625"/>
          </a:xfrm>
          <a:prstGeom prst="rect">
            <a:avLst/>
          </a:prstGeom>
          <a:noFill/>
          <a:ln w="19050">
            <a:noFill/>
            <a:miter lim="800000"/>
          </a:ln>
          <a:effectLst/>
        </p:spPr>
        <p:txBody>
          <a:bodyPr wrap="square" lIns="143925" tIns="0" rIns="143925" bIns="0" numCol="1" spcCol="72000" rtlCol="0" anchor="t" anchorCtr="0">
            <a:noAutofit/>
          </a:bodyPr>
          <a:lstStyle/>
          <a:p>
            <a:pPr>
              <a:tabLst>
                <a:tab pos="1255085" algn="r"/>
              </a:tabLst>
              <a:defRPr/>
            </a:pPr>
            <a:r>
              <a:rPr lang="en-US" altLang="de-DE" sz="1599" b="1" dirty="0">
                <a:solidFill>
                  <a:srgbClr val="9999A9"/>
                </a:solidFill>
                <a:ea typeface="Arial Unicode MS"/>
              </a:rPr>
              <a:t>At vero eos et accusam</a:t>
            </a:r>
            <a:endParaRPr lang="en-US" altLang="de-DE" sz="1199" dirty="0">
              <a:solidFill>
                <a:srgbClr val="9999A9"/>
              </a:solidFill>
              <a:ea typeface="Arial Unicode MS"/>
              <a:cs typeface="Arial" pitchFamily="34" charset="0"/>
            </a:endParaRPr>
          </a:p>
        </p:txBody>
      </p:sp>
      <p:sp>
        <p:nvSpPr>
          <p:cNvPr id="51" name="Rechteck 28"/>
          <p:cNvSpPr/>
          <p:nvPr/>
        </p:nvSpPr>
        <p:spPr bwMode="gray">
          <a:xfrm>
            <a:off x="8481499" y="2867627"/>
            <a:ext cx="2518688" cy="719625"/>
          </a:xfrm>
          <a:prstGeom prst="rect">
            <a:avLst/>
          </a:prstGeom>
          <a:noFill/>
          <a:ln w="19050">
            <a:noFill/>
            <a:miter lim="800000"/>
          </a:ln>
          <a:effectLst/>
        </p:spPr>
        <p:txBody>
          <a:bodyPr wrap="square" lIns="143925" tIns="0" rIns="143925" bIns="0" numCol="1" spcCol="72000" rtlCol="0" anchor="t" anchorCtr="0">
            <a:noAutofit/>
          </a:bodyPr>
          <a:lstStyle/>
          <a:p>
            <a:pPr>
              <a:tabLst>
                <a:tab pos="1255085" algn="r"/>
              </a:tabLst>
              <a:defRPr/>
            </a:pPr>
            <a:r>
              <a:rPr lang="en-US" altLang="de-DE" sz="1599" b="1" dirty="0">
                <a:solidFill>
                  <a:srgbClr val="9999A9"/>
                </a:solidFill>
                <a:ea typeface="Arial Unicode MS"/>
              </a:rPr>
              <a:t>Consetetur sadipscing elitr, seddiam nonumy</a:t>
            </a:r>
            <a:endParaRPr lang="en-US" altLang="de-DE" sz="1199" dirty="0">
              <a:solidFill>
                <a:srgbClr val="9999A9"/>
              </a:solidFill>
              <a:ea typeface="Arial Unicode MS"/>
              <a:cs typeface="Arial" pitchFamily="34" charset="0"/>
            </a:endParaRPr>
          </a:p>
        </p:txBody>
      </p:sp>
      <p:sp>
        <p:nvSpPr>
          <p:cNvPr id="52" name="Rechteck 28"/>
          <p:cNvSpPr/>
          <p:nvPr/>
        </p:nvSpPr>
        <p:spPr bwMode="gray">
          <a:xfrm>
            <a:off x="8020790" y="4897088"/>
            <a:ext cx="2518688" cy="719625"/>
          </a:xfrm>
          <a:prstGeom prst="rect">
            <a:avLst/>
          </a:prstGeom>
          <a:noFill/>
          <a:ln w="19050">
            <a:noFill/>
            <a:miter lim="800000"/>
          </a:ln>
          <a:effectLst/>
        </p:spPr>
        <p:txBody>
          <a:bodyPr wrap="square" lIns="143925" tIns="0" rIns="143925" bIns="0" numCol="1" spcCol="72000" rtlCol="0" anchor="t" anchorCtr="0">
            <a:noAutofit/>
          </a:bodyPr>
          <a:lstStyle/>
          <a:p>
            <a:pPr>
              <a:tabLst>
                <a:tab pos="1255085" algn="r"/>
              </a:tabLst>
              <a:defRPr/>
            </a:pPr>
            <a:r>
              <a:rPr lang="en-US" altLang="de-DE" sz="1599" b="1" dirty="0">
                <a:solidFill>
                  <a:srgbClr val="9999A9"/>
                </a:solidFill>
                <a:ea typeface="Arial Unicode MS"/>
              </a:rPr>
              <a:t>Sanctus est lorem ipsum dolor sit amet</a:t>
            </a:r>
            <a:endParaRPr lang="en-US" altLang="de-DE" sz="1199" dirty="0">
              <a:solidFill>
                <a:srgbClr val="9999A9"/>
              </a:solidFill>
              <a:ea typeface="Arial Unicode MS"/>
              <a:cs typeface="Arial" pitchFamily="34" charset="0"/>
            </a:endParaRPr>
          </a:p>
        </p:txBody>
      </p:sp>
      <p:sp>
        <p:nvSpPr>
          <p:cNvPr id="53" name="Rechteck 28"/>
          <p:cNvSpPr/>
          <p:nvPr/>
        </p:nvSpPr>
        <p:spPr bwMode="gray">
          <a:xfrm>
            <a:off x="1491612" y="4728662"/>
            <a:ext cx="2518688" cy="719625"/>
          </a:xfrm>
          <a:prstGeom prst="rect">
            <a:avLst/>
          </a:prstGeom>
          <a:noFill/>
          <a:ln w="19050">
            <a:noFill/>
            <a:miter lim="800000"/>
          </a:ln>
          <a:effectLst/>
        </p:spPr>
        <p:txBody>
          <a:bodyPr wrap="square" lIns="143925" tIns="0" rIns="143925" bIns="0" numCol="1" spcCol="72000" rtlCol="0" anchor="t" anchorCtr="0">
            <a:noAutofit/>
          </a:bodyPr>
          <a:lstStyle/>
          <a:p>
            <a:pPr algn="r">
              <a:tabLst>
                <a:tab pos="1255085" algn="r"/>
              </a:tabLst>
              <a:defRPr/>
            </a:pPr>
            <a:r>
              <a:rPr lang="en-US" altLang="de-DE" sz="1599" b="1" dirty="0">
                <a:solidFill>
                  <a:srgbClr val="9999A9"/>
                </a:solidFill>
                <a:ea typeface="Arial Unicode MS"/>
              </a:rPr>
              <a:t>At vero eos et accusam</a:t>
            </a:r>
            <a:endParaRPr lang="en-US" altLang="de-DE" sz="1199" dirty="0">
              <a:solidFill>
                <a:srgbClr val="9999A9"/>
              </a:solidFill>
              <a:ea typeface="Arial Unicode MS"/>
              <a:cs typeface="Arial" pitchFamily="34" charset="0"/>
            </a:endParaRPr>
          </a:p>
        </p:txBody>
      </p:sp>
      <p:sp>
        <p:nvSpPr>
          <p:cNvPr id="54" name="Rechteck 28"/>
          <p:cNvSpPr/>
          <p:nvPr/>
        </p:nvSpPr>
        <p:spPr bwMode="gray">
          <a:xfrm>
            <a:off x="1177617" y="2869660"/>
            <a:ext cx="2518688" cy="719625"/>
          </a:xfrm>
          <a:prstGeom prst="rect">
            <a:avLst/>
          </a:prstGeom>
          <a:noFill/>
          <a:ln w="19050">
            <a:noFill/>
            <a:miter lim="800000"/>
          </a:ln>
          <a:effectLst/>
        </p:spPr>
        <p:txBody>
          <a:bodyPr wrap="square" lIns="143925" tIns="0" rIns="143925" bIns="0" numCol="1" spcCol="72000" rtlCol="0" anchor="t" anchorCtr="0">
            <a:noAutofit/>
          </a:bodyPr>
          <a:lstStyle/>
          <a:p>
            <a:pPr algn="r">
              <a:tabLst>
                <a:tab pos="1255085" algn="r"/>
              </a:tabLst>
              <a:defRPr/>
            </a:pPr>
            <a:r>
              <a:rPr lang="en-US" altLang="de-DE" sz="1599" b="1" dirty="0">
                <a:solidFill>
                  <a:srgbClr val="9999A9"/>
                </a:solidFill>
                <a:ea typeface="Arial Unicode MS"/>
              </a:rPr>
              <a:t>Stet clita kasd gubergren, no sea takimata sanctus</a:t>
            </a:r>
            <a:endParaRPr lang="en-US" altLang="de-DE" sz="1199" dirty="0">
              <a:solidFill>
                <a:srgbClr val="9999A9"/>
              </a:solidFill>
              <a:ea typeface="Arial Unicode MS"/>
              <a:cs typeface="Arial" pitchFamily="34" charset="0"/>
            </a:endParaRPr>
          </a:p>
        </p:txBody>
      </p:sp>
      <p:sp>
        <p:nvSpPr>
          <p:cNvPr id="55" name="Rechteck 28"/>
          <p:cNvSpPr/>
          <p:nvPr/>
        </p:nvSpPr>
        <p:spPr bwMode="gray">
          <a:xfrm>
            <a:off x="4834469" y="5744360"/>
            <a:ext cx="2518688" cy="423359"/>
          </a:xfrm>
          <a:prstGeom prst="rect">
            <a:avLst/>
          </a:prstGeom>
          <a:noFill/>
          <a:ln w="19050">
            <a:noFill/>
            <a:miter lim="800000"/>
          </a:ln>
          <a:effectLst/>
        </p:spPr>
        <p:txBody>
          <a:bodyPr wrap="square" lIns="0" tIns="143925" rIns="0" bIns="0" numCol="1" spcCol="72000" rtlCol="0" anchor="t" anchorCtr="0">
            <a:noAutofit/>
          </a:bodyPr>
          <a:lstStyle/>
          <a:p>
            <a:pPr algn="ctr">
              <a:tabLst>
                <a:tab pos="1255085" algn="r"/>
              </a:tabLst>
              <a:defRPr/>
            </a:pPr>
            <a:r>
              <a:rPr lang="en-US" altLang="de-DE" sz="1599" b="1" dirty="0">
                <a:solidFill>
                  <a:srgbClr val="9999A9"/>
                </a:solidFill>
                <a:ea typeface="Arial Unicode MS"/>
              </a:rPr>
              <a:t>Cras ultricies mi eu</a:t>
            </a:r>
            <a:endParaRPr lang="en-US" altLang="de-DE" sz="1199" dirty="0">
              <a:solidFill>
                <a:srgbClr val="9999A9"/>
              </a:solidFill>
              <a:ea typeface="Arial Unicode MS"/>
              <a:cs typeface="Arial" pitchFamily="34" charset="0"/>
            </a:endParaRPr>
          </a:p>
        </p:txBody>
      </p:sp>
      <p:grpSp>
        <p:nvGrpSpPr>
          <p:cNvPr id="37" name="Gruppieren 2">
            <a:extLst>
              <a:ext uri="{FF2B5EF4-FFF2-40B4-BE49-F238E27FC236}">
                <a16:creationId xmlns:a16="http://schemas.microsoft.com/office/drawing/2014/main" id="{34371CE7-6A8A-444D-990E-E4F63CADA643}"/>
              </a:ext>
            </a:extLst>
          </p:cNvPr>
          <p:cNvGrpSpPr/>
          <p:nvPr/>
        </p:nvGrpSpPr>
        <p:grpSpPr>
          <a:xfrm>
            <a:off x="4196111" y="1672169"/>
            <a:ext cx="3805367" cy="3811033"/>
            <a:chOff x="4179452" y="1696534"/>
            <a:chExt cx="3807349" cy="3813018"/>
          </a:xfrm>
        </p:grpSpPr>
        <p:sp>
          <p:nvSpPr>
            <p:cNvPr id="38" name="Freeform 43">
              <a:extLst>
                <a:ext uri="{FF2B5EF4-FFF2-40B4-BE49-F238E27FC236}">
                  <a16:creationId xmlns:a16="http://schemas.microsoft.com/office/drawing/2014/main" id="{9F64CD3F-32A3-45A8-BE3C-760305C8759C}"/>
                </a:ext>
              </a:extLst>
            </p:cNvPr>
            <p:cNvSpPr>
              <a:spLocks/>
            </p:cNvSpPr>
            <p:nvPr/>
          </p:nvSpPr>
          <p:spPr bwMode="auto">
            <a:xfrm>
              <a:off x="6083124" y="1696537"/>
              <a:ext cx="1478750" cy="1186964"/>
            </a:xfrm>
            <a:custGeom>
              <a:avLst/>
              <a:gdLst>
                <a:gd name="T0" fmla="*/ 15567534 w 1047"/>
                <a:gd name="T1" fmla="*/ 0 h 840"/>
                <a:gd name="T2" fmla="*/ 47378524 w 1047"/>
                <a:gd name="T3" fmla="*/ 1355664 h 840"/>
                <a:gd name="T4" fmla="*/ 79189513 w 1047"/>
                <a:gd name="T5" fmla="*/ 3389951 h 840"/>
                <a:gd name="T6" fmla="*/ 111001293 w 1047"/>
                <a:gd name="T7" fmla="*/ 6101278 h 840"/>
                <a:gd name="T8" fmla="*/ 142812282 w 1047"/>
                <a:gd name="T9" fmla="*/ 10846892 h 840"/>
                <a:gd name="T10" fmla="*/ 173947351 w 1047"/>
                <a:gd name="T11" fmla="*/ 16270338 h 840"/>
                <a:gd name="T12" fmla="*/ 205081629 w 1047"/>
                <a:gd name="T13" fmla="*/ 23727279 h 840"/>
                <a:gd name="T14" fmla="*/ 236215906 w 1047"/>
                <a:gd name="T15" fmla="*/ 31184220 h 840"/>
                <a:gd name="T16" fmla="*/ 266673472 w 1047"/>
                <a:gd name="T17" fmla="*/ 39997616 h 840"/>
                <a:gd name="T18" fmla="*/ 297131038 w 1047"/>
                <a:gd name="T19" fmla="*/ 49488053 h 840"/>
                <a:gd name="T20" fmla="*/ 326911892 w 1047"/>
                <a:gd name="T21" fmla="*/ 61012776 h 840"/>
                <a:gd name="T22" fmla="*/ 356692746 w 1047"/>
                <a:gd name="T23" fmla="*/ 72537500 h 840"/>
                <a:gd name="T24" fmla="*/ 385796888 w 1047"/>
                <a:gd name="T25" fmla="*/ 85418679 h 840"/>
                <a:gd name="T26" fmla="*/ 414223528 w 1047"/>
                <a:gd name="T27" fmla="*/ 99654729 h 840"/>
                <a:gd name="T28" fmla="*/ 441974247 w 1047"/>
                <a:gd name="T29" fmla="*/ 115247235 h 840"/>
                <a:gd name="T30" fmla="*/ 469724174 w 1047"/>
                <a:gd name="T31" fmla="*/ 130838949 h 840"/>
                <a:gd name="T32" fmla="*/ 496798182 w 1047"/>
                <a:gd name="T33" fmla="*/ 147787119 h 840"/>
                <a:gd name="T34" fmla="*/ 523194686 w 1047"/>
                <a:gd name="T35" fmla="*/ 165413120 h 840"/>
                <a:gd name="T36" fmla="*/ 548914478 w 1047"/>
                <a:gd name="T37" fmla="*/ 184394784 h 840"/>
                <a:gd name="T38" fmla="*/ 573957559 w 1047"/>
                <a:gd name="T39" fmla="*/ 204055073 h 840"/>
                <a:gd name="T40" fmla="*/ 598323137 w 1047"/>
                <a:gd name="T41" fmla="*/ 224392401 h 840"/>
                <a:gd name="T42" fmla="*/ 622689506 w 1047"/>
                <a:gd name="T43" fmla="*/ 245408352 h 840"/>
                <a:gd name="T44" fmla="*/ 645024949 w 1047"/>
                <a:gd name="T45" fmla="*/ 267779968 h 840"/>
                <a:gd name="T46" fmla="*/ 666683680 w 1047"/>
                <a:gd name="T47" fmla="*/ 290829415 h 840"/>
                <a:gd name="T48" fmla="*/ 689019122 w 1047"/>
                <a:gd name="T49" fmla="*/ 314556694 h 840"/>
                <a:gd name="T50" fmla="*/ 708647718 w 1047"/>
                <a:gd name="T51" fmla="*/ 338961804 h 840"/>
                <a:gd name="T52" fmla="*/ 425053289 w 1047"/>
                <a:gd name="T53" fmla="*/ 569455482 h 840"/>
                <a:gd name="T54" fmla="*/ 412870104 w 1047"/>
                <a:gd name="T55" fmla="*/ 554540808 h 840"/>
                <a:gd name="T56" fmla="*/ 400010208 w 1047"/>
                <a:gd name="T57" fmla="*/ 540982589 h 840"/>
                <a:gd name="T58" fmla="*/ 387150312 w 1047"/>
                <a:gd name="T59" fmla="*/ 527424371 h 840"/>
                <a:gd name="T60" fmla="*/ 372936992 w 1047"/>
                <a:gd name="T61" fmla="*/ 513187528 h 840"/>
                <a:gd name="T62" fmla="*/ 358723672 w 1047"/>
                <a:gd name="T63" fmla="*/ 500307141 h 840"/>
                <a:gd name="T64" fmla="*/ 343832850 w 1047"/>
                <a:gd name="T65" fmla="*/ 488782418 h 840"/>
                <a:gd name="T66" fmla="*/ 328942818 w 1047"/>
                <a:gd name="T67" fmla="*/ 476579863 h 840"/>
                <a:gd name="T68" fmla="*/ 313375284 w 1047"/>
                <a:gd name="T69" fmla="*/ 465055139 h 840"/>
                <a:gd name="T70" fmla="*/ 297807749 w 1047"/>
                <a:gd name="T71" fmla="*/ 454208247 h 840"/>
                <a:gd name="T72" fmla="*/ 281564295 w 1047"/>
                <a:gd name="T73" fmla="*/ 444717811 h 840"/>
                <a:gd name="T74" fmla="*/ 265320049 w 1047"/>
                <a:gd name="T75" fmla="*/ 435226583 h 840"/>
                <a:gd name="T76" fmla="*/ 248399091 w 1047"/>
                <a:gd name="T77" fmla="*/ 425736146 h 840"/>
                <a:gd name="T78" fmla="*/ 231478133 w 1047"/>
                <a:gd name="T79" fmla="*/ 417600581 h 840"/>
                <a:gd name="T80" fmla="*/ 213880463 w 1047"/>
                <a:gd name="T81" fmla="*/ 409465809 h 840"/>
                <a:gd name="T82" fmla="*/ 196282794 w 1047"/>
                <a:gd name="T83" fmla="*/ 402686699 h 840"/>
                <a:gd name="T84" fmla="*/ 178007621 w 1047"/>
                <a:gd name="T85" fmla="*/ 396585422 h 840"/>
                <a:gd name="T86" fmla="*/ 159733240 w 1047"/>
                <a:gd name="T87" fmla="*/ 390484144 h 840"/>
                <a:gd name="T88" fmla="*/ 141458859 w 1047"/>
                <a:gd name="T89" fmla="*/ 385060698 h 840"/>
                <a:gd name="T90" fmla="*/ 123184478 w 1047"/>
                <a:gd name="T91" fmla="*/ 380315084 h 840"/>
                <a:gd name="T92" fmla="*/ 104232594 w 1047"/>
                <a:gd name="T93" fmla="*/ 376247302 h 840"/>
                <a:gd name="T94" fmla="*/ 85958212 w 1047"/>
                <a:gd name="T95" fmla="*/ 372858143 h 840"/>
                <a:gd name="T96" fmla="*/ 66329616 w 1047"/>
                <a:gd name="T97" fmla="*/ 370146024 h 840"/>
                <a:gd name="T98" fmla="*/ 47378524 w 1047"/>
                <a:gd name="T99" fmla="*/ 368112529 h 840"/>
                <a:gd name="T100" fmla="*/ 28427431 w 1047"/>
                <a:gd name="T101" fmla="*/ 366756073 h 840"/>
                <a:gd name="T102" fmla="*/ 9475546 w 1047"/>
                <a:gd name="T103" fmla="*/ 366078242 h 840"/>
                <a:gd name="T104" fmla="*/ 75128451 w 1047"/>
                <a:gd name="T105" fmla="*/ 183039121 h 8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047" h="840">
                  <a:moveTo>
                    <a:pt x="0" y="0"/>
                  </a:moveTo>
                  <a:lnTo>
                    <a:pt x="23" y="0"/>
                  </a:lnTo>
                  <a:lnTo>
                    <a:pt x="47" y="1"/>
                  </a:lnTo>
                  <a:lnTo>
                    <a:pt x="70" y="2"/>
                  </a:lnTo>
                  <a:lnTo>
                    <a:pt x="94" y="3"/>
                  </a:lnTo>
                  <a:lnTo>
                    <a:pt x="117" y="5"/>
                  </a:lnTo>
                  <a:lnTo>
                    <a:pt x="140" y="7"/>
                  </a:lnTo>
                  <a:lnTo>
                    <a:pt x="164" y="9"/>
                  </a:lnTo>
                  <a:lnTo>
                    <a:pt x="187" y="13"/>
                  </a:lnTo>
                  <a:lnTo>
                    <a:pt x="211" y="16"/>
                  </a:lnTo>
                  <a:lnTo>
                    <a:pt x="234" y="20"/>
                  </a:lnTo>
                  <a:lnTo>
                    <a:pt x="257" y="24"/>
                  </a:lnTo>
                  <a:lnTo>
                    <a:pt x="280" y="29"/>
                  </a:lnTo>
                  <a:lnTo>
                    <a:pt x="303" y="35"/>
                  </a:lnTo>
                  <a:lnTo>
                    <a:pt x="326" y="40"/>
                  </a:lnTo>
                  <a:lnTo>
                    <a:pt x="349" y="46"/>
                  </a:lnTo>
                  <a:lnTo>
                    <a:pt x="371" y="52"/>
                  </a:lnTo>
                  <a:lnTo>
                    <a:pt x="394" y="59"/>
                  </a:lnTo>
                  <a:lnTo>
                    <a:pt x="416" y="66"/>
                  </a:lnTo>
                  <a:lnTo>
                    <a:pt x="439" y="73"/>
                  </a:lnTo>
                  <a:lnTo>
                    <a:pt x="461" y="81"/>
                  </a:lnTo>
                  <a:lnTo>
                    <a:pt x="483" y="90"/>
                  </a:lnTo>
                  <a:lnTo>
                    <a:pt x="505" y="98"/>
                  </a:lnTo>
                  <a:lnTo>
                    <a:pt x="527" y="107"/>
                  </a:lnTo>
                  <a:lnTo>
                    <a:pt x="548" y="116"/>
                  </a:lnTo>
                  <a:lnTo>
                    <a:pt x="570" y="126"/>
                  </a:lnTo>
                  <a:lnTo>
                    <a:pt x="591" y="136"/>
                  </a:lnTo>
                  <a:lnTo>
                    <a:pt x="612" y="147"/>
                  </a:lnTo>
                  <a:lnTo>
                    <a:pt x="632" y="158"/>
                  </a:lnTo>
                  <a:lnTo>
                    <a:pt x="653" y="170"/>
                  </a:lnTo>
                  <a:lnTo>
                    <a:pt x="674" y="180"/>
                  </a:lnTo>
                  <a:lnTo>
                    <a:pt x="694" y="193"/>
                  </a:lnTo>
                  <a:lnTo>
                    <a:pt x="714" y="205"/>
                  </a:lnTo>
                  <a:lnTo>
                    <a:pt x="734" y="218"/>
                  </a:lnTo>
                  <a:lnTo>
                    <a:pt x="754" y="231"/>
                  </a:lnTo>
                  <a:lnTo>
                    <a:pt x="773" y="244"/>
                  </a:lnTo>
                  <a:lnTo>
                    <a:pt x="792" y="258"/>
                  </a:lnTo>
                  <a:lnTo>
                    <a:pt x="811" y="272"/>
                  </a:lnTo>
                  <a:lnTo>
                    <a:pt x="829" y="286"/>
                  </a:lnTo>
                  <a:lnTo>
                    <a:pt x="848" y="301"/>
                  </a:lnTo>
                  <a:lnTo>
                    <a:pt x="866" y="315"/>
                  </a:lnTo>
                  <a:lnTo>
                    <a:pt x="884" y="331"/>
                  </a:lnTo>
                  <a:lnTo>
                    <a:pt x="902" y="347"/>
                  </a:lnTo>
                  <a:lnTo>
                    <a:pt x="920" y="362"/>
                  </a:lnTo>
                  <a:lnTo>
                    <a:pt x="936" y="379"/>
                  </a:lnTo>
                  <a:lnTo>
                    <a:pt x="953" y="395"/>
                  </a:lnTo>
                  <a:lnTo>
                    <a:pt x="970" y="412"/>
                  </a:lnTo>
                  <a:lnTo>
                    <a:pt x="985" y="429"/>
                  </a:lnTo>
                  <a:lnTo>
                    <a:pt x="1002" y="446"/>
                  </a:lnTo>
                  <a:lnTo>
                    <a:pt x="1018" y="464"/>
                  </a:lnTo>
                  <a:lnTo>
                    <a:pt x="1032" y="482"/>
                  </a:lnTo>
                  <a:lnTo>
                    <a:pt x="1047" y="500"/>
                  </a:lnTo>
                  <a:lnTo>
                    <a:pt x="930" y="789"/>
                  </a:lnTo>
                  <a:lnTo>
                    <a:pt x="628" y="840"/>
                  </a:lnTo>
                  <a:lnTo>
                    <a:pt x="619" y="830"/>
                  </a:lnTo>
                  <a:lnTo>
                    <a:pt x="610" y="818"/>
                  </a:lnTo>
                  <a:lnTo>
                    <a:pt x="600" y="808"/>
                  </a:lnTo>
                  <a:lnTo>
                    <a:pt x="591" y="798"/>
                  </a:lnTo>
                  <a:lnTo>
                    <a:pt x="581" y="787"/>
                  </a:lnTo>
                  <a:lnTo>
                    <a:pt x="572" y="778"/>
                  </a:lnTo>
                  <a:lnTo>
                    <a:pt x="561" y="767"/>
                  </a:lnTo>
                  <a:lnTo>
                    <a:pt x="551" y="757"/>
                  </a:lnTo>
                  <a:lnTo>
                    <a:pt x="540" y="748"/>
                  </a:lnTo>
                  <a:lnTo>
                    <a:pt x="530" y="738"/>
                  </a:lnTo>
                  <a:lnTo>
                    <a:pt x="519" y="730"/>
                  </a:lnTo>
                  <a:lnTo>
                    <a:pt x="508" y="721"/>
                  </a:lnTo>
                  <a:lnTo>
                    <a:pt x="498" y="712"/>
                  </a:lnTo>
                  <a:lnTo>
                    <a:pt x="486" y="703"/>
                  </a:lnTo>
                  <a:lnTo>
                    <a:pt x="475" y="695"/>
                  </a:lnTo>
                  <a:lnTo>
                    <a:pt x="463" y="686"/>
                  </a:lnTo>
                  <a:lnTo>
                    <a:pt x="452" y="679"/>
                  </a:lnTo>
                  <a:lnTo>
                    <a:pt x="440" y="670"/>
                  </a:lnTo>
                  <a:lnTo>
                    <a:pt x="429" y="663"/>
                  </a:lnTo>
                  <a:lnTo>
                    <a:pt x="416" y="656"/>
                  </a:lnTo>
                  <a:lnTo>
                    <a:pt x="404" y="649"/>
                  </a:lnTo>
                  <a:lnTo>
                    <a:pt x="392" y="642"/>
                  </a:lnTo>
                  <a:lnTo>
                    <a:pt x="379" y="635"/>
                  </a:lnTo>
                  <a:lnTo>
                    <a:pt x="367" y="628"/>
                  </a:lnTo>
                  <a:lnTo>
                    <a:pt x="354" y="622"/>
                  </a:lnTo>
                  <a:lnTo>
                    <a:pt x="342" y="616"/>
                  </a:lnTo>
                  <a:lnTo>
                    <a:pt x="329" y="610"/>
                  </a:lnTo>
                  <a:lnTo>
                    <a:pt x="316" y="604"/>
                  </a:lnTo>
                  <a:lnTo>
                    <a:pt x="303" y="599"/>
                  </a:lnTo>
                  <a:lnTo>
                    <a:pt x="290" y="594"/>
                  </a:lnTo>
                  <a:lnTo>
                    <a:pt x="277" y="589"/>
                  </a:lnTo>
                  <a:lnTo>
                    <a:pt x="263" y="585"/>
                  </a:lnTo>
                  <a:lnTo>
                    <a:pt x="250" y="579"/>
                  </a:lnTo>
                  <a:lnTo>
                    <a:pt x="236" y="576"/>
                  </a:lnTo>
                  <a:lnTo>
                    <a:pt x="223" y="571"/>
                  </a:lnTo>
                  <a:lnTo>
                    <a:pt x="209" y="568"/>
                  </a:lnTo>
                  <a:lnTo>
                    <a:pt x="195" y="564"/>
                  </a:lnTo>
                  <a:lnTo>
                    <a:pt x="182" y="561"/>
                  </a:lnTo>
                  <a:lnTo>
                    <a:pt x="168" y="557"/>
                  </a:lnTo>
                  <a:lnTo>
                    <a:pt x="154" y="555"/>
                  </a:lnTo>
                  <a:lnTo>
                    <a:pt x="140" y="552"/>
                  </a:lnTo>
                  <a:lnTo>
                    <a:pt x="127" y="550"/>
                  </a:lnTo>
                  <a:lnTo>
                    <a:pt x="112" y="548"/>
                  </a:lnTo>
                  <a:lnTo>
                    <a:pt x="98" y="546"/>
                  </a:lnTo>
                  <a:lnTo>
                    <a:pt x="84" y="545"/>
                  </a:lnTo>
                  <a:lnTo>
                    <a:pt x="70" y="543"/>
                  </a:lnTo>
                  <a:lnTo>
                    <a:pt x="56" y="542"/>
                  </a:lnTo>
                  <a:lnTo>
                    <a:pt x="42" y="541"/>
                  </a:lnTo>
                  <a:lnTo>
                    <a:pt x="28" y="540"/>
                  </a:lnTo>
                  <a:lnTo>
                    <a:pt x="14" y="540"/>
                  </a:lnTo>
                  <a:lnTo>
                    <a:pt x="0" y="540"/>
                  </a:lnTo>
                  <a:lnTo>
                    <a:pt x="111" y="270"/>
                  </a:lnTo>
                  <a:lnTo>
                    <a:pt x="0" y="0"/>
                  </a:lnTo>
                  <a:close/>
                </a:path>
              </a:pathLst>
            </a:custGeom>
            <a:solidFill>
              <a:srgbClr val="00646E"/>
            </a:solidFill>
            <a:ln w="38100" cmpd="sng">
              <a:solidFill>
                <a:schemeClr val="bg2"/>
              </a:solidFill>
              <a:prstDash val="solid"/>
              <a:round/>
              <a:headEnd/>
              <a:tailEnd/>
            </a:ln>
          </p:spPr>
          <p:txBody>
            <a:bodyPr lIns="0" tIns="0" rIns="0" bIns="0">
              <a:noAutofit/>
            </a:bodyPr>
            <a:lstStyle/>
            <a:p>
              <a:pPr algn="ctr"/>
              <a:endParaRPr lang="en-US" sz="1799" dirty="0">
                <a:solidFill>
                  <a:schemeClr val="bg1"/>
                </a:solidFill>
              </a:endParaRPr>
            </a:p>
          </p:txBody>
        </p:sp>
        <p:sp>
          <p:nvSpPr>
            <p:cNvPr id="39" name="Freeform 44">
              <a:extLst>
                <a:ext uri="{FF2B5EF4-FFF2-40B4-BE49-F238E27FC236}">
                  <a16:creationId xmlns:a16="http://schemas.microsoft.com/office/drawing/2014/main" id="{3AF6A2E3-F4AC-4AA4-A274-5798A17A7A4C}"/>
                </a:ext>
              </a:extLst>
            </p:cNvPr>
            <p:cNvSpPr>
              <a:spLocks/>
            </p:cNvSpPr>
            <p:nvPr/>
          </p:nvSpPr>
          <p:spPr bwMode="auto">
            <a:xfrm>
              <a:off x="6969809" y="2404748"/>
              <a:ext cx="1016992" cy="1719540"/>
            </a:xfrm>
            <a:custGeom>
              <a:avLst/>
              <a:gdLst>
                <a:gd name="T0" fmla="*/ 293885413 w 720"/>
                <a:gd name="T1" fmla="*/ 12175689 h 1218"/>
                <a:gd name="T2" fmla="*/ 313522839 w 720"/>
                <a:gd name="T3" fmla="*/ 37879920 h 1218"/>
                <a:gd name="T4" fmla="*/ 331129162 w 720"/>
                <a:gd name="T5" fmla="*/ 63584943 h 1218"/>
                <a:gd name="T6" fmla="*/ 348734694 w 720"/>
                <a:gd name="T7" fmla="*/ 90642028 h 1218"/>
                <a:gd name="T8" fmla="*/ 365664246 w 720"/>
                <a:gd name="T9" fmla="*/ 117699114 h 1218"/>
                <a:gd name="T10" fmla="*/ 380561113 w 720"/>
                <a:gd name="T11" fmla="*/ 145433418 h 1218"/>
                <a:gd name="T12" fmla="*/ 394781209 w 720"/>
                <a:gd name="T13" fmla="*/ 174519785 h 1218"/>
                <a:gd name="T14" fmla="*/ 408324534 w 720"/>
                <a:gd name="T15" fmla="*/ 202929725 h 1218"/>
                <a:gd name="T16" fmla="*/ 421190297 w 720"/>
                <a:gd name="T17" fmla="*/ 232693311 h 1218"/>
                <a:gd name="T18" fmla="*/ 432702520 w 720"/>
                <a:gd name="T19" fmla="*/ 262456105 h 1218"/>
                <a:gd name="T20" fmla="*/ 442859618 w 720"/>
                <a:gd name="T21" fmla="*/ 292896117 h 1218"/>
                <a:gd name="T22" fmla="*/ 452339946 w 720"/>
                <a:gd name="T23" fmla="*/ 322658912 h 1218"/>
                <a:gd name="T24" fmla="*/ 460465941 w 720"/>
                <a:gd name="T25" fmla="*/ 353098133 h 1218"/>
                <a:gd name="T26" fmla="*/ 467914374 w 720"/>
                <a:gd name="T27" fmla="*/ 384891000 h 1218"/>
                <a:gd name="T28" fmla="*/ 473331705 w 720"/>
                <a:gd name="T29" fmla="*/ 416006649 h 1218"/>
                <a:gd name="T30" fmla="*/ 478749035 w 720"/>
                <a:gd name="T31" fmla="*/ 447798724 h 1218"/>
                <a:gd name="T32" fmla="*/ 482134470 w 720"/>
                <a:gd name="T33" fmla="*/ 479591591 h 1218"/>
                <a:gd name="T34" fmla="*/ 484843135 w 720"/>
                <a:gd name="T35" fmla="*/ 510707240 h 1218"/>
                <a:gd name="T36" fmla="*/ 486875030 w 720"/>
                <a:gd name="T37" fmla="*/ 542500107 h 1218"/>
                <a:gd name="T38" fmla="*/ 487551801 w 720"/>
                <a:gd name="T39" fmla="*/ 574292182 h 1218"/>
                <a:gd name="T40" fmla="*/ 486875030 w 720"/>
                <a:gd name="T41" fmla="*/ 606760685 h 1218"/>
                <a:gd name="T42" fmla="*/ 484843135 w 720"/>
                <a:gd name="T43" fmla="*/ 638553552 h 1218"/>
                <a:gd name="T44" fmla="*/ 482134470 w 720"/>
                <a:gd name="T45" fmla="*/ 670345628 h 1218"/>
                <a:gd name="T46" fmla="*/ 478749035 w 720"/>
                <a:gd name="T47" fmla="*/ 702138495 h 1218"/>
                <a:gd name="T48" fmla="*/ 473331705 w 720"/>
                <a:gd name="T49" fmla="*/ 733254143 h 1218"/>
                <a:gd name="T50" fmla="*/ 467914374 w 720"/>
                <a:gd name="T51" fmla="*/ 764369792 h 1218"/>
                <a:gd name="T52" fmla="*/ 267476324 w 720"/>
                <a:gd name="T53" fmla="*/ 823896171 h 1218"/>
                <a:gd name="T54" fmla="*/ 109699353 w 720"/>
                <a:gd name="T55" fmla="*/ 688609161 h 1218"/>
                <a:gd name="T56" fmla="*/ 113762351 w 720"/>
                <a:gd name="T57" fmla="*/ 669669201 h 1218"/>
                <a:gd name="T58" fmla="*/ 117147786 w 720"/>
                <a:gd name="T59" fmla="*/ 650729241 h 1218"/>
                <a:gd name="T60" fmla="*/ 119179681 w 720"/>
                <a:gd name="T61" fmla="*/ 631789281 h 1218"/>
                <a:gd name="T62" fmla="*/ 120534013 w 720"/>
                <a:gd name="T63" fmla="*/ 612848529 h 1218"/>
                <a:gd name="T64" fmla="*/ 121888346 w 720"/>
                <a:gd name="T65" fmla="*/ 593908569 h 1218"/>
                <a:gd name="T66" fmla="*/ 122565116 w 720"/>
                <a:gd name="T67" fmla="*/ 574292182 h 1218"/>
                <a:gd name="T68" fmla="*/ 121888346 w 720"/>
                <a:gd name="T69" fmla="*/ 555352222 h 1218"/>
                <a:gd name="T70" fmla="*/ 120534013 w 720"/>
                <a:gd name="T71" fmla="*/ 536412262 h 1218"/>
                <a:gd name="T72" fmla="*/ 119179681 w 720"/>
                <a:gd name="T73" fmla="*/ 517471511 h 1218"/>
                <a:gd name="T74" fmla="*/ 117147786 w 720"/>
                <a:gd name="T75" fmla="*/ 497855124 h 1218"/>
                <a:gd name="T76" fmla="*/ 113762351 w 720"/>
                <a:gd name="T77" fmla="*/ 479591591 h 1218"/>
                <a:gd name="T78" fmla="*/ 109699353 w 720"/>
                <a:gd name="T79" fmla="*/ 460651631 h 1218"/>
                <a:gd name="T80" fmla="*/ 105636355 w 720"/>
                <a:gd name="T81" fmla="*/ 442387307 h 1218"/>
                <a:gd name="T82" fmla="*/ 101573358 w 720"/>
                <a:gd name="T83" fmla="*/ 423447347 h 1218"/>
                <a:gd name="T84" fmla="*/ 94801695 w 720"/>
                <a:gd name="T85" fmla="*/ 405183814 h 1218"/>
                <a:gd name="T86" fmla="*/ 89384365 w 720"/>
                <a:gd name="T87" fmla="*/ 386920281 h 1218"/>
                <a:gd name="T88" fmla="*/ 82612702 w 720"/>
                <a:gd name="T89" fmla="*/ 369332385 h 1218"/>
                <a:gd name="T90" fmla="*/ 74486707 w 720"/>
                <a:gd name="T91" fmla="*/ 351745279 h 1218"/>
                <a:gd name="T92" fmla="*/ 66361503 w 720"/>
                <a:gd name="T93" fmla="*/ 334158173 h 1218"/>
                <a:gd name="T94" fmla="*/ 58235508 w 720"/>
                <a:gd name="T95" fmla="*/ 317247495 h 1218"/>
                <a:gd name="T96" fmla="*/ 48755180 w 720"/>
                <a:gd name="T97" fmla="*/ 300336816 h 1218"/>
                <a:gd name="T98" fmla="*/ 38598082 w 720"/>
                <a:gd name="T99" fmla="*/ 284101773 h 1218"/>
                <a:gd name="T100" fmla="*/ 28440192 w 720"/>
                <a:gd name="T101" fmla="*/ 268543949 h 1218"/>
                <a:gd name="T102" fmla="*/ 17606323 w 720"/>
                <a:gd name="T103" fmla="*/ 252309698 h 1218"/>
                <a:gd name="T104" fmla="*/ 6094101 w 720"/>
                <a:gd name="T105" fmla="*/ 237428301 h 1218"/>
                <a:gd name="T106" fmla="*/ 204501048 w 720"/>
                <a:gd name="T107" fmla="*/ 194812599 h 121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0" h="1218">
                  <a:moveTo>
                    <a:pt x="419" y="0"/>
                  </a:moveTo>
                  <a:lnTo>
                    <a:pt x="434" y="18"/>
                  </a:lnTo>
                  <a:lnTo>
                    <a:pt x="449" y="37"/>
                  </a:lnTo>
                  <a:lnTo>
                    <a:pt x="463" y="56"/>
                  </a:lnTo>
                  <a:lnTo>
                    <a:pt x="477" y="75"/>
                  </a:lnTo>
                  <a:lnTo>
                    <a:pt x="489" y="94"/>
                  </a:lnTo>
                  <a:lnTo>
                    <a:pt x="502" y="114"/>
                  </a:lnTo>
                  <a:lnTo>
                    <a:pt x="515" y="134"/>
                  </a:lnTo>
                  <a:lnTo>
                    <a:pt x="528" y="155"/>
                  </a:lnTo>
                  <a:lnTo>
                    <a:pt x="540" y="174"/>
                  </a:lnTo>
                  <a:lnTo>
                    <a:pt x="551" y="195"/>
                  </a:lnTo>
                  <a:lnTo>
                    <a:pt x="562" y="215"/>
                  </a:lnTo>
                  <a:lnTo>
                    <a:pt x="573" y="237"/>
                  </a:lnTo>
                  <a:lnTo>
                    <a:pt x="583" y="258"/>
                  </a:lnTo>
                  <a:lnTo>
                    <a:pt x="594" y="278"/>
                  </a:lnTo>
                  <a:lnTo>
                    <a:pt x="603" y="300"/>
                  </a:lnTo>
                  <a:lnTo>
                    <a:pt x="612" y="322"/>
                  </a:lnTo>
                  <a:lnTo>
                    <a:pt x="622" y="344"/>
                  </a:lnTo>
                  <a:lnTo>
                    <a:pt x="631" y="366"/>
                  </a:lnTo>
                  <a:lnTo>
                    <a:pt x="639" y="388"/>
                  </a:lnTo>
                  <a:lnTo>
                    <a:pt x="646" y="410"/>
                  </a:lnTo>
                  <a:lnTo>
                    <a:pt x="654" y="433"/>
                  </a:lnTo>
                  <a:lnTo>
                    <a:pt x="661" y="455"/>
                  </a:lnTo>
                  <a:lnTo>
                    <a:pt x="668" y="477"/>
                  </a:lnTo>
                  <a:lnTo>
                    <a:pt x="674" y="500"/>
                  </a:lnTo>
                  <a:lnTo>
                    <a:pt x="680" y="522"/>
                  </a:lnTo>
                  <a:lnTo>
                    <a:pt x="685" y="546"/>
                  </a:lnTo>
                  <a:lnTo>
                    <a:pt x="691" y="569"/>
                  </a:lnTo>
                  <a:lnTo>
                    <a:pt x="695" y="592"/>
                  </a:lnTo>
                  <a:lnTo>
                    <a:pt x="699" y="615"/>
                  </a:lnTo>
                  <a:lnTo>
                    <a:pt x="704" y="638"/>
                  </a:lnTo>
                  <a:lnTo>
                    <a:pt x="707" y="662"/>
                  </a:lnTo>
                  <a:lnTo>
                    <a:pt x="710" y="685"/>
                  </a:lnTo>
                  <a:lnTo>
                    <a:pt x="712" y="709"/>
                  </a:lnTo>
                  <a:lnTo>
                    <a:pt x="715" y="732"/>
                  </a:lnTo>
                  <a:lnTo>
                    <a:pt x="716" y="755"/>
                  </a:lnTo>
                  <a:lnTo>
                    <a:pt x="718" y="779"/>
                  </a:lnTo>
                  <a:lnTo>
                    <a:pt x="719" y="802"/>
                  </a:lnTo>
                  <a:lnTo>
                    <a:pt x="720" y="826"/>
                  </a:lnTo>
                  <a:lnTo>
                    <a:pt x="720" y="849"/>
                  </a:lnTo>
                  <a:lnTo>
                    <a:pt x="720" y="873"/>
                  </a:lnTo>
                  <a:lnTo>
                    <a:pt x="719" y="897"/>
                  </a:lnTo>
                  <a:lnTo>
                    <a:pt x="718" y="920"/>
                  </a:lnTo>
                  <a:lnTo>
                    <a:pt x="716" y="944"/>
                  </a:lnTo>
                  <a:lnTo>
                    <a:pt x="715" y="967"/>
                  </a:lnTo>
                  <a:lnTo>
                    <a:pt x="712" y="991"/>
                  </a:lnTo>
                  <a:lnTo>
                    <a:pt x="710" y="1014"/>
                  </a:lnTo>
                  <a:lnTo>
                    <a:pt x="707" y="1038"/>
                  </a:lnTo>
                  <a:lnTo>
                    <a:pt x="704" y="1060"/>
                  </a:lnTo>
                  <a:lnTo>
                    <a:pt x="699" y="1084"/>
                  </a:lnTo>
                  <a:lnTo>
                    <a:pt x="695" y="1107"/>
                  </a:lnTo>
                  <a:lnTo>
                    <a:pt x="691" y="1130"/>
                  </a:lnTo>
                  <a:lnTo>
                    <a:pt x="685" y="1153"/>
                  </a:lnTo>
                  <a:lnTo>
                    <a:pt x="395" y="1218"/>
                  </a:lnTo>
                  <a:lnTo>
                    <a:pt x="160" y="1031"/>
                  </a:lnTo>
                  <a:lnTo>
                    <a:pt x="162" y="1018"/>
                  </a:lnTo>
                  <a:lnTo>
                    <a:pt x="166" y="1004"/>
                  </a:lnTo>
                  <a:lnTo>
                    <a:pt x="168" y="990"/>
                  </a:lnTo>
                  <a:lnTo>
                    <a:pt x="170" y="976"/>
                  </a:lnTo>
                  <a:lnTo>
                    <a:pt x="173" y="962"/>
                  </a:lnTo>
                  <a:lnTo>
                    <a:pt x="174" y="948"/>
                  </a:lnTo>
                  <a:lnTo>
                    <a:pt x="176" y="934"/>
                  </a:lnTo>
                  <a:lnTo>
                    <a:pt x="177" y="920"/>
                  </a:lnTo>
                  <a:lnTo>
                    <a:pt x="178" y="906"/>
                  </a:lnTo>
                  <a:lnTo>
                    <a:pt x="179" y="892"/>
                  </a:lnTo>
                  <a:lnTo>
                    <a:pt x="180" y="878"/>
                  </a:lnTo>
                  <a:lnTo>
                    <a:pt x="181" y="864"/>
                  </a:lnTo>
                  <a:lnTo>
                    <a:pt x="181" y="849"/>
                  </a:lnTo>
                  <a:lnTo>
                    <a:pt x="181" y="835"/>
                  </a:lnTo>
                  <a:lnTo>
                    <a:pt x="180" y="821"/>
                  </a:lnTo>
                  <a:lnTo>
                    <a:pt x="179" y="807"/>
                  </a:lnTo>
                  <a:lnTo>
                    <a:pt x="178" y="793"/>
                  </a:lnTo>
                  <a:lnTo>
                    <a:pt x="177" y="779"/>
                  </a:lnTo>
                  <a:lnTo>
                    <a:pt x="176" y="765"/>
                  </a:lnTo>
                  <a:lnTo>
                    <a:pt x="174" y="751"/>
                  </a:lnTo>
                  <a:lnTo>
                    <a:pt x="173" y="736"/>
                  </a:lnTo>
                  <a:lnTo>
                    <a:pt x="170" y="722"/>
                  </a:lnTo>
                  <a:lnTo>
                    <a:pt x="168" y="709"/>
                  </a:lnTo>
                  <a:lnTo>
                    <a:pt x="166" y="695"/>
                  </a:lnTo>
                  <a:lnTo>
                    <a:pt x="162" y="681"/>
                  </a:lnTo>
                  <a:lnTo>
                    <a:pt x="160" y="667"/>
                  </a:lnTo>
                  <a:lnTo>
                    <a:pt x="156" y="654"/>
                  </a:lnTo>
                  <a:lnTo>
                    <a:pt x="153" y="640"/>
                  </a:lnTo>
                  <a:lnTo>
                    <a:pt x="150" y="626"/>
                  </a:lnTo>
                  <a:lnTo>
                    <a:pt x="145" y="613"/>
                  </a:lnTo>
                  <a:lnTo>
                    <a:pt x="140" y="599"/>
                  </a:lnTo>
                  <a:lnTo>
                    <a:pt x="136" y="586"/>
                  </a:lnTo>
                  <a:lnTo>
                    <a:pt x="132" y="572"/>
                  </a:lnTo>
                  <a:lnTo>
                    <a:pt x="127" y="559"/>
                  </a:lnTo>
                  <a:lnTo>
                    <a:pt x="122" y="546"/>
                  </a:lnTo>
                  <a:lnTo>
                    <a:pt x="117" y="533"/>
                  </a:lnTo>
                  <a:lnTo>
                    <a:pt x="110" y="520"/>
                  </a:lnTo>
                  <a:lnTo>
                    <a:pt x="104" y="507"/>
                  </a:lnTo>
                  <a:lnTo>
                    <a:pt x="98" y="494"/>
                  </a:lnTo>
                  <a:lnTo>
                    <a:pt x="92" y="482"/>
                  </a:lnTo>
                  <a:lnTo>
                    <a:pt x="86" y="469"/>
                  </a:lnTo>
                  <a:lnTo>
                    <a:pt x="79" y="456"/>
                  </a:lnTo>
                  <a:lnTo>
                    <a:pt x="72" y="444"/>
                  </a:lnTo>
                  <a:lnTo>
                    <a:pt x="65" y="433"/>
                  </a:lnTo>
                  <a:lnTo>
                    <a:pt x="57" y="420"/>
                  </a:lnTo>
                  <a:lnTo>
                    <a:pt x="50" y="408"/>
                  </a:lnTo>
                  <a:lnTo>
                    <a:pt x="42" y="397"/>
                  </a:lnTo>
                  <a:lnTo>
                    <a:pt x="34" y="385"/>
                  </a:lnTo>
                  <a:lnTo>
                    <a:pt x="26" y="373"/>
                  </a:lnTo>
                  <a:lnTo>
                    <a:pt x="18" y="362"/>
                  </a:lnTo>
                  <a:lnTo>
                    <a:pt x="9" y="351"/>
                  </a:lnTo>
                  <a:lnTo>
                    <a:pt x="0" y="339"/>
                  </a:lnTo>
                  <a:lnTo>
                    <a:pt x="302" y="288"/>
                  </a:lnTo>
                  <a:lnTo>
                    <a:pt x="419" y="0"/>
                  </a:lnTo>
                  <a:close/>
                </a:path>
              </a:pathLst>
            </a:custGeom>
            <a:solidFill>
              <a:srgbClr val="00AF8E"/>
            </a:solidFill>
            <a:ln w="38100" cmpd="sng">
              <a:solidFill>
                <a:schemeClr val="bg2"/>
              </a:solidFill>
              <a:prstDash val="solid"/>
              <a:round/>
              <a:headEnd/>
              <a:tailEnd/>
            </a:ln>
          </p:spPr>
          <p:txBody>
            <a:bodyPr lIns="0" tIns="0" rIns="0" bIns="0">
              <a:noAutofit/>
            </a:bodyPr>
            <a:lstStyle/>
            <a:p>
              <a:pPr algn="ctr"/>
              <a:endParaRPr lang="en-US" sz="1799" dirty="0">
                <a:solidFill>
                  <a:schemeClr val="bg1"/>
                </a:solidFill>
              </a:endParaRPr>
            </a:p>
          </p:txBody>
        </p:sp>
        <p:sp>
          <p:nvSpPr>
            <p:cNvPr id="43" name="Freeform 45">
              <a:extLst>
                <a:ext uri="{FF2B5EF4-FFF2-40B4-BE49-F238E27FC236}">
                  <a16:creationId xmlns:a16="http://schemas.microsoft.com/office/drawing/2014/main" id="{FD859E99-0735-4DE4-913A-8234C2A59872}"/>
                </a:ext>
              </a:extLst>
            </p:cNvPr>
            <p:cNvSpPr>
              <a:spLocks/>
            </p:cNvSpPr>
            <p:nvPr/>
          </p:nvSpPr>
          <p:spPr bwMode="auto">
            <a:xfrm>
              <a:off x="6584545" y="3860835"/>
              <a:ext cx="1354102" cy="1456085"/>
            </a:xfrm>
            <a:custGeom>
              <a:avLst/>
              <a:gdLst>
                <a:gd name="T0" fmla="*/ 644698825 w 961"/>
                <a:gd name="T1" fmla="*/ 97379342 h 1032"/>
                <a:gd name="T2" fmla="*/ 636606008 w 961"/>
                <a:gd name="T3" fmla="*/ 128486808 h 1032"/>
                <a:gd name="T4" fmla="*/ 627165309 w 961"/>
                <a:gd name="T5" fmla="*/ 159594273 h 1032"/>
                <a:gd name="T6" fmla="*/ 616375149 w 961"/>
                <a:gd name="T7" fmla="*/ 189349687 h 1032"/>
                <a:gd name="T8" fmla="*/ 605584989 w 961"/>
                <a:gd name="T9" fmla="*/ 219104310 h 1032"/>
                <a:gd name="T10" fmla="*/ 592771823 w 961"/>
                <a:gd name="T11" fmla="*/ 248858934 h 1032"/>
                <a:gd name="T12" fmla="*/ 579284320 w 961"/>
                <a:gd name="T13" fmla="*/ 277261505 h 1032"/>
                <a:gd name="T14" fmla="*/ 565122482 w 961"/>
                <a:gd name="T15" fmla="*/ 305664077 h 1032"/>
                <a:gd name="T16" fmla="*/ 549611973 w 961"/>
                <a:gd name="T17" fmla="*/ 334066649 h 1032"/>
                <a:gd name="T18" fmla="*/ 533427128 w 961"/>
                <a:gd name="T19" fmla="*/ 361116378 h 1032"/>
                <a:gd name="T20" fmla="*/ 515893612 w 961"/>
                <a:gd name="T21" fmla="*/ 388166107 h 1032"/>
                <a:gd name="T22" fmla="*/ 497685760 w 961"/>
                <a:gd name="T23" fmla="*/ 413863785 h 1032"/>
                <a:gd name="T24" fmla="*/ 478129237 w 961"/>
                <a:gd name="T25" fmla="*/ 439561463 h 1032"/>
                <a:gd name="T26" fmla="*/ 458571924 w 961"/>
                <a:gd name="T27" fmla="*/ 463906298 h 1032"/>
                <a:gd name="T28" fmla="*/ 437666729 w 961"/>
                <a:gd name="T29" fmla="*/ 488251134 h 1032"/>
                <a:gd name="T30" fmla="*/ 416087199 w 961"/>
                <a:gd name="T31" fmla="*/ 511243127 h 1032"/>
                <a:gd name="T32" fmla="*/ 393158208 w 961"/>
                <a:gd name="T33" fmla="*/ 533559885 h 1032"/>
                <a:gd name="T34" fmla="*/ 370904342 w 961"/>
                <a:gd name="T35" fmla="*/ 555875853 h 1032"/>
                <a:gd name="T36" fmla="*/ 346626680 w 961"/>
                <a:gd name="T37" fmla="*/ 576839769 h 1032"/>
                <a:gd name="T38" fmla="*/ 321674682 w 961"/>
                <a:gd name="T39" fmla="*/ 597126868 h 1032"/>
                <a:gd name="T40" fmla="*/ 296049138 w 961"/>
                <a:gd name="T41" fmla="*/ 616061916 h 1032"/>
                <a:gd name="T42" fmla="*/ 270422805 w 961"/>
                <a:gd name="T43" fmla="*/ 634320938 h 1032"/>
                <a:gd name="T44" fmla="*/ 243447800 w 961"/>
                <a:gd name="T45" fmla="*/ 651903143 h 1032"/>
                <a:gd name="T46" fmla="*/ 216472795 w 961"/>
                <a:gd name="T47" fmla="*/ 668133297 h 1032"/>
                <a:gd name="T48" fmla="*/ 188824244 w 961"/>
                <a:gd name="T49" fmla="*/ 683686634 h 1032"/>
                <a:gd name="T50" fmla="*/ 160500568 w 961"/>
                <a:gd name="T51" fmla="*/ 697887920 h 1032"/>
                <a:gd name="T52" fmla="*/ 674336 w 961"/>
                <a:gd name="T53" fmla="*/ 369231060 h 1032"/>
                <a:gd name="T54" fmla="*/ 17533516 w 961"/>
                <a:gd name="T55" fmla="*/ 361116378 h 1032"/>
                <a:gd name="T56" fmla="*/ 34392697 w 961"/>
                <a:gd name="T57" fmla="*/ 351648854 h 1032"/>
                <a:gd name="T58" fmla="*/ 51251877 w 961"/>
                <a:gd name="T59" fmla="*/ 341505304 h 1032"/>
                <a:gd name="T60" fmla="*/ 66762387 w 961"/>
                <a:gd name="T61" fmla="*/ 331361755 h 1032"/>
                <a:gd name="T62" fmla="*/ 82272896 w 961"/>
                <a:gd name="T63" fmla="*/ 320541388 h 1032"/>
                <a:gd name="T64" fmla="*/ 97783406 w 961"/>
                <a:gd name="T65" fmla="*/ 309044997 h 1032"/>
                <a:gd name="T66" fmla="*/ 112619579 w 961"/>
                <a:gd name="T67" fmla="*/ 296872579 h 1032"/>
                <a:gd name="T68" fmla="*/ 126107082 w 961"/>
                <a:gd name="T69" fmla="*/ 284024135 h 1032"/>
                <a:gd name="T70" fmla="*/ 140943255 w 961"/>
                <a:gd name="T71" fmla="*/ 271175692 h 1032"/>
                <a:gd name="T72" fmla="*/ 153756422 w 961"/>
                <a:gd name="T73" fmla="*/ 257650432 h 1032"/>
                <a:gd name="T74" fmla="*/ 166569589 w 961"/>
                <a:gd name="T75" fmla="*/ 243449146 h 1032"/>
                <a:gd name="T76" fmla="*/ 179382756 w 961"/>
                <a:gd name="T77" fmla="*/ 229247860 h 1032"/>
                <a:gd name="T78" fmla="*/ 191521587 w 961"/>
                <a:gd name="T79" fmla="*/ 214370548 h 1032"/>
                <a:gd name="T80" fmla="*/ 202985293 w 961"/>
                <a:gd name="T81" fmla="*/ 198817211 h 1032"/>
                <a:gd name="T82" fmla="*/ 213775453 w 961"/>
                <a:gd name="T83" fmla="*/ 183263083 h 1032"/>
                <a:gd name="T84" fmla="*/ 223891277 w 961"/>
                <a:gd name="T85" fmla="*/ 167032929 h 1032"/>
                <a:gd name="T86" fmla="*/ 234007101 w 961"/>
                <a:gd name="T87" fmla="*/ 151479591 h 1032"/>
                <a:gd name="T88" fmla="*/ 243447800 w 961"/>
                <a:gd name="T89" fmla="*/ 134573412 h 1032"/>
                <a:gd name="T90" fmla="*/ 251540617 w 961"/>
                <a:gd name="T91" fmla="*/ 116991206 h 1032"/>
                <a:gd name="T92" fmla="*/ 259632645 w 961"/>
                <a:gd name="T93" fmla="*/ 100085027 h 1032"/>
                <a:gd name="T94" fmla="*/ 267725462 w 961"/>
                <a:gd name="T95" fmla="*/ 82502030 h 1032"/>
                <a:gd name="T96" fmla="*/ 274468819 w 961"/>
                <a:gd name="T97" fmla="*/ 64243799 h 1032"/>
                <a:gd name="T98" fmla="*/ 280538629 w 961"/>
                <a:gd name="T99" fmla="*/ 45984777 h 1032"/>
                <a:gd name="T100" fmla="*/ 286607650 w 961"/>
                <a:gd name="T101" fmla="*/ 27726546 h 1032"/>
                <a:gd name="T102" fmla="*/ 290653664 w 961"/>
                <a:gd name="T103" fmla="*/ 9467524 h 1032"/>
                <a:gd name="T104" fmla="*/ 451828567 w 961"/>
                <a:gd name="T105" fmla="*/ 126458730 h 103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961" h="1032">
                  <a:moveTo>
                    <a:pt x="961" y="122"/>
                  </a:moveTo>
                  <a:lnTo>
                    <a:pt x="956" y="144"/>
                  </a:lnTo>
                  <a:lnTo>
                    <a:pt x="950" y="168"/>
                  </a:lnTo>
                  <a:lnTo>
                    <a:pt x="944" y="190"/>
                  </a:lnTo>
                  <a:lnTo>
                    <a:pt x="937" y="213"/>
                  </a:lnTo>
                  <a:lnTo>
                    <a:pt x="930" y="236"/>
                  </a:lnTo>
                  <a:lnTo>
                    <a:pt x="922" y="257"/>
                  </a:lnTo>
                  <a:lnTo>
                    <a:pt x="914" y="280"/>
                  </a:lnTo>
                  <a:lnTo>
                    <a:pt x="906" y="302"/>
                  </a:lnTo>
                  <a:lnTo>
                    <a:pt x="898" y="324"/>
                  </a:lnTo>
                  <a:lnTo>
                    <a:pt x="888" y="346"/>
                  </a:lnTo>
                  <a:lnTo>
                    <a:pt x="879" y="368"/>
                  </a:lnTo>
                  <a:lnTo>
                    <a:pt x="869" y="389"/>
                  </a:lnTo>
                  <a:lnTo>
                    <a:pt x="859" y="410"/>
                  </a:lnTo>
                  <a:lnTo>
                    <a:pt x="848" y="431"/>
                  </a:lnTo>
                  <a:lnTo>
                    <a:pt x="838" y="452"/>
                  </a:lnTo>
                  <a:lnTo>
                    <a:pt x="827" y="473"/>
                  </a:lnTo>
                  <a:lnTo>
                    <a:pt x="815" y="494"/>
                  </a:lnTo>
                  <a:lnTo>
                    <a:pt x="803" y="514"/>
                  </a:lnTo>
                  <a:lnTo>
                    <a:pt x="791" y="534"/>
                  </a:lnTo>
                  <a:lnTo>
                    <a:pt x="778" y="554"/>
                  </a:lnTo>
                  <a:lnTo>
                    <a:pt x="765" y="574"/>
                  </a:lnTo>
                  <a:lnTo>
                    <a:pt x="752" y="593"/>
                  </a:lnTo>
                  <a:lnTo>
                    <a:pt x="738" y="612"/>
                  </a:lnTo>
                  <a:lnTo>
                    <a:pt x="724" y="631"/>
                  </a:lnTo>
                  <a:lnTo>
                    <a:pt x="709" y="650"/>
                  </a:lnTo>
                  <a:lnTo>
                    <a:pt x="695" y="669"/>
                  </a:lnTo>
                  <a:lnTo>
                    <a:pt x="680" y="686"/>
                  </a:lnTo>
                  <a:lnTo>
                    <a:pt x="665" y="704"/>
                  </a:lnTo>
                  <a:lnTo>
                    <a:pt x="649" y="722"/>
                  </a:lnTo>
                  <a:lnTo>
                    <a:pt x="633" y="739"/>
                  </a:lnTo>
                  <a:lnTo>
                    <a:pt x="617" y="756"/>
                  </a:lnTo>
                  <a:lnTo>
                    <a:pt x="601" y="773"/>
                  </a:lnTo>
                  <a:lnTo>
                    <a:pt x="583" y="789"/>
                  </a:lnTo>
                  <a:lnTo>
                    <a:pt x="567" y="806"/>
                  </a:lnTo>
                  <a:lnTo>
                    <a:pt x="550" y="822"/>
                  </a:lnTo>
                  <a:lnTo>
                    <a:pt x="531" y="837"/>
                  </a:lnTo>
                  <a:lnTo>
                    <a:pt x="514" y="853"/>
                  </a:lnTo>
                  <a:lnTo>
                    <a:pt x="496" y="868"/>
                  </a:lnTo>
                  <a:lnTo>
                    <a:pt x="477" y="883"/>
                  </a:lnTo>
                  <a:lnTo>
                    <a:pt x="459" y="897"/>
                  </a:lnTo>
                  <a:lnTo>
                    <a:pt x="439" y="911"/>
                  </a:lnTo>
                  <a:lnTo>
                    <a:pt x="420" y="925"/>
                  </a:lnTo>
                  <a:lnTo>
                    <a:pt x="401" y="938"/>
                  </a:lnTo>
                  <a:lnTo>
                    <a:pt x="381" y="951"/>
                  </a:lnTo>
                  <a:lnTo>
                    <a:pt x="361" y="964"/>
                  </a:lnTo>
                  <a:lnTo>
                    <a:pt x="341" y="976"/>
                  </a:lnTo>
                  <a:lnTo>
                    <a:pt x="321" y="988"/>
                  </a:lnTo>
                  <a:lnTo>
                    <a:pt x="300" y="1000"/>
                  </a:lnTo>
                  <a:lnTo>
                    <a:pt x="280" y="1011"/>
                  </a:lnTo>
                  <a:lnTo>
                    <a:pt x="259" y="1022"/>
                  </a:lnTo>
                  <a:lnTo>
                    <a:pt x="238" y="1032"/>
                  </a:lnTo>
                  <a:lnTo>
                    <a:pt x="0" y="847"/>
                  </a:lnTo>
                  <a:lnTo>
                    <a:pt x="1" y="546"/>
                  </a:lnTo>
                  <a:lnTo>
                    <a:pt x="14" y="540"/>
                  </a:lnTo>
                  <a:lnTo>
                    <a:pt x="26" y="534"/>
                  </a:lnTo>
                  <a:lnTo>
                    <a:pt x="39" y="527"/>
                  </a:lnTo>
                  <a:lnTo>
                    <a:pt x="51" y="520"/>
                  </a:lnTo>
                  <a:lnTo>
                    <a:pt x="63" y="513"/>
                  </a:lnTo>
                  <a:lnTo>
                    <a:pt x="76" y="505"/>
                  </a:lnTo>
                  <a:lnTo>
                    <a:pt x="87" y="498"/>
                  </a:lnTo>
                  <a:lnTo>
                    <a:pt x="99" y="490"/>
                  </a:lnTo>
                  <a:lnTo>
                    <a:pt x="110" y="482"/>
                  </a:lnTo>
                  <a:lnTo>
                    <a:pt x="122" y="474"/>
                  </a:lnTo>
                  <a:lnTo>
                    <a:pt x="133" y="465"/>
                  </a:lnTo>
                  <a:lnTo>
                    <a:pt x="145" y="457"/>
                  </a:lnTo>
                  <a:lnTo>
                    <a:pt x="155" y="448"/>
                  </a:lnTo>
                  <a:lnTo>
                    <a:pt x="167" y="439"/>
                  </a:lnTo>
                  <a:lnTo>
                    <a:pt x="177" y="430"/>
                  </a:lnTo>
                  <a:lnTo>
                    <a:pt x="187" y="420"/>
                  </a:lnTo>
                  <a:lnTo>
                    <a:pt x="198" y="410"/>
                  </a:lnTo>
                  <a:lnTo>
                    <a:pt x="209" y="401"/>
                  </a:lnTo>
                  <a:lnTo>
                    <a:pt x="219" y="391"/>
                  </a:lnTo>
                  <a:lnTo>
                    <a:pt x="228" y="381"/>
                  </a:lnTo>
                  <a:lnTo>
                    <a:pt x="238" y="371"/>
                  </a:lnTo>
                  <a:lnTo>
                    <a:pt x="247" y="360"/>
                  </a:lnTo>
                  <a:lnTo>
                    <a:pt x="257" y="350"/>
                  </a:lnTo>
                  <a:lnTo>
                    <a:pt x="266" y="339"/>
                  </a:lnTo>
                  <a:lnTo>
                    <a:pt x="275" y="328"/>
                  </a:lnTo>
                  <a:lnTo>
                    <a:pt x="284" y="317"/>
                  </a:lnTo>
                  <a:lnTo>
                    <a:pt x="293" y="305"/>
                  </a:lnTo>
                  <a:lnTo>
                    <a:pt x="301" y="294"/>
                  </a:lnTo>
                  <a:lnTo>
                    <a:pt x="309" y="283"/>
                  </a:lnTo>
                  <a:lnTo>
                    <a:pt x="317" y="271"/>
                  </a:lnTo>
                  <a:lnTo>
                    <a:pt x="325" y="259"/>
                  </a:lnTo>
                  <a:lnTo>
                    <a:pt x="332" y="247"/>
                  </a:lnTo>
                  <a:lnTo>
                    <a:pt x="340" y="236"/>
                  </a:lnTo>
                  <a:lnTo>
                    <a:pt x="347" y="224"/>
                  </a:lnTo>
                  <a:lnTo>
                    <a:pt x="354" y="210"/>
                  </a:lnTo>
                  <a:lnTo>
                    <a:pt x="361" y="199"/>
                  </a:lnTo>
                  <a:lnTo>
                    <a:pt x="367" y="186"/>
                  </a:lnTo>
                  <a:lnTo>
                    <a:pt x="373" y="173"/>
                  </a:lnTo>
                  <a:lnTo>
                    <a:pt x="379" y="160"/>
                  </a:lnTo>
                  <a:lnTo>
                    <a:pt x="385" y="148"/>
                  </a:lnTo>
                  <a:lnTo>
                    <a:pt x="392" y="135"/>
                  </a:lnTo>
                  <a:lnTo>
                    <a:pt x="397" y="122"/>
                  </a:lnTo>
                  <a:lnTo>
                    <a:pt x="402" y="108"/>
                  </a:lnTo>
                  <a:lnTo>
                    <a:pt x="407" y="95"/>
                  </a:lnTo>
                  <a:lnTo>
                    <a:pt x="412" y="82"/>
                  </a:lnTo>
                  <a:lnTo>
                    <a:pt x="416" y="68"/>
                  </a:lnTo>
                  <a:lnTo>
                    <a:pt x="420" y="55"/>
                  </a:lnTo>
                  <a:lnTo>
                    <a:pt x="425" y="41"/>
                  </a:lnTo>
                  <a:lnTo>
                    <a:pt x="428" y="28"/>
                  </a:lnTo>
                  <a:lnTo>
                    <a:pt x="431" y="14"/>
                  </a:lnTo>
                  <a:lnTo>
                    <a:pt x="435" y="0"/>
                  </a:lnTo>
                  <a:lnTo>
                    <a:pt x="670" y="187"/>
                  </a:lnTo>
                  <a:lnTo>
                    <a:pt x="961" y="122"/>
                  </a:lnTo>
                  <a:close/>
                </a:path>
              </a:pathLst>
            </a:custGeom>
            <a:solidFill>
              <a:schemeClr val="accent2"/>
            </a:solidFill>
            <a:ln w="38100" cmpd="sng">
              <a:solidFill>
                <a:schemeClr val="bg2"/>
              </a:solidFill>
              <a:prstDash val="solid"/>
              <a:round/>
              <a:headEnd/>
              <a:tailEnd/>
            </a:ln>
          </p:spPr>
          <p:txBody>
            <a:bodyPr lIns="0" tIns="0" rIns="0" bIns="0">
              <a:noAutofit/>
            </a:bodyPr>
            <a:lstStyle/>
            <a:p>
              <a:pPr algn="ctr"/>
              <a:endParaRPr lang="en-US" sz="1799" dirty="0">
                <a:solidFill>
                  <a:schemeClr val="bg1"/>
                </a:solidFill>
              </a:endParaRPr>
            </a:p>
          </p:txBody>
        </p:sp>
        <p:sp>
          <p:nvSpPr>
            <p:cNvPr id="44" name="Freeform 46">
              <a:extLst>
                <a:ext uri="{FF2B5EF4-FFF2-40B4-BE49-F238E27FC236}">
                  <a16:creationId xmlns:a16="http://schemas.microsoft.com/office/drawing/2014/main" id="{538B888B-41D8-48AC-A616-31CA089E089F}"/>
                </a:ext>
              </a:extLst>
            </p:cNvPr>
            <p:cNvSpPr>
              <a:spLocks/>
            </p:cNvSpPr>
            <p:nvPr/>
          </p:nvSpPr>
          <p:spPr bwMode="auto">
            <a:xfrm>
              <a:off x="5247436" y="4631369"/>
              <a:ext cx="1671382" cy="878183"/>
            </a:xfrm>
            <a:custGeom>
              <a:avLst/>
              <a:gdLst>
                <a:gd name="T0" fmla="*/ 787074831 w 1182"/>
                <a:gd name="T1" fmla="*/ 334856250 h 622"/>
                <a:gd name="T2" fmla="*/ 757923765 w 1182"/>
                <a:gd name="T3" fmla="*/ 348385731 h 622"/>
                <a:gd name="T4" fmla="*/ 728095190 w 1182"/>
                <a:gd name="T5" fmla="*/ 360562265 h 622"/>
                <a:gd name="T6" fmla="*/ 698265824 w 1182"/>
                <a:gd name="T7" fmla="*/ 370709376 h 622"/>
                <a:gd name="T8" fmla="*/ 667759741 w 1182"/>
                <a:gd name="T9" fmla="*/ 380856487 h 622"/>
                <a:gd name="T10" fmla="*/ 637252867 w 1182"/>
                <a:gd name="T11" fmla="*/ 389650650 h 622"/>
                <a:gd name="T12" fmla="*/ 606067692 w 1182"/>
                <a:gd name="T13" fmla="*/ 397091865 h 622"/>
                <a:gd name="T14" fmla="*/ 574883309 w 1182"/>
                <a:gd name="T15" fmla="*/ 403856606 h 622"/>
                <a:gd name="T16" fmla="*/ 543698134 w 1182"/>
                <a:gd name="T17" fmla="*/ 409268398 h 622"/>
                <a:gd name="T18" fmla="*/ 511835451 w 1182"/>
                <a:gd name="T19" fmla="*/ 414003717 h 622"/>
                <a:gd name="T20" fmla="*/ 479973560 w 1182"/>
                <a:gd name="T21" fmla="*/ 417386087 h 622"/>
                <a:gd name="T22" fmla="*/ 448110878 w 1182"/>
                <a:gd name="T23" fmla="*/ 419415509 h 622"/>
                <a:gd name="T24" fmla="*/ 416248195 w 1182"/>
                <a:gd name="T25" fmla="*/ 420768457 h 622"/>
                <a:gd name="T26" fmla="*/ 384385512 w 1182"/>
                <a:gd name="T27" fmla="*/ 420768457 h 622"/>
                <a:gd name="T28" fmla="*/ 352522829 w 1182"/>
                <a:gd name="T29" fmla="*/ 419415509 h 622"/>
                <a:gd name="T30" fmla="*/ 320660146 w 1182"/>
                <a:gd name="T31" fmla="*/ 417386087 h 622"/>
                <a:gd name="T32" fmla="*/ 288797463 w 1182"/>
                <a:gd name="T33" fmla="*/ 414003717 h 622"/>
                <a:gd name="T34" fmla="*/ 257613080 w 1182"/>
                <a:gd name="T35" fmla="*/ 409268398 h 622"/>
                <a:gd name="T36" fmla="*/ 225750397 w 1182"/>
                <a:gd name="T37" fmla="*/ 403856606 h 622"/>
                <a:gd name="T38" fmla="*/ 194565222 w 1182"/>
                <a:gd name="T39" fmla="*/ 397091865 h 622"/>
                <a:gd name="T40" fmla="*/ 164058348 w 1182"/>
                <a:gd name="T41" fmla="*/ 389650650 h 622"/>
                <a:gd name="T42" fmla="*/ 132873965 w 1182"/>
                <a:gd name="T43" fmla="*/ 380856487 h 622"/>
                <a:gd name="T44" fmla="*/ 103045391 w 1182"/>
                <a:gd name="T45" fmla="*/ 370709376 h 622"/>
                <a:gd name="T46" fmla="*/ 73216024 w 1182"/>
                <a:gd name="T47" fmla="*/ 360562265 h 622"/>
                <a:gd name="T48" fmla="*/ 43387449 w 1182"/>
                <a:gd name="T49" fmla="*/ 348385731 h 622"/>
                <a:gd name="T50" fmla="*/ 14236383 w 1182"/>
                <a:gd name="T51" fmla="*/ 334856250 h 622"/>
                <a:gd name="T52" fmla="*/ 0 w 1182"/>
                <a:gd name="T53" fmla="*/ 126501443 h 622"/>
                <a:gd name="T54" fmla="*/ 168804073 w 1182"/>
                <a:gd name="T55" fmla="*/ 4058844 h 622"/>
                <a:gd name="T56" fmla="*/ 186430373 w 1182"/>
                <a:gd name="T57" fmla="*/ 12176533 h 622"/>
                <a:gd name="T58" fmla="*/ 204056672 w 1182"/>
                <a:gd name="T59" fmla="*/ 19617748 h 622"/>
                <a:gd name="T60" fmla="*/ 221682180 w 1182"/>
                <a:gd name="T61" fmla="*/ 25706015 h 622"/>
                <a:gd name="T62" fmla="*/ 239986780 w 1182"/>
                <a:gd name="T63" fmla="*/ 31794282 h 622"/>
                <a:gd name="T64" fmla="*/ 258290588 w 1182"/>
                <a:gd name="T65" fmla="*/ 37206074 h 622"/>
                <a:gd name="T66" fmla="*/ 277272696 w 1182"/>
                <a:gd name="T67" fmla="*/ 41941393 h 622"/>
                <a:gd name="T68" fmla="*/ 295576504 w 1182"/>
                <a:gd name="T69" fmla="*/ 46000237 h 622"/>
                <a:gd name="T70" fmla="*/ 314558612 w 1182"/>
                <a:gd name="T71" fmla="*/ 48706133 h 622"/>
                <a:gd name="T72" fmla="*/ 333540720 w 1182"/>
                <a:gd name="T73" fmla="*/ 51412030 h 622"/>
                <a:gd name="T74" fmla="*/ 353200337 w 1182"/>
                <a:gd name="T75" fmla="*/ 53441452 h 622"/>
                <a:gd name="T76" fmla="*/ 371504937 w 1182"/>
                <a:gd name="T77" fmla="*/ 54794400 h 622"/>
                <a:gd name="T78" fmla="*/ 390487045 w 1182"/>
                <a:gd name="T79" fmla="*/ 56147348 h 622"/>
                <a:gd name="T80" fmla="*/ 410146661 w 1182"/>
                <a:gd name="T81" fmla="*/ 56147348 h 622"/>
                <a:gd name="T82" fmla="*/ 429128769 w 1182"/>
                <a:gd name="T83" fmla="*/ 54794400 h 622"/>
                <a:gd name="T84" fmla="*/ 448110878 w 1182"/>
                <a:gd name="T85" fmla="*/ 53441452 h 622"/>
                <a:gd name="T86" fmla="*/ 467092193 w 1182"/>
                <a:gd name="T87" fmla="*/ 51412030 h 622"/>
                <a:gd name="T88" fmla="*/ 486752602 w 1182"/>
                <a:gd name="T89" fmla="*/ 48706133 h 622"/>
                <a:gd name="T90" fmla="*/ 505056410 w 1182"/>
                <a:gd name="T91" fmla="*/ 46000237 h 622"/>
                <a:gd name="T92" fmla="*/ 523361010 w 1182"/>
                <a:gd name="T93" fmla="*/ 41941393 h 622"/>
                <a:gd name="T94" fmla="*/ 542342326 w 1182"/>
                <a:gd name="T95" fmla="*/ 37206074 h 622"/>
                <a:gd name="T96" fmla="*/ 560646926 w 1182"/>
                <a:gd name="T97" fmla="*/ 31794282 h 622"/>
                <a:gd name="T98" fmla="*/ 578950734 w 1182"/>
                <a:gd name="T99" fmla="*/ 25706015 h 622"/>
                <a:gd name="T100" fmla="*/ 597254542 w 1182"/>
                <a:gd name="T101" fmla="*/ 19617748 h 622"/>
                <a:gd name="T102" fmla="*/ 614880842 w 1182"/>
                <a:gd name="T103" fmla="*/ 12176533 h 622"/>
                <a:gd name="T104" fmla="*/ 632507141 w 1182"/>
                <a:gd name="T105" fmla="*/ 4058844 h 622"/>
                <a:gd name="T106" fmla="*/ 639964483 w 1182"/>
                <a:gd name="T107" fmla="*/ 203619488 h 62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182" h="622">
                  <a:moveTo>
                    <a:pt x="1182" y="485"/>
                  </a:moveTo>
                  <a:lnTo>
                    <a:pt x="1161" y="495"/>
                  </a:lnTo>
                  <a:lnTo>
                    <a:pt x="1140" y="505"/>
                  </a:lnTo>
                  <a:lnTo>
                    <a:pt x="1118" y="515"/>
                  </a:lnTo>
                  <a:lnTo>
                    <a:pt x="1096" y="524"/>
                  </a:lnTo>
                  <a:lnTo>
                    <a:pt x="1074" y="533"/>
                  </a:lnTo>
                  <a:lnTo>
                    <a:pt x="1052" y="540"/>
                  </a:lnTo>
                  <a:lnTo>
                    <a:pt x="1030" y="548"/>
                  </a:lnTo>
                  <a:lnTo>
                    <a:pt x="1008" y="556"/>
                  </a:lnTo>
                  <a:lnTo>
                    <a:pt x="985" y="563"/>
                  </a:lnTo>
                  <a:lnTo>
                    <a:pt x="962" y="570"/>
                  </a:lnTo>
                  <a:lnTo>
                    <a:pt x="940" y="576"/>
                  </a:lnTo>
                  <a:lnTo>
                    <a:pt x="917" y="582"/>
                  </a:lnTo>
                  <a:lnTo>
                    <a:pt x="894" y="587"/>
                  </a:lnTo>
                  <a:lnTo>
                    <a:pt x="871" y="593"/>
                  </a:lnTo>
                  <a:lnTo>
                    <a:pt x="848" y="597"/>
                  </a:lnTo>
                  <a:lnTo>
                    <a:pt x="825" y="601"/>
                  </a:lnTo>
                  <a:lnTo>
                    <a:pt x="802" y="605"/>
                  </a:lnTo>
                  <a:lnTo>
                    <a:pt x="778" y="609"/>
                  </a:lnTo>
                  <a:lnTo>
                    <a:pt x="755" y="612"/>
                  </a:lnTo>
                  <a:lnTo>
                    <a:pt x="731" y="614"/>
                  </a:lnTo>
                  <a:lnTo>
                    <a:pt x="708" y="617"/>
                  </a:lnTo>
                  <a:lnTo>
                    <a:pt x="685" y="618"/>
                  </a:lnTo>
                  <a:lnTo>
                    <a:pt x="661" y="620"/>
                  </a:lnTo>
                  <a:lnTo>
                    <a:pt x="638" y="621"/>
                  </a:lnTo>
                  <a:lnTo>
                    <a:pt x="614" y="622"/>
                  </a:lnTo>
                  <a:lnTo>
                    <a:pt x="591" y="622"/>
                  </a:lnTo>
                  <a:lnTo>
                    <a:pt x="567" y="622"/>
                  </a:lnTo>
                  <a:lnTo>
                    <a:pt x="543" y="621"/>
                  </a:lnTo>
                  <a:lnTo>
                    <a:pt x="520" y="620"/>
                  </a:lnTo>
                  <a:lnTo>
                    <a:pt x="496" y="618"/>
                  </a:lnTo>
                  <a:lnTo>
                    <a:pt x="473" y="617"/>
                  </a:lnTo>
                  <a:lnTo>
                    <a:pt x="449" y="614"/>
                  </a:lnTo>
                  <a:lnTo>
                    <a:pt x="426" y="612"/>
                  </a:lnTo>
                  <a:lnTo>
                    <a:pt x="403" y="609"/>
                  </a:lnTo>
                  <a:lnTo>
                    <a:pt x="380" y="605"/>
                  </a:lnTo>
                  <a:lnTo>
                    <a:pt x="357" y="601"/>
                  </a:lnTo>
                  <a:lnTo>
                    <a:pt x="333" y="597"/>
                  </a:lnTo>
                  <a:lnTo>
                    <a:pt x="311" y="593"/>
                  </a:lnTo>
                  <a:lnTo>
                    <a:pt x="287" y="587"/>
                  </a:lnTo>
                  <a:lnTo>
                    <a:pt x="264" y="582"/>
                  </a:lnTo>
                  <a:lnTo>
                    <a:pt x="242" y="576"/>
                  </a:lnTo>
                  <a:lnTo>
                    <a:pt x="218" y="570"/>
                  </a:lnTo>
                  <a:lnTo>
                    <a:pt x="196" y="563"/>
                  </a:lnTo>
                  <a:lnTo>
                    <a:pt x="174" y="556"/>
                  </a:lnTo>
                  <a:lnTo>
                    <a:pt x="152" y="548"/>
                  </a:lnTo>
                  <a:lnTo>
                    <a:pt x="129" y="540"/>
                  </a:lnTo>
                  <a:lnTo>
                    <a:pt x="108" y="533"/>
                  </a:lnTo>
                  <a:lnTo>
                    <a:pt x="86" y="524"/>
                  </a:lnTo>
                  <a:lnTo>
                    <a:pt x="64" y="515"/>
                  </a:lnTo>
                  <a:lnTo>
                    <a:pt x="42" y="505"/>
                  </a:lnTo>
                  <a:lnTo>
                    <a:pt x="21" y="495"/>
                  </a:lnTo>
                  <a:lnTo>
                    <a:pt x="0" y="485"/>
                  </a:lnTo>
                  <a:lnTo>
                    <a:pt x="0" y="187"/>
                  </a:lnTo>
                  <a:lnTo>
                    <a:pt x="236" y="0"/>
                  </a:lnTo>
                  <a:lnTo>
                    <a:pt x="249" y="6"/>
                  </a:lnTo>
                  <a:lnTo>
                    <a:pt x="262" y="12"/>
                  </a:lnTo>
                  <a:lnTo>
                    <a:pt x="275" y="18"/>
                  </a:lnTo>
                  <a:lnTo>
                    <a:pt x="288" y="23"/>
                  </a:lnTo>
                  <a:lnTo>
                    <a:pt x="301" y="29"/>
                  </a:lnTo>
                  <a:lnTo>
                    <a:pt x="314" y="34"/>
                  </a:lnTo>
                  <a:lnTo>
                    <a:pt x="327" y="38"/>
                  </a:lnTo>
                  <a:lnTo>
                    <a:pt x="341" y="42"/>
                  </a:lnTo>
                  <a:lnTo>
                    <a:pt x="354" y="47"/>
                  </a:lnTo>
                  <a:lnTo>
                    <a:pt x="368" y="51"/>
                  </a:lnTo>
                  <a:lnTo>
                    <a:pt x="381" y="55"/>
                  </a:lnTo>
                  <a:lnTo>
                    <a:pt x="395" y="58"/>
                  </a:lnTo>
                  <a:lnTo>
                    <a:pt x="409" y="62"/>
                  </a:lnTo>
                  <a:lnTo>
                    <a:pt x="423" y="64"/>
                  </a:lnTo>
                  <a:lnTo>
                    <a:pt x="436" y="68"/>
                  </a:lnTo>
                  <a:lnTo>
                    <a:pt x="450" y="70"/>
                  </a:lnTo>
                  <a:lnTo>
                    <a:pt x="464" y="72"/>
                  </a:lnTo>
                  <a:lnTo>
                    <a:pt x="478" y="74"/>
                  </a:lnTo>
                  <a:lnTo>
                    <a:pt x="492" y="76"/>
                  </a:lnTo>
                  <a:lnTo>
                    <a:pt x="506" y="78"/>
                  </a:lnTo>
                  <a:lnTo>
                    <a:pt x="521" y="79"/>
                  </a:lnTo>
                  <a:lnTo>
                    <a:pt x="534" y="80"/>
                  </a:lnTo>
                  <a:lnTo>
                    <a:pt x="548" y="81"/>
                  </a:lnTo>
                  <a:lnTo>
                    <a:pt x="562" y="82"/>
                  </a:lnTo>
                  <a:lnTo>
                    <a:pt x="576" y="83"/>
                  </a:lnTo>
                  <a:lnTo>
                    <a:pt x="591" y="83"/>
                  </a:lnTo>
                  <a:lnTo>
                    <a:pt x="605" y="83"/>
                  </a:lnTo>
                  <a:lnTo>
                    <a:pt x="619" y="82"/>
                  </a:lnTo>
                  <a:lnTo>
                    <a:pt x="633" y="81"/>
                  </a:lnTo>
                  <a:lnTo>
                    <a:pt x="647" y="80"/>
                  </a:lnTo>
                  <a:lnTo>
                    <a:pt x="661" y="79"/>
                  </a:lnTo>
                  <a:lnTo>
                    <a:pt x="675" y="78"/>
                  </a:lnTo>
                  <a:lnTo>
                    <a:pt x="689" y="76"/>
                  </a:lnTo>
                  <a:lnTo>
                    <a:pt x="703" y="74"/>
                  </a:lnTo>
                  <a:lnTo>
                    <a:pt x="718" y="72"/>
                  </a:lnTo>
                  <a:lnTo>
                    <a:pt x="731" y="70"/>
                  </a:lnTo>
                  <a:lnTo>
                    <a:pt x="745" y="68"/>
                  </a:lnTo>
                  <a:lnTo>
                    <a:pt x="759" y="64"/>
                  </a:lnTo>
                  <a:lnTo>
                    <a:pt x="772" y="62"/>
                  </a:lnTo>
                  <a:lnTo>
                    <a:pt x="786" y="58"/>
                  </a:lnTo>
                  <a:lnTo>
                    <a:pt x="800" y="55"/>
                  </a:lnTo>
                  <a:lnTo>
                    <a:pt x="814" y="51"/>
                  </a:lnTo>
                  <a:lnTo>
                    <a:pt x="827" y="47"/>
                  </a:lnTo>
                  <a:lnTo>
                    <a:pt x="841" y="42"/>
                  </a:lnTo>
                  <a:lnTo>
                    <a:pt x="854" y="38"/>
                  </a:lnTo>
                  <a:lnTo>
                    <a:pt x="868" y="34"/>
                  </a:lnTo>
                  <a:lnTo>
                    <a:pt x="881" y="29"/>
                  </a:lnTo>
                  <a:lnTo>
                    <a:pt x="894" y="23"/>
                  </a:lnTo>
                  <a:lnTo>
                    <a:pt x="907" y="18"/>
                  </a:lnTo>
                  <a:lnTo>
                    <a:pt x="920" y="12"/>
                  </a:lnTo>
                  <a:lnTo>
                    <a:pt x="933" y="6"/>
                  </a:lnTo>
                  <a:lnTo>
                    <a:pt x="945" y="0"/>
                  </a:lnTo>
                  <a:lnTo>
                    <a:pt x="944" y="301"/>
                  </a:lnTo>
                  <a:lnTo>
                    <a:pt x="1182" y="485"/>
                  </a:lnTo>
                  <a:close/>
                </a:path>
              </a:pathLst>
            </a:custGeom>
            <a:solidFill>
              <a:srgbClr val="333353"/>
            </a:solidFill>
            <a:ln w="38100" cmpd="sng">
              <a:solidFill>
                <a:schemeClr val="bg2"/>
              </a:solidFill>
              <a:prstDash val="solid"/>
              <a:round/>
              <a:headEnd/>
              <a:tailEnd/>
            </a:ln>
          </p:spPr>
          <p:txBody>
            <a:bodyPr lIns="0" tIns="0" rIns="0" bIns="0">
              <a:noAutofit/>
            </a:bodyPr>
            <a:lstStyle/>
            <a:p>
              <a:pPr algn="ctr"/>
              <a:endParaRPr lang="en-US" sz="1799" dirty="0"/>
            </a:p>
          </p:txBody>
        </p:sp>
        <p:sp>
          <p:nvSpPr>
            <p:cNvPr id="45" name="Freeform 47">
              <a:extLst>
                <a:ext uri="{FF2B5EF4-FFF2-40B4-BE49-F238E27FC236}">
                  <a16:creationId xmlns:a16="http://schemas.microsoft.com/office/drawing/2014/main" id="{E599EE2D-CB68-4B8E-8235-12AB63E7469A}"/>
                </a:ext>
              </a:extLst>
            </p:cNvPr>
            <p:cNvSpPr>
              <a:spLocks/>
            </p:cNvSpPr>
            <p:nvPr/>
          </p:nvSpPr>
          <p:spPr bwMode="auto">
            <a:xfrm>
              <a:off x="4227612" y="3773017"/>
              <a:ext cx="1354102" cy="1543904"/>
            </a:xfrm>
            <a:custGeom>
              <a:avLst/>
              <a:gdLst>
                <a:gd name="T0" fmla="*/ 474779693 w 958"/>
                <a:gd name="T1" fmla="*/ 733957803 h 1094"/>
                <a:gd name="T2" fmla="*/ 446333261 w 958"/>
                <a:gd name="T3" fmla="*/ 719061385 h 1094"/>
                <a:gd name="T4" fmla="*/ 418564860 w 958"/>
                <a:gd name="T5" fmla="*/ 702811825 h 1094"/>
                <a:gd name="T6" fmla="*/ 391472907 w 958"/>
                <a:gd name="T7" fmla="*/ 685884509 h 1094"/>
                <a:gd name="T8" fmla="*/ 365058985 w 958"/>
                <a:gd name="T9" fmla="*/ 668280227 h 1094"/>
                <a:gd name="T10" fmla="*/ 339998749 w 958"/>
                <a:gd name="T11" fmla="*/ 649322012 h 1094"/>
                <a:gd name="T12" fmla="*/ 314939306 w 958"/>
                <a:gd name="T13" fmla="*/ 629686832 h 1094"/>
                <a:gd name="T14" fmla="*/ 289879863 w 958"/>
                <a:gd name="T15" fmla="*/ 608696928 h 1094"/>
                <a:gd name="T16" fmla="*/ 266852138 w 958"/>
                <a:gd name="T17" fmla="*/ 587707815 h 1094"/>
                <a:gd name="T18" fmla="*/ 243824413 w 958"/>
                <a:gd name="T19" fmla="*/ 565363979 h 1094"/>
                <a:gd name="T20" fmla="*/ 221473136 w 958"/>
                <a:gd name="T21" fmla="*/ 542343177 h 1094"/>
                <a:gd name="T22" fmla="*/ 200477921 w 958"/>
                <a:gd name="T23" fmla="*/ 518645409 h 1094"/>
                <a:gd name="T24" fmla="*/ 179481915 w 958"/>
                <a:gd name="T25" fmla="*/ 494947640 h 1094"/>
                <a:gd name="T26" fmla="*/ 160517627 w 958"/>
                <a:gd name="T27" fmla="*/ 469218183 h 1094"/>
                <a:gd name="T28" fmla="*/ 141553338 w 958"/>
                <a:gd name="T29" fmla="*/ 443488726 h 1094"/>
                <a:gd name="T30" fmla="*/ 123266289 w 958"/>
                <a:gd name="T31" fmla="*/ 417083093 h 1094"/>
                <a:gd name="T32" fmla="*/ 107011751 w 958"/>
                <a:gd name="T33" fmla="*/ 389999703 h 1094"/>
                <a:gd name="T34" fmla="*/ 91433660 w 958"/>
                <a:gd name="T35" fmla="*/ 362239348 h 1094"/>
                <a:gd name="T36" fmla="*/ 75856361 w 958"/>
                <a:gd name="T37" fmla="*/ 333802026 h 1094"/>
                <a:gd name="T38" fmla="*/ 61633541 w 958"/>
                <a:gd name="T39" fmla="*/ 305363913 h 1094"/>
                <a:gd name="T40" fmla="*/ 48765200 w 958"/>
                <a:gd name="T41" fmla="*/ 276249625 h 1094"/>
                <a:gd name="T42" fmla="*/ 37250545 w 958"/>
                <a:gd name="T43" fmla="*/ 246458371 h 1094"/>
                <a:gd name="T44" fmla="*/ 25736683 w 958"/>
                <a:gd name="T45" fmla="*/ 215989360 h 1094"/>
                <a:gd name="T46" fmla="*/ 16255331 w 958"/>
                <a:gd name="T47" fmla="*/ 186197315 h 1094"/>
                <a:gd name="T48" fmla="*/ 7450426 w 958"/>
                <a:gd name="T49" fmla="*/ 155729095 h 1094"/>
                <a:gd name="T50" fmla="*/ 0 w 958"/>
                <a:gd name="T51" fmla="*/ 124583118 h 1094"/>
                <a:gd name="T52" fmla="*/ 356254080 w 958"/>
                <a:gd name="T53" fmla="*/ 41979017 h 1094"/>
                <a:gd name="T54" fmla="*/ 360317516 w 958"/>
                <a:gd name="T55" fmla="*/ 60937231 h 1094"/>
                <a:gd name="T56" fmla="*/ 365058985 w 958"/>
                <a:gd name="T57" fmla="*/ 79218480 h 1094"/>
                <a:gd name="T58" fmla="*/ 371831379 w 958"/>
                <a:gd name="T59" fmla="*/ 97499728 h 1094"/>
                <a:gd name="T60" fmla="*/ 377927326 w 958"/>
                <a:gd name="T61" fmla="*/ 115104010 h 1094"/>
                <a:gd name="T62" fmla="*/ 385377752 w 958"/>
                <a:gd name="T63" fmla="*/ 133385259 h 1094"/>
                <a:gd name="T64" fmla="*/ 392827385 w 958"/>
                <a:gd name="T65" fmla="*/ 150312575 h 1094"/>
                <a:gd name="T66" fmla="*/ 400955051 w 958"/>
                <a:gd name="T67" fmla="*/ 167916067 h 1094"/>
                <a:gd name="T68" fmla="*/ 410437195 w 958"/>
                <a:gd name="T69" fmla="*/ 184166417 h 1094"/>
                <a:gd name="T70" fmla="*/ 419919339 w 958"/>
                <a:gd name="T71" fmla="*/ 201770699 h 1094"/>
                <a:gd name="T72" fmla="*/ 430078722 w 958"/>
                <a:gd name="T73" fmla="*/ 217343292 h 1094"/>
                <a:gd name="T74" fmla="*/ 440238106 w 958"/>
                <a:gd name="T75" fmla="*/ 233593642 h 1094"/>
                <a:gd name="T76" fmla="*/ 451751968 w 958"/>
                <a:gd name="T77" fmla="*/ 248489269 h 1094"/>
                <a:gd name="T78" fmla="*/ 463265831 w 958"/>
                <a:gd name="T79" fmla="*/ 264061863 h 1094"/>
                <a:gd name="T80" fmla="*/ 475456933 w 958"/>
                <a:gd name="T81" fmla="*/ 278958280 h 1094"/>
                <a:gd name="T82" fmla="*/ 488325274 w 958"/>
                <a:gd name="T83" fmla="*/ 293176941 h 1094"/>
                <a:gd name="T84" fmla="*/ 501870855 w 958"/>
                <a:gd name="T85" fmla="*/ 306718636 h 1094"/>
                <a:gd name="T86" fmla="*/ 515417228 w 958"/>
                <a:gd name="T87" fmla="*/ 319582574 h 1094"/>
                <a:gd name="T88" fmla="*/ 529640048 w 958"/>
                <a:gd name="T89" fmla="*/ 333124269 h 1094"/>
                <a:gd name="T90" fmla="*/ 544540107 w 958"/>
                <a:gd name="T91" fmla="*/ 345312031 h 1094"/>
                <a:gd name="T92" fmla="*/ 559440959 w 958"/>
                <a:gd name="T93" fmla="*/ 356822828 h 1094"/>
                <a:gd name="T94" fmla="*/ 575018258 w 958"/>
                <a:gd name="T95" fmla="*/ 368332834 h 1094"/>
                <a:gd name="T96" fmla="*/ 590596349 w 958"/>
                <a:gd name="T97" fmla="*/ 379165873 h 1094"/>
                <a:gd name="T98" fmla="*/ 607528127 w 958"/>
                <a:gd name="T99" fmla="*/ 389322737 h 1094"/>
                <a:gd name="T100" fmla="*/ 623783457 w 958"/>
                <a:gd name="T101" fmla="*/ 398801845 h 1094"/>
                <a:gd name="T102" fmla="*/ 640715235 w 958"/>
                <a:gd name="T103" fmla="*/ 407603986 h 1094"/>
                <a:gd name="T104" fmla="*/ 489002513 w 958"/>
                <a:gd name="T105" fmla="*/ 538280589 h 109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958" h="1094">
                  <a:moveTo>
                    <a:pt x="722" y="1094"/>
                  </a:moveTo>
                  <a:lnTo>
                    <a:pt x="701" y="1084"/>
                  </a:lnTo>
                  <a:lnTo>
                    <a:pt x="679" y="1073"/>
                  </a:lnTo>
                  <a:lnTo>
                    <a:pt x="659" y="1062"/>
                  </a:lnTo>
                  <a:lnTo>
                    <a:pt x="639" y="1050"/>
                  </a:lnTo>
                  <a:lnTo>
                    <a:pt x="618" y="1038"/>
                  </a:lnTo>
                  <a:lnTo>
                    <a:pt x="598" y="1026"/>
                  </a:lnTo>
                  <a:lnTo>
                    <a:pt x="578" y="1013"/>
                  </a:lnTo>
                  <a:lnTo>
                    <a:pt x="559" y="1000"/>
                  </a:lnTo>
                  <a:lnTo>
                    <a:pt x="539" y="987"/>
                  </a:lnTo>
                  <a:lnTo>
                    <a:pt x="520" y="973"/>
                  </a:lnTo>
                  <a:lnTo>
                    <a:pt x="502" y="959"/>
                  </a:lnTo>
                  <a:lnTo>
                    <a:pt x="483" y="945"/>
                  </a:lnTo>
                  <a:lnTo>
                    <a:pt x="465" y="930"/>
                  </a:lnTo>
                  <a:lnTo>
                    <a:pt x="446" y="915"/>
                  </a:lnTo>
                  <a:lnTo>
                    <a:pt x="428" y="899"/>
                  </a:lnTo>
                  <a:lnTo>
                    <a:pt x="411" y="884"/>
                  </a:lnTo>
                  <a:lnTo>
                    <a:pt x="394" y="868"/>
                  </a:lnTo>
                  <a:lnTo>
                    <a:pt x="376" y="851"/>
                  </a:lnTo>
                  <a:lnTo>
                    <a:pt x="360" y="835"/>
                  </a:lnTo>
                  <a:lnTo>
                    <a:pt x="343" y="818"/>
                  </a:lnTo>
                  <a:lnTo>
                    <a:pt x="327" y="801"/>
                  </a:lnTo>
                  <a:lnTo>
                    <a:pt x="311" y="784"/>
                  </a:lnTo>
                  <a:lnTo>
                    <a:pt x="296" y="766"/>
                  </a:lnTo>
                  <a:lnTo>
                    <a:pt x="280" y="748"/>
                  </a:lnTo>
                  <a:lnTo>
                    <a:pt x="265" y="731"/>
                  </a:lnTo>
                  <a:lnTo>
                    <a:pt x="251" y="712"/>
                  </a:lnTo>
                  <a:lnTo>
                    <a:pt x="237" y="693"/>
                  </a:lnTo>
                  <a:lnTo>
                    <a:pt x="223" y="674"/>
                  </a:lnTo>
                  <a:lnTo>
                    <a:pt x="209" y="655"/>
                  </a:lnTo>
                  <a:lnTo>
                    <a:pt x="195" y="636"/>
                  </a:lnTo>
                  <a:lnTo>
                    <a:pt x="182" y="616"/>
                  </a:lnTo>
                  <a:lnTo>
                    <a:pt x="170" y="596"/>
                  </a:lnTo>
                  <a:lnTo>
                    <a:pt x="158" y="576"/>
                  </a:lnTo>
                  <a:lnTo>
                    <a:pt x="146" y="556"/>
                  </a:lnTo>
                  <a:lnTo>
                    <a:pt x="135" y="535"/>
                  </a:lnTo>
                  <a:lnTo>
                    <a:pt x="123" y="514"/>
                  </a:lnTo>
                  <a:lnTo>
                    <a:pt x="112" y="493"/>
                  </a:lnTo>
                  <a:lnTo>
                    <a:pt x="102" y="472"/>
                  </a:lnTo>
                  <a:lnTo>
                    <a:pt x="91" y="451"/>
                  </a:lnTo>
                  <a:lnTo>
                    <a:pt x="82" y="430"/>
                  </a:lnTo>
                  <a:lnTo>
                    <a:pt x="72" y="408"/>
                  </a:lnTo>
                  <a:lnTo>
                    <a:pt x="63" y="386"/>
                  </a:lnTo>
                  <a:lnTo>
                    <a:pt x="55" y="364"/>
                  </a:lnTo>
                  <a:lnTo>
                    <a:pt x="46" y="342"/>
                  </a:lnTo>
                  <a:lnTo>
                    <a:pt x="38" y="319"/>
                  </a:lnTo>
                  <a:lnTo>
                    <a:pt x="31" y="298"/>
                  </a:lnTo>
                  <a:lnTo>
                    <a:pt x="24" y="275"/>
                  </a:lnTo>
                  <a:lnTo>
                    <a:pt x="18" y="252"/>
                  </a:lnTo>
                  <a:lnTo>
                    <a:pt x="11" y="230"/>
                  </a:lnTo>
                  <a:lnTo>
                    <a:pt x="5" y="206"/>
                  </a:lnTo>
                  <a:lnTo>
                    <a:pt x="0" y="184"/>
                  </a:lnTo>
                  <a:lnTo>
                    <a:pt x="233" y="0"/>
                  </a:lnTo>
                  <a:lnTo>
                    <a:pt x="526" y="62"/>
                  </a:lnTo>
                  <a:lnTo>
                    <a:pt x="528" y="76"/>
                  </a:lnTo>
                  <a:lnTo>
                    <a:pt x="532" y="90"/>
                  </a:lnTo>
                  <a:lnTo>
                    <a:pt x="536" y="103"/>
                  </a:lnTo>
                  <a:lnTo>
                    <a:pt x="539" y="117"/>
                  </a:lnTo>
                  <a:lnTo>
                    <a:pt x="544" y="130"/>
                  </a:lnTo>
                  <a:lnTo>
                    <a:pt x="549" y="144"/>
                  </a:lnTo>
                  <a:lnTo>
                    <a:pt x="553" y="157"/>
                  </a:lnTo>
                  <a:lnTo>
                    <a:pt x="558" y="170"/>
                  </a:lnTo>
                  <a:lnTo>
                    <a:pt x="563" y="184"/>
                  </a:lnTo>
                  <a:lnTo>
                    <a:pt x="569" y="197"/>
                  </a:lnTo>
                  <a:lnTo>
                    <a:pt x="574" y="210"/>
                  </a:lnTo>
                  <a:lnTo>
                    <a:pt x="580" y="222"/>
                  </a:lnTo>
                  <a:lnTo>
                    <a:pt x="586" y="235"/>
                  </a:lnTo>
                  <a:lnTo>
                    <a:pt x="592" y="248"/>
                  </a:lnTo>
                  <a:lnTo>
                    <a:pt x="599" y="261"/>
                  </a:lnTo>
                  <a:lnTo>
                    <a:pt x="606" y="272"/>
                  </a:lnTo>
                  <a:lnTo>
                    <a:pt x="613" y="286"/>
                  </a:lnTo>
                  <a:lnTo>
                    <a:pt x="620" y="298"/>
                  </a:lnTo>
                  <a:lnTo>
                    <a:pt x="627" y="309"/>
                  </a:lnTo>
                  <a:lnTo>
                    <a:pt x="635" y="321"/>
                  </a:lnTo>
                  <a:lnTo>
                    <a:pt x="642" y="333"/>
                  </a:lnTo>
                  <a:lnTo>
                    <a:pt x="650" y="345"/>
                  </a:lnTo>
                  <a:lnTo>
                    <a:pt x="659" y="356"/>
                  </a:lnTo>
                  <a:lnTo>
                    <a:pt x="667" y="367"/>
                  </a:lnTo>
                  <a:lnTo>
                    <a:pt x="675" y="379"/>
                  </a:lnTo>
                  <a:lnTo>
                    <a:pt x="684" y="390"/>
                  </a:lnTo>
                  <a:lnTo>
                    <a:pt x="693" y="401"/>
                  </a:lnTo>
                  <a:lnTo>
                    <a:pt x="702" y="412"/>
                  </a:lnTo>
                  <a:lnTo>
                    <a:pt x="712" y="422"/>
                  </a:lnTo>
                  <a:lnTo>
                    <a:pt x="721" y="433"/>
                  </a:lnTo>
                  <a:lnTo>
                    <a:pt x="731" y="443"/>
                  </a:lnTo>
                  <a:lnTo>
                    <a:pt x="741" y="453"/>
                  </a:lnTo>
                  <a:lnTo>
                    <a:pt x="751" y="463"/>
                  </a:lnTo>
                  <a:lnTo>
                    <a:pt x="761" y="472"/>
                  </a:lnTo>
                  <a:lnTo>
                    <a:pt x="772" y="482"/>
                  </a:lnTo>
                  <a:lnTo>
                    <a:pt x="782" y="492"/>
                  </a:lnTo>
                  <a:lnTo>
                    <a:pt x="793" y="501"/>
                  </a:lnTo>
                  <a:lnTo>
                    <a:pt x="804" y="510"/>
                  </a:lnTo>
                  <a:lnTo>
                    <a:pt x="815" y="519"/>
                  </a:lnTo>
                  <a:lnTo>
                    <a:pt x="826" y="527"/>
                  </a:lnTo>
                  <a:lnTo>
                    <a:pt x="837" y="536"/>
                  </a:lnTo>
                  <a:lnTo>
                    <a:pt x="849" y="544"/>
                  </a:lnTo>
                  <a:lnTo>
                    <a:pt x="861" y="552"/>
                  </a:lnTo>
                  <a:lnTo>
                    <a:pt x="872" y="560"/>
                  </a:lnTo>
                  <a:lnTo>
                    <a:pt x="884" y="567"/>
                  </a:lnTo>
                  <a:lnTo>
                    <a:pt x="897" y="575"/>
                  </a:lnTo>
                  <a:lnTo>
                    <a:pt x="908" y="582"/>
                  </a:lnTo>
                  <a:lnTo>
                    <a:pt x="921" y="589"/>
                  </a:lnTo>
                  <a:lnTo>
                    <a:pt x="933" y="596"/>
                  </a:lnTo>
                  <a:lnTo>
                    <a:pt x="946" y="602"/>
                  </a:lnTo>
                  <a:lnTo>
                    <a:pt x="958" y="608"/>
                  </a:lnTo>
                  <a:lnTo>
                    <a:pt x="722" y="795"/>
                  </a:lnTo>
                  <a:lnTo>
                    <a:pt x="722" y="1094"/>
                  </a:lnTo>
                  <a:close/>
                </a:path>
              </a:pathLst>
            </a:custGeom>
            <a:solidFill>
              <a:srgbClr val="66667E"/>
            </a:solidFill>
            <a:ln w="38100" cmpd="sng">
              <a:solidFill>
                <a:schemeClr val="bg2"/>
              </a:solidFill>
              <a:prstDash val="solid"/>
              <a:round/>
              <a:headEnd/>
              <a:tailEnd/>
            </a:ln>
          </p:spPr>
          <p:txBody>
            <a:bodyPr lIns="0" tIns="0" rIns="0" bIns="0">
              <a:noAutofit/>
            </a:bodyPr>
            <a:lstStyle/>
            <a:p>
              <a:pPr algn="ctr"/>
              <a:endParaRPr lang="en-US" sz="1799" dirty="0">
                <a:solidFill>
                  <a:schemeClr val="bg1"/>
                </a:solidFill>
              </a:endParaRPr>
            </a:p>
          </p:txBody>
        </p:sp>
        <p:sp>
          <p:nvSpPr>
            <p:cNvPr id="46" name="Freeform 48">
              <a:extLst>
                <a:ext uri="{FF2B5EF4-FFF2-40B4-BE49-F238E27FC236}">
                  <a16:creationId xmlns:a16="http://schemas.microsoft.com/office/drawing/2014/main" id="{9D9A2442-F982-4D76-895F-9811E75353D2}"/>
                </a:ext>
              </a:extLst>
            </p:cNvPr>
            <p:cNvSpPr>
              <a:spLocks/>
            </p:cNvSpPr>
            <p:nvPr/>
          </p:nvSpPr>
          <p:spPr bwMode="auto">
            <a:xfrm>
              <a:off x="4179452" y="2404748"/>
              <a:ext cx="1016994" cy="1626056"/>
            </a:xfrm>
            <a:custGeom>
              <a:avLst/>
              <a:gdLst>
                <a:gd name="T0" fmla="*/ 20371021 w 719"/>
                <a:gd name="T1" fmla="*/ 763573357 h 1153"/>
                <a:gd name="T2" fmla="*/ 13581209 w 719"/>
                <a:gd name="T3" fmla="*/ 732489757 h 1153"/>
                <a:gd name="T4" fmla="*/ 8827707 w 719"/>
                <a:gd name="T5" fmla="*/ 701406158 h 1153"/>
                <a:gd name="T6" fmla="*/ 4753502 w 719"/>
                <a:gd name="T7" fmla="*/ 669646845 h 1153"/>
                <a:gd name="T8" fmla="*/ 2716400 w 719"/>
                <a:gd name="T9" fmla="*/ 637887532 h 1153"/>
                <a:gd name="T10" fmla="*/ 679298 w 719"/>
                <a:gd name="T11" fmla="*/ 606128219 h 1153"/>
                <a:gd name="T12" fmla="*/ 0 w 719"/>
                <a:gd name="T13" fmla="*/ 573693193 h 1153"/>
                <a:gd name="T14" fmla="*/ 679298 w 719"/>
                <a:gd name="T15" fmla="*/ 541933880 h 1153"/>
                <a:gd name="T16" fmla="*/ 2716400 w 719"/>
                <a:gd name="T17" fmla="*/ 510174567 h 1153"/>
                <a:gd name="T18" fmla="*/ 4753502 w 719"/>
                <a:gd name="T19" fmla="*/ 479091757 h 1153"/>
                <a:gd name="T20" fmla="*/ 8827707 w 719"/>
                <a:gd name="T21" fmla="*/ 447332444 h 1153"/>
                <a:gd name="T22" fmla="*/ 13581209 w 719"/>
                <a:gd name="T23" fmla="*/ 415573131 h 1153"/>
                <a:gd name="T24" fmla="*/ 20371021 w 719"/>
                <a:gd name="T25" fmla="*/ 384489532 h 1153"/>
                <a:gd name="T26" fmla="*/ 27161626 w 719"/>
                <a:gd name="T27" fmla="*/ 352730219 h 1153"/>
                <a:gd name="T28" fmla="*/ 35310034 w 719"/>
                <a:gd name="T29" fmla="*/ 322322332 h 1153"/>
                <a:gd name="T30" fmla="*/ 44817039 w 719"/>
                <a:gd name="T31" fmla="*/ 292590159 h 1153"/>
                <a:gd name="T32" fmla="*/ 55002549 w 719"/>
                <a:gd name="T33" fmla="*/ 262182272 h 1153"/>
                <a:gd name="T34" fmla="*/ 66545864 w 719"/>
                <a:gd name="T35" fmla="*/ 232450889 h 1153"/>
                <a:gd name="T36" fmla="*/ 79447775 w 719"/>
                <a:gd name="T37" fmla="*/ 202718716 h 1153"/>
                <a:gd name="T38" fmla="*/ 92349685 w 719"/>
                <a:gd name="T39" fmla="*/ 174337970 h 1153"/>
                <a:gd name="T40" fmla="*/ 107288698 w 719"/>
                <a:gd name="T41" fmla="*/ 145281510 h 1153"/>
                <a:gd name="T42" fmla="*/ 122906217 w 719"/>
                <a:gd name="T43" fmla="*/ 117576476 h 1153"/>
                <a:gd name="T44" fmla="*/ 139203826 w 719"/>
                <a:gd name="T45" fmla="*/ 90547946 h 1153"/>
                <a:gd name="T46" fmla="*/ 156179149 w 719"/>
                <a:gd name="T47" fmla="*/ 63518626 h 1153"/>
                <a:gd name="T48" fmla="*/ 175192366 w 719"/>
                <a:gd name="T49" fmla="*/ 37840732 h 1153"/>
                <a:gd name="T50" fmla="*/ 193527077 w 719"/>
                <a:gd name="T51" fmla="*/ 12162838 h 1153"/>
                <a:gd name="T52" fmla="*/ 418289192 w 719"/>
                <a:gd name="T53" fmla="*/ 28380747 h 1153"/>
                <a:gd name="T54" fmla="*/ 482119448 w 719"/>
                <a:gd name="T55" fmla="*/ 237180882 h 1153"/>
                <a:gd name="T56" fmla="*/ 471254639 w 719"/>
                <a:gd name="T57" fmla="*/ 252046574 h 1153"/>
                <a:gd name="T58" fmla="*/ 459711325 w 719"/>
                <a:gd name="T59" fmla="*/ 268264482 h 1153"/>
                <a:gd name="T60" fmla="*/ 449525022 w 719"/>
                <a:gd name="T61" fmla="*/ 283805887 h 1153"/>
                <a:gd name="T62" fmla="*/ 440018810 w 719"/>
                <a:gd name="T63" fmla="*/ 300023005 h 1153"/>
                <a:gd name="T64" fmla="*/ 430512597 w 719"/>
                <a:gd name="T65" fmla="*/ 316916626 h 1153"/>
                <a:gd name="T66" fmla="*/ 421684891 w 719"/>
                <a:gd name="T67" fmla="*/ 333809457 h 1153"/>
                <a:gd name="T68" fmla="*/ 413536482 w 719"/>
                <a:gd name="T69" fmla="*/ 351378792 h 1153"/>
                <a:gd name="T70" fmla="*/ 406066579 w 719"/>
                <a:gd name="T71" fmla="*/ 368947337 h 1153"/>
                <a:gd name="T72" fmla="*/ 399275975 w 719"/>
                <a:gd name="T73" fmla="*/ 386516671 h 1153"/>
                <a:gd name="T74" fmla="*/ 393164669 w 719"/>
                <a:gd name="T75" fmla="*/ 404760929 h 1153"/>
                <a:gd name="T76" fmla="*/ 387732661 w 719"/>
                <a:gd name="T77" fmla="*/ 423005977 h 1153"/>
                <a:gd name="T78" fmla="*/ 382300652 w 719"/>
                <a:gd name="T79" fmla="*/ 441925948 h 1153"/>
                <a:gd name="T80" fmla="*/ 378225656 w 719"/>
                <a:gd name="T81" fmla="*/ 460170996 h 1153"/>
                <a:gd name="T82" fmla="*/ 374830750 w 719"/>
                <a:gd name="T83" fmla="*/ 479091757 h 1153"/>
                <a:gd name="T84" fmla="*/ 371435844 w 719"/>
                <a:gd name="T85" fmla="*/ 497336015 h 1153"/>
                <a:gd name="T86" fmla="*/ 369398742 w 719"/>
                <a:gd name="T87" fmla="*/ 516932489 h 1153"/>
                <a:gd name="T88" fmla="*/ 367361640 w 719"/>
                <a:gd name="T89" fmla="*/ 535852460 h 1153"/>
                <a:gd name="T90" fmla="*/ 366682341 w 719"/>
                <a:gd name="T91" fmla="*/ 554773222 h 1153"/>
                <a:gd name="T92" fmla="*/ 366682341 w 719"/>
                <a:gd name="T93" fmla="*/ 573693193 h 1153"/>
                <a:gd name="T94" fmla="*/ 366682341 w 719"/>
                <a:gd name="T95" fmla="*/ 593289667 h 1153"/>
                <a:gd name="T96" fmla="*/ 367361640 w 719"/>
                <a:gd name="T97" fmla="*/ 612209638 h 1153"/>
                <a:gd name="T98" fmla="*/ 369398742 w 719"/>
                <a:gd name="T99" fmla="*/ 631130399 h 1153"/>
                <a:gd name="T100" fmla="*/ 371435844 w 719"/>
                <a:gd name="T101" fmla="*/ 650050370 h 1153"/>
                <a:gd name="T102" fmla="*/ 374830750 w 719"/>
                <a:gd name="T103" fmla="*/ 668971131 h 1153"/>
                <a:gd name="T104" fmla="*/ 378225656 w 719"/>
                <a:gd name="T105" fmla="*/ 687891102 h 1153"/>
                <a:gd name="T106" fmla="*/ 181982970 w 719"/>
                <a:gd name="T107" fmla="*/ 654780363 h 115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19" h="1153">
                  <a:moveTo>
                    <a:pt x="35" y="1153"/>
                  </a:moveTo>
                  <a:lnTo>
                    <a:pt x="30" y="1130"/>
                  </a:lnTo>
                  <a:lnTo>
                    <a:pt x="24" y="1107"/>
                  </a:lnTo>
                  <a:lnTo>
                    <a:pt x="20" y="1084"/>
                  </a:lnTo>
                  <a:lnTo>
                    <a:pt x="17" y="1060"/>
                  </a:lnTo>
                  <a:lnTo>
                    <a:pt x="13" y="1038"/>
                  </a:lnTo>
                  <a:lnTo>
                    <a:pt x="9" y="1014"/>
                  </a:lnTo>
                  <a:lnTo>
                    <a:pt x="7" y="991"/>
                  </a:lnTo>
                  <a:lnTo>
                    <a:pt x="5" y="967"/>
                  </a:lnTo>
                  <a:lnTo>
                    <a:pt x="4" y="944"/>
                  </a:lnTo>
                  <a:lnTo>
                    <a:pt x="2" y="920"/>
                  </a:lnTo>
                  <a:lnTo>
                    <a:pt x="1" y="897"/>
                  </a:lnTo>
                  <a:lnTo>
                    <a:pt x="0" y="873"/>
                  </a:lnTo>
                  <a:lnTo>
                    <a:pt x="0" y="849"/>
                  </a:lnTo>
                  <a:lnTo>
                    <a:pt x="0" y="826"/>
                  </a:lnTo>
                  <a:lnTo>
                    <a:pt x="1" y="802"/>
                  </a:lnTo>
                  <a:lnTo>
                    <a:pt x="2" y="779"/>
                  </a:lnTo>
                  <a:lnTo>
                    <a:pt x="4" y="755"/>
                  </a:lnTo>
                  <a:lnTo>
                    <a:pt x="5" y="732"/>
                  </a:lnTo>
                  <a:lnTo>
                    <a:pt x="7" y="709"/>
                  </a:lnTo>
                  <a:lnTo>
                    <a:pt x="9" y="685"/>
                  </a:lnTo>
                  <a:lnTo>
                    <a:pt x="13" y="662"/>
                  </a:lnTo>
                  <a:lnTo>
                    <a:pt x="17" y="638"/>
                  </a:lnTo>
                  <a:lnTo>
                    <a:pt x="20" y="615"/>
                  </a:lnTo>
                  <a:lnTo>
                    <a:pt x="24" y="592"/>
                  </a:lnTo>
                  <a:lnTo>
                    <a:pt x="30" y="569"/>
                  </a:lnTo>
                  <a:lnTo>
                    <a:pt x="35" y="546"/>
                  </a:lnTo>
                  <a:lnTo>
                    <a:pt x="40" y="522"/>
                  </a:lnTo>
                  <a:lnTo>
                    <a:pt x="46" y="500"/>
                  </a:lnTo>
                  <a:lnTo>
                    <a:pt x="52" y="477"/>
                  </a:lnTo>
                  <a:lnTo>
                    <a:pt x="59" y="455"/>
                  </a:lnTo>
                  <a:lnTo>
                    <a:pt x="66" y="433"/>
                  </a:lnTo>
                  <a:lnTo>
                    <a:pt x="73" y="410"/>
                  </a:lnTo>
                  <a:lnTo>
                    <a:pt x="81" y="388"/>
                  </a:lnTo>
                  <a:lnTo>
                    <a:pt x="89" y="366"/>
                  </a:lnTo>
                  <a:lnTo>
                    <a:pt x="98" y="344"/>
                  </a:lnTo>
                  <a:lnTo>
                    <a:pt x="107" y="322"/>
                  </a:lnTo>
                  <a:lnTo>
                    <a:pt x="117" y="300"/>
                  </a:lnTo>
                  <a:lnTo>
                    <a:pt x="126" y="278"/>
                  </a:lnTo>
                  <a:lnTo>
                    <a:pt x="136" y="258"/>
                  </a:lnTo>
                  <a:lnTo>
                    <a:pt x="147" y="237"/>
                  </a:lnTo>
                  <a:lnTo>
                    <a:pt x="158" y="215"/>
                  </a:lnTo>
                  <a:lnTo>
                    <a:pt x="169" y="195"/>
                  </a:lnTo>
                  <a:lnTo>
                    <a:pt x="181" y="174"/>
                  </a:lnTo>
                  <a:lnTo>
                    <a:pt x="193" y="155"/>
                  </a:lnTo>
                  <a:lnTo>
                    <a:pt x="205" y="134"/>
                  </a:lnTo>
                  <a:lnTo>
                    <a:pt x="217" y="114"/>
                  </a:lnTo>
                  <a:lnTo>
                    <a:pt x="230" y="94"/>
                  </a:lnTo>
                  <a:lnTo>
                    <a:pt x="244" y="75"/>
                  </a:lnTo>
                  <a:lnTo>
                    <a:pt x="258" y="56"/>
                  </a:lnTo>
                  <a:lnTo>
                    <a:pt x="271" y="37"/>
                  </a:lnTo>
                  <a:lnTo>
                    <a:pt x="285" y="18"/>
                  </a:lnTo>
                  <a:lnTo>
                    <a:pt x="300" y="0"/>
                  </a:lnTo>
                  <a:lnTo>
                    <a:pt x="616" y="42"/>
                  </a:lnTo>
                  <a:lnTo>
                    <a:pt x="719" y="339"/>
                  </a:lnTo>
                  <a:lnTo>
                    <a:pt x="710" y="351"/>
                  </a:lnTo>
                  <a:lnTo>
                    <a:pt x="702" y="362"/>
                  </a:lnTo>
                  <a:lnTo>
                    <a:pt x="694" y="373"/>
                  </a:lnTo>
                  <a:lnTo>
                    <a:pt x="685" y="385"/>
                  </a:lnTo>
                  <a:lnTo>
                    <a:pt x="677" y="397"/>
                  </a:lnTo>
                  <a:lnTo>
                    <a:pt x="670" y="408"/>
                  </a:lnTo>
                  <a:lnTo>
                    <a:pt x="662" y="420"/>
                  </a:lnTo>
                  <a:lnTo>
                    <a:pt x="655" y="433"/>
                  </a:lnTo>
                  <a:lnTo>
                    <a:pt x="648" y="444"/>
                  </a:lnTo>
                  <a:lnTo>
                    <a:pt x="641" y="456"/>
                  </a:lnTo>
                  <a:lnTo>
                    <a:pt x="634" y="469"/>
                  </a:lnTo>
                  <a:lnTo>
                    <a:pt x="627" y="482"/>
                  </a:lnTo>
                  <a:lnTo>
                    <a:pt x="621" y="494"/>
                  </a:lnTo>
                  <a:lnTo>
                    <a:pt x="615" y="507"/>
                  </a:lnTo>
                  <a:lnTo>
                    <a:pt x="609" y="520"/>
                  </a:lnTo>
                  <a:lnTo>
                    <a:pt x="604" y="533"/>
                  </a:lnTo>
                  <a:lnTo>
                    <a:pt x="598" y="546"/>
                  </a:lnTo>
                  <a:lnTo>
                    <a:pt x="593" y="559"/>
                  </a:lnTo>
                  <a:lnTo>
                    <a:pt x="588" y="572"/>
                  </a:lnTo>
                  <a:lnTo>
                    <a:pt x="584" y="586"/>
                  </a:lnTo>
                  <a:lnTo>
                    <a:pt x="579" y="599"/>
                  </a:lnTo>
                  <a:lnTo>
                    <a:pt x="574" y="613"/>
                  </a:lnTo>
                  <a:lnTo>
                    <a:pt x="571" y="626"/>
                  </a:lnTo>
                  <a:lnTo>
                    <a:pt x="567" y="640"/>
                  </a:lnTo>
                  <a:lnTo>
                    <a:pt x="563" y="654"/>
                  </a:lnTo>
                  <a:lnTo>
                    <a:pt x="560" y="667"/>
                  </a:lnTo>
                  <a:lnTo>
                    <a:pt x="557" y="681"/>
                  </a:lnTo>
                  <a:lnTo>
                    <a:pt x="554" y="695"/>
                  </a:lnTo>
                  <a:lnTo>
                    <a:pt x="552" y="709"/>
                  </a:lnTo>
                  <a:lnTo>
                    <a:pt x="549" y="722"/>
                  </a:lnTo>
                  <a:lnTo>
                    <a:pt x="547" y="736"/>
                  </a:lnTo>
                  <a:lnTo>
                    <a:pt x="546" y="751"/>
                  </a:lnTo>
                  <a:lnTo>
                    <a:pt x="544" y="765"/>
                  </a:lnTo>
                  <a:lnTo>
                    <a:pt x="542" y="779"/>
                  </a:lnTo>
                  <a:lnTo>
                    <a:pt x="541" y="793"/>
                  </a:lnTo>
                  <a:lnTo>
                    <a:pt x="541" y="807"/>
                  </a:lnTo>
                  <a:lnTo>
                    <a:pt x="540" y="821"/>
                  </a:lnTo>
                  <a:lnTo>
                    <a:pt x="540" y="835"/>
                  </a:lnTo>
                  <a:lnTo>
                    <a:pt x="540" y="849"/>
                  </a:lnTo>
                  <a:lnTo>
                    <a:pt x="540" y="864"/>
                  </a:lnTo>
                  <a:lnTo>
                    <a:pt x="540" y="878"/>
                  </a:lnTo>
                  <a:lnTo>
                    <a:pt x="541" y="892"/>
                  </a:lnTo>
                  <a:lnTo>
                    <a:pt x="541" y="906"/>
                  </a:lnTo>
                  <a:lnTo>
                    <a:pt x="542" y="920"/>
                  </a:lnTo>
                  <a:lnTo>
                    <a:pt x="544" y="934"/>
                  </a:lnTo>
                  <a:lnTo>
                    <a:pt x="546" y="948"/>
                  </a:lnTo>
                  <a:lnTo>
                    <a:pt x="547" y="962"/>
                  </a:lnTo>
                  <a:lnTo>
                    <a:pt x="549" y="976"/>
                  </a:lnTo>
                  <a:lnTo>
                    <a:pt x="552" y="990"/>
                  </a:lnTo>
                  <a:lnTo>
                    <a:pt x="554" y="1004"/>
                  </a:lnTo>
                  <a:lnTo>
                    <a:pt x="557" y="1018"/>
                  </a:lnTo>
                  <a:lnTo>
                    <a:pt x="560" y="1031"/>
                  </a:lnTo>
                  <a:lnTo>
                    <a:pt x="268" y="969"/>
                  </a:lnTo>
                  <a:lnTo>
                    <a:pt x="35" y="1153"/>
                  </a:lnTo>
                  <a:close/>
                </a:path>
              </a:pathLst>
            </a:custGeom>
            <a:solidFill>
              <a:srgbClr val="9999A9"/>
            </a:solidFill>
            <a:ln w="38100" cmpd="sng">
              <a:solidFill>
                <a:schemeClr val="bg2"/>
              </a:solidFill>
              <a:prstDash val="solid"/>
              <a:round/>
              <a:headEnd/>
              <a:tailEnd/>
            </a:ln>
          </p:spPr>
          <p:txBody>
            <a:bodyPr lIns="0" tIns="0" rIns="0" bIns="0">
              <a:noAutofit/>
            </a:bodyPr>
            <a:lstStyle/>
            <a:p>
              <a:pPr algn="ctr"/>
              <a:endParaRPr lang="en-US" sz="1799" dirty="0">
                <a:solidFill>
                  <a:schemeClr val="bg1"/>
                </a:solidFill>
              </a:endParaRPr>
            </a:p>
          </p:txBody>
        </p:sp>
        <p:sp>
          <p:nvSpPr>
            <p:cNvPr id="47" name="Freeform 49">
              <a:extLst>
                <a:ext uri="{FF2B5EF4-FFF2-40B4-BE49-F238E27FC236}">
                  <a16:creationId xmlns:a16="http://schemas.microsoft.com/office/drawing/2014/main" id="{CAC416E6-9CED-4269-B0C4-87347CB0C3AA}"/>
                </a:ext>
              </a:extLst>
            </p:cNvPr>
            <p:cNvSpPr>
              <a:spLocks/>
            </p:cNvSpPr>
            <p:nvPr/>
          </p:nvSpPr>
          <p:spPr bwMode="auto">
            <a:xfrm>
              <a:off x="4604378" y="1696534"/>
              <a:ext cx="1634555" cy="1186964"/>
            </a:xfrm>
            <a:custGeom>
              <a:avLst/>
              <a:gdLst>
                <a:gd name="T0" fmla="*/ 9457043 w 1159"/>
                <a:gd name="T1" fmla="*/ 326759249 h 840"/>
                <a:gd name="T2" fmla="*/ 31072463 w 1159"/>
                <a:gd name="T3" fmla="*/ 302354138 h 840"/>
                <a:gd name="T4" fmla="*/ 52688673 w 1159"/>
                <a:gd name="T5" fmla="*/ 279304691 h 840"/>
                <a:gd name="T6" fmla="*/ 74979822 w 1159"/>
                <a:gd name="T7" fmla="*/ 256933076 h 840"/>
                <a:gd name="T8" fmla="*/ 98622428 w 1159"/>
                <a:gd name="T9" fmla="*/ 235239292 h 840"/>
                <a:gd name="T10" fmla="*/ 122264245 w 1159"/>
                <a:gd name="T11" fmla="*/ 213545509 h 840"/>
                <a:gd name="T12" fmla="*/ 147257519 w 1159"/>
                <a:gd name="T13" fmla="*/ 193886013 h 840"/>
                <a:gd name="T14" fmla="*/ 172250793 w 1159"/>
                <a:gd name="T15" fmla="*/ 174904348 h 840"/>
                <a:gd name="T16" fmla="*/ 198594734 w 1159"/>
                <a:gd name="T17" fmla="*/ 156600515 h 840"/>
                <a:gd name="T18" fmla="*/ 224939466 w 1159"/>
                <a:gd name="T19" fmla="*/ 138974514 h 840"/>
                <a:gd name="T20" fmla="*/ 252634865 w 1159"/>
                <a:gd name="T21" fmla="*/ 122026344 h 840"/>
                <a:gd name="T22" fmla="*/ 279654535 w 1159"/>
                <a:gd name="T23" fmla="*/ 107111670 h 840"/>
                <a:gd name="T24" fmla="*/ 308700601 w 1159"/>
                <a:gd name="T25" fmla="*/ 92197788 h 840"/>
                <a:gd name="T26" fmla="*/ 337746668 w 1159"/>
                <a:gd name="T27" fmla="*/ 78638777 h 840"/>
                <a:gd name="T28" fmla="*/ 366792734 w 1159"/>
                <a:gd name="T29" fmla="*/ 66436222 h 840"/>
                <a:gd name="T30" fmla="*/ 396514529 w 1159"/>
                <a:gd name="T31" fmla="*/ 54911499 h 840"/>
                <a:gd name="T32" fmla="*/ 426912053 w 1159"/>
                <a:gd name="T33" fmla="*/ 44743231 h 840"/>
                <a:gd name="T34" fmla="*/ 456633849 w 1159"/>
                <a:gd name="T35" fmla="*/ 35252002 h 840"/>
                <a:gd name="T36" fmla="*/ 487706311 w 1159"/>
                <a:gd name="T37" fmla="*/ 27117229 h 840"/>
                <a:gd name="T38" fmla="*/ 518778774 w 1159"/>
                <a:gd name="T39" fmla="*/ 19659496 h 840"/>
                <a:gd name="T40" fmla="*/ 549852027 w 1159"/>
                <a:gd name="T41" fmla="*/ 13558219 h 840"/>
                <a:gd name="T42" fmla="*/ 580924490 w 1159"/>
                <a:gd name="T43" fmla="*/ 8813397 h 840"/>
                <a:gd name="T44" fmla="*/ 612672681 w 1159"/>
                <a:gd name="T45" fmla="*/ 4745614 h 840"/>
                <a:gd name="T46" fmla="*/ 644420873 w 1159"/>
                <a:gd name="T47" fmla="*/ 2033495 h 840"/>
                <a:gd name="T48" fmla="*/ 676169064 w 1159"/>
                <a:gd name="T49" fmla="*/ 677832 h 840"/>
                <a:gd name="T50" fmla="*/ 707917256 w 1159"/>
                <a:gd name="T51" fmla="*/ 0 h 840"/>
                <a:gd name="T52" fmla="*/ 707917256 w 1159"/>
                <a:gd name="T53" fmla="*/ 366078242 h 840"/>
                <a:gd name="T54" fmla="*/ 689003170 w 1159"/>
                <a:gd name="T55" fmla="*/ 366078242 h 840"/>
                <a:gd name="T56" fmla="*/ 670089875 w 1159"/>
                <a:gd name="T57" fmla="*/ 367434697 h 840"/>
                <a:gd name="T58" fmla="*/ 650500061 w 1159"/>
                <a:gd name="T59" fmla="*/ 369468192 h 840"/>
                <a:gd name="T60" fmla="*/ 631586766 w 1159"/>
                <a:gd name="T61" fmla="*/ 371501687 h 840"/>
                <a:gd name="T62" fmla="*/ 612672681 w 1159"/>
                <a:gd name="T63" fmla="*/ 374213806 h 840"/>
                <a:gd name="T64" fmla="*/ 594434325 w 1159"/>
                <a:gd name="T65" fmla="*/ 377602965 h 840"/>
                <a:gd name="T66" fmla="*/ 575520239 w 1159"/>
                <a:gd name="T67" fmla="*/ 382348579 h 840"/>
                <a:gd name="T68" fmla="*/ 557281883 w 1159"/>
                <a:gd name="T69" fmla="*/ 387094193 h 840"/>
                <a:gd name="T70" fmla="*/ 539043527 w 1159"/>
                <a:gd name="T71" fmla="*/ 392517639 h 840"/>
                <a:gd name="T72" fmla="*/ 520805170 w 1159"/>
                <a:gd name="T73" fmla="*/ 399296749 h 840"/>
                <a:gd name="T74" fmla="*/ 503242543 w 1159"/>
                <a:gd name="T75" fmla="*/ 406075858 h 840"/>
                <a:gd name="T76" fmla="*/ 485679915 w 1159"/>
                <a:gd name="T77" fmla="*/ 413532799 h 840"/>
                <a:gd name="T78" fmla="*/ 468117288 w 1159"/>
                <a:gd name="T79" fmla="*/ 421668364 h 840"/>
                <a:gd name="T80" fmla="*/ 451229599 w 1159"/>
                <a:gd name="T81" fmla="*/ 430480969 h 840"/>
                <a:gd name="T82" fmla="*/ 435017638 w 1159"/>
                <a:gd name="T83" fmla="*/ 439972197 h 840"/>
                <a:gd name="T84" fmla="*/ 418805678 w 1159"/>
                <a:gd name="T85" fmla="*/ 449463425 h 840"/>
                <a:gd name="T86" fmla="*/ 402594508 w 1159"/>
                <a:gd name="T87" fmla="*/ 460309525 h 840"/>
                <a:gd name="T88" fmla="*/ 387057487 w 1159"/>
                <a:gd name="T89" fmla="*/ 471156417 h 840"/>
                <a:gd name="T90" fmla="*/ 371521255 w 1159"/>
                <a:gd name="T91" fmla="*/ 482681140 h 840"/>
                <a:gd name="T92" fmla="*/ 356660753 w 1159"/>
                <a:gd name="T93" fmla="*/ 494883695 h 840"/>
                <a:gd name="T94" fmla="*/ 342475189 w 1159"/>
                <a:gd name="T95" fmla="*/ 507086251 h 840"/>
                <a:gd name="T96" fmla="*/ 328289625 w 1159"/>
                <a:gd name="T97" fmla="*/ 519967430 h 840"/>
                <a:gd name="T98" fmla="*/ 314779790 w 1159"/>
                <a:gd name="T99" fmla="*/ 533525648 h 840"/>
                <a:gd name="T100" fmla="*/ 301945684 w 1159"/>
                <a:gd name="T101" fmla="*/ 547761699 h 840"/>
                <a:gd name="T102" fmla="*/ 289111577 w 1159"/>
                <a:gd name="T103" fmla="*/ 562676373 h 840"/>
                <a:gd name="T104" fmla="*/ 213456027 w 1159"/>
                <a:gd name="T105" fmla="*/ 370146024 h 8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159" h="840">
                  <a:moveTo>
                    <a:pt x="0" y="500"/>
                  </a:moveTo>
                  <a:lnTo>
                    <a:pt x="14" y="482"/>
                  </a:lnTo>
                  <a:lnTo>
                    <a:pt x="30" y="464"/>
                  </a:lnTo>
                  <a:lnTo>
                    <a:pt x="46" y="446"/>
                  </a:lnTo>
                  <a:lnTo>
                    <a:pt x="61" y="429"/>
                  </a:lnTo>
                  <a:lnTo>
                    <a:pt x="78" y="412"/>
                  </a:lnTo>
                  <a:lnTo>
                    <a:pt x="94" y="395"/>
                  </a:lnTo>
                  <a:lnTo>
                    <a:pt x="111" y="379"/>
                  </a:lnTo>
                  <a:lnTo>
                    <a:pt x="128" y="362"/>
                  </a:lnTo>
                  <a:lnTo>
                    <a:pt x="146" y="347"/>
                  </a:lnTo>
                  <a:lnTo>
                    <a:pt x="163" y="331"/>
                  </a:lnTo>
                  <a:lnTo>
                    <a:pt x="181" y="315"/>
                  </a:lnTo>
                  <a:lnTo>
                    <a:pt x="199" y="301"/>
                  </a:lnTo>
                  <a:lnTo>
                    <a:pt x="218" y="286"/>
                  </a:lnTo>
                  <a:lnTo>
                    <a:pt x="237" y="272"/>
                  </a:lnTo>
                  <a:lnTo>
                    <a:pt x="255" y="258"/>
                  </a:lnTo>
                  <a:lnTo>
                    <a:pt x="274" y="244"/>
                  </a:lnTo>
                  <a:lnTo>
                    <a:pt x="294" y="231"/>
                  </a:lnTo>
                  <a:lnTo>
                    <a:pt x="313" y="218"/>
                  </a:lnTo>
                  <a:lnTo>
                    <a:pt x="333" y="205"/>
                  </a:lnTo>
                  <a:lnTo>
                    <a:pt x="353" y="193"/>
                  </a:lnTo>
                  <a:lnTo>
                    <a:pt x="374" y="180"/>
                  </a:lnTo>
                  <a:lnTo>
                    <a:pt x="394" y="170"/>
                  </a:lnTo>
                  <a:lnTo>
                    <a:pt x="414" y="158"/>
                  </a:lnTo>
                  <a:lnTo>
                    <a:pt x="436" y="147"/>
                  </a:lnTo>
                  <a:lnTo>
                    <a:pt x="457" y="136"/>
                  </a:lnTo>
                  <a:lnTo>
                    <a:pt x="478" y="126"/>
                  </a:lnTo>
                  <a:lnTo>
                    <a:pt x="500" y="116"/>
                  </a:lnTo>
                  <a:lnTo>
                    <a:pt x="522" y="107"/>
                  </a:lnTo>
                  <a:lnTo>
                    <a:pt x="543" y="98"/>
                  </a:lnTo>
                  <a:lnTo>
                    <a:pt x="565" y="90"/>
                  </a:lnTo>
                  <a:lnTo>
                    <a:pt x="587" y="81"/>
                  </a:lnTo>
                  <a:lnTo>
                    <a:pt x="609" y="73"/>
                  </a:lnTo>
                  <a:lnTo>
                    <a:pt x="632" y="66"/>
                  </a:lnTo>
                  <a:lnTo>
                    <a:pt x="653" y="59"/>
                  </a:lnTo>
                  <a:lnTo>
                    <a:pt x="676" y="52"/>
                  </a:lnTo>
                  <a:lnTo>
                    <a:pt x="699" y="46"/>
                  </a:lnTo>
                  <a:lnTo>
                    <a:pt x="722" y="40"/>
                  </a:lnTo>
                  <a:lnTo>
                    <a:pt x="744" y="35"/>
                  </a:lnTo>
                  <a:lnTo>
                    <a:pt x="768" y="29"/>
                  </a:lnTo>
                  <a:lnTo>
                    <a:pt x="790" y="24"/>
                  </a:lnTo>
                  <a:lnTo>
                    <a:pt x="814" y="20"/>
                  </a:lnTo>
                  <a:lnTo>
                    <a:pt x="837" y="16"/>
                  </a:lnTo>
                  <a:lnTo>
                    <a:pt x="860" y="13"/>
                  </a:lnTo>
                  <a:lnTo>
                    <a:pt x="883" y="9"/>
                  </a:lnTo>
                  <a:lnTo>
                    <a:pt x="907" y="7"/>
                  </a:lnTo>
                  <a:lnTo>
                    <a:pt x="930" y="5"/>
                  </a:lnTo>
                  <a:lnTo>
                    <a:pt x="954" y="3"/>
                  </a:lnTo>
                  <a:lnTo>
                    <a:pt x="977" y="2"/>
                  </a:lnTo>
                  <a:lnTo>
                    <a:pt x="1001" y="1"/>
                  </a:lnTo>
                  <a:lnTo>
                    <a:pt x="1025" y="0"/>
                  </a:lnTo>
                  <a:lnTo>
                    <a:pt x="1048" y="0"/>
                  </a:lnTo>
                  <a:lnTo>
                    <a:pt x="1159" y="267"/>
                  </a:lnTo>
                  <a:lnTo>
                    <a:pt x="1048" y="540"/>
                  </a:lnTo>
                  <a:lnTo>
                    <a:pt x="1034" y="540"/>
                  </a:lnTo>
                  <a:lnTo>
                    <a:pt x="1020" y="540"/>
                  </a:lnTo>
                  <a:lnTo>
                    <a:pt x="1006" y="541"/>
                  </a:lnTo>
                  <a:lnTo>
                    <a:pt x="992" y="542"/>
                  </a:lnTo>
                  <a:lnTo>
                    <a:pt x="978" y="543"/>
                  </a:lnTo>
                  <a:lnTo>
                    <a:pt x="963" y="545"/>
                  </a:lnTo>
                  <a:lnTo>
                    <a:pt x="949" y="546"/>
                  </a:lnTo>
                  <a:lnTo>
                    <a:pt x="935" y="548"/>
                  </a:lnTo>
                  <a:lnTo>
                    <a:pt x="921" y="550"/>
                  </a:lnTo>
                  <a:lnTo>
                    <a:pt x="907" y="552"/>
                  </a:lnTo>
                  <a:lnTo>
                    <a:pt x="893" y="555"/>
                  </a:lnTo>
                  <a:lnTo>
                    <a:pt x="880" y="557"/>
                  </a:lnTo>
                  <a:lnTo>
                    <a:pt x="866" y="561"/>
                  </a:lnTo>
                  <a:lnTo>
                    <a:pt x="852" y="564"/>
                  </a:lnTo>
                  <a:lnTo>
                    <a:pt x="839" y="568"/>
                  </a:lnTo>
                  <a:lnTo>
                    <a:pt x="825" y="571"/>
                  </a:lnTo>
                  <a:lnTo>
                    <a:pt x="811" y="576"/>
                  </a:lnTo>
                  <a:lnTo>
                    <a:pt x="798" y="579"/>
                  </a:lnTo>
                  <a:lnTo>
                    <a:pt x="784" y="585"/>
                  </a:lnTo>
                  <a:lnTo>
                    <a:pt x="771" y="589"/>
                  </a:lnTo>
                  <a:lnTo>
                    <a:pt x="758" y="594"/>
                  </a:lnTo>
                  <a:lnTo>
                    <a:pt x="745" y="599"/>
                  </a:lnTo>
                  <a:lnTo>
                    <a:pt x="732" y="604"/>
                  </a:lnTo>
                  <a:lnTo>
                    <a:pt x="719" y="610"/>
                  </a:lnTo>
                  <a:lnTo>
                    <a:pt x="706" y="616"/>
                  </a:lnTo>
                  <a:lnTo>
                    <a:pt x="693" y="622"/>
                  </a:lnTo>
                  <a:lnTo>
                    <a:pt x="681" y="628"/>
                  </a:lnTo>
                  <a:lnTo>
                    <a:pt x="668" y="635"/>
                  </a:lnTo>
                  <a:lnTo>
                    <a:pt x="656" y="642"/>
                  </a:lnTo>
                  <a:lnTo>
                    <a:pt x="644" y="649"/>
                  </a:lnTo>
                  <a:lnTo>
                    <a:pt x="632" y="656"/>
                  </a:lnTo>
                  <a:lnTo>
                    <a:pt x="620" y="663"/>
                  </a:lnTo>
                  <a:lnTo>
                    <a:pt x="607" y="670"/>
                  </a:lnTo>
                  <a:lnTo>
                    <a:pt x="596" y="679"/>
                  </a:lnTo>
                  <a:lnTo>
                    <a:pt x="584" y="686"/>
                  </a:lnTo>
                  <a:lnTo>
                    <a:pt x="573" y="695"/>
                  </a:lnTo>
                  <a:lnTo>
                    <a:pt x="561" y="703"/>
                  </a:lnTo>
                  <a:lnTo>
                    <a:pt x="550" y="712"/>
                  </a:lnTo>
                  <a:lnTo>
                    <a:pt x="539" y="721"/>
                  </a:lnTo>
                  <a:lnTo>
                    <a:pt x="528" y="730"/>
                  </a:lnTo>
                  <a:lnTo>
                    <a:pt x="517" y="738"/>
                  </a:lnTo>
                  <a:lnTo>
                    <a:pt x="507" y="748"/>
                  </a:lnTo>
                  <a:lnTo>
                    <a:pt x="496" y="757"/>
                  </a:lnTo>
                  <a:lnTo>
                    <a:pt x="486" y="767"/>
                  </a:lnTo>
                  <a:lnTo>
                    <a:pt x="476" y="778"/>
                  </a:lnTo>
                  <a:lnTo>
                    <a:pt x="466" y="787"/>
                  </a:lnTo>
                  <a:lnTo>
                    <a:pt x="456" y="798"/>
                  </a:lnTo>
                  <a:lnTo>
                    <a:pt x="447" y="808"/>
                  </a:lnTo>
                  <a:lnTo>
                    <a:pt x="437" y="818"/>
                  </a:lnTo>
                  <a:lnTo>
                    <a:pt x="428" y="830"/>
                  </a:lnTo>
                  <a:lnTo>
                    <a:pt x="419" y="840"/>
                  </a:lnTo>
                  <a:lnTo>
                    <a:pt x="316" y="546"/>
                  </a:lnTo>
                  <a:lnTo>
                    <a:pt x="0" y="500"/>
                  </a:lnTo>
                  <a:close/>
                </a:path>
              </a:pathLst>
            </a:custGeom>
            <a:solidFill>
              <a:srgbClr val="CCCCD4"/>
            </a:solidFill>
            <a:ln w="38100" cmpd="sng">
              <a:solidFill>
                <a:schemeClr val="bg2"/>
              </a:solidFill>
              <a:prstDash val="solid"/>
              <a:round/>
              <a:headEnd/>
              <a:tailEnd/>
            </a:ln>
          </p:spPr>
          <p:txBody>
            <a:bodyPr lIns="0" tIns="0" rIns="0" bIns="0">
              <a:noAutofit/>
            </a:bodyPr>
            <a:lstStyle/>
            <a:p>
              <a:pPr algn="ctr"/>
              <a:endParaRPr lang="en-US" sz="1799" dirty="0">
                <a:solidFill>
                  <a:schemeClr val="bg1"/>
                </a:solidFill>
              </a:endParaRPr>
            </a:p>
          </p:txBody>
        </p:sp>
      </p:grpSp>
      <p:sp>
        <p:nvSpPr>
          <p:cNvPr id="32" name="Rectangle 35"/>
          <p:cNvSpPr>
            <a:spLocks noChangeArrowheads="1"/>
          </p:cNvSpPr>
          <p:nvPr/>
        </p:nvSpPr>
        <p:spPr bwMode="gray">
          <a:xfrm rot="17433571">
            <a:off x="4635229" y="2116438"/>
            <a:ext cx="2953674" cy="2953672"/>
          </a:xfrm>
          <a:prstGeom prst="rect">
            <a:avLst/>
          </a:prstGeom>
          <a:noFill/>
          <a:ln w="9525">
            <a:noFill/>
            <a:miter lim="800000"/>
            <a:headEnd/>
            <a:tailEnd/>
          </a:ln>
        </p:spPr>
        <p:txBody>
          <a:bodyPr spcFirstLastPara="1" wrap="none" lIns="0" tIns="0" rIns="0" bIns="0" numCol="1">
            <a:prstTxWarp prst="textArchUp">
              <a:avLst>
                <a:gd name="adj" fmla="val 10792046"/>
              </a:avLst>
            </a:prstTxWarp>
            <a:sp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ctr">
              <a:spcBef>
                <a:spcPts val="0"/>
              </a:spcBef>
            </a:pPr>
            <a:r>
              <a:rPr lang="en-US" sz="1599" b="1" dirty="0">
                <a:solidFill>
                  <a:schemeClr val="tx1"/>
                </a:solidFill>
                <a:latin typeface="+mn-lt"/>
              </a:rPr>
              <a:t>Xeronti</a:t>
            </a:r>
          </a:p>
        </p:txBody>
      </p:sp>
      <p:sp>
        <p:nvSpPr>
          <p:cNvPr id="40" name="Rectangle 35"/>
          <p:cNvSpPr>
            <a:spLocks noChangeArrowheads="1"/>
          </p:cNvSpPr>
          <p:nvPr/>
        </p:nvSpPr>
        <p:spPr bwMode="gray">
          <a:xfrm rot="20400000">
            <a:off x="4635681" y="2116439"/>
            <a:ext cx="2953674" cy="2953672"/>
          </a:xfrm>
          <a:prstGeom prst="rect">
            <a:avLst/>
          </a:prstGeom>
          <a:noFill/>
          <a:ln w="9525">
            <a:noFill/>
            <a:miter lim="800000"/>
            <a:headEnd/>
            <a:tailEnd/>
          </a:ln>
        </p:spPr>
        <p:txBody>
          <a:bodyPr spcFirstLastPara="1" wrap="none" lIns="0" tIns="0" rIns="0" bIns="0" numCol="1">
            <a:prstTxWarp prst="textArchUp">
              <a:avLst>
                <a:gd name="adj" fmla="val 10792046"/>
              </a:avLst>
            </a:prstTxWarp>
            <a:sp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ctr">
              <a:spcBef>
                <a:spcPts val="0"/>
              </a:spcBef>
            </a:pPr>
            <a:r>
              <a:rPr lang="en-US" sz="1599" b="1" dirty="0">
                <a:solidFill>
                  <a:srgbClr val="333353"/>
                </a:solidFill>
                <a:latin typeface="+mn-lt"/>
              </a:rPr>
              <a:t>Lorem</a:t>
            </a:r>
          </a:p>
        </p:txBody>
      </p:sp>
      <p:sp>
        <p:nvSpPr>
          <p:cNvPr id="41" name="Rectangle 35"/>
          <p:cNvSpPr>
            <a:spLocks noChangeArrowheads="1"/>
          </p:cNvSpPr>
          <p:nvPr/>
        </p:nvSpPr>
        <p:spPr bwMode="gray">
          <a:xfrm rot="1831260">
            <a:off x="4635681" y="2116438"/>
            <a:ext cx="2953674" cy="2953672"/>
          </a:xfrm>
          <a:prstGeom prst="rect">
            <a:avLst/>
          </a:prstGeom>
          <a:noFill/>
          <a:ln w="9525">
            <a:noFill/>
            <a:miter lim="800000"/>
            <a:headEnd/>
            <a:tailEnd/>
          </a:ln>
        </p:spPr>
        <p:txBody>
          <a:bodyPr spcFirstLastPara="1" wrap="none" lIns="0" tIns="0" rIns="0" bIns="0" numCol="1">
            <a:prstTxWarp prst="textArchUp">
              <a:avLst>
                <a:gd name="adj" fmla="val 10792046"/>
              </a:avLst>
            </a:prstTxWarp>
            <a:sp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ctr">
              <a:spcBef>
                <a:spcPts val="0"/>
              </a:spcBef>
            </a:pPr>
            <a:r>
              <a:rPr lang="en-US" sz="1599" b="1" dirty="0">
                <a:solidFill>
                  <a:schemeClr val="tx1"/>
                </a:solidFill>
                <a:latin typeface="+mn-lt"/>
              </a:rPr>
              <a:t>Ipsum</a:t>
            </a:r>
          </a:p>
        </p:txBody>
      </p:sp>
      <p:sp>
        <p:nvSpPr>
          <p:cNvPr id="42" name="Rectangle 35"/>
          <p:cNvSpPr>
            <a:spLocks noChangeArrowheads="1"/>
          </p:cNvSpPr>
          <p:nvPr/>
        </p:nvSpPr>
        <p:spPr bwMode="gray">
          <a:xfrm rot="4914795">
            <a:off x="4635681" y="2116438"/>
            <a:ext cx="2953674" cy="2953672"/>
          </a:xfrm>
          <a:prstGeom prst="rect">
            <a:avLst/>
          </a:prstGeom>
          <a:noFill/>
          <a:ln w="9525">
            <a:noFill/>
            <a:miter lim="800000"/>
            <a:headEnd/>
            <a:tailEnd/>
          </a:ln>
        </p:spPr>
        <p:txBody>
          <a:bodyPr spcFirstLastPara="1" wrap="none" lIns="0" tIns="0" rIns="0" bIns="0" numCol="1">
            <a:prstTxWarp prst="textArchUp">
              <a:avLst>
                <a:gd name="adj" fmla="val 10792046"/>
              </a:avLst>
            </a:prstTxWarp>
            <a:sp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ctr">
              <a:spcBef>
                <a:spcPts val="0"/>
              </a:spcBef>
            </a:pPr>
            <a:r>
              <a:rPr lang="en-US" sz="1599" b="1" dirty="0">
                <a:solidFill>
                  <a:schemeClr val="tx1"/>
                </a:solidFill>
                <a:latin typeface="+mn-lt"/>
              </a:rPr>
              <a:t>Dolores</a:t>
            </a:r>
          </a:p>
        </p:txBody>
      </p:sp>
      <p:sp>
        <p:nvSpPr>
          <p:cNvPr id="34" name="Rectangle 35">
            <a:extLst>
              <a:ext uri="{FF2B5EF4-FFF2-40B4-BE49-F238E27FC236}">
                <a16:creationId xmlns:a16="http://schemas.microsoft.com/office/drawing/2014/main" id="{8EDB02E5-4B52-49D6-8865-3A3DCAAEEE90}"/>
              </a:ext>
            </a:extLst>
          </p:cNvPr>
          <p:cNvSpPr>
            <a:spLocks noChangeArrowheads="1"/>
          </p:cNvSpPr>
          <p:nvPr/>
        </p:nvSpPr>
        <p:spPr bwMode="gray">
          <a:xfrm rot="234136">
            <a:off x="4607443" y="2165409"/>
            <a:ext cx="2954061" cy="2954061"/>
          </a:xfrm>
          <a:prstGeom prst="rect">
            <a:avLst/>
          </a:prstGeom>
          <a:noFill/>
          <a:ln w="9525">
            <a:noFill/>
            <a:miter lim="800000"/>
            <a:headEnd/>
            <a:tailEnd/>
          </a:ln>
        </p:spPr>
        <p:txBody>
          <a:bodyPr spcFirstLastPara="1" wrap="none" lIns="0" tIns="0" rIns="0" bIns="0" numCol="1">
            <a:prstTxWarp prst="textArchDown">
              <a:avLst/>
            </a:prstTxWarp>
            <a:sp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ctr">
              <a:spcBef>
                <a:spcPts val="0"/>
              </a:spcBef>
            </a:pPr>
            <a:r>
              <a:rPr lang="en-US" sz="1599" b="1" dirty="0">
                <a:solidFill>
                  <a:schemeClr val="tx1"/>
                </a:solidFill>
                <a:latin typeface="+mn-lt"/>
              </a:rPr>
              <a:t>Xeronti</a:t>
            </a:r>
          </a:p>
        </p:txBody>
      </p:sp>
      <p:sp>
        <p:nvSpPr>
          <p:cNvPr id="35" name="Rectangle 35">
            <a:extLst>
              <a:ext uri="{FF2B5EF4-FFF2-40B4-BE49-F238E27FC236}">
                <a16:creationId xmlns:a16="http://schemas.microsoft.com/office/drawing/2014/main" id="{8662B6CE-6C65-412F-BB6D-7A6D404A8E82}"/>
              </a:ext>
            </a:extLst>
          </p:cNvPr>
          <p:cNvSpPr>
            <a:spLocks noChangeArrowheads="1"/>
          </p:cNvSpPr>
          <p:nvPr/>
        </p:nvSpPr>
        <p:spPr bwMode="gray">
          <a:xfrm rot="18739863">
            <a:off x="4650789" y="2145959"/>
            <a:ext cx="2954061" cy="2954061"/>
          </a:xfrm>
          <a:prstGeom prst="rect">
            <a:avLst/>
          </a:prstGeom>
          <a:noFill/>
          <a:ln w="9525">
            <a:noFill/>
            <a:miter lim="800000"/>
            <a:headEnd/>
            <a:tailEnd/>
          </a:ln>
        </p:spPr>
        <p:txBody>
          <a:bodyPr spcFirstLastPara="1" wrap="none" lIns="0" tIns="0" rIns="0" bIns="0" numCol="1">
            <a:prstTxWarp prst="textArchDown">
              <a:avLst/>
            </a:prstTxWarp>
            <a:sp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ctr">
              <a:spcBef>
                <a:spcPts val="0"/>
              </a:spcBef>
            </a:pPr>
            <a:r>
              <a:rPr lang="en-US" sz="1599" b="1" dirty="0">
                <a:solidFill>
                  <a:schemeClr val="tx1"/>
                </a:solidFill>
                <a:latin typeface="+mn-lt"/>
              </a:rPr>
              <a:t>Ipsum</a:t>
            </a:r>
          </a:p>
        </p:txBody>
      </p:sp>
      <p:sp>
        <p:nvSpPr>
          <p:cNvPr id="36" name="Rectangle 35">
            <a:extLst>
              <a:ext uri="{FF2B5EF4-FFF2-40B4-BE49-F238E27FC236}">
                <a16:creationId xmlns:a16="http://schemas.microsoft.com/office/drawing/2014/main" id="{6F4A3940-9472-42B3-B456-BAA7C4641694}"/>
              </a:ext>
            </a:extLst>
          </p:cNvPr>
          <p:cNvSpPr>
            <a:spLocks noChangeArrowheads="1"/>
          </p:cNvSpPr>
          <p:nvPr/>
        </p:nvSpPr>
        <p:spPr bwMode="gray">
          <a:xfrm rot="3285176">
            <a:off x="4563181" y="2110222"/>
            <a:ext cx="2954061" cy="2954061"/>
          </a:xfrm>
          <a:prstGeom prst="rect">
            <a:avLst/>
          </a:prstGeom>
          <a:noFill/>
          <a:ln w="9525">
            <a:noFill/>
            <a:miter lim="800000"/>
            <a:headEnd/>
            <a:tailEnd/>
          </a:ln>
        </p:spPr>
        <p:txBody>
          <a:bodyPr spcFirstLastPara="1" wrap="none" lIns="0" tIns="0" rIns="0" bIns="0" numCol="1">
            <a:prstTxWarp prst="textArchDown">
              <a:avLst/>
            </a:prstTxWarp>
            <a:sp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ctr">
              <a:spcBef>
                <a:spcPts val="0"/>
              </a:spcBef>
            </a:pPr>
            <a:r>
              <a:rPr lang="en-US" sz="1599" b="1" dirty="0">
                <a:solidFill>
                  <a:schemeClr val="tx1"/>
                </a:solidFill>
                <a:latin typeface="+mn-lt"/>
              </a:rPr>
              <a:t>Dolore</a:t>
            </a:r>
          </a:p>
        </p:txBody>
      </p:sp>
      <p:sp>
        <p:nvSpPr>
          <p:cNvPr id="3" name="Footer Placeholder 2">
            <a:extLst>
              <a:ext uri="{FF2B5EF4-FFF2-40B4-BE49-F238E27FC236}">
                <a16:creationId xmlns:a16="http://schemas.microsoft.com/office/drawing/2014/main" id="{3E4F4A62-693F-4E30-B2C2-CDB2F4C350E4}"/>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EBA38742-E584-4CA1-A5EB-350E0EE3605D}"/>
              </a:ext>
            </a:extLst>
          </p:cNvPr>
          <p:cNvSpPr>
            <a:spLocks noGrp="1"/>
          </p:cNvSpPr>
          <p:nvPr>
            <p:ph type="sldNum" sz="quarter" idx="11"/>
          </p:nvPr>
        </p:nvSpPr>
        <p:spPr/>
        <p:txBody>
          <a:bodyPr/>
          <a:lstStyle/>
          <a:p>
            <a:r>
              <a:rPr lang="en-US" dirty="0"/>
              <a:t>Page </a:t>
            </a:r>
            <a:fld id="{15EBE321-CBB1-4E91-BD14-37C8D44326FB}" type="slidenum">
              <a:rPr lang="en-US" smtClean="0"/>
              <a:pPr/>
              <a:t>131</a:t>
            </a:fld>
            <a:endParaRPr lang="en-US" dirty="0"/>
          </a:p>
        </p:txBody>
      </p:sp>
    </p:spTree>
    <p:extLst>
      <p:ext uri="{BB962C8B-B14F-4D97-AF65-F5344CB8AC3E}">
        <p14:creationId xmlns:p14="http://schemas.microsoft.com/office/powerpoint/2010/main" val="992665567"/>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800" name="Title 161799"/>
          <p:cNvSpPr>
            <a:spLocks noGrp="1"/>
          </p:cNvSpPr>
          <p:nvPr>
            <p:ph type="title"/>
          </p:nvPr>
        </p:nvSpPr>
        <p:spPr/>
        <p:txBody>
          <a:bodyPr/>
          <a:lstStyle/>
          <a:p>
            <a:r>
              <a:rPr lang="en-US" dirty="0"/>
              <a:t>Radial diagram – two parts</a:t>
            </a:r>
          </a:p>
        </p:txBody>
      </p:sp>
      <p:grpSp>
        <p:nvGrpSpPr>
          <p:cNvPr id="2" name="Gruppieren 1">
            <a:extLst>
              <a:ext uri="{FF2B5EF4-FFF2-40B4-BE49-F238E27FC236}">
                <a16:creationId xmlns:a16="http://schemas.microsoft.com/office/drawing/2014/main" id="{153FABE8-051B-4A76-8C99-9D33859DD2EA}"/>
              </a:ext>
            </a:extLst>
          </p:cNvPr>
          <p:cNvGrpSpPr/>
          <p:nvPr/>
        </p:nvGrpSpPr>
        <p:grpSpPr>
          <a:xfrm>
            <a:off x="4190673" y="1667717"/>
            <a:ext cx="3815386" cy="3814014"/>
            <a:chOff x="4176265" y="1692464"/>
            <a:chExt cx="3817373" cy="3816000"/>
          </a:xfrm>
        </p:grpSpPr>
        <p:sp>
          <p:nvSpPr>
            <p:cNvPr id="201" name="Freeform 200"/>
            <p:cNvSpPr/>
            <p:nvPr/>
          </p:nvSpPr>
          <p:spPr bwMode="auto">
            <a:xfrm>
              <a:off x="5918192" y="1692464"/>
              <a:ext cx="2075446" cy="3816000"/>
            </a:xfrm>
            <a:custGeom>
              <a:avLst/>
              <a:gdLst>
                <a:gd name="connsiteX0" fmla="*/ 187922 w 2056156"/>
                <a:gd name="connsiteY0" fmla="*/ 0 h 3780533"/>
                <a:gd name="connsiteX1" fmla="*/ 358646 w 2056156"/>
                <a:gd name="connsiteY1" fmla="*/ 8621 h 3780533"/>
                <a:gd name="connsiteX2" fmla="*/ 2056156 w 2056156"/>
                <a:gd name="connsiteY2" fmla="*/ 1889696 h 3780533"/>
                <a:gd name="connsiteX3" fmla="*/ 165319 w 2056156"/>
                <a:gd name="connsiteY3" fmla="*/ 3780533 h 3780533"/>
                <a:gd name="connsiteX4" fmla="*/ 142259 w 2056156"/>
                <a:gd name="connsiteY4" fmla="*/ 3779369 h 3780533"/>
                <a:gd name="connsiteX5" fmla="*/ 0 w 2056156"/>
                <a:gd name="connsiteY5" fmla="*/ 3418865 h 3780533"/>
                <a:gd name="connsiteX6" fmla="*/ 151777 w 2056156"/>
                <a:gd name="connsiteY6" fmla="*/ 3062816 h 3780533"/>
                <a:gd name="connsiteX7" fmla="*/ 151233 w 2056156"/>
                <a:gd name="connsiteY7" fmla="*/ 3061648 h 3780533"/>
                <a:gd name="connsiteX8" fmla="*/ 165319 w 2056156"/>
                <a:gd name="connsiteY8" fmla="*/ 3062359 h 3780533"/>
                <a:gd name="connsiteX9" fmla="*/ 1337982 w 2056156"/>
                <a:gd name="connsiteY9" fmla="*/ 1889696 h 3780533"/>
                <a:gd name="connsiteX10" fmla="*/ 285217 w 2056156"/>
                <a:gd name="connsiteY10" fmla="*/ 723088 h 3780533"/>
                <a:gd name="connsiteX11" fmla="*/ 178863 w 2056156"/>
                <a:gd name="connsiteY11" fmla="*/ 717717 h 3780533"/>
                <a:gd name="connsiteX12" fmla="*/ 330640 w 2056156"/>
                <a:gd name="connsiteY12" fmla="*/ 361668 h 3780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56156" h="3780533">
                  <a:moveTo>
                    <a:pt x="187922" y="0"/>
                  </a:moveTo>
                  <a:lnTo>
                    <a:pt x="358646" y="8621"/>
                  </a:lnTo>
                  <a:cubicBezTo>
                    <a:pt x="1312112" y="105451"/>
                    <a:pt x="2056156" y="910684"/>
                    <a:pt x="2056156" y="1889696"/>
                  </a:cubicBezTo>
                  <a:cubicBezTo>
                    <a:pt x="2056156" y="2933976"/>
                    <a:pt x="1209599" y="3780533"/>
                    <a:pt x="165319" y="3780533"/>
                  </a:cubicBezTo>
                  <a:lnTo>
                    <a:pt x="142259" y="3779369"/>
                  </a:lnTo>
                  <a:lnTo>
                    <a:pt x="0" y="3418865"/>
                  </a:lnTo>
                  <a:lnTo>
                    <a:pt x="151777" y="3062816"/>
                  </a:lnTo>
                  <a:lnTo>
                    <a:pt x="151233" y="3061648"/>
                  </a:lnTo>
                  <a:lnTo>
                    <a:pt x="165319" y="3062359"/>
                  </a:lnTo>
                  <a:cubicBezTo>
                    <a:pt x="812963" y="3062359"/>
                    <a:pt x="1337982" y="2537340"/>
                    <a:pt x="1337982" y="1889696"/>
                  </a:cubicBezTo>
                  <a:cubicBezTo>
                    <a:pt x="1337982" y="1282530"/>
                    <a:pt x="876540" y="783140"/>
                    <a:pt x="285217" y="723088"/>
                  </a:cubicBezTo>
                  <a:lnTo>
                    <a:pt x="178863" y="717717"/>
                  </a:lnTo>
                  <a:lnTo>
                    <a:pt x="330640" y="361668"/>
                  </a:lnTo>
                  <a:close/>
                </a:path>
              </a:pathLst>
            </a:custGeom>
            <a:solidFill>
              <a:srgbClr val="00646E"/>
            </a:solidFill>
            <a:ln w="38100">
              <a:solidFill>
                <a:schemeClr val="bg1"/>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02" name="Freeform 201"/>
            <p:cNvSpPr/>
            <p:nvPr/>
          </p:nvSpPr>
          <p:spPr bwMode="auto">
            <a:xfrm rot="10800000">
              <a:off x="4176265" y="1692464"/>
              <a:ext cx="2075446" cy="3816000"/>
            </a:xfrm>
            <a:custGeom>
              <a:avLst/>
              <a:gdLst>
                <a:gd name="connsiteX0" fmla="*/ 187922 w 2056156"/>
                <a:gd name="connsiteY0" fmla="*/ 0 h 3780533"/>
                <a:gd name="connsiteX1" fmla="*/ 358646 w 2056156"/>
                <a:gd name="connsiteY1" fmla="*/ 8621 h 3780533"/>
                <a:gd name="connsiteX2" fmla="*/ 2056156 w 2056156"/>
                <a:gd name="connsiteY2" fmla="*/ 1889696 h 3780533"/>
                <a:gd name="connsiteX3" fmla="*/ 165319 w 2056156"/>
                <a:gd name="connsiteY3" fmla="*/ 3780533 h 3780533"/>
                <a:gd name="connsiteX4" fmla="*/ 142259 w 2056156"/>
                <a:gd name="connsiteY4" fmla="*/ 3779369 h 3780533"/>
                <a:gd name="connsiteX5" fmla="*/ 0 w 2056156"/>
                <a:gd name="connsiteY5" fmla="*/ 3418865 h 3780533"/>
                <a:gd name="connsiteX6" fmla="*/ 151777 w 2056156"/>
                <a:gd name="connsiteY6" fmla="*/ 3062816 h 3780533"/>
                <a:gd name="connsiteX7" fmla="*/ 151233 w 2056156"/>
                <a:gd name="connsiteY7" fmla="*/ 3061648 h 3780533"/>
                <a:gd name="connsiteX8" fmla="*/ 165319 w 2056156"/>
                <a:gd name="connsiteY8" fmla="*/ 3062359 h 3780533"/>
                <a:gd name="connsiteX9" fmla="*/ 1337982 w 2056156"/>
                <a:gd name="connsiteY9" fmla="*/ 1889696 h 3780533"/>
                <a:gd name="connsiteX10" fmla="*/ 285217 w 2056156"/>
                <a:gd name="connsiteY10" fmla="*/ 723088 h 3780533"/>
                <a:gd name="connsiteX11" fmla="*/ 178863 w 2056156"/>
                <a:gd name="connsiteY11" fmla="*/ 717717 h 3780533"/>
                <a:gd name="connsiteX12" fmla="*/ 330640 w 2056156"/>
                <a:gd name="connsiteY12" fmla="*/ 361668 h 3780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56156" h="3780533">
                  <a:moveTo>
                    <a:pt x="187922" y="0"/>
                  </a:moveTo>
                  <a:lnTo>
                    <a:pt x="358646" y="8621"/>
                  </a:lnTo>
                  <a:cubicBezTo>
                    <a:pt x="1312112" y="105451"/>
                    <a:pt x="2056156" y="910684"/>
                    <a:pt x="2056156" y="1889696"/>
                  </a:cubicBezTo>
                  <a:cubicBezTo>
                    <a:pt x="2056156" y="2933976"/>
                    <a:pt x="1209599" y="3780533"/>
                    <a:pt x="165319" y="3780533"/>
                  </a:cubicBezTo>
                  <a:lnTo>
                    <a:pt x="142259" y="3779369"/>
                  </a:lnTo>
                  <a:lnTo>
                    <a:pt x="0" y="3418865"/>
                  </a:lnTo>
                  <a:lnTo>
                    <a:pt x="151777" y="3062816"/>
                  </a:lnTo>
                  <a:lnTo>
                    <a:pt x="151233" y="3061648"/>
                  </a:lnTo>
                  <a:lnTo>
                    <a:pt x="165319" y="3062359"/>
                  </a:lnTo>
                  <a:cubicBezTo>
                    <a:pt x="812963" y="3062359"/>
                    <a:pt x="1337982" y="2537340"/>
                    <a:pt x="1337982" y="1889696"/>
                  </a:cubicBezTo>
                  <a:cubicBezTo>
                    <a:pt x="1337982" y="1282530"/>
                    <a:pt x="876540" y="783140"/>
                    <a:pt x="285217" y="723088"/>
                  </a:cubicBezTo>
                  <a:lnTo>
                    <a:pt x="178863" y="717717"/>
                  </a:lnTo>
                  <a:lnTo>
                    <a:pt x="330640" y="361668"/>
                  </a:lnTo>
                  <a:close/>
                </a:path>
              </a:pathLst>
            </a:custGeom>
            <a:solidFill>
              <a:srgbClr val="CCCCD4"/>
            </a:solidFill>
            <a:ln w="38100">
              <a:solidFill>
                <a:schemeClr val="bg1"/>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grpSp>
      <p:sp>
        <p:nvSpPr>
          <p:cNvPr id="205" name="Rechteck 28"/>
          <p:cNvSpPr/>
          <p:nvPr/>
        </p:nvSpPr>
        <p:spPr bwMode="gray">
          <a:xfrm>
            <a:off x="8478790" y="2867244"/>
            <a:ext cx="2518688" cy="719625"/>
          </a:xfrm>
          <a:prstGeom prst="rect">
            <a:avLst/>
          </a:prstGeom>
          <a:noFill/>
          <a:ln w="19050">
            <a:noFill/>
            <a:miter lim="800000"/>
          </a:ln>
          <a:effectLst/>
        </p:spPr>
        <p:txBody>
          <a:bodyPr wrap="square" lIns="143925" tIns="0" rIns="143925" bIns="0" numCol="1" spcCol="72000" rtlCol="0" anchor="t" anchorCtr="0">
            <a:noAutofit/>
          </a:bodyPr>
          <a:lstStyle/>
          <a:p>
            <a:pPr>
              <a:tabLst>
                <a:tab pos="1255085" algn="r"/>
              </a:tabLst>
              <a:defRPr/>
            </a:pPr>
            <a:r>
              <a:rPr lang="en-US" altLang="de-DE" sz="1599" b="1" dirty="0">
                <a:solidFill>
                  <a:srgbClr val="00646E"/>
                </a:solidFill>
                <a:ea typeface="Arial Unicode MS"/>
              </a:rPr>
              <a:t>At vero eos et accusam</a:t>
            </a:r>
            <a:endParaRPr lang="en-US" altLang="de-DE" sz="1199" dirty="0">
              <a:solidFill>
                <a:srgbClr val="00646E"/>
              </a:solidFill>
              <a:ea typeface="Arial Unicode MS"/>
              <a:cs typeface="Arial" pitchFamily="34" charset="0"/>
            </a:endParaRPr>
          </a:p>
        </p:txBody>
      </p:sp>
      <p:sp>
        <p:nvSpPr>
          <p:cNvPr id="206" name="Rechteck 28"/>
          <p:cNvSpPr/>
          <p:nvPr/>
        </p:nvSpPr>
        <p:spPr bwMode="gray">
          <a:xfrm>
            <a:off x="1174908" y="2869277"/>
            <a:ext cx="2518688" cy="719625"/>
          </a:xfrm>
          <a:prstGeom prst="rect">
            <a:avLst/>
          </a:prstGeom>
          <a:noFill/>
          <a:ln w="19050">
            <a:noFill/>
            <a:miter lim="800000"/>
          </a:ln>
          <a:effectLst/>
        </p:spPr>
        <p:txBody>
          <a:bodyPr wrap="square" lIns="143925" tIns="0" rIns="143925" bIns="0" numCol="1" spcCol="72000" rtlCol="0" anchor="t" anchorCtr="0">
            <a:noAutofit/>
          </a:bodyPr>
          <a:lstStyle/>
          <a:p>
            <a:pPr algn="r">
              <a:tabLst>
                <a:tab pos="1255085" algn="r"/>
              </a:tabLst>
              <a:defRPr/>
            </a:pPr>
            <a:r>
              <a:rPr lang="en-US" altLang="de-DE" sz="1599" b="1" dirty="0">
                <a:solidFill>
                  <a:srgbClr val="66667E"/>
                </a:solidFill>
                <a:ea typeface="Arial Unicode MS"/>
              </a:rPr>
              <a:t>Consetetur sadipscing elitr, seddiam nonumy</a:t>
            </a:r>
            <a:endParaRPr lang="en-US" altLang="de-DE" sz="1199" dirty="0">
              <a:solidFill>
                <a:srgbClr val="66667E"/>
              </a:solidFill>
              <a:ea typeface="Arial Unicode MS"/>
              <a:cs typeface="Arial" pitchFamily="34" charset="0"/>
            </a:endParaRPr>
          </a:p>
        </p:txBody>
      </p:sp>
      <p:sp>
        <p:nvSpPr>
          <p:cNvPr id="10" name="Freihandform 85">
            <a:extLst>
              <a:ext uri="{FF2B5EF4-FFF2-40B4-BE49-F238E27FC236}">
                <a16:creationId xmlns:a16="http://schemas.microsoft.com/office/drawing/2014/main" id="{309DD962-068E-4C37-8E61-B0CF5226BCCD}"/>
              </a:ext>
            </a:extLst>
          </p:cNvPr>
          <p:cNvSpPr/>
          <p:nvPr/>
        </p:nvSpPr>
        <p:spPr bwMode="gray">
          <a:xfrm flipH="1">
            <a:off x="7989694" y="2996964"/>
            <a:ext cx="477950" cy="119488"/>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66667E"/>
            </a:solidFill>
            <a:prstDash val="solid"/>
            <a:round/>
            <a:headEnd type="none" w="lg" len="lg"/>
            <a:tailEnd type="none" w="lg" len="lg"/>
          </a:ln>
          <a:effectLst/>
        </p:spPr>
        <p:txBody>
          <a:bodyPr rtlCol="0" anchor="ctr"/>
          <a:lstStyle/>
          <a:p>
            <a:pPr algn="ctr"/>
            <a:endParaRPr lang="en-US" sz="1799" dirty="0">
              <a:ea typeface="Arial Unicode MS"/>
            </a:endParaRPr>
          </a:p>
        </p:txBody>
      </p:sp>
      <p:sp>
        <p:nvSpPr>
          <p:cNvPr id="11" name="Freihandform 97">
            <a:extLst>
              <a:ext uri="{FF2B5EF4-FFF2-40B4-BE49-F238E27FC236}">
                <a16:creationId xmlns:a16="http://schemas.microsoft.com/office/drawing/2014/main" id="{C35D8A8C-AFD5-4D7F-98E8-CD6196236302}"/>
              </a:ext>
            </a:extLst>
          </p:cNvPr>
          <p:cNvSpPr/>
          <p:nvPr/>
        </p:nvSpPr>
        <p:spPr bwMode="gray">
          <a:xfrm>
            <a:off x="3682452" y="2996965"/>
            <a:ext cx="483137" cy="120784"/>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66667E"/>
            </a:solidFill>
            <a:prstDash val="solid"/>
            <a:round/>
            <a:headEnd type="none" w="lg" len="lg"/>
            <a:tailEnd type="none" w="lg" len="lg"/>
          </a:ln>
          <a:effectLst/>
        </p:spPr>
        <p:txBody>
          <a:bodyPr rtlCol="0" anchor="ctr"/>
          <a:lstStyle/>
          <a:p>
            <a:pPr algn="ctr"/>
            <a:endParaRPr lang="en-US" sz="1799" dirty="0">
              <a:ea typeface="Arial Unicode MS"/>
            </a:endParaRPr>
          </a:p>
        </p:txBody>
      </p:sp>
      <p:sp>
        <p:nvSpPr>
          <p:cNvPr id="3" name="Footer Placeholder 2">
            <a:extLst>
              <a:ext uri="{FF2B5EF4-FFF2-40B4-BE49-F238E27FC236}">
                <a16:creationId xmlns:a16="http://schemas.microsoft.com/office/drawing/2014/main" id="{07CAA7FA-D7E9-45D5-B8A8-F557DA61B668}"/>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1B9E9B70-C7B9-4F79-A8E9-360D41397D2A}"/>
              </a:ext>
            </a:extLst>
          </p:cNvPr>
          <p:cNvSpPr>
            <a:spLocks noGrp="1"/>
          </p:cNvSpPr>
          <p:nvPr>
            <p:ph type="sldNum" sz="quarter" idx="11"/>
          </p:nvPr>
        </p:nvSpPr>
        <p:spPr/>
        <p:txBody>
          <a:bodyPr/>
          <a:lstStyle/>
          <a:p>
            <a:r>
              <a:rPr lang="en-US" dirty="0"/>
              <a:t>Page </a:t>
            </a:r>
            <a:fld id="{15EBE321-CBB1-4E91-BD14-37C8D44326FB}" type="slidenum">
              <a:rPr lang="en-US" smtClean="0"/>
              <a:pPr/>
              <a:t>132</a:t>
            </a:fld>
            <a:endParaRPr lang="en-US" dirty="0"/>
          </a:p>
        </p:txBody>
      </p:sp>
    </p:spTree>
    <p:extLst>
      <p:ext uri="{BB962C8B-B14F-4D97-AF65-F5344CB8AC3E}">
        <p14:creationId xmlns:p14="http://schemas.microsoft.com/office/powerpoint/2010/main" val="256114661"/>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800" name="Title 161799"/>
          <p:cNvSpPr>
            <a:spLocks noGrp="1"/>
          </p:cNvSpPr>
          <p:nvPr>
            <p:ph type="title"/>
          </p:nvPr>
        </p:nvSpPr>
        <p:spPr/>
        <p:txBody>
          <a:bodyPr/>
          <a:lstStyle/>
          <a:p>
            <a:r>
              <a:rPr lang="en-US" dirty="0"/>
              <a:t>Radial diagram – two parts</a:t>
            </a:r>
          </a:p>
        </p:txBody>
      </p:sp>
      <p:grpSp>
        <p:nvGrpSpPr>
          <p:cNvPr id="2" name="Gruppieren 1">
            <a:extLst>
              <a:ext uri="{FF2B5EF4-FFF2-40B4-BE49-F238E27FC236}">
                <a16:creationId xmlns:a16="http://schemas.microsoft.com/office/drawing/2014/main" id="{153FABE8-051B-4A76-8C99-9D33859DD2EA}"/>
              </a:ext>
            </a:extLst>
          </p:cNvPr>
          <p:cNvGrpSpPr/>
          <p:nvPr/>
        </p:nvGrpSpPr>
        <p:grpSpPr>
          <a:xfrm>
            <a:off x="4190673" y="1667717"/>
            <a:ext cx="3815386" cy="3814014"/>
            <a:chOff x="4176265" y="1692464"/>
            <a:chExt cx="3817373" cy="3816000"/>
          </a:xfrm>
        </p:grpSpPr>
        <p:sp>
          <p:nvSpPr>
            <p:cNvPr id="201" name="Freeform 200"/>
            <p:cNvSpPr/>
            <p:nvPr/>
          </p:nvSpPr>
          <p:spPr bwMode="auto">
            <a:xfrm>
              <a:off x="5918192" y="1692464"/>
              <a:ext cx="2075446" cy="3816000"/>
            </a:xfrm>
            <a:custGeom>
              <a:avLst/>
              <a:gdLst>
                <a:gd name="connsiteX0" fmla="*/ 187922 w 2056156"/>
                <a:gd name="connsiteY0" fmla="*/ 0 h 3780533"/>
                <a:gd name="connsiteX1" fmla="*/ 358646 w 2056156"/>
                <a:gd name="connsiteY1" fmla="*/ 8621 h 3780533"/>
                <a:gd name="connsiteX2" fmla="*/ 2056156 w 2056156"/>
                <a:gd name="connsiteY2" fmla="*/ 1889696 h 3780533"/>
                <a:gd name="connsiteX3" fmla="*/ 165319 w 2056156"/>
                <a:gd name="connsiteY3" fmla="*/ 3780533 h 3780533"/>
                <a:gd name="connsiteX4" fmla="*/ 142259 w 2056156"/>
                <a:gd name="connsiteY4" fmla="*/ 3779369 h 3780533"/>
                <a:gd name="connsiteX5" fmla="*/ 0 w 2056156"/>
                <a:gd name="connsiteY5" fmla="*/ 3418865 h 3780533"/>
                <a:gd name="connsiteX6" fmla="*/ 151777 w 2056156"/>
                <a:gd name="connsiteY6" fmla="*/ 3062816 h 3780533"/>
                <a:gd name="connsiteX7" fmla="*/ 151233 w 2056156"/>
                <a:gd name="connsiteY7" fmla="*/ 3061648 h 3780533"/>
                <a:gd name="connsiteX8" fmla="*/ 165319 w 2056156"/>
                <a:gd name="connsiteY8" fmla="*/ 3062359 h 3780533"/>
                <a:gd name="connsiteX9" fmla="*/ 1337982 w 2056156"/>
                <a:gd name="connsiteY9" fmla="*/ 1889696 h 3780533"/>
                <a:gd name="connsiteX10" fmla="*/ 285217 w 2056156"/>
                <a:gd name="connsiteY10" fmla="*/ 723088 h 3780533"/>
                <a:gd name="connsiteX11" fmla="*/ 178863 w 2056156"/>
                <a:gd name="connsiteY11" fmla="*/ 717717 h 3780533"/>
                <a:gd name="connsiteX12" fmla="*/ 330640 w 2056156"/>
                <a:gd name="connsiteY12" fmla="*/ 361668 h 3780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56156" h="3780533">
                  <a:moveTo>
                    <a:pt x="187922" y="0"/>
                  </a:moveTo>
                  <a:lnTo>
                    <a:pt x="358646" y="8621"/>
                  </a:lnTo>
                  <a:cubicBezTo>
                    <a:pt x="1312112" y="105451"/>
                    <a:pt x="2056156" y="910684"/>
                    <a:pt x="2056156" y="1889696"/>
                  </a:cubicBezTo>
                  <a:cubicBezTo>
                    <a:pt x="2056156" y="2933976"/>
                    <a:pt x="1209599" y="3780533"/>
                    <a:pt x="165319" y="3780533"/>
                  </a:cubicBezTo>
                  <a:lnTo>
                    <a:pt x="142259" y="3779369"/>
                  </a:lnTo>
                  <a:lnTo>
                    <a:pt x="0" y="3418865"/>
                  </a:lnTo>
                  <a:lnTo>
                    <a:pt x="151777" y="3062816"/>
                  </a:lnTo>
                  <a:lnTo>
                    <a:pt x="151233" y="3061648"/>
                  </a:lnTo>
                  <a:lnTo>
                    <a:pt x="165319" y="3062359"/>
                  </a:lnTo>
                  <a:cubicBezTo>
                    <a:pt x="812963" y="3062359"/>
                    <a:pt x="1337982" y="2537340"/>
                    <a:pt x="1337982" y="1889696"/>
                  </a:cubicBezTo>
                  <a:cubicBezTo>
                    <a:pt x="1337982" y="1282530"/>
                    <a:pt x="876540" y="783140"/>
                    <a:pt x="285217" y="723088"/>
                  </a:cubicBezTo>
                  <a:lnTo>
                    <a:pt x="178863" y="717717"/>
                  </a:lnTo>
                  <a:lnTo>
                    <a:pt x="330640" y="361668"/>
                  </a:lnTo>
                  <a:close/>
                </a:path>
              </a:pathLst>
            </a:custGeom>
            <a:solidFill>
              <a:srgbClr val="00AF8E"/>
            </a:solidFill>
            <a:ln w="38100">
              <a:solidFill>
                <a:schemeClr val="bg2"/>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02" name="Freeform 201"/>
            <p:cNvSpPr/>
            <p:nvPr/>
          </p:nvSpPr>
          <p:spPr bwMode="auto">
            <a:xfrm rot="10800000">
              <a:off x="4176265" y="1692464"/>
              <a:ext cx="2075446" cy="3816000"/>
            </a:xfrm>
            <a:custGeom>
              <a:avLst/>
              <a:gdLst>
                <a:gd name="connsiteX0" fmla="*/ 187922 w 2056156"/>
                <a:gd name="connsiteY0" fmla="*/ 0 h 3780533"/>
                <a:gd name="connsiteX1" fmla="*/ 358646 w 2056156"/>
                <a:gd name="connsiteY1" fmla="*/ 8621 h 3780533"/>
                <a:gd name="connsiteX2" fmla="*/ 2056156 w 2056156"/>
                <a:gd name="connsiteY2" fmla="*/ 1889696 h 3780533"/>
                <a:gd name="connsiteX3" fmla="*/ 165319 w 2056156"/>
                <a:gd name="connsiteY3" fmla="*/ 3780533 h 3780533"/>
                <a:gd name="connsiteX4" fmla="*/ 142259 w 2056156"/>
                <a:gd name="connsiteY4" fmla="*/ 3779369 h 3780533"/>
                <a:gd name="connsiteX5" fmla="*/ 0 w 2056156"/>
                <a:gd name="connsiteY5" fmla="*/ 3418865 h 3780533"/>
                <a:gd name="connsiteX6" fmla="*/ 151777 w 2056156"/>
                <a:gd name="connsiteY6" fmla="*/ 3062816 h 3780533"/>
                <a:gd name="connsiteX7" fmla="*/ 151233 w 2056156"/>
                <a:gd name="connsiteY7" fmla="*/ 3061648 h 3780533"/>
                <a:gd name="connsiteX8" fmla="*/ 165319 w 2056156"/>
                <a:gd name="connsiteY8" fmla="*/ 3062359 h 3780533"/>
                <a:gd name="connsiteX9" fmla="*/ 1337982 w 2056156"/>
                <a:gd name="connsiteY9" fmla="*/ 1889696 h 3780533"/>
                <a:gd name="connsiteX10" fmla="*/ 285217 w 2056156"/>
                <a:gd name="connsiteY10" fmla="*/ 723088 h 3780533"/>
                <a:gd name="connsiteX11" fmla="*/ 178863 w 2056156"/>
                <a:gd name="connsiteY11" fmla="*/ 717717 h 3780533"/>
                <a:gd name="connsiteX12" fmla="*/ 330640 w 2056156"/>
                <a:gd name="connsiteY12" fmla="*/ 361668 h 3780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56156" h="3780533">
                  <a:moveTo>
                    <a:pt x="187922" y="0"/>
                  </a:moveTo>
                  <a:lnTo>
                    <a:pt x="358646" y="8621"/>
                  </a:lnTo>
                  <a:cubicBezTo>
                    <a:pt x="1312112" y="105451"/>
                    <a:pt x="2056156" y="910684"/>
                    <a:pt x="2056156" y="1889696"/>
                  </a:cubicBezTo>
                  <a:cubicBezTo>
                    <a:pt x="2056156" y="2933976"/>
                    <a:pt x="1209599" y="3780533"/>
                    <a:pt x="165319" y="3780533"/>
                  </a:cubicBezTo>
                  <a:lnTo>
                    <a:pt x="142259" y="3779369"/>
                  </a:lnTo>
                  <a:lnTo>
                    <a:pt x="0" y="3418865"/>
                  </a:lnTo>
                  <a:lnTo>
                    <a:pt x="151777" y="3062816"/>
                  </a:lnTo>
                  <a:lnTo>
                    <a:pt x="151233" y="3061648"/>
                  </a:lnTo>
                  <a:lnTo>
                    <a:pt x="165319" y="3062359"/>
                  </a:lnTo>
                  <a:cubicBezTo>
                    <a:pt x="812963" y="3062359"/>
                    <a:pt x="1337982" y="2537340"/>
                    <a:pt x="1337982" y="1889696"/>
                  </a:cubicBezTo>
                  <a:cubicBezTo>
                    <a:pt x="1337982" y="1282530"/>
                    <a:pt x="876540" y="783140"/>
                    <a:pt x="285217" y="723088"/>
                  </a:cubicBezTo>
                  <a:lnTo>
                    <a:pt x="178863" y="717717"/>
                  </a:lnTo>
                  <a:lnTo>
                    <a:pt x="330640" y="361668"/>
                  </a:lnTo>
                  <a:close/>
                </a:path>
              </a:pathLst>
            </a:custGeom>
            <a:solidFill>
              <a:srgbClr val="66667E"/>
            </a:solidFill>
            <a:ln w="38100">
              <a:solidFill>
                <a:schemeClr val="bg2"/>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grpSp>
      <p:sp>
        <p:nvSpPr>
          <p:cNvPr id="205" name="Rechteck 28"/>
          <p:cNvSpPr/>
          <p:nvPr/>
        </p:nvSpPr>
        <p:spPr bwMode="gray">
          <a:xfrm>
            <a:off x="8478790" y="2867244"/>
            <a:ext cx="2518688" cy="719625"/>
          </a:xfrm>
          <a:prstGeom prst="rect">
            <a:avLst/>
          </a:prstGeom>
          <a:noFill/>
          <a:ln w="19050">
            <a:noFill/>
            <a:miter lim="800000"/>
          </a:ln>
          <a:effectLst/>
        </p:spPr>
        <p:txBody>
          <a:bodyPr wrap="square" lIns="143925" tIns="0" rIns="143925" bIns="0" numCol="1" spcCol="72000" rtlCol="0" anchor="t" anchorCtr="0">
            <a:noAutofit/>
          </a:bodyPr>
          <a:lstStyle/>
          <a:p>
            <a:pPr>
              <a:tabLst>
                <a:tab pos="1255085" algn="r"/>
              </a:tabLst>
              <a:defRPr/>
            </a:pPr>
            <a:r>
              <a:rPr lang="en-US" altLang="de-DE" sz="1599" b="1" dirty="0">
                <a:solidFill>
                  <a:srgbClr val="00AF8E"/>
                </a:solidFill>
                <a:ea typeface="Arial Unicode MS"/>
              </a:rPr>
              <a:t>At vero eos et accusam</a:t>
            </a:r>
            <a:endParaRPr lang="en-US" altLang="de-DE" sz="1199" dirty="0">
              <a:solidFill>
                <a:srgbClr val="00AF8E"/>
              </a:solidFill>
              <a:ea typeface="Arial Unicode MS"/>
              <a:cs typeface="Arial" pitchFamily="34" charset="0"/>
            </a:endParaRPr>
          </a:p>
        </p:txBody>
      </p:sp>
      <p:sp>
        <p:nvSpPr>
          <p:cNvPr id="206" name="Rechteck 28"/>
          <p:cNvSpPr/>
          <p:nvPr/>
        </p:nvSpPr>
        <p:spPr bwMode="gray">
          <a:xfrm>
            <a:off x="1174908" y="2869277"/>
            <a:ext cx="2518688" cy="719625"/>
          </a:xfrm>
          <a:prstGeom prst="rect">
            <a:avLst/>
          </a:prstGeom>
          <a:noFill/>
          <a:ln w="19050">
            <a:noFill/>
            <a:miter lim="800000"/>
          </a:ln>
          <a:effectLst/>
        </p:spPr>
        <p:txBody>
          <a:bodyPr wrap="square" lIns="143925" tIns="0" rIns="143925" bIns="0" numCol="1" spcCol="72000" rtlCol="0" anchor="t" anchorCtr="0">
            <a:noAutofit/>
          </a:bodyPr>
          <a:lstStyle/>
          <a:p>
            <a:pPr algn="r">
              <a:tabLst>
                <a:tab pos="1255085" algn="r"/>
              </a:tabLst>
              <a:defRPr/>
            </a:pPr>
            <a:r>
              <a:rPr lang="en-US" altLang="de-DE" sz="1599" b="1" dirty="0">
                <a:solidFill>
                  <a:srgbClr val="9999A9"/>
                </a:solidFill>
                <a:ea typeface="Arial Unicode MS"/>
              </a:rPr>
              <a:t>Consetetur sadipscing elitr, seddiam nonumy</a:t>
            </a:r>
            <a:endParaRPr lang="en-US" altLang="de-DE" sz="1199" dirty="0">
              <a:solidFill>
                <a:srgbClr val="9999A9"/>
              </a:solidFill>
              <a:ea typeface="Arial Unicode MS"/>
              <a:cs typeface="Arial" pitchFamily="34" charset="0"/>
            </a:endParaRPr>
          </a:p>
        </p:txBody>
      </p:sp>
      <p:sp>
        <p:nvSpPr>
          <p:cNvPr id="10" name="Freihandform 85">
            <a:extLst>
              <a:ext uri="{FF2B5EF4-FFF2-40B4-BE49-F238E27FC236}">
                <a16:creationId xmlns:a16="http://schemas.microsoft.com/office/drawing/2014/main" id="{309DD962-068E-4C37-8E61-B0CF5226BCCD}"/>
              </a:ext>
            </a:extLst>
          </p:cNvPr>
          <p:cNvSpPr/>
          <p:nvPr/>
        </p:nvSpPr>
        <p:spPr bwMode="gray">
          <a:xfrm flipH="1">
            <a:off x="7989694" y="2996964"/>
            <a:ext cx="477950" cy="119488"/>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9999A9"/>
            </a:solidFill>
            <a:prstDash val="solid"/>
            <a:round/>
            <a:headEnd type="none" w="lg" len="lg"/>
            <a:tailEnd type="none" w="lg" len="lg"/>
          </a:ln>
          <a:effectLst/>
        </p:spPr>
        <p:txBody>
          <a:bodyPr rtlCol="0" anchor="ctr"/>
          <a:lstStyle/>
          <a:p>
            <a:pPr algn="ctr"/>
            <a:endParaRPr lang="en-US" sz="1799" dirty="0">
              <a:ea typeface="Arial Unicode MS"/>
            </a:endParaRPr>
          </a:p>
        </p:txBody>
      </p:sp>
      <p:sp>
        <p:nvSpPr>
          <p:cNvPr id="11" name="Freihandform 97">
            <a:extLst>
              <a:ext uri="{FF2B5EF4-FFF2-40B4-BE49-F238E27FC236}">
                <a16:creationId xmlns:a16="http://schemas.microsoft.com/office/drawing/2014/main" id="{C35D8A8C-AFD5-4D7F-98E8-CD6196236302}"/>
              </a:ext>
            </a:extLst>
          </p:cNvPr>
          <p:cNvSpPr/>
          <p:nvPr/>
        </p:nvSpPr>
        <p:spPr bwMode="gray">
          <a:xfrm>
            <a:off x="3682452" y="2996965"/>
            <a:ext cx="483137" cy="120784"/>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9999A9"/>
            </a:solidFill>
            <a:prstDash val="solid"/>
            <a:round/>
            <a:headEnd type="none" w="lg" len="lg"/>
            <a:tailEnd type="none" w="lg" len="lg"/>
          </a:ln>
          <a:effectLst/>
        </p:spPr>
        <p:txBody>
          <a:bodyPr rtlCol="0" anchor="ctr"/>
          <a:lstStyle/>
          <a:p>
            <a:pPr algn="ctr"/>
            <a:endParaRPr lang="en-US" sz="1799" dirty="0">
              <a:ea typeface="Arial Unicode MS"/>
            </a:endParaRPr>
          </a:p>
        </p:txBody>
      </p:sp>
      <p:sp>
        <p:nvSpPr>
          <p:cNvPr id="3" name="Footer Placeholder 2">
            <a:extLst>
              <a:ext uri="{FF2B5EF4-FFF2-40B4-BE49-F238E27FC236}">
                <a16:creationId xmlns:a16="http://schemas.microsoft.com/office/drawing/2014/main" id="{E98A965B-BB70-497D-B662-3E4A01C208DA}"/>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FC7322B4-5DC4-4A08-8B47-ABF5332638C0}"/>
              </a:ext>
            </a:extLst>
          </p:cNvPr>
          <p:cNvSpPr>
            <a:spLocks noGrp="1"/>
          </p:cNvSpPr>
          <p:nvPr>
            <p:ph type="sldNum" sz="quarter" idx="11"/>
          </p:nvPr>
        </p:nvSpPr>
        <p:spPr/>
        <p:txBody>
          <a:bodyPr/>
          <a:lstStyle/>
          <a:p>
            <a:r>
              <a:rPr lang="en-US" dirty="0"/>
              <a:t>Page </a:t>
            </a:r>
            <a:fld id="{15EBE321-CBB1-4E91-BD14-37C8D44326FB}" type="slidenum">
              <a:rPr lang="en-US" smtClean="0"/>
              <a:pPr/>
              <a:t>133</a:t>
            </a:fld>
            <a:endParaRPr lang="en-US" dirty="0"/>
          </a:p>
        </p:txBody>
      </p:sp>
    </p:spTree>
    <p:extLst>
      <p:ext uri="{BB962C8B-B14F-4D97-AF65-F5344CB8AC3E}">
        <p14:creationId xmlns:p14="http://schemas.microsoft.com/office/powerpoint/2010/main" val="2215161144"/>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800" name="Title 161799"/>
          <p:cNvSpPr>
            <a:spLocks noGrp="1"/>
          </p:cNvSpPr>
          <p:nvPr>
            <p:ph type="title"/>
          </p:nvPr>
        </p:nvSpPr>
        <p:spPr/>
        <p:txBody>
          <a:bodyPr/>
          <a:lstStyle/>
          <a:p>
            <a:r>
              <a:rPr lang="en-US" dirty="0"/>
              <a:t>Radial diagram – three parts</a:t>
            </a:r>
          </a:p>
        </p:txBody>
      </p:sp>
      <p:grpSp>
        <p:nvGrpSpPr>
          <p:cNvPr id="2" name="Gruppieren 1">
            <a:extLst>
              <a:ext uri="{FF2B5EF4-FFF2-40B4-BE49-F238E27FC236}">
                <a16:creationId xmlns:a16="http://schemas.microsoft.com/office/drawing/2014/main" id="{DD3F8D9E-FD72-4396-96B9-18DBAF588F9F}"/>
              </a:ext>
            </a:extLst>
          </p:cNvPr>
          <p:cNvGrpSpPr/>
          <p:nvPr/>
        </p:nvGrpSpPr>
        <p:grpSpPr>
          <a:xfrm>
            <a:off x="3717542" y="1667718"/>
            <a:ext cx="4720358" cy="3697263"/>
            <a:chOff x="3705616" y="1693275"/>
            <a:chExt cx="4722817" cy="3699189"/>
          </a:xfrm>
        </p:grpSpPr>
        <p:sp>
          <p:nvSpPr>
            <p:cNvPr id="18" name="Freeform 17"/>
            <p:cNvSpPr/>
            <p:nvPr/>
          </p:nvSpPr>
          <p:spPr bwMode="auto">
            <a:xfrm rot="14400000">
              <a:off x="4647602" y="876085"/>
              <a:ext cx="1932028" cy="3816000"/>
            </a:xfrm>
            <a:custGeom>
              <a:avLst/>
              <a:gdLst>
                <a:gd name="connsiteX0" fmla="*/ 279798 w 1932028"/>
                <a:gd name="connsiteY0" fmla="*/ 3063581 h 3816000"/>
                <a:gd name="connsiteX1" fmla="*/ 274942 w 1932028"/>
                <a:gd name="connsiteY1" fmla="*/ 3065103 h 3816000"/>
                <a:gd name="connsiteX2" fmla="*/ 9880 w 1932028"/>
                <a:gd name="connsiteY2" fmla="*/ 3092176 h 3816000"/>
                <a:gd name="connsiteX3" fmla="*/ 9526 w 1932028"/>
                <a:gd name="connsiteY3" fmla="*/ 3092152 h 3816000"/>
                <a:gd name="connsiteX4" fmla="*/ 9783 w 1932028"/>
                <a:gd name="connsiteY4" fmla="*/ 3091550 h 3816000"/>
                <a:gd name="connsiteX5" fmla="*/ 9234 w 1932028"/>
                <a:gd name="connsiteY5" fmla="*/ 3090371 h 3816000"/>
                <a:gd name="connsiteX6" fmla="*/ 23452 w 1932028"/>
                <a:gd name="connsiteY6" fmla="*/ 3091088 h 3816000"/>
                <a:gd name="connsiteX7" fmla="*/ 262002 w 1932028"/>
                <a:gd name="connsiteY7" fmla="*/ 3067041 h 3816000"/>
                <a:gd name="connsiteX8" fmla="*/ 279608 w 1932028"/>
                <a:gd name="connsiteY8" fmla="*/ 3062514 h 3816000"/>
                <a:gd name="connsiteX9" fmla="*/ 454609 w 1932028"/>
                <a:gd name="connsiteY9" fmla="*/ 3008896 h 3816000"/>
                <a:gd name="connsiteX10" fmla="*/ 397113 w 1932028"/>
                <a:gd name="connsiteY10" fmla="*/ 3031339 h 3816000"/>
                <a:gd name="connsiteX11" fmla="*/ 395878 w 1932028"/>
                <a:gd name="connsiteY11" fmla="*/ 3030392 h 3816000"/>
                <a:gd name="connsiteX12" fmla="*/ 38490 w 1932028"/>
                <a:gd name="connsiteY12" fmla="*/ 3815241 h 3816000"/>
                <a:gd name="connsiteX13" fmla="*/ 23452 w 1932028"/>
                <a:gd name="connsiteY13" fmla="*/ 3816000 h 3816000"/>
                <a:gd name="connsiteX14" fmla="*/ 176 w 1932028"/>
                <a:gd name="connsiteY14" fmla="*/ 3814825 h 3816000"/>
                <a:gd name="connsiteX15" fmla="*/ 0 w 1932028"/>
                <a:gd name="connsiteY15" fmla="*/ 3814381 h 3816000"/>
                <a:gd name="connsiteX16" fmla="*/ 229119 w 1932028"/>
                <a:gd name="connsiteY16" fmla="*/ 3804540 h 3816000"/>
                <a:gd name="connsiteX17" fmla="*/ 218593 w 1932028"/>
                <a:gd name="connsiteY17" fmla="*/ 3806146 h 3816000"/>
                <a:gd name="connsiteX18" fmla="*/ 184925 w 1932028"/>
                <a:gd name="connsiteY18" fmla="*/ 3807846 h 3816000"/>
                <a:gd name="connsiteX19" fmla="*/ 950547 w 1932028"/>
                <a:gd name="connsiteY19" fmla="*/ 2644778 h 3816000"/>
                <a:gd name="connsiteX20" fmla="*/ 933362 w 1932028"/>
                <a:gd name="connsiteY20" fmla="*/ 2664454 h 3816000"/>
                <a:gd name="connsiteX21" fmla="*/ 913643 w 1932028"/>
                <a:gd name="connsiteY21" fmla="*/ 2689246 h 3816000"/>
                <a:gd name="connsiteX22" fmla="*/ 892604 w 1932028"/>
                <a:gd name="connsiteY22" fmla="*/ 2711120 h 3816000"/>
                <a:gd name="connsiteX23" fmla="*/ 878969 w 1932028"/>
                <a:gd name="connsiteY23" fmla="*/ 2726730 h 3816000"/>
                <a:gd name="connsiteX24" fmla="*/ 862995 w 1932028"/>
                <a:gd name="connsiteY24" fmla="*/ 2741904 h 3816000"/>
                <a:gd name="connsiteX25" fmla="*/ 837427 w 1932028"/>
                <a:gd name="connsiteY25" fmla="*/ 2768487 h 3816000"/>
                <a:gd name="connsiteX26" fmla="*/ 811120 w 1932028"/>
                <a:gd name="connsiteY26" fmla="*/ 2791178 h 3816000"/>
                <a:gd name="connsiteX27" fmla="*/ 799188 w 1932028"/>
                <a:gd name="connsiteY27" fmla="*/ 2802514 h 3816000"/>
                <a:gd name="connsiteX28" fmla="*/ 785728 w 1932028"/>
                <a:gd name="connsiteY28" fmla="*/ 2813081 h 3816000"/>
                <a:gd name="connsiteX29" fmla="*/ 755086 w 1932028"/>
                <a:gd name="connsiteY29" fmla="*/ 2839512 h 3816000"/>
                <a:gd name="connsiteX30" fmla="*/ 722067 w 1932028"/>
                <a:gd name="connsiteY30" fmla="*/ 2863065 h 3816000"/>
                <a:gd name="connsiteX31" fmla="*/ 711381 w 1932028"/>
                <a:gd name="connsiteY31" fmla="*/ 2871456 h 3816000"/>
                <a:gd name="connsiteX32" fmla="*/ 700580 w 1932028"/>
                <a:gd name="connsiteY32" fmla="*/ 2878393 h 3816000"/>
                <a:gd name="connsiteX33" fmla="*/ 667290 w 1932028"/>
                <a:gd name="connsiteY33" fmla="*/ 2902140 h 3816000"/>
                <a:gd name="connsiteX34" fmla="*/ 626787 w 1932028"/>
                <a:gd name="connsiteY34" fmla="*/ 2925787 h 3816000"/>
                <a:gd name="connsiteX35" fmla="*/ 615727 w 1932028"/>
                <a:gd name="connsiteY35" fmla="*/ 2932890 h 3816000"/>
                <a:gd name="connsiteX36" fmla="*/ 606741 w 1932028"/>
                <a:gd name="connsiteY36" fmla="*/ 2937490 h 3816000"/>
                <a:gd name="connsiteX37" fmla="*/ 574708 w 1932028"/>
                <a:gd name="connsiteY37" fmla="*/ 2956193 h 3816000"/>
                <a:gd name="connsiteX38" fmla="*/ 521745 w 1932028"/>
                <a:gd name="connsiteY38" fmla="*/ 2981002 h 3816000"/>
                <a:gd name="connsiteX39" fmla="*/ 507862 w 1932028"/>
                <a:gd name="connsiteY39" fmla="*/ 2988110 h 3816000"/>
                <a:gd name="connsiteX40" fmla="*/ 500132 w 1932028"/>
                <a:gd name="connsiteY40" fmla="*/ 2991127 h 3816000"/>
                <a:gd name="connsiteX41" fmla="*/ 478009 w 1932028"/>
                <a:gd name="connsiteY41" fmla="*/ 3001490 h 3816000"/>
                <a:gd name="connsiteX42" fmla="*/ 456046 w 1932028"/>
                <a:gd name="connsiteY42" fmla="*/ 3008370 h 3816000"/>
                <a:gd name="connsiteX43" fmla="*/ 484187 w 1932028"/>
                <a:gd name="connsiteY43" fmla="*/ 2998070 h 3816000"/>
                <a:gd name="connsiteX44" fmla="*/ 936825 w 1932028"/>
                <a:gd name="connsiteY44" fmla="*/ 2660345 h 3816000"/>
                <a:gd name="connsiteX45" fmla="*/ 949032 w 1932028"/>
                <a:gd name="connsiteY45" fmla="*/ 2644020 h 3816000"/>
                <a:gd name="connsiteX46" fmla="*/ 418421 w 1932028"/>
                <a:gd name="connsiteY46" fmla="*/ 3774570 h 3816000"/>
                <a:gd name="connsiteX47" fmla="*/ 408097 w 1932028"/>
                <a:gd name="connsiteY47" fmla="*/ 3777224 h 3816000"/>
                <a:gd name="connsiteX48" fmla="*/ 369064 w 1932028"/>
                <a:gd name="connsiteY48" fmla="*/ 3783182 h 3816000"/>
                <a:gd name="connsiteX49" fmla="*/ 603635 w 1932028"/>
                <a:gd name="connsiteY49" fmla="*/ 3725571 h 3816000"/>
                <a:gd name="connsiteX50" fmla="*/ 591004 w 1932028"/>
                <a:gd name="connsiteY50" fmla="*/ 3730194 h 3816000"/>
                <a:gd name="connsiteX51" fmla="*/ 540290 w 1932028"/>
                <a:gd name="connsiteY51" fmla="*/ 3743234 h 3816000"/>
                <a:gd name="connsiteX52" fmla="*/ 782768 w 1932028"/>
                <a:gd name="connsiteY52" fmla="*/ 3658108 h 3816000"/>
                <a:gd name="connsiteX53" fmla="*/ 766356 w 1932028"/>
                <a:gd name="connsiteY53" fmla="*/ 3666015 h 3816000"/>
                <a:gd name="connsiteX54" fmla="*/ 704716 w 1932028"/>
                <a:gd name="connsiteY54" fmla="*/ 3688575 h 3816000"/>
                <a:gd name="connsiteX55" fmla="*/ 953394 w 1932028"/>
                <a:gd name="connsiteY55" fmla="*/ 3573372 h 3816000"/>
                <a:gd name="connsiteX56" fmla="*/ 933192 w 1932028"/>
                <a:gd name="connsiteY56" fmla="*/ 3585645 h 3816000"/>
                <a:gd name="connsiteX57" fmla="*/ 869261 w 1932028"/>
                <a:gd name="connsiteY57" fmla="*/ 3616442 h 3816000"/>
                <a:gd name="connsiteX58" fmla="*/ 1105096 w 1932028"/>
                <a:gd name="connsiteY58" fmla="*/ 3479171 h 3816000"/>
                <a:gd name="connsiteX59" fmla="*/ 1090555 w 1932028"/>
                <a:gd name="connsiteY59" fmla="*/ 3490045 h 3816000"/>
                <a:gd name="connsiteX60" fmla="*/ 1046388 w 1932028"/>
                <a:gd name="connsiteY60" fmla="*/ 3516877 h 3816000"/>
                <a:gd name="connsiteX61" fmla="*/ 1245922 w 1932028"/>
                <a:gd name="connsiteY61" fmla="*/ 3372505 h 3816000"/>
                <a:gd name="connsiteX62" fmla="*/ 1237483 w 1932028"/>
                <a:gd name="connsiteY62" fmla="*/ 3380174 h 3816000"/>
                <a:gd name="connsiteX63" fmla="*/ 1209555 w 1932028"/>
                <a:gd name="connsiteY63" fmla="*/ 3401058 h 3816000"/>
                <a:gd name="connsiteX64" fmla="*/ 1381617 w 1932028"/>
                <a:gd name="connsiteY64" fmla="*/ 3247531 h 3816000"/>
                <a:gd name="connsiteX65" fmla="*/ 1373019 w 1932028"/>
                <a:gd name="connsiteY65" fmla="*/ 3256991 h 3816000"/>
                <a:gd name="connsiteX66" fmla="*/ 1358697 w 1932028"/>
                <a:gd name="connsiteY66" fmla="*/ 3270007 h 3816000"/>
                <a:gd name="connsiteX67" fmla="*/ 1373757 w 1932028"/>
                <a:gd name="connsiteY67" fmla="*/ 3255702 h 3816000"/>
                <a:gd name="connsiteX68" fmla="*/ 1701673 w 1932028"/>
                <a:gd name="connsiteY68" fmla="*/ 2817164 h 3816000"/>
                <a:gd name="connsiteX69" fmla="*/ 1662529 w 1932028"/>
                <a:gd name="connsiteY69" fmla="*/ 2881597 h 3816000"/>
                <a:gd name="connsiteX70" fmla="*/ 1276073 w 1932028"/>
                <a:gd name="connsiteY70" fmla="*/ 2824080 h 3816000"/>
                <a:gd name="connsiteX71" fmla="*/ 1041434 w 1932028"/>
                <a:gd name="connsiteY71" fmla="*/ 2511709 h 3816000"/>
                <a:gd name="connsiteX72" fmla="*/ 1040005 w 1932028"/>
                <a:gd name="connsiteY72" fmla="*/ 2511545 h 3816000"/>
                <a:gd name="connsiteX73" fmla="*/ 1064255 w 1932028"/>
                <a:gd name="connsiteY73" fmla="*/ 2471629 h 3816000"/>
                <a:gd name="connsiteX74" fmla="*/ 1207116 w 1932028"/>
                <a:gd name="connsiteY74" fmla="*/ 1907424 h 3816000"/>
                <a:gd name="connsiteX75" fmla="*/ 144475 w 1932028"/>
                <a:gd name="connsiteY75" fmla="*/ 729872 h 3816000"/>
                <a:gd name="connsiteX76" fmla="*/ 37123 w 1932028"/>
                <a:gd name="connsiteY76" fmla="*/ 724450 h 3816000"/>
                <a:gd name="connsiteX77" fmla="*/ 190324 w 1932028"/>
                <a:gd name="connsiteY77" fmla="*/ 365061 h 3816000"/>
                <a:gd name="connsiteX78" fmla="*/ 46267 w 1932028"/>
                <a:gd name="connsiteY78" fmla="*/ 0 h 3816000"/>
                <a:gd name="connsiteX79" fmla="*/ 218593 w 1932028"/>
                <a:gd name="connsiteY79" fmla="*/ 8702 h 3816000"/>
                <a:gd name="connsiteX80" fmla="*/ 1932028 w 1932028"/>
                <a:gd name="connsiteY80" fmla="*/ 1907424 h 3816000"/>
                <a:gd name="connsiteX81" fmla="*/ 1701673 w 1932028"/>
                <a:gd name="connsiteY81" fmla="*/ 2817164 h 38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932028" h="3816000">
                  <a:moveTo>
                    <a:pt x="279798" y="3063581"/>
                  </a:moveTo>
                  <a:lnTo>
                    <a:pt x="274942" y="3065103"/>
                  </a:lnTo>
                  <a:cubicBezTo>
                    <a:pt x="188201" y="3083963"/>
                    <a:pt x="99266" y="3093144"/>
                    <a:pt x="9880" y="3092176"/>
                  </a:cubicBezTo>
                  <a:lnTo>
                    <a:pt x="9526" y="3092152"/>
                  </a:lnTo>
                  <a:lnTo>
                    <a:pt x="9783" y="3091550"/>
                  </a:lnTo>
                  <a:lnTo>
                    <a:pt x="9234" y="3090371"/>
                  </a:lnTo>
                  <a:lnTo>
                    <a:pt x="23452" y="3091088"/>
                  </a:lnTo>
                  <a:cubicBezTo>
                    <a:pt x="105167" y="3091088"/>
                    <a:pt x="184948" y="3082808"/>
                    <a:pt x="262002" y="3067041"/>
                  </a:cubicBezTo>
                  <a:lnTo>
                    <a:pt x="279608" y="3062514"/>
                  </a:lnTo>
                  <a:close/>
                  <a:moveTo>
                    <a:pt x="454609" y="3008896"/>
                  </a:moveTo>
                  <a:lnTo>
                    <a:pt x="397113" y="3031339"/>
                  </a:lnTo>
                  <a:lnTo>
                    <a:pt x="395878" y="3030392"/>
                  </a:lnTo>
                  <a:close/>
                  <a:moveTo>
                    <a:pt x="38490" y="3815241"/>
                  </a:moveTo>
                  <a:lnTo>
                    <a:pt x="23452" y="3816000"/>
                  </a:lnTo>
                  <a:lnTo>
                    <a:pt x="176" y="3814825"/>
                  </a:lnTo>
                  <a:lnTo>
                    <a:pt x="0" y="3814381"/>
                  </a:lnTo>
                  <a:close/>
                  <a:moveTo>
                    <a:pt x="229119" y="3804540"/>
                  </a:moveTo>
                  <a:lnTo>
                    <a:pt x="218593" y="3806146"/>
                  </a:lnTo>
                  <a:lnTo>
                    <a:pt x="184925" y="3807846"/>
                  </a:lnTo>
                  <a:close/>
                  <a:moveTo>
                    <a:pt x="950547" y="2644778"/>
                  </a:moveTo>
                  <a:lnTo>
                    <a:pt x="933362" y="2664454"/>
                  </a:lnTo>
                  <a:lnTo>
                    <a:pt x="913643" y="2689246"/>
                  </a:lnTo>
                  <a:lnTo>
                    <a:pt x="892604" y="2711120"/>
                  </a:lnTo>
                  <a:lnTo>
                    <a:pt x="878969" y="2726730"/>
                  </a:lnTo>
                  <a:lnTo>
                    <a:pt x="862995" y="2741904"/>
                  </a:lnTo>
                  <a:lnTo>
                    <a:pt x="837427" y="2768487"/>
                  </a:lnTo>
                  <a:lnTo>
                    <a:pt x="811120" y="2791178"/>
                  </a:lnTo>
                  <a:lnTo>
                    <a:pt x="799188" y="2802514"/>
                  </a:lnTo>
                  <a:lnTo>
                    <a:pt x="785728" y="2813081"/>
                  </a:lnTo>
                  <a:lnTo>
                    <a:pt x="755086" y="2839512"/>
                  </a:lnTo>
                  <a:lnTo>
                    <a:pt x="722067" y="2863065"/>
                  </a:lnTo>
                  <a:lnTo>
                    <a:pt x="711381" y="2871456"/>
                  </a:lnTo>
                  <a:lnTo>
                    <a:pt x="700580" y="2878393"/>
                  </a:lnTo>
                  <a:lnTo>
                    <a:pt x="667290" y="2902140"/>
                  </a:lnTo>
                  <a:lnTo>
                    <a:pt x="626787" y="2925787"/>
                  </a:lnTo>
                  <a:lnTo>
                    <a:pt x="615727" y="2932890"/>
                  </a:lnTo>
                  <a:lnTo>
                    <a:pt x="606741" y="2937490"/>
                  </a:lnTo>
                  <a:lnTo>
                    <a:pt x="574708" y="2956193"/>
                  </a:lnTo>
                  <a:lnTo>
                    <a:pt x="521745" y="2981002"/>
                  </a:lnTo>
                  <a:lnTo>
                    <a:pt x="507862" y="2988110"/>
                  </a:lnTo>
                  <a:lnTo>
                    <a:pt x="500132" y="2991127"/>
                  </a:lnTo>
                  <a:lnTo>
                    <a:pt x="478009" y="3001490"/>
                  </a:lnTo>
                  <a:lnTo>
                    <a:pt x="456046" y="3008370"/>
                  </a:lnTo>
                  <a:lnTo>
                    <a:pt x="484187" y="2998070"/>
                  </a:lnTo>
                  <a:cubicBezTo>
                    <a:pt x="661202" y="2923200"/>
                    <a:pt x="816213" y="2806493"/>
                    <a:pt x="936825" y="2660345"/>
                  </a:cubicBezTo>
                  <a:lnTo>
                    <a:pt x="949032" y="2644020"/>
                  </a:lnTo>
                  <a:close/>
                  <a:moveTo>
                    <a:pt x="418421" y="3774570"/>
                  </a:moveTo>
                  <a:lnTo>
                    <a:pt x="408097" y="3777224"/>
                  </a:lnTo>
                  <a:lnTo>
                    <a:pt x="369064" y="3783182"/>
                  </a:lnTo>
                  <a:close/>
                  <a:moveTo>
                    <a:pt x="603635" y="3725571"/>
                  </a:moveTo>
                  <a:lnTo>
                    <a:pt x="591004" y="3730194"/>
                  </a:lnTo>
                  <a:lnTo>
                    <a:pt x="540290" y="3743234"/>
                  </a:lnTo>
                  <a:close/>
                  <a:moveTo>
                    <a:pt x="782768" y="3658108"/>
                  </a:moveTo>
                  <a:lnTo>
                    <a:pt x="766356" y="3666015"/>
                  </a:lnTo>
                  <a:lnTo>
                    <a:pt x="704716" y="3688575"/>
                  </a:lnTo>
                  <a:close/>
                  <a:moveTo>
                    <a:pt x="953394" y="3573372"/>
                  </a:moveTo>
                  <a:lnTo>
                    <a:pt x="933192" y="3585645"/>
                  </a:lnTo>
                  <a:lnTo>
                    <a:pt x="869261" y="3616442"/>
                  </a:lnTo>
                  <a:close/>
                  <a:moveTo>
                    <a:pt x="1105096" y="3479171"/>
                  </a:moveTo>
                  <a:lnTo>
                    <a:pt x="1090555" y="3490045"/>
                  </a:lnTo>
                  <a:lnTo>
                    <a:pt x="1046388" y="3516877"/>
                  </a:lnTo>
                  <a:close/>
                  <a:moveTo>
                    <a:pt x="1245922" y="3372505"/>
                  </a:moveTo>
                  <a:lnTo>
                    <a:pt x="1237483" y="3380174"/>
                  </a:lnTo>
                  <a:lnTo>
                    <a:pt x="1209555" y="3401058"/>
                  </a:lnTo>
                  <a:close/>
                  <a:moveTo>
                    <a:pt x="1381617" y="3247531"/>
                  </a:moveTo>
                  <a:lnTo>
                    <a:pt x="1373019" y="3256991"/>
                  </a:lnTo>
                  <a:lnTo>
                    <a:pt x="1358697" y="3270007"/>
                  </a:lnTo>
                  <a:lnTo>
                    <a:pt x="1373757" y="3255702"/>
                  </a:lnTo>
                  <a:close/>
                  <a:moveTo>
                    <a:pt x="1701673" y="2817164"/>
                  </a:moveTo>
                  <a:lnTo>
                    <a:pt x="1662529" y="2881597"/>
                  </a:lnTo>
                  <a:lnTo>
                    <a:pt x="1276073" y="2824080"/>
                  </a:lnTo>
                  <a:lnTo>
                    <a:pt x="1041434" y="2511709"/>
                  </a:lnTo>
                  <a:lnTo>
                    <a:pt x="1040005" y="2511545"/>
                  </a:lnTo>
                  <a:lnTo>
                    <a:pt x="1064255" y="2471629"/>
                  </a:lnTo>
                  <a:cubicBezTo>
                    <a:pt x="1155364" y="2303912"/>
                    <a:pt x="1207117" y="2111711"/>
                    <a:pt x="1207116" y="1907424"/>
                  </a:cubicBezTo>
                  <a:cubicBezTo>
                    <a:pt x="1207116" y="1294562"/>
                    <a:pt x="741345" y="790487"/>
                    <a:pt x="144475" y="729872"/>
                  </a:cubicBezTo>
                  <a:lnTo>
                    <a:pt x="37123" y="724450"/>
                  </a:lnTo>
                  <a:lnTo>
                    <a:pt x="190324" y="365061"/>
                  </a:lnTo>
                  <a:lnTo>
                    <a:pt x="46267" y="0"/>
                  </a:lnTo>
                  <a:lnTo>
                    <a:pt x="218593" y="8702"/>
                  </a:lnTo>
                  <a:cubicBezTo>
                    <a:pt x="1181004" y="106440"/>
                    <a:pt x="1932028" y="919228"/>
                    <a:pt x="1932028" y="1907424"/>
                  </a:cubicBezTo>
                  <a:cubicBezTo>
                    <a:pt x="1932028" y="2236823"/>
                    <a:pt x="1848581" y="2546732"/>
                    <a:pt x="1701673" y="2817164"/>
                  </a:cubicBezTo>
                  <a:close/>
                </a:path>
              </a:pathLst>
            </a:custGeom>
            <a:solidFill>
              <a:srgbClr val="CCCCD4"/>
            </a:solidFill>
            <a:ln w="38100">
              <a:solidFill>
                <a:schemeClr val="bg1"/>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2" name="Freeform 21"/>
            <p:cNvSpPr/>
            <p:nvPr/>
          </p:nvSpPr>
          <p:spPr bwMode="auto">
            <a:xfrm rot="3600000">
              <a:off x="5482710" y="2446741"/>
              <a:ext cx="2075446" cy="3816000"/>
            </a:xfrm>
            <a:custGeom>
              <a:avLst/>
              <a:gdLst>
                <a:gd name="connsiteX0" fmla="*/ 152652 w 2075446"/>
                <a:gd name="connsiteY0" fmla="*/ 3090371 h 3816000"/>
                <a:gd name="connsiteX1" fmla="*/ 166870 w 2075446"/>
                <a:gd name="connsiteY1" fmla="*/ 3091088 h 3816000"/>
                <a:gd name="connsiteX2" fmla="*/ 1350534 w 2075446"/>
                <a:gd name="connsiteY2" fmla="*/ 1907424 h 3816000"/>
                <a:gd name="connsiteX3" fmla="*/ 1224291 w 2075446"/>
                <a:gd name="connsiteY3" fmla="*/ 1374950 h 3816000"/>
                <a:gd name="connsiteX4" fmla="*/ 1198147 w 2075446"/>
                <a:gd name="connsiteY4" fmla="*/ 1328505 h 3816000"/>
                <a:gd name="connsiteX5" fmla="*/ 1198523 w 2075446"/>
                <a:gd name="connsiteY5" fmla="*/ 1327968 h 3816000"/>
                <a:gd name="connsiteX6" fmla="*/ 1586364 w 2075446"/>
                <a:gd name="connsiteY6" fmla="*/ 1280948 h 3816000"/>
                <a:gd name="connsiteX7" fmla="*/ 1829406 w 2075446"/>
                <a:gd name="connsiteY7" fmla="*/ 975022 h 3816000"/>
                <a:gd name="connsiteX8" fmla="*/ 1829863 w 2075446"/>
                <a:gd name="connsiteY8" fmla="*/ 974191 h 3816000"/>
                <a:gd name="connsiteX9" fmla="*/ 1871888 w 2075446"/>
                <a:gd name="connsiteY9" fmla="*/ 1048848 h 3816000"/>
                <a:gd name="connsiteX10" fmla="*/ 2075446 w 2075446"/>
                <a:gd name="connsiteY10" fmla="*/ 1907424 h 3816000"/>
                <a:gd name="connsiteX11" fmla="*/ 166870 w 2075446"/>
                <a:gd name="connsiteY11" fmla="*/ 3816000 h 3816000"/>
                <a:gd name="connsiteX12" fmla="*/ 143593 w 2075446"/>
                <a:gd name="connsiteY12" fmla="*/ 3814825 h 3816000"/>
                <a:gd name="connsiteX13" fmla="*/ 0 w 2075446"/>
                <a:gd name="connsiteY13" fmla="*/ 3450939 h 3816000"/>
                <a:gd name="connsiteX14" fmla="*/ 153201 w 2075446"/>
                <a:gd name="connsiteY14" fmla="*/ 3091550 h 3816000"/>
                <a:gd name="connsiteX15" fmla="*/ 1027356 w 2075446"/>
                <a:gd name="connsiteY15" fmla="*/ 1095778 h 3816000"/>
                <a:gd name="connsiteX16" fmla="*/ 1036370 w 2075446"/>
                <a:gd name="connsiteY16" fmla="*/ 1104611 h 3816000"/>
                <a:gd name="connsiteX17" fmla="*/ 1037604 w 2075446"/>
                <a:gd name="connsiteY17" fmla="*/ 1106087 h 3816000"/>
                <a:gd name="connsiteX18" fmla="*/ 938074 w 2075446"/>
                <a:gd name="connsiteY18" fmla="*/ 1010913 h 3816000"/>
                <a:gd name="connsiteX19" fmla="*/ 952715 w 2075446"/>
                <a:gd name="connsiteY19" fmla="*/ 1022634 h 3816000"/>
                <a:gd name="connsiteX20" fmla="*/ 956904 w 2075446"/>
                <a:gd name="connsiteY20" fmla="*/ 1026739 h 3816000"/>
                <a:gd name="connsiteX21" fmla="*/ 846789 w 2075446"/>
                <a:gd name="connsiteY21" fmla="*/ 939856 h 3816000"/>
                <a:gd name="connsiteX22" fmla="*/ 859902 w 2075446"/>
                <a:gd name="connsiteY22" fmla="*/ 948336 h 3816000"/>
                <a:gd name="connsiteX23" fmla="*/ 866391 w 2075446"/>
                <a:gd name="connsiteY23" fmla="*/ 953531 h 3816000"/>
                <a:gd name="connsiteX24" fmla="*/ 746455 w 2075446"/>
                <a:gd name="connsiteY24" fmla="*/ 876499 h 3816000"/>
                <a:gd name="connsiteX25" fmla="*/ 758149 w 2075446"/>
                <a:gd name="connsiteY25" fmla="*/ 882532 h 3816000"/>
                <a:gd name="connsiteX26" fmla="*/ 766634 w 2075446"/>
                <a:gd name="connsiteY26" fmla="*/ 888019 h 3816000"/>
                <a:gd name="connsiteX27" fmla="*/ 644506 w 2075446"/>
                <a:gd name="connsiteY27" fmla="*/ 825351 h 3816000"/>
                <a:gd name="connsiteX28" fmla="*/ 657119 w 2075446"/>
                <a:gd name="connsiteY28" fmla="*/ 830412 h 3816000"/>
                <a:gd name="connsiteX29" fmla="*/ 668531 w 2075446"/>
                <a:gd name="connsiteY29" fmla="*/ 836299 h 3816000"/>
                <a:gd name="connsiteX30" fmla="*/ 537726 w 2075446"/>
                <a:gd name="connsiteY30" fmla="*/ 784173 h 3816000"/>
                <a:gd name="connsiteX31" fmla="*/ 553509 w 2075446"/>
                <a:gd name="connsiteY31" fmla="*/ 788840 h 3816000"/>
                <a:gd name="connsiteX32" fmla="*/ 569395 w 2075446"/>
                <a:gd name="connsiteY32" fmla="*/ 795213 h 3816000"/>
                <a:gd name="connsiteX33" fmla="*/ 431537 w 2075446"/>
                <a:gd name="connsiteY33" fmla="*/ 754596 h 3816000"/>
                <a:gd name="connsiteX34" fmla="*/ 447988 w 2075446"/>
                <a:gd name="connsiteY34" fmla="*/ 757637 h 3816000"/>
                <a:gd name="connsiteX35" fmla="*/ 469116 w 2075446"/>
                <a:gd name="connsiteY35" fmla="*/ 763885 h 3816000"/>
                <a:gd name="connsiteX36" fmla="*/ 303479 w 2075446"/>
                <a:gd name="connsiteY36" fmla="*/ 732200 h 3816000"/>
                <a:gd name="connsiteX37" fmla="*/ 314420 w 2075446"/>
                <a:gd name="connsiteY37" fmla="*/ 732944 h 3816000"/>
                <a:gd name="connsiteX38" fmla="*/ 339558 w 2075446"/>
                <a:gd name="connsiteY38" fmla="*/ 737592 h 3816000"/>
                <a:gd name="connsiteX39" fmla="*/ 658691 w 2075446"/>
                <a:gd name="connsiteY39" fmla="*/ 64652 h 3816000"/>
                <a:gd name="connsiteX40" fmla="*/ 711952 w 2075446"/>
                <a:gd name="connsiteY40" fmla="*/ 77818 h 3816000"/>
                <a:gd name="connsiteX41" fmla="*/ 1579632 w 2075446"/>
                <a:gd name="connsiteY41" fmla="*/ 624141 h 3816000"/>
                <a:gd name="connsiteX42" fmla="*/ 1618046 w 2075446"/>
                <a:gd name="connsiteY42" fmla="*/ 670407 h 3816000"/>
                <a:gd name="connsiteX43" fmla="*/ 1617812 w 2075446"/>
                <a:gd name="connsiteY43" fmla="*/ 670951 h 3816000"/>
                <a:gd name="connsiteX44" fmla="*/ 1585731 w 2075446"/>
                <a:gd name="connsiteY44" fmla="*/ 632580 h 3816000"/>
                <a:gd name="connsiteX45" fmla="*/ 1497599 w 2075446"/>
                <a:gd name="connsiteY45" fmla="*/ 542645 h 3816000"/>
                <a:gd name="connsiteX46" fmla="*/ 1450692 w 2075446"/>
                <a:gd name="connsiteY46" fmla="*/ 496679 h 3816000"/>
                <a:gd name="connsiteX47" fmla="*/ 1368071 w 2075446"/>
                <a:gd name="connsiteY47" fmla="*/ 427605 h 3816000"/>
                <a:gd name="connsiteX48" fmla="*/ 1302692 w 2075446"/>
                <a:gd name="connsiteY48" fmla="*/ 375268 h 3816000"/>
                <a:gd name="connsiteX49" fmla="*/ 1223310 w 2075446"/>
                <a:gd name="connsiteY49" fmla="*/ 321160 h 3816000"/>
                <a:gd name="connsiteX50" fmla="*/ 1144003 w 2075446"/>
                <a:gd name="connsiteY50" fmla="*/ 269873 h 3816000"/>
                <a:gd name="connsiteX51" fmla="*/ 1048519 w 2075446"/>
                <a:gd name="connsiteY51" fmla="*/ 217552 h 3816000"/>
                <a:gd name="connsiteX52" fmla="*/ 986576 w 2075446"/>
                <a:gd name="connsiteY52" fmla="*/ 185595 h 3816000"/>
                <a:gd name="connsiteX53" fmla="*/ 866621 w 2075446"/>
                <a:gd name="connsiteY53" fmla="*/ 134155 h 3816000"/>
                <a:gd name="connsiteX54" fmla="*/ 823787 w 2075446"/>
                <a:gd name="connsiteY54" fmla="*/ 116968 h 3816000"/>
                <a:gd name="connsiteX55" fmla="*/ 678563 w 2075446"/>
                <a:gd name="connsiteY55" fmla="*/ 70527 h 3816000"/>
                <a:gd name="connsiteX56" fmla="*/ 180792 w 2075446"/>
                <a:gd name="connsiteY56" fmla="*/ 723862 h 3816000"/>
                <a:gd name="connsiteX57" fmla="*/ 215199 w 2075446"/>
                <a:gd name="connsiteY57" fmla="*/ 726201 h 3816000"/>
                <a:gd name="connsiteX58" fmla="*/ 180541 w 2075446"/>
                <a:gd name="connsiteY58" fmla="*/ 724450 h 3816000"/>
                <a:gd name="connsiteX59" fmla="*/ 492622 w 2075446"/>
                <a:gd name="connsiteY59" fmla="*/ 28218 h 3816000"/>
                <a:gd name="connsiteX60" fmla="*/ 539854 w 2075446"/>
                <a:gd name="connsiteY60" fmla="*/ 35275 h 3816000"/>
                <a:gd name="connsiteX61" fmla="*/ 647736 w 2075446"/>
                <a:gd name="connsiteY61" fmla="*/ 61943 h 3816000"/>
                <a:gd name="connsiteX62" fmla="*/ 320490 w 2075446"/>
                <a:gd name="connsiteY62" fmla="*/ 6605 h 3816000"/>
                <a:gd name="connsiteX63" fmla="*/ 362011 w 2075446"/>
                <a:gd name="connsiteY63" fmla="*/ 8702 h 3816000"/>
                <a:gd name="connsiteX64" fmla="*/ 455686 w 2075446"/>
                <a:gd name="connsiteY64" fmla="*/ 22699 h 3816000"/>
                <a:gd name="connsiteX65" fmla="*/ 189685 w 2075446"/>
                <a:gd name="connsiteY65" fmla="*/ 0 h 3816000"/>
                <a:gd name="connsiteX66" fmla="*/ 246800 w 2075446"/>
                <a:gd name="connsiteY66" fmla="*/ 2884 h 3816000"/>
                <a:gd name="connsiteX67" fmla="*/ 190325 w 2075446"/>
                <a:gd name="connsiteY67" fmla="*/ 1623 h 38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2075446" h="3816000">
                  <a:moveTo>
                    <a:pt x="152652" y="3090371"/>
                  </a:moveTo>
                  <a:lnTo>
                    <a:pt x="166870" y="3091088"/>
                  </a:lnTo>
                  <a:cubicBezTo>
                    <a:pt x="820590" y="3091089"/>
                    <a:pt x="1350534" y="2561144"/>
                    <a:pt x="1350534" y="1907424"/>
                  </a:cubicBezTo>
                  <a:cubicBezTo>
                    <a:pt x="1350534" y="1715905"/>
                    <a:pt x="1305049" y="1535009"/>
                    <a:pt x="1224291" y="1374950"/>
                  </a:cubicBezTo>
                  <a:lnTo>
                    <a:pt x="1198147" y="1328505"/>
                  </a:lnTo>
                  <a:lnTo>
                    <a:pt x="1198523" y="1327968"/>
                  </a:lnTo>
                  <a:lnTo>
                    <a:pt x="1586364" y="1280948"/>
                  </a:lnTo>
                  <a:lnTo>
                    <a:pt x="1829406" y="975022"/>
                  </a:lnTo>
                  <a:lnTo>
                    <a:pt x="1829863" y="974191"/>
                  </a:lnTo>
                  <a:lnTo>
                    <a:pt x="1871888" y="1048848"/>
                  </a:lnTo>
                  <a:cubicBezTo>
                    <a:pt x="2002104" y="1306931"/>
                    <a:pt x="2075446" y="1598613"/>
                    <a:pt x="2075446" y="1907424"/>
                  </a:cubicBezTo>
                  <a:cubicBezTo>
                    <a:pt x="2075446" y="2961501"/>
                    <a:pt x="1220947" y="3816000"/>
                    <a:pt x="166870" y="3816000"/>
                  </a:cubicBezTo>
                  <a:lnTo>
                    <a:pt x="143593" y="3814825"/>
                  </a:lnTo>
                  <a:lnTo>
                    <a:pt x="0" y="3450939"/>
                  </a:lnTo>
                  <a:lnTo>
                    <a:pt x="153201" y="3091550"/>
                  </a:lnTo>
                  <a:close/>
                  <a:moveTo>
                    <a:pt x="1027356" y="1095778"/>
                  </a:moveTo>
                  <a:lnTo>
                    <a:pt x="1036370" y="1104611"/>
                  </a:lnTo>
                  <a:lnTo>
                    <a:pt x="1037604" y="1106087"/>
                  </a:lnTo>
                  <a:close/>
                  <a:moveTo>
                    <a:pt x="938074" y="1010913"/>
                  </a:moveTo>
                  <a:lnTo>
                    <a:pt x="952715" y="1022634"/>
                  </a:lnTo>
                  <a:lnTo>
                    <a:pt x="956904" y="1026739"/>
                  </a:lnTo>
                  <a:close/>
                  <a:moveTo>
                    <a:pt x="846789" y="939856"/>
                  </a:moveTo>
                  <a:lnTo>
                    <a:pt x="859902" y="948336"/>
                  </a:lnTo>
                  <a:lnTo>
                    <a:pt x="866391" y="953531"/>
                  </a:lnTo>
                  <a:close/>
                  <a:moveTo>
                    <a:pt x="746455" y="876499"/>
                  </a:moveTo>
                  <a:lnTo>
                    <a:pt x="758149" y="882532"/>
                  </a:lnTo>
                  <a:lnTo>
                    <a:pt x="766634" y="888019"/>
                  </a:lnTo>
                  <a:close/>
                  <a:moveTo>
                    <a:pt x="644506" y="825351"/>
                  </a:moveTo>
                  <a:lnTo>
                    <a:pt x="657119" y="830412"/>
                  </a:lnTo>
                  <a:lnTo>
                    <a:pt x="668531" y="836299"/>
                  </a:lnTo>
                  <a:close/>
                  <a:moveTo>
                    <a:pt x="537726" y="784173"/>
                  </a:moveTo>
                  <a:lnTo>
                    <a:pt x="553509" y="788840"/>
                  </a:lnTo>
                  <a:lnTo>
                    <a:pt x="569395" y="795213"/>
                  </a:lnTo>
                  <a:close/>
                  <a:moveTo>
                    <a:pt x="431537" y="754596"/>
                  </a:moveTo>
                  <a:lnTo>
                    <a:pt x="447988" y="757637"/>
                  </a:lnTo>
                  <a:lnTo>
                    <a:pt x="469116" y="763885"/>
                  </a:lnTo>
                  <a:close/>
                  <a:moveTo>
                    <a:pt x="303479" y="732200"/>
                  </a:moveTo>
                  <a:lnTo>
                    <a:pt x="314420" y="732944"/>
                  </a:lnTo>
                  <a:lnTo>
                    <a:pt x="339558" y="737592"/>
                  </a:lnTo>
                  <a:close/>
                  <a:moveTo>
                    <a:pt x="658691" y="64652"/>
                  </a:moveTo>
                  <a:lnTo>
                    <a:pt x="711952" y="77818"/>
                  </a:lnTo>
                  <a:cubicBezTo>
                    <a:pt x="1049877" y="178343"/>
                    <a:pt x="1348590" y="369937"/>
                    <a:pt x="1579632" y="624141"/>
                  </a:cubicBezTo>
                  <a:lnTo>
                    <a:pt x="1618046" y="670407"/>
                  </a:lnTo>
                  <a:lnTo>
                    <a:pt x="1617812" y="670951"/>
                  </a:lnTo>
                  <a:lnTo>
                    <a:pt x="1585731" y="632580"/>
                  </a:lnTo>
                  <a:lnTo>
                    <a:pt x="1497599" y="542645"/>
                  </a:lnTo>
                  <a:lnTo>
                    <a:pt x="1450692" y="496679"/>
                  </a:lnTo>
                  <a:lnTo>
                    <a:pt x="1368071" y="427605"/>
                  </a:lnTo>
                  <a:lnTo>
                    <a:pt x="1302692" y="375268"/>
                  </a:lnTo>
                  <a:lnTo>
                    <a:pt x="1223310" y="321160"/>
                  </a:lnTo>
                  <a:lnTo>
                    <a:pt x="1144003" y="269873"/>
                  </a:lnTo>
                  <a:cubicBezTo>
                    <a:pt x="1112176" y="252432"/>
                    <a:pt x="1080347" y="234993"/>
                    <a:pt x="1048519" y="217552"/>
                  </a:cubicBezTo>
                  <a:lnTo>
                    <a:pt x="986576" y="185595"/>
                  </a:lnTo>
                  <a:lnTo>
                    <a:pt x="866621" y="134155"/>
                  </a:lnTo>
                  <a:lnTo>
                    <a:pt x="823787" y="116968"/>
                  </a:lnTo>
                  <a:lnTo>
                    <a:pt x="678563" y="70527"/>
                  </a:lnTo>
                  <a:close/>
                  <a:moveTo>
                    <a:pt x="180792" y="723862"/>
                  </a:moveTo>
                  <a:lnTo>
                    <a:pt x="215199" y="726201"/>
                  </a:lnTo>
                  <a:lnTo>
                    <a:pt x="180541" y="724450"/>
                  </a:lnTo>
                  <a:close/>
                  <a:moveTo>
                    <a:pt x="492622" y="28218"/>
                  </a:moveTo>
                  <a:lnTo>
                    <a:pt x="539854" y="35275"/>
                  </a:lnTo>
                  <a:lnTo>
                    <a:pt x="647736" y="61943"/>
                  </a:lnTo>
                  <a:close/>
                  <a:moveTo>
                    <a:pt x="320490" y="6605"/>
                  </a:moveTo>
                  <a:lnTo>
                    <a:pt x="362011" y="8702"/>
                  </a:lnTo>
                  <a:lnTo>
                    <a:pt x="455686" y="22699"/>
                  </a:lnTo>
                  <a:close/>
                  <a:moveTo>
                    <a:pt x="189685" y="0"/>
                  </a:moveTo>
                  <a:lnTo>
                    <a:pt x="246800" y="2884"/>
                  </a:lnTo>
                  <a:lnTo>
                    <a:pt x="190325" y="1623"/>
                  </a:lnTo>
                  <a:close/>
                </a:path>
              </a:pathLst>
            </a:custGeom>
            <a:solidFill>
              <a:srgbClr val="00AF8E"/>
            </a:solidFill>
            <a:ln w="38100">
              <a:solidFill>
                <a:schemeClr val="bg1"/>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3" name="Freeform 22"/>
            <p:cNvSpPr/>
            <p:nvPr/>
          </p:nvSpPr>
          <p:spPr bwMode="auto">
            <a:xfrm>
              <a:off x="6098733" y="1693275"/>
              <a:ext cx="1893500" cy="2880595"/>
            </a:xfrm>
            <a:custGeom>
              <a:avLst/>
              <a:gdLst>
                <a:gd name="connsiteX0" fmla="*/ 9464 w 1893500"/>
                <a:gd name="connsiteY0" fmla="*/ 0 h 2880595"/>
                <a:gd name="connsiteX1" fmla="*/ 29502 w 1893500"/>
                <a:gd name="connsiteY1" fmla="*/ 218 h 2880595"/>
                <a:gd name="connsiteX2" fmla="*/ 144419 w 1893500"/>
                <a:gd name="connsiteY2" fmla="*/ 6021 h 2880595"/>
                <a:gd name="connsiteX3" fmla="*/ 222513 w 1893500"/>
                <a:gd name="connsiteY3" fmla="*/ 14025 h 2880595"/>
                <a:gd name="connsiteX4" fmla="*/ 312663 w 1893500"/>
                <a:gd name="connsiteY4" fmla="*/ 27495 h 2880595"/>
                <a:gd name="connsiteX5" fmla="*/ 403180 w 1893500"/>
                <a:gd name="connsiteY5" fmla="*/ 45309 h 2880595"/>
                <a:gd name="connsiteX6" fmla="*/ 478155 w 1893500"/>
                <a:gd name="connsiteY6" fmla="*/ 63843 h 2880595"/>
                <a:gd name="connsiteX7" fmla="*/ 580202 w 1893500"/>
                <a:gd name="connsiteY7" fmla="*/ 94018 h 2880595"/>
                <a:gd name="connsiteX8" fmla="*/ 640177 w 1893500"/>
                <a:gd name="connsiteY8" fmla="*/ 114927 h 2880595"/>
                <a:gd name="connsiteX9" fmla="*/ 751835 w 1893500"/>
                <a:gd name="connsiteY9" fmla="*/ 159728 h 2880595"/>
                <a:gd name="connsiteX10" fmla="*/ 800067 w 1893500"/>
                <a:gd name="connsiteY10" fmla="*/ 181707 h 2880595"/>
                <a:gd name="connsiteX11" fmla="*/ 915571 w 1893500"/>
                <a:gd name="connsiteY11" fmla="*/ 241295 h 2880595"/>
                <a:gd name="connsiteX12" fmla="*/ 957837 w 1893500"/>
                <a:gd name="connsiteY12" fmla="*/ 265425 h 2880595"/>
                <a:gd name="connsiteX13" fmla="*/ 1076054 w 1893500"/>
                <a:gd name="connsiteY13" fmla="*/ 341876 h 2880595"/>
                <a:gd name="connsiteX14" fmla="*/ 1118023 w 1893500"/>
                <a:gd name="connsiteY14" fmla="*/ 371153 h 2880595"/>
                <a:gd name="connsiteX15" fmla="*/ 1220110 w 1893500"/>
                <a:gd name="connsiteY15" fmla="*/ 452874 h 2880595"/>
                <a:gd name="connsiteX16" fmla="*/ 1263416 w 1893500"/>
                <a:gd name="connsiteY16" fmla="*/ 489270 h 2880595"/>
                <a:gd name="connsiteX17" fmla="*/ 1356593 w 1893500"/>
                <a:gd name="connsiteY17" fmla="*/ 580578 h 2880595"/>
                <a:gd name="connsiteX18" fmla="*/ 1393066 w 1893500"/>
                <a:gd name="connsiteY18" fmla="*/ 617270 h 2880595"/>
                <a:gd name="connsiteX19" fmla="*/ 1508444 w 1893500"/>
                <a:gd name="connsiteY19" fmla="*/ 755274 h 2880595"/>
                <a:gd name="connsiteX20" fmla="*/ 1612401 w 1893500"/>
                <a:gd name="connsiteY20" fmla="*/ 907790 h 2880595"/>
                <a:gd name="connsiteX21" fmla="*/ 1614934 w 1893500"/>
                <a:gd name="connsiteY21" fmla="*/ 912291 h 2880595"/>
                <a:gd name="connsiteX22" fmla="*/ 1700484 w 1893500"/>
                <a:gd name="connsiteY22" fmla="*/ 1068417 h 2880595"/>
                <a:gd name="connsiteX23" fmla="*/ 1704181 w 1893500"/>
                <a:gd name="connsiteY23" fmla="*/ 1076664 h 2880595"/>
                <a:gd name="connsiteX24" fmla="*/ 1772472 w 1893500"/>
                <a:gd name="connsiteY24" fmla="*/ 1235911 h 2880595"/>
                <a:gd name="connsiteX25" fmla="*/ 1776672 w 1893500"/>
                <a:gd name="connsiteY25" fmla="*/ 1248201 h 2880595"/>
                <a:gd name="connsiteX26" fmla="*/ 1827554 w 1893500"/>
                <a:gd name="connsiteY26" fmla="*/ 1407315 h 2880595"/>
                <a:gd name="connsiteX27" fmla="*/ 1833418 w 1893500"/>
                <a:gd name="connsiteY27" fmla="*/ 1431688 h 2880595"/>
                <a:gd name="connsiteX28" fmla="*/ 1865811 w 1893500"/>
                <a:gd name="connsiteY28" fmla="*/ 1580676 h 2880595"/>
                <a:gd name="connsiteX29" fmla="*/ 1872344 w 1893500"/>
                <a:gd name="connsiteY29" fmla="*/ 1626365 h 2880595"/>
                <a:gd name="connsiteX30" fmla="*/ 1887773 w 1893500"/>
                <a:gd name="connsiteY30" fmla="*/ 1755969 h 2880595"/>
                <a:gd name="connsiteX31" fmla="*/ 1891069 w 1893500"/>
                <a:gd name="connsiteY31" fmla="*/ 1825592 h 2880595"/>
                <a:gd name="connsiteX32" fmla="*/ 1893500 w 1893500"/>
                <a:gd name="connsiteY32" fmla="*/ 1934444 h 2880595"/>
                <a:gd name="connsiteX33" fmla="*/ 1888737 w 1893500"/>
                <a:gd name="connsiteY33" fmla="*/ 2028769 h 2880595"/>
                <a:gd name="connsiteX34" fmla="*/ 1881569 w 1893500"/>
                <a:gd name="connsiteY34" fmla="*/ 2124570 h 2880595"/>
                <a:gd name="connsiteX35" fmla="*/ 1868934 w 1893500"/>
                <a:gd name="connsiteY35" fmla="*/ 2207358 h 2880595"/>
                <a:gd name="connsiteX36" fmla="*/ 1850424 w 1893500"/>
                <a:gd name="connsiteY36" fmla="*/ 2313447 h 2880595"/>
                <a:gd name="connsiteX37" fmla="*/ 1834070 w 1893500"/>
                <a:gd name="connsiteY37" fmla="*/ 2377053 h 2880595"/>
                <a:gd name="connsiteX38" fmla="*/ 1800250 w 1893500"/>
                <a:gd name="connsiteY38" fmla="*/ 2498345 h 2880595"/>
                <a:gd name="connsiteX39" fmla="*/ 1783060 w 1893500"/>
                <a:gd name="connsiteY39" fmla="*/ 2545313 h 2880595"/>
                <a:gd name="connsiteX40" fmla="*/ 1731554 w 1893500"/>
                <a:gd name="connsiteY40" fmla="*/ 2677263 h 2880595"/>
                <a:gd name="connsiteX41" fmla="*/ 1712342 w 1893500"/>
                <a:gd name="connsiteY41" fmla="*/ 2717145 h 2880595"/>
                <a:gd name="connsiteX42" fmla="*/ 1645505 w 1893500"/>
                <a:gd name="connsiteY42" fmla="*/ 2847705 h 2880595"/>
                <a:gd name="connsiteX43" fmla="*/ 1625524 w 1893500"/>
                <a:gd name="connsiteY43" fmla="*/ 2880595 h 2880595"/>
                <a:gd name="connsiteX44" fmla="*/ 1239063 w 1893500"/>
                <a:gd name="connsiteY44" fmla="*/ 2823077 h 2880595"/>
                <a:gd name="connsiteX45" fmla="*/ 1004423 w 1893500"/>
                <a:gd name="connsiteY45" fmla="*/ 2510707 h 2880595"/>
                <a:gd name="connsiteX46" fmla="*/ 1003128 w 1893500"/>
                <a:gd name="connsiteY46" fmla="*/ 2510593 h 2880595"/>
                <a:gd name="connsiteX47" fmla="*/ 1010858 w 1893500"/>
                <a:gd name="connsiteY47" fmla="*/ 2498638 h 2880595"/>
                <a:gd name="connsiteX48" fmla="*/ 1014216 w 1893500"/>
                <a:gd name="connsiteY48" fmla="*/ 2492079 h 2880595"/>
                <a:gd name="connsiteX49" fmla="*/ 1027132 w 1893500"/>
                <a:gd name="connsiteY49" fmla="*/ 2470819 h 2880595"/>
                <a:gd name="connsiteX50" fmla="*/ 1059542 w 1893500"/>
                <a:gd name="connsiteY50" fmla="*/ 2403540 h 2880595"/>
                <a:gd name="connsiteX51" fmla="*/ 1066077 w 1893500"/>
                <a:gd name="connsiteY51" fmla="*/ 2390774 h 2880595"/>
                <a:gd name="connsiteX52" fmla="*/ 1067724 w 1893500"/>
                <a:gd name="connsiteY52" fmla="*/ 2386554 h 2880595"/>
                <a:gd name="connsiteX53" fmla="*/ 1076976 w 1893500"/>
                <a:gd name="connsiteY53" fmla="*/ 2367350 h 2880595"/>
                <a:gd name="connsiteX54" fmla="*/ 1103373 w 1893500"/>
                <a:gd name="connsiteY54" fmla="*/ 2295226 h 2880595"/>
                <a:gd name="connsiteX55" fmla="*/ 1109307 w 1893500"/>
                <a:gd name="connsiteY55" fmla="*/ 2280024 h 2880595"/>
                <a:gd name="connsiteX56" fmla="*/ 1110490 w 1893500"/>
                <a:gd name="connsiteY56" fmla="*/ 2275781 h 2880595"/>
                <a:gd name="connsiteX57" fmla="*/ 1116779 w 1893500"/>
                <a:gd name="connsiteY57" fmla="*/ 2258600 h 2880595"/>
                <a:gd name="connsiteX58" fmla="*/ 1134521 w 1893500"/>
                <a:gd name="connsiteY58" fmla="*/ 2189597 h 2880595"/>
                <a:gd name="connsiteX59" fmla="*/ 1140765 w 1893500"/>
                <a:gd name="connsiteY59" fmla="*/ 2167202 h 2880595"/>
                <a:gd name="connsiteX60" fmla="*/ 1141792 w 1893500"/>
                <a:gd name="connsiteY60" fmla="*/ 2161321 h 2880595"/>
                <a:gd name="connsiteX61" fmla="*/ 1145946 w 1893500"/>
                <a:gd name="connsiteY61" fmla="*/ 2145164 h 2880595"/>
                <a:gd name="connsiteX62" fmla="*/ 1155269 w 1893500"/>
                <a:gd name="connsiteY62" fmla="*/ 2084073 h 2880595"/>
                <a:gd name="connsiteX63" fmla="*/ 1160670 w 1893500"/>
                <a:gd name="connsiteY63" fmla="*/ 2053120 h 2880595"/>
                <a:gd name="connsiteX64" fmla="*/ 1161321 w 1893500"/>
                <a:gd name="connsiteY64" fmla="*/ 2044424 h 2880595"/>
                <a:gd name="connsiteX65" fmla="*/ 1163883 w 1893500"/>
                <a:gd name="connsiteY65" fmla="*/ 2027637 h 2880595"/>
                <a:gd name="connsiteX66" fmla="*/ 1166594 w 1893500"/>
                <a:gd name="connsiteY66" fmla="*/ 1973938 h 2880595"/>
                <a:gd name="connsiteX67" fmla="*/ 1169239 w 1893500"/>
                <a:gd name="connsiteY67" fmla="*/ 1938592 h 2880595"/>
                <a:gd name="connsiteX68" fmla="*/ 1168975 w 1893500"/>
                <a:gd name="connsiteY68" fmla="*/ 1926787 h 2880595"/>
                <a:gd name="connsiteX69" fmla="*/ 1169994 w 1893500"/>
                <a:gd name="connsiteY69" fmla="*/ 1906614 h 2880595"/>
                <a:gd name="connsiteX70" fmla="*/ 1167213 w 1893500"/>
                <a:gd name="connsiteY70" fmla="*/ 1847885 h 2880595"/>
                <a:gd name="connsiteX71" fmla="*/ 1166689 w 1893500"/>
                <a:gd name="connsiteY71" fmla="*/ 1824429 h 2880595"/>
                <a:gd name="connsiteX72" fmla="*/ 1165715 w 1893500"/>
                <a:gd name="connsiteY72" fmla="*/ 1816244 h 2880595"/>
                <a:gd name="connsiteX73" fmla="*/ 1164617 w 1893500"/>
                <a:gd name="connsiteY73" fmla="*/ 1793059 h 2880595"/>
                <a:gd name="connsiteX74" fmla="*/ 1154693 w 1893500"/>
                <a:gd name="connsiteY74" fmla="*/ 1723657 h 2880595"/>
                <a:gd name="connsiteX75" fmla="*/ 1153239 w 1893500"/>
                <a:gd name="connsiteY75" fmla="*/ 1711444 h 2880595"/>
                <a:gd name="connsiteX76" fmla="*/ 1152385 w 1893500"/>
                <a:gd name="connsiteY76" fmla="*/ 1707514 h 2880595"/>
                <a:gd name="connsiteX77" fmla="*/ 1148814 w 1893500"/>
                <a:gd name="connsiteY77" fmla="*/ 1682544 h 2880595"/>
                <a:gd name="connsiteX78" fmla="*/ 1129509 w 1893500"/>
                <a:gd name="connsiteY78" fmla="*/ 1602299 h 2880595"/>
                <a:gd name="connsiteX79" fmla="*/ 1129107 w 1893500"/>
                <a:gd name="connsiteY79" fmla="*/ 1600451 h 2880595"/>
                <a:gd name="connsiteX80" fmla="*/ 1128934 w 1893500"/>
                <a:gd name="connsiteY80" fmla="*/ 1599911 h 2880595"/>
                <a:gd name="connsiteX81" fmla="*/ 1123076 w 1893500"/>
                <a:gd name="connsiteY81" fmla="*/ 1575559 h 2880595"/>
                <a:gd name="connsiteX82" fmla="*/ 862499 w 1893500"/>
                <a:gd name="connsiteY82" fmla="*/ 1110745 h 2880595"/>
                <a:gd name="connsiteX83" fmla="*/ 858753 w 1893500"/>
                <a:gd name="connsiteY83" fmla="*/ 1107300 h 2880595"/>
                <a:gd name="connsiteX84" fmla="*/ 855828 w 1893500"/>
                <a:gd name="connsiteY84" fmla="*/ 1103801 h 2880595"/>
                <a:gd name="connsiteX85" fmla="*/ 772173 w 1893500"/>
                <a:gd name="connsiteY85" fmla="*/ 1021824 h 2880595"/>
                <a:gd name="connsiteX86" fmla="*/ 723165 w 1893500"/>
                <a:gd name="connsiteY86" fmla="*/ 982592 h 2880595"/>
                <a:gd name="connsiteX87" fmla="*/ 705875 w 1893500"/>
                <a:gd name="connsiteY87" fmla="*/ 966690 h 2880595"/>
                <a:gd name="connsiteX88" fmla="*/ 685839 w 1893500"/>
                <a:gd name="connsiteY88" fmla="*/ 952712 h 2880595"/>
                <a:gd name="connsiteX89" fmla="*/ 679361 w 1893500"/>
                <a:gd name="connsiteY89" fmla="*/ 947527 h 2880595"/>
                <a:gd name="connsiteX90" fmla="*/ 666264 w 1893500"/>
                <a:gd name="connsiteY90" fmla="*/ 939057 h 2880595"/>
                <a:gd name="connsiteX91" fmla="*/ 618297 w 1893500"/>
                <a:gd name="connsiteY91" fmla="*/ 905595 h 2880595"/>
                <a:gd name="connsiteX92" fmla="*/ 586084 w 1893500"/>
                <a:gd name="connsiteY92" fmla="*/ 887205 h 2880595"/>
                <a:gd name="connsiteX93" fmla="*/ 577607 w 1893500"/>
                <a:gd name="connsiteY93" fmla="*/ 881723 h 2880595"/>
                <a:gd name="connsiteX94" fmla="*/ 565926 w 1893500"/>
                <a:gd name="connsiteY94" fmla="*/ 875696 h 2880595"/>
                <a:gd name="connsiteX95" fmla="*/ 525195 w 1893500"/>
                <a:gd name="connsiteY95" fmla="*/ 852443 h 2880595"/>
                <a:gd name="connsiteX96" fmla="*/ 487984 w 1893500"/>
                <a:gd name="connsiteY96" fmla="*/ 835486 h 2880595"/>
                <a:gd name="connsiteX97" fmla="*/ 476577 w 1893500"/>
                <a:gd name="connsiteY97" fmla="*/ 829601 h 2880595"/>
                <a:gd name="connsiteX98" fmla="*/ 463967 w 1893500"/>
                <a:gd name="connsiteY98" fmla="*/ 824542 h 2880595"/>
                <a:gd name="connsiteX99" fmla="*/ 427059 w 1893500"/>
                <a:gd name="connsiteY99" fmla="*/ 807723 h 2880595"/>
                <a:gd name="connsiteX100" fmla="*/ 388849 w 1893500"/>
                <a:gd name="connsiteY100" fmla="*/ 794402 h 2880595"/>
                <a:gd name="connsiteX101" fmla="*/ 372967 w 1893500"/>
                <a:gd name="connsiteY101" fmla="*/ 788029 h 2880595"/>
                <a:gd name="connsiteX102" fmla="*/ 357184 w 1893500"/>
                <a:gd name="connsiteY102" fmla="*/ 783363 h 2880595"/>
                <a:gd name="connsiteX103" fmla="*/ 324380 w 1893500"/>
                <a:gd name="connsiteY103" fmla="*/ 771926 h 2880595"/>
                <a:gd name="connsiteX104" fmla="*/ 288574 w 1893500"/>
                <a:gd name="connsiteY104" fmla="*/ 763075 h 2880595"/>
                <a:gd name="connsiteX105" fmla="*/ 267446 w 1893500"/>
                <a:gd name="connsiteY105" fmla="*/ 756828 h 2880595"/>
                <a:gd name="connsiteX106" fmla="*/ 247110 w 1893500"/>
                <a:gd name="connsiteY106" fmla="*/ 752825 h 2880595"/>
                <a:gd name="connsiteX107" fmla="*/ 217647 w 1893500"/>
                <a:gd name="connsiteY107" fmla="*/ 745542 h 2880595"/>
                <a:gd name="connsiteX108" fmla="*/ 186317 w 1893500"/>
                <a:gd name="connsiteY108" fmla="*/ 740861 h 2880595"/>
                <a:gd name="connsiteX109" fmla="*/ 160684 w 1893500"/>
                <a:gd name="connsiteY109" fmla="*/ 735816 h 2880595"/>
                <a:gd name="connsiteX110" fmla="*/ 134804 w 1893500"/>
                <a:gd name="connsiteY110" fmla="*/ 733164 h 2880595"/>
                <a:gd name="connsiteX111" fmla="*/ 107352 w 1893500"/>
                <a:gd name="connsiteY111" fmla="*/ 729062 h 2880595"/>
                <a:gd name="connsiteX112" fmla="*/ 82569 w 1893500"/>
                <a:gd name="connsiteY112" fmla="*/ 727810 h 2880595"/>
                <a:gd name="connsiteX113" fmla="*/ 53350 w 1893500"/>
                <a:gd name="connsiteY113" fmla="*/ 724816 h 2880595"/>
                <a:gd name="connsiteX114" fmla="*/ 14991 w 1893500"/>
                <a:gd name="connsiteY114" fmla="*/ 724397 h 2880595"/>
                <a:gd name="connsiteX115" fmla="*/ 0 w 1893500"/>
                <a:gd name="connsiteY115" fmla="*/ 723640 h 2880595"/>
                <a:gd name="connsiteX116" fmla="*/ 153201 w 1893500"/>
                <a:gd name="connsiteY116" fmla="*/ 364251 h 2880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1893500" h="2880595">
                  <a:moveTo>
                    <a:pt x="9464" y="0"/>
                  </a:moveTo>
                  <a:lnTo>
                    <a:pt x="29502" y="218"/>
                  </a:lnTo>
                  <a:lnTo>
                    <a:pt x="144419" y="6021"/>
                  </a:lnTo>
                  <a:lnTo>
                    <a:pt x="222513" y="14025"/>
                  </a:lnTo>
                  <a:lnTo>
                    <a:pt x="312663" y="27495"/>
                  </a:lnTo>
                  <a:lnTo>
                    <a:pt x="403180" y="45309"/>
                  </a:lnTo>
                  <a:lnTo>
                    <a:pt x="478155" y="63843"/>
                  </a:lnTo>
                  <a:lnTo>
                    <a:pt x="580202" y="94018"/>
                  </a:lnTo>
                  <a:lnTo>
                    <a:pt x="640177" y="114927"/>
                  </a:lnTo>
                  <a:lnTo>
                    <a:pt x="751835" y="159728"/>
                  </a:lnTo>
                  <a:lnTo>
                    <a:pt x="800067" y="181707"/>
                  </a:lnTo>
                  <a:lnTo>
                    <a:pt x="915571" y="241295"/>
                  </a:lnTo>
                  <a:lnTo>
                    <a:pt x="957837" y="265425"/>
                  </a:lnTo>
                  <a:lnTo>
                    <a:pt x="1076054" y="341876"/>
                  </a:lnTo>
                  <a:lnTo>
                    <a:pt x="1118023" y="371153"/>
                  </a:lnTo>
                  <a:lnTo>
                    <a:pt x="1220110" y="452874"/>
                  </a:lnTo>
                  <a:lnTo>
                    <a:pt x="1263416" y="489270"/>
                  </a:lnTo>
                  <a:lnTo>
                    <a:pt x="1356593" y="580578"/>
                  </a:lnTo>
                  <a:lnTo>
                    <a:pt x="1393066" y="617270"/>
                  </a:lnTo>
                  <a:lnTo>
                    <a:pt x="1508444" y="755274"/>
                  </a:lnTo>
                  <a:lnTo>
                    <a:pt x="1612401" y="907790"/>
                  </a:lnTo>
                  <a:lnTo>
                    <a:pt x="1614934" y="912291"/>
                  </a:lnTo>
                  <a:lnTo>
                    <a:pt x="1700484" y="1068417"/>
                  </a:lnTo>
                  <a:lnTo>
                    <a:pt x="1704181" y="1076664"/>
                  </a:lnTo>
                  <a:lnTo>
                    <a:pt x="1772472" y="1235911"/>
                  </a:lnTo>
                  <a:lnTo>
                    <a:pt x="1776672" y="1248201"/>
                  </a:lnTo>
                  <a:lnTo>
                    <a:pt x="1827554" y="1407315"/>
                  </a:lnTo>
                  <a:lnTo>
                    <a:pt x="1833418" y="1431688"/>
                  </a:lnTo>
                  <a:lnTo>
                    <a:pt x="1865811" y="1580676"/>
                  </a:lnTo>
                  <a:lnTo>
                    <a:pt x="1872344" y="1626365"/>
                  </a:lnTo>
                  <a:lnTo>
                    <a:pt x="1887773" y="1755969"/>
                  </a:lnTo>
                  <a:lnTo>
                    <a:pt x="1891069" y="1825592"/>
                  </a:lnTo>
                  <a:lnTo>
                    <a:pt x="1893500" y="1934444"/>
                  </a:lnTo>
                  <a:lnTo>
                    <a:pt x="1888737" y="2028769"/>
                  </a:lnTo>
                  <a:lnTo>
                    <a:pt x="1881569" y="2124570"/>
                  </a:lnTo>
                  <a:lnTo>
                    <a:pt x="1868934" y="2207358"/>
                  </a:lnTo>
                  <a:lnTo>
                    <a:pt x="1850424" y="2313447"/>
                  </a:lnTo>
                  <a:lnTo>
                    <a:pt x="1834070" y="2377053"/>
                  </a:lnTo>
                  <a:lnTo>
                    <a:pt x="1800250" y="2498345"/>
                  </a:lnTo>
                  <a:lnTo>
                    <a:pt x="1783060" y="2545313"/>
                  </a:lnTo>
                  <a:lnTo>
                    <a:pt x="1731554" y="2677263"/>
                  </a:lnTo>
                  <a:lnTo>
                    <a:pt x="1712342" y="2717145"/>
                  </a:lnTo>
                  <a:lnTo>
                    <a:pt x="1645505" y="2847705"/>
                  </a:lnTo>
                  <a:lnTo>
                    <a:pt x="1625524" y="2880595"/>
                  </a:lnTo>
                  <a:lnTo>
                    <a:pt x="1239063" y="2823077"/>
                  </a:lnTo>
                  <a:lnTo>
                    <a:pt x="1004423" y="2510707"/>
                  </a:lnTo>
                  <a:lnTo>
                    <a:pt x="1003128" y="2510593"/>
                  </a:lnTo>
                  <a:lnTo>
                    <a:pt x="1010858" y="2498638"/>
                  </a:lnTo>
                  <a:lnTo>
                    <a:pt x="1014216" y="2492079"/>
                  </a:lnTo>
                  <a:lnTo>
                    <a:pt x="1027132" y="2470819"/>
                  </a:lnTo>
                  <a:lnTo>
                    <a:pt x="1059542" y="2403540"/>
                  </a:lnTo>
                  <a:lnTo>
                    <a:pt x="1066077" y="2390774"/>
                  </a:lnTo>
                  <a:lnTo>
                    <a:pt x="1067724" y="2386554"/>
                  </a:lnTo>
                  <a:lnTo>
                    <a:pt x="1076976" y="2367350"/>
                  </a:lnTo>
                  <a:lnTo>
                    <a:pt x="1103373" y="2295226"/>
                  </a:lnTo>
                  <a:lnTo>
                    <a:pt x="1109307" y="2280024"/>
                  </a:lnTo>
                  <a:lnTo>
                    <a:pt x="1110490" y="2275781"/>
                  </a:lnTo>
                  <a:lnTo>
                    <a:pt x="1116779" y="2258600"/>
                  </a:lnTo>
                  <a:lnTo>
                    <a:pt x="1134521" y="2189597"/>
                  </a:lnTo>
                  <a:lnTo>
                    <a:pt x="1140765" y="2167202"/>
                  </a:lnTo>
                  <a:lnTo>
                    <a:pt x="1141792" y="2161321"/>
                  </a:lnTo>
                  <a:lnTo>
                    <a:pt x="1145946" y="2145164"/>
                  </a:lnTo>
                  <a:lnTo>
                    <a:pt x="1155269" y="2084073"/>
                  </a:lnTo>
                  <a:lnTo>
                    <a:pt x="1160670" y="2053120"/>
                  </a:lnTo>
                  <a:lnTo>
                    <a:pt x="1161321" y="2044424"/>
                  </a:lnTo>
                  <a:lnTo>
                    <a:pt x="1163883" y="2027637"/>
                  </a:lnTo>
                  <a:lnTo>
                    <a:pt x="1166594" y="1973938"/>
                  </a:lnTo>
                  <a:lnTo>
                    <a:pt x="1169239" y="1938592"/>
                  </a:lnTo>
                  <a:lnTo>
                    <a:pt x="1168975" y="1926787"/>
                  </a:lnTo>
                  <a:lnTo>
                    <a:pt x="1169994" y="1906614"/>
                  </a:lnTo>
                  <a:lnTo>
                    <a:pt x="1167213" y="1847885"/>
                  </a:lnTo>
                  <a:lnTo>
                    <a:pt x="1166689" y="1824429"/>
                  </a:lnTo>
                  <a:lnTo>
                    <a:pt x="1165715" y="1816244"/>
                  </a:lnTo>
                  <a:lnTo>
                    <a:pt x="1164617" y="1793059"/>
                  </a:lnTo>
                  <a:lnTo>
                    <a:pt x="1154693" y="1723657"/>
                  </a:lnTo>
                  <a:lnTo>
                    <a:pt x="1153239" y="1711444"/>
                  </a:lnTo>
                  <a:lnTo>
                    <a:pt x="1152385" y="1707514"/>
                  </a:lnTo>
                  <a:lnTo>
                    <a:pt x="1148814" y="1682544"/>
                  </a:lnTo>
                  <a:lnTo>
                    <a:pt x="1129509" y="1602299"/>
                  </a:lnTo>
                  <a:lnTo>
                    <a:pt x="1129107" y="1600451"/>
                  </a:lnTo>
                  <a:lnTo>
                    <a:pt x="1128934" y="1599911"/>
                  </a:lnTo>
                  <a:lnTo>
                    <a:pt x="1123076" y="1575559"/>
                  </a:lnTo>
                  <a:cubicBezTo>
                    <a:pt x="1072170" y="1400465"/>
                    <a:pt x="981907" y="1242123"/>
                    <a:pt x="862499" y="1110745"/>
                  </a:cubicBezTo>
                  <a:lnTo>
                    <a:pt x="858753" y="1107300"/>
                  </a:lnTo>
                  <a:lnTo>
                    <a:pt x="855828" y="1103801"/>
                  </a:lnTo>
                  <a:cubicBezTo>
                    <a:pt x="829494" y="1075286"/>
                    <a:pt x="801597" y="1047915"/>
                    <a:pt x="772173" y="1021824"/>
                  </a:cubicBezTo>
                  <a:lnTo>
                    <a:pt x="723165" y="982592"/>
                  </a:lnTo>
                  <a:lnTo>
                    <a:pt x="705875" y="966690"/>
                  </a:lnTo>
                  <a:lnTo>
                    <a:pt x="685839" y="952712"/>
                  </a:lnTo>
                  <a:lnTo>
                    <a:pt x="679361" y="947527"/>
                  </a:lnTo>
                  <a:lnTo>
                    <a:pt x="666264" y="939057"/>
                  </a:lnTo>
                  <a:lnTo>
                    <a:pt x="618297" y="905595"/>
                  </a:lnTo>
                  <a:lnTo>
                    <a:pt x="586084" y="887205"/>
                  </a:lnTo>
                  <a:lnTo>
                    <a:pt x="577607" y="881723"/>
                  </a:lnTo>
                  <a:lnTo>
                    <a:pt x="565926" y="875696"/>
                  </a:lnTo>
                  <a:lnTo>
                    <a:pt x="525195" y="852443"/>
                  </a:lnTo>
                  <a:lnTo>
                    <a:pt x="487984" y="835486"/>
                  </a:lnTo>
                  <a:lnTo>
                    <a:pt x="476577" y="829601"/>
                  </a:lnTo>
                  <a:lnTo>
                    <a:pt x="463967" y="824542"/>
                  </a:lnTo>
                  <a:lnTo>
                    <a:pt x="427059" y="807723"/>
                  </a:lnTo>
                  <a:lnTo>
                    <a:pt x="388849" y="794402"/>
                  </a:lnTo>
                  <a:lnTo>
                    <a:pt x="372967" y="788029"/>
                  </a:lnTo>
                  <a:lnTo>
                    <a:pt x="357184" y="783363"/>
                  </a:lnTo>
                  <a:lnTo>
                    <a:pt x="324380" y="771926"/>
                  </a:lnTo>
                  <a:lnTo>
                    <a:pt x="288574" y="763075"/>
                  </a:lnTo>
                  <a:lnTo>
                    <a:pt x="267446" y="756828"/>
                  </a:lnTo>
                  <a:lnTo>
                    <a:pt x="247110" y="752825"/>
                  </a:lnTo>
                  <a:lnTo>
                    <a:pt x="217647" y="745542"/>
                  </a:lnTo>
                  <a:lnTo>
                    <a:pt x="186317" y="740861"/>
                  </a:lnTo>
                  <a:lnTo>
                    <a:pt x="160684" y="735816"/>
                  </a:lnTo>
                  <a:lnTo>
                    <a:pt x="134804" y="733164"/>
                  </a:lnTo>
                  <a:lnTo>
                    <a:pt x="107352" y="729062"/>
                  </a:lnTo>
                  <a:lnTo>
                    <a:pt x="82569" y="727810"/>
                  </a:lnTo>
                  <a:lnTo>
                    <a:pt x="53350" y="724816"/>
                  </a:lnTo>
                  <a:lnTo>
                    <a:pt x="14991" y="724397"/>
                  </a:lnTo>
                  <a:lnTo>
                    <a:pt x="0" y="723640"/>
                  </a:lnTo>
                  <a:lnTo>
                    <a:pt x="153201" y="364251"/>
                  </a:lnTo>
                  <a:close/>
                </a:path>
              </a:pathLst>
            </a:custGeom>
            <a:solidFill>
              <a:srgbClr val="00646E"/>
            </a:solidFill>
            <a:ln w="38100">
              <a:solidFill>
                <a:schemeClr val="bg1"/>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grpSp>
      <p:sp>
        <p:nvSpPr>
          <p:cNvPr id="205" name="Rechteck 28"/>
          <p:cNvSpPr/>
          <p:nvPr/>
        </p:nvSpPr>
        <p:spPr bwMode="gray">
          <a:xfrm>
            <a:off x="8478790" y="2866433"/>
            <a:ext cx="2518688" cy="719625"/>
          </a:xfrm>
          <a:prstGeom prst="rect">
            <a:avLst/>
          </a:prstGeom>
          <a:noFill/>
          <a:ln w="19050">
            <a:noFill/>
            <a:miter lim="800000"/>
          </a:ln>
          <a:effectLst/>
        </p:spPr>
        <p:txBody>
          <a:bodyPr wrap="square" lIns="143925" tIns="0" rIns="143925" bIns="0" numCol="1" spcCol="72000" rtlCol="0" anchor="t" anchorCtr="0">
            <a:noAutofit/>
          </a:bodyPr>
          <a:lstStyle/>
          <a:p>
            <a:pPr>
              <a:tabLst>
                <a:tab pos="1255085" algn="r"/>
              </a:tabLst>
              <a:defRPr/>
            </a:pPr>
            <a:r>
              <a:rPr lang="en-US" altLang="de-DE" sz="1599" b="1" dirty="0">
                <a:solidFill>
                  <a:srgbClr val="00646E"/>
                </a:solidFill>
                <a:ea typeface="Arial Unicode MS"/>
              </a:rPr>
              <a:t>Cras ultricies mi eu</a:t>
            </a:r>
            <a:endParaRPr lang="en-US" altLang="de-DE" sz="1199" dirty="0">
              <a:solidFill>
                <a:srgbClr val="00646E"/>
              </a:solidFill>
              <a:ea typeface="Arial Unicode MS"/>
              <a:cs typeface="Arial" pitchFamily="34" charset="0"/>
            </a:endParaRPr>
          </a:p>
        </p:txBody>
      </p:sp>
      <p:sp>
        <p:nvSpPr>
          <p:cNvPr id="206" name="Rechteck 28"/>
          <p:cNvSpPr/>
          <p:nvPr/>
        </p:nvSpPr>
        <p:spPr bwMode="gray">
          <a:xfrm>
            <a:off x="1174908" y="2868466"/>
            <a:ext cx="2518688" cy="719625"/>
          </a:xfrm>
          <a:prstGeom prst="rect">
            <a:avLst/>
          </a:prstGeom>
          <a:noFill/>
          <a:ln w="19050">
            <a:noFill/>
            <a:miter lim="800000"/>
          </a:ln>
          <a:effectLst/>
        </p:spPr>
        <p:txBody>
          <a:bodyPr wrap="square" lIns="143925" tIns="0" rIns="143925" bIns="0" numCol="1" spcCol="72000" rtlCol="0" anchor="t" anchorCtr="0">
            <a:noAutofit/>
          </a:bodyPr>
          <a:lstStyle/>
          <a:p>
            <a:pPr algn="r">
              <a:tabLst>
                <a:tab pos="1255085" algn="r"/>
              </a:tabLst>
              <a:defRPr/>
            </a:pPr>
            <a:r>
              <a:rPr lang="en-US" altLang="de-DE" sz="1599" b="1" dirty="0">
                <a:solidFill>
                  <a:srgbClr val="66667E"/>
                </a:solidFill>
                <a:ea typeface="Arial Unicode MS"/>
              </a:rPr>
              <a:t>At vero eos et accusam</a:t>
            </a:r>
            <a:endParaRPr lang="en-US" altLang="de-DE" sz="1199" dirty="0">
              <a:solidFill>
                <a:srgbClr val="66667E"/>
              </a:solidFill>
              <a:ea typeface="Arial Unicode MS"/>
              <a:cs typeface="Arial" pitchFamily="34" charset="0"/>
            </a:endParaRPr>
          </a:p>
        </p:txBody>
      </p:sp>
      <p:sp>
        <p:nvSpPr>
          <p:cNvPr id="25" name="Rechteck 28"/>
          <p:cNvSpPr/>
          <p:nvPr/>
        </p:nvSpPr>
        <p:spPr bwMode="gray">
          <a:xfrm>
            <a:off x="4804522" y="5743166"/>
            <a:ext cx="2518688" cy="423359"/>
          </a:xfrm>
          <a:prstGeom prst="rect">
            <a:avLst/>
          </a:prstGeom>
          <a:noFill/>
          <a:ln w="19050">
            <a:noFill/>
            <a:miter lim="800000"/>
          </a:ln>
          <a:effectLst/>
        </p:spPr>
        <p:txBody>
          <a:bodyPr wrap="square" lIns="0" tIns="143925" rIns="0" bIns="0" numCol="1" spcCol="72000" rtlCol="0" anchor="t" anchorCtr="0">
            <a:noAutofit/>
          </a:bodyPr>
          <a:lstStyle/>
          <a:p>
            <a:pPr algn="ctr">
              <a:tabLst>
                <a:tab pos="1255085" algn="r"/>
              </a:tabLst>
              <a:defRPr/>
            </a:pPr>
            <a:r>
              <a:rPr lang="en-US" altLang="de-DE" sz="1599" b="1" dirty="0">
                <a:solidFill>
                  <a:srgbClr val="00AF8E"/>
                </a:solidFill>
                <a:ea typeface="Arial Unicode MS"/>
              </a:rPr>
              <a:t>Consetetur sadipscing</a:t>
            </a:r>
            <a:endParaRPr lang="en-US" altLang="de-DE" sz="1199" dirty="0">
              <a:solidFill>
                <a:srgbClr val="00AF8E"/>
              </a:solidFill>
              <a:ea typeface="Arial Unicode MS"/>
              <a:cs typeface="Arial" pitchFamily="34" charset="0"/>
            </a:endParaRPr>
          </a:p>
        </p:txBody>
      </p:sp>
      <p:sp>
        <p:nvSpPr>
          <p:cNvPr id="13" name="Freihandform 85">
            <a:extLst>
              <a:ext uri="{FF2B5EF4-FFF2-40B4-BE49-F238E27FC236}">
                <a16:creationId xmlns:a16="http://schemas.microsoft.com/office/drawing/2014/main" id="{BFBF49EA-24F1-411B-BEDE-CD73451C1F2C}"/>
              </a:ext>
            </a:extLst>
          </p:cNvPr>
          <p:cNvSpPr/>
          <p:nvPr/>
        </p:nvSpPr>
        <p:spPr bwMode="gray">
          <a:xfrm flipH="1">
            <a:off x="7989694" y="2996153"/>
            <a:ext cx="477950" cy="119488"/>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66667E"/>
            </a:solidFill>
            <a:prstDash val="solid"/>
            <a:round/>
            <a:headEnd type="none" w="lg" len="lg"/>
            <a:tailEnd type="none" w="lg" len="lg"/>
          </a:ln>
          <a:effectLst/>
        </p:spPr>
        <p:txBody>
          <a:bodyPr rtlCol="0" anchor="ctr"/>
          <a:lstStyle/>
          <a:p>
            <a:pPr algn="ctr"/>
            <a:endParaRPr lang="en-US" sz="1799" dirty="0">
              <a:ea typeface="Arial Unicode MS"/>
            </a:endParaRPr>
          </a:p>
        </p:txBody>
      </p:sp>
      <p:sp>
        <p:nvSpPr>
          <p:cNvPr id="14" name="Freihandform 97">
            <a:extLst>
              <a:ext uri="{FF2B5EF4-FFF2-40B4-BE49-F238E27FC236}">
                <a16:creationId xmlns:a16="http://schemas.microsoft.com/office/drawing/2014/main" id="{E87F7C87-A541-4722-84F1-998063E65C30}"/>
              </a:ext>
            </a:extLst>
          </p:cNvPr>
          <p:cNvSpPr/>
          <p:nvPr/>
        </p:nvSpPr>
        <p:spPr bwMode="gray">
          <a:xfrm>
            <a:off x="3682452" y="2996154"/>
            <a:ext cx="483137" cy="120784"/>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66667E"/>
            </a:solidFill>
            <a:prstDash val="solid"/>
            <a:round/>
            <a:headEnd type="none" w="lg" len="lg"/>
            <a:tailEnd type="none" w="lg" len="lg"/>
          </a:ln>
          <a:effectLst/>
        </p:spPr>
        <p:txBody>
          <a:bodyPr rtlCol="0" anchor="ctr"/>
          <a:lstStyle/>
          <a:p>
            <a:pPr algn="ctr"/>
            <a:endParaRPr lang="en-US" sz="1799" dirty="0">
              <a:ea typeface="Arial Unicode MS"/>
            </a:endParaRPr>
          </a:p>
        </p:txBody>
      </p:sp>
      <p:cxnSp>
        <p:nvCxnSpPr>
          <p:cNvPr id="15" name="Gerade Verbindung mit Pfeil 32">
            <a:extLst>
              <a:ext uri="{FF2B5EF4-FFF2-40B4-BE49-F238E27FC236}">
                <a16:creationId xmlns:a16="http://schemas.microsoft.com/office/drawing/2014/main" id="{126079DA-836E-4F02-AAAD-878CCDFB6DF9}"/>
              </a:ext>
            </a:extLst>
          </p:cNvPr>
          <p:cNvCxnSpPr>
            <a:cxnSpLocks/>
          </p:cNvCxnSpPr>
          <p:nvPr/>
        </p:nvCxnSpPr>
        <p:spPr bwMode="auto">
          <a:xfrm>
            <a:off x="6079960" y="5544549"/>
            <a:ext cx="0" cy="203019"/>
          </a:xfrm>
          <a:prstGeom prst="straightConnector1">
            <a:avLst/>
          </a:prstGeom>
          <a:noFill/>
          <a:ln w="12700" cap="flat" cmpd="sng" algn="ctr">
            <a:solidFill>
              <a:srgbClr val="66667E"/>
            </a:solidFill>
            <a:prstDash val="solid"/>
            <a:round/>
            <a:headEnd type="none" w="lg" len="lg"/>
            <a:tailEnd type="none" w="lg" len="lg"/>
          </a:ln>
          <a:effectLst/>
        </p:spPr>
      </p:cxnSp>
      <p:sp>
        <p:nvSpPr>
          <p:cNvPr id="3" name="Footer Placeholder 2">
            <a:extLst>
              <a:ext uri="{FF2B5EF4-FFF2-40B4-BE49-F238E27FC236}">
                <a16:creationId xmlns:a16="http://schemas.microsoft.com/office/drawing/2014/main" id="{C0E92754-8D3C-4991-B27C-8FF549B4953A}"/>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84586922-2F4C-484A-939A-03E2E61E2E34}"/>
              </a:ext>
            </a:extLst>
          </p:cNvPr>
          <p:cNvSpPr>
            <a:spLocks noGrp="1"/>
          </p:cNvSpPr>
          <p:nvPr>
            <p:ph type="sldNum" sz="quarter" idx="11"/>
          </p:nvPr>
        </p:nvSpPr>
        <p:spPr/>
        <p:txBody>
          <a:bodyPr/>
          <a:lstStyle/>
          <a:p>
            <a:r>
              <a:rPr lang="en-US" dirty="0"/>
              <a:t>Page </a:t>
            </a:r>
            <a:fld id="{15EBE321-CBB1-4E91-BD14-37C8D44326FB}" type="slidenum">
              <a:rPr lang="en-US" smtClean="0"/>
              <a:pPr/>
              <a:t>134</a:t>
            </a:fld>
            <a:endParaRPr lang="en-US" dirty="0"/>
          </a:p>
        </p:txBody>
      </p:sp>
    </p:spTree>
    <p:extLst>
      <p:ext uri="{BB962C8B-B14F-4D97-AF65-F5344CB8AC3E}">
        <p14:creationId xmlns:p14="http://schemas.microsoft.com/office/powerpoint/2010/main" val="910895857"/>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800" name="Title 161799"/>
          <p:cNvSpPr>
            <a:spLocks noGrp="1"/>
          </p:cNvSpPr>
          <p:nvPr>
            <p:ph type="title"/>
          </p:nvPr>
        </p:nvSpPr>
        <p:spPr/>
        <p:txBody>
          <a:bodyPr/>
          <a:lstStyle/>
          <a:p>
            <a:r>
              <a:rPr lang="en-US" dirty="0"/>
              <a:t>Radial diagram – three parts</a:t>
            </a:r>
          </a:p>
        </p:txBody>
      </p:sp>
      <p:grpSp>
        <p:nvGrpSpPr>
          <p:cNvPr id="2" name="Gruppieren 1">
            <a:extLst>
              <a:ext uri="{FF2B5EF4-FFF2-40B4-BE49-F238E27FC236}">
                <a16:creationId xmlns:a16="http://schemas.microsoft.com/office/drawing/2014/main" id="{DD3F8D9E-FD72-4396-96B9-18DBAF588F9F}"/>
              </a:ext>
            </a:extLst>
          </p:cNvPr>
          <p:cNvGrpSpPr/>
          <p:nvPr/>
        </p:nvGrpSpPr>
        <p:grpSpPr>
          <a:xfrm>
            <a:off x="3717542" y="1667718"/>
            <a:ext cx="4720358" cy="3697263"/>
            <a:chOff x="3705616" y="1693275"/>
            <a:chExt cx="4722817" cy="3699189"/>
          </a:xfrm>
        </p:grpSpPr>
        <p:sp>
          <p:nvSpPr>
            <p:cNvPr id="18" name="Freeform 17"/>
            <p:cNvSpPr/>
            <p:nvPr/>
          </p:nvSpPr>
          <p:spPr bwMode="auto">
            <a:xfrm rot="14400000">
              <a:off x="4647602" y="876085"/>
              <a:ext cx="1932028" cy="3816000"/>
            </a:xfrm>
            <a:custGeom>
              <a:avLst/>
              <a:gdLst>
                <a:gd name="connsiteX0" fmla="*/ 279798 w 1932028"/>
                <a:gd name="connsiteY0" fmla="*/ 3063581 h 3816000"/>
                <a:gd name="connsiteX1" fmla="*/ 274942 w 1932028"/>
                <a:gd name="connsiteY1" fmla="*/ 3065103 h 3816000"/>
                <a:gd name="connsiteX2" fmla="*/ 9880 w 1932028"/>
                <a:gd name="connsiteY2" fmla="*/ 3092176 h 3816000"/>
                <a:gd name="connsiteX3" fmla="*/ 9526 w 1932028"/>
                <a:gd name="connsiteY3" fmla="*/ 3092152 h 3816000"/>
                <a:gd name="connsiteX4" fmla="*/ 9783 w 1932028"/>
                <a:gd name="connsiteY4" fmla="*/ 3091550 h 3816000"/>
                <a:gd name="connsiteX5" fmla="*/ 9234 w 1932028"/>
                <a:gd name="connsiteY5" fmla="*/ 3090371 h 3816000"/>
                <a:gd name="connsiteX6" fmla="*/ 23452 w 1932028"/>
                <a:gd name="connsiteY6" fmla="*/ 3091088 h 3816000"/>
                <a:gd name="connsiteX7" fmla="*/ 262002 w 1932028"/>
                <a:gd name="connsiteY7" fmla="*/ 3067041 h 3816000"/>
                <a:gd name="connsiteX8" fmla="*/ 279608 w 1932028"/>
                <a:gd name="connsiteY8" fmla="*/ 3062514 h 3816000"/>
                <a:gd name="connsiteX9" fmla="*/ 454609 w 1932028"/>
                <a:gd name="connsiteY9" fmla="*/ 3008896 h 3816000"/>
                <a:gd name="connsiteX10" fmla="*/ 397113 w 1932028"/>
                <a:gd name="connsiteY10" fmla="*/ 3031339 h 3816000"/>
                <a:gd name="connsiteX11" fmla="*/ 395878 w 1932028"/>
                <a:gd name="connsiteY11" fmla="*/ 3030392 h 3816000"/>
                <a:gd name="connsiteX12" fmla="*/ 38490 w 1932028"/>
                <a:gd name="connsiteY12" fmla="*/ 3815241 h 3816000"/>
                <a:gd name="connsiteX13" fmla="*/ 23452 w 1932028"/>
                <a:gd name="connsiteY13" fmla="*/ 3816000 h 3816000"/>
                <a:gd name="connsiteX14" fmla="*/ 176 w 1932028"/>
                <a:gd name="connsiteY14" fmla="*/ 3814825 h 3816000"/>
                <a:gd name="connsiteX15" fmla="*/ 0 w 1932028"/>
                <a:gd name="connsiteY15" fmla="*/ 3814381 h 3816000"/>
                <a:gd name="connsiteX16" fmla="*/ 229119 w 1932028"/>
                <a:gd name="connsiteY16" fmla="*/ 3804540 h 3816000"/>
                <a:gd name="connsiteX17" fmla="*/ 218593 w 1932028"/>
                <a:gd name="connsiteY17" fmla="*/ 3806146 h 3816000"/>
                <a:gd name="connsiteX18" fmla="*/ 184925 w 1932028"/>
                <a:gd name="connsiteY18" fmla="*/ 3807846 h 3816000"/>
                <a:gd name="connsiteX19" fmla="*/ 950547 w 1932028"/>
                <a:gd name="connsiteY19" fmla="*/ 2644778 h 3816000"/>
                <a:gd name="connsiteX20" fmla="*/ 933362 w 1932028"/>
                <a:gd name="connsiteY20" fmla="*/ 2664454 h 3816000"/>
                <a:gd name="connsiteX21" fmla="*/ 913643 w 1932028"/>
                <a:gd name="connsiteY21" fmla="*/ 2689246 h 3816000"/>
                <a:gd name="connsiteX22" fmla="*/ 892604 w 1932028"/>
                <a:gd name="connsiteY22" fmla="*/ 2711120 h 3816000"/>
                <a:gd name="connsiteX23" fmla="*/ 878969 w 1932028"/>
                <a:gd name="connsiteY23" fmla="*/ 2726730 h 3816000"/>
                <a:gd name="connsiteX24" fmla="*/ 862995 w 1932028"/>
                <a:gd name="connsiteY24" fmla="*/ 2741904 h 3816000"/>
                <a:gd name="connsiteX25" fmla="*/ 837427 w 1932028"/>
                <a:gd name="connsiteY25" fmla="*/ 2768487 h 3816000"/>
                <a:gd name="connsiteX26" fmla="*/ 811120 w 1932028"/>
                <a:gd name="connsiteY26" fmla="*/ 2791178 h 3816000"/>
                <a:gd name="connsiteX27" fmla="*/ 799188 w 1932028"/>
                <a:gd name="connsiteY27" fmla="*/ 2802514 h 3816000"/>
                <a:gd name="connsiteX28" fmla="*/ 785728 w 1932028"/>
                <a:gd name="connsiteY28" fmla="*/ 2813081 h 3816000"/>
                <a:gd name="connsiteX29" fmla="*/ 755086 w 1932028"/>
                <a:gd name="connsiteY29" fmla="*/ 2839512 h 3816000"/>
                <a:gd name="connsiteX30" fmla="*/ 722067 w 1932028"/>
                <a:gd name="connsiteY30" fmla="*/ 2863065 h 3816000"/>
                <a:gd name="connsiteX31" fmla="*/ 711381 w 1932028"/>
                <a:gd name="connsiteY31" fmla="*/ 2871456 h 3816000"/>
                <a:gd name="connsiteX32" fmla="*/ 700580 w 1932028"/>
                <a:gd name="connsiteY32" fmla="*/ 2878393 h 3816000"/>
                <a:gd name="connsiteX33" fmla="*/ 667290 w 1932028"/>
                <a:gd name="connsiteY33" fmla="*/ 2902140 h 3816000"/>
                <a:gd name="connsiteX34" fmla="*/ 626787 w 1932028"/>
                <a:gd name="connsiteY34" fmla="*/ 2925787 h 3816000"/>
                <a:gd name="connsiteX35" fmla="*/ 615727 w 1932028"/>
                <a:gd name="connsiteY35" fmla="*/ 2932890 h 3816000"/>
                <a:gd name="connsiteX36" fmla="*/ 606741 w 1932028"/>
                <a:gd name="connsiteY36" fmla="*/ 2937490 h 3816000"/>
                <a:gd name="connsiteX37" fmla="*/ 574708 w 1932028"/>
                <a:gd name="connsiteY37" fmla="*/ 2956193 h 3816000"/>
                <a:gd name="connsiteX38" fmla="*/ 521745 w 1932028"/>
                <a:gd name="connsiteY38" fmla="*/ 2981002 h 3816000"/>
                <a:gd name="connsiteX39" fmla="*/ 507862 w 1932028"/>
                <a:gd name="connsiteY39" fmla="*/ 2988110 h 3816000"/>
                <a:gd name="connsiteX40" fmla="*/ 500132 w 1932028"/>
                <a:gd name="connsiteY40" fmla="*/ 2991127 h 3816000"/>
                <a:gd name="connsiteX41" fmla="*/ 478009 w 1932028"/>
                <a:gd name="connsiteY41" fmla="*/ 3001490 h 3816000"/>
                <a:gd name="connsiteX42" fmla="*/ 456046 w 1932028"/>
                <a:gd name="connsiteY42" fmla="*/ 3008370 h 3816000"/>
                <a:gd name="connsiteX43" fmla="*/ 484187 w 1932028"/>
                <a:gd name="connsiteY43" fmla="*/ 2998070 h 3816000"/>
                <a:gd name="connsiteX44" fmla="*/ 936825 w 1932028"/>
                <a:gd name="connsiteY44" fmla="*/ 2660345 h 3816000"/>
                <a:gd name="connsiteX45" fmla="*/ 949032 w 1932028"/>
                <a:gd name="connsiteY45" fmla="*/ 2644020 h 3816000"/>
                <a:gd name="connsiteX46" fmla="*/ 418421 w 1932028"/>
                <a:gd name="connsiteY46" fmla="*/ 3774570 h 3816000"/>
                <a:gd name="connsiteX47" fmla="*/ 408097 w 1932028"/>
                <a:gd name="connsiteY47" fmla="*/ 3777224 h 3816000"/>
                <a:gd name="connsiteX48" fmla="*/ 369064 w 1932028"/>
                <a:gd name="connsiteY48" fmla="*/ 3783182 h 3816000"/>
                <a:gd name="connsiteX49" fmla="*/ 603635 w 1932028"/>
                <a:gd name="connsiteY49" fmla="*/ 3725571 h 3816000"/>
                <a:gd name="connsiteX50" fmla="*/ 591004 w 1932028"/>
                <a:gd name="connsiteY50" fmla="*/ 3730194 h 3816000"/>
                <a:gd name="connsiteX51" fmla="*/ 540290 w 1932028"/>
                <a:gd name="connsiteY51" fmla="*/ 3743234 h 3816000"/>
                <a:gd name="connsiteX52" fmla="*/ 782768 w 1932028"/>
                <a:gd name="connsiteY52" fmla="*/ 3658108 h 3816000"/>
                <a:gd name="connsiteX53" fmla="*/ 766356 w 1932028"/>
                <a:gd name="connsiteY53" fmla="*/ 3666015 h 3816000"/>
                <a:gd name="connsiteX54" fmla="*/ 704716 w 1932028"/>
                <a:gd name="connsiteY54" fmla="*/ 3688575 h 3816000"/>
                <a:gd name="connsiteX55" fmla="*/ 953394 w 1932028"/>
                <a:gd name="connsiteY55" fmla="*/ 3573372 h 3816000"/>
                <a:gd name="connsiteX56" fmla="*/ 933192 w 1932028"/>
                <a:gd name="connsiteY56" fmla="*/ 3585645 h 3816000"/>
                <a:gd name="connsiteX57" fmla="*/ 869261 w 1932028"/>
                <a:gd name="connsiteY57" fmla="*/ 3616442 h 3816000"/>
                <a:gd name="connsiteX58" fmla="*/ 1105096 w 1932028"/>
                <a:gd name="connsiteY58" fmla="*/ 3479171 h 3816000"/>
                <a:gd name="connsiteX59" fmla="*/ 1090555 w 1932028"/>
                <a:gd name="connsiteY59" fmla="*/ 3490045 h 3816000"/>
                <a:gd name="connsiteX60" fmla="*/ 1046388 w 1932028"/>
                <a:gd name="connsiteY60" fmla="*/ 3516877 h 3816000"/>
                <a:gd name="connsiteX61" fmla="*/ 1245922 w 1932028"/>
                <a:gd name="connsiteY61" fmla="*/ 3372505 h 3816000"/>
                <a:gd name="connsiteX62" fmla="*/ 1237483 w 1932028"/>
                <a:gd name="connsiteY62" fmla="*/ 3380174 h 3816000"/>
                <a:gd name="connsiteX63" fmla="*/ 1209555 w 1932028"/>
                <a:gd name="connsiteY63" fmla="*/ 3401058 h 3816000"/>
                <a:gd name="connsiteX64" fmla="*/ 1381617 w 1932028"/>
                <a:gd name="connsiteY64" fmla="*/ 3247531 h 3816000"/>
                <a:gd name="connsiteX65" fmla="*/ 1373019 w 1932028"/>
                <a:gd name="connsiteY65" fmla="*/ 3256991 h 3816000"/>
                <a:gd name="connsiteX66" fmla="*/ 1358697 w 1932028"/>
                <a:gd name="connsiteY66" fmla="*/ 3270007 h 3816000"/>
                <a:gd name="connsiteX67" fmla="*/ 1373757 w 1932028"/>
                <a:gd name="connsiteY67" fmla="*/ 3255702 h 3816000"/>
                <a:gd name="connsiteX68" fmla="*/ 1701673 w 1932028"/>
                <a:gd name="connsiteY68" fmla="*/ 2817164 h 3816000"/>
                <a:gd name="connsiteX69" fmla="*/ 1662529 w 1932028"/>
                <a:gd name="connsiteY69" fmla="*/ 2881597 h 3816000"/>
                <a:gd name="connsiteX70" fmla="*/ 1276073 w 1932028"/>
                <a:gd name="connsiteY70" fmla="*/ 2824080 h 3816000"/>
                <a:gd name="connsiteX71" fmla="*/ 1041434 w 1932028"/>
                <a:gd name="connsiteY71" fmla="*/ 2511709 h 3816000"/>
                <a:gd name="connsiteX72" fmla="*/ 1040005 w 1932028"/>
                <a:gd name="connsiteY72" fmla="*/ 2511545 h 3816000"/>
                <a:gd name="connsiteX73" fmla="*/ 1064255 w 1932028"/>
                <a:gd name="connsiteY73" fmla="*/ 2471629 h 3816000"/>
                <a:gd name="connsiteX74" fmla="*/ 1207116 w 1932028"/>
                <a:gd name="connsiteY74" fmla="*/ 1907424 h 3816000"/>
                <a:gd name="connsiteX75" fmla="*/ 144475 w 1932028"/>
                <a:gd name="connsiteY75" fmla="*/ 729872 h 3816000"/>
                <a:gd name="connsiteX76" fmla="*/ 37123 w 1932028"/>
                <a:gd name="connsiteY76" fmla="*/ 724450 h 3816000"/>
                <a:gd name="connsiteX77" fmla="*/ 190324 w 1932028"/>
                <a:gd name="connsiteY77" fmla="*/ 365061 h 3816000"/>
                <a:gd name="connsiteX78" fmla="*/ 46267 w 1932028"/>
                <a:gd name="connsiteY78" fmla="*/ 0 h 3816000"/>
                <a:gd name="connsiteX79" fmla="*/ 218593 w 1932028"/>
                <a:gd name="connsiteY79" fmla="*/ 8702 h 3816000"/>
                <a:gd name="connsiteX80" fmla="*/ 1932028 w 1932028"/>
                <a:gd name="connsiteY80" fmla="*/ 1907424 h 3816000"/>
                <a:gd name="connsiteX81" fmla="*/ 1701673 w 1932028"/>
                <a:gd name="connsiteY81" fmla="*/ 2817164 h 38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932028" h="3816000">
                  <a:moveTo>
                    <a:pt x="279798" y="3063581"/>
                  </a:moveTo>
                  <a:lnTo>
                    <a:pt x="274942" y="3065103"/>
                  </a:lnTo>
                  <a:cubicBezTo>
                    <a:pt x="188201" y="3083963"/>
                    <a:pt x="99266" y="3093144"/>
                    <a:pt x="9880" y="3092176"/>
                  </a:cubicBezTo>
                  <a:lnTo>
                    <a:pt x="9526" y="3092152"/>
                  </a:lnTo>
                  <a:lnTo>
                    <a:pt x="9783" y="3091550"/>
                  </a:lnTo>
                  <a:lnTo>
                    <a:pt x="9234" y="3090371"/>
                  </a:lnTo>
                  <a:lnTo>
                    <a:pt x="23452" y="3091088"/>
                  </a:lnTo>
                  <a:cubicBezTo>
                    <a:pt x="105167" y="3091088"/>
                    <a:pt x="184948" y="3082808"/>
                    <a:pt x="262002" y="3067041"/>
                  </a:cubicBezTo>
                  <a:lnTo>
                    <a:pt x="279608" y="3062514"/>
                  </a:lnTo>
                  <a:close/>
                  <a:moveTo>
                    <a:pt x="454609" y="3008896"/>
                  </a:moveTo>
                  <a:lnTo>
                    <a:pt x="397113" y="3031339"/>
                  </a:lnTo>
                  <a:lnTo>
                    <a:pt x="395878" y="3030392"/>
                  </a:lnTo>
                  <a:close/>
                  <a:moveTo>
                    <a:pt x="38490" y="3815241"/>
                  </a:moveTo>
                  <a:lnTo>
                    <a:pt x="23452" y="3816000"/>
                  </a:lnTo>
                  <a:lnTo>
                    <a:pt x="176" y="3814825"/>
                  </a:lnTo>
                  <a:lnTo>
                    <a:pt x="0" y="3814381"/>
                  </a:lnTo>
                  <a:close/>
                  <a:moveTo>
                    <a:pt x="229119" y="3804540"/>
                  </a:moveTo>
                  <a:lnTo>
                    <a:pt x="218593" y="3806146"/>
                  </a:lnTo>
                  <a:lnTo>
                    <a:pt x="184925" y="3807846"/>
                  </a:lnTo>
                  <a:close/>
                  <a:moveTo>
                    <a:pt x="950547" y="2644778"/>
                  </a:moveTo>
                  <a:lnTo>
                    <a:pt x="933362" y="2664454"/>
                  </a:lnTo>
                  <a:lnTo>
                    <a:pt x="913643" y="2689246"/>
                  </a:lnTo>
                  <a:lnTo>
                    <a:pt x="892604" y="2711120"/>
                  </a:lnTo>
                  <a:lnTo>
                    <a:pt x="878969" y="2726730"/>
                  </a:lnTo>
                  <a:lnTo>
                    <a:pt x="862995" y="2741904"/>
                  </a:lnTo>
                  <a:lnTo>
                    <a:pt x="837427" y="2768487"/>
                  </a:lnTo>
                  <a:lnTo>
                    <a:pt x="811120" y="2791178"/>
                  </a:lnTo>
                  <a:lnTo>
                    <a:pt x="799188" y="2802514"/>
                  </a:lnTo>
                  <a:lnTo>
                    <a:pt x="785728" y="2813081"/>
                  </a:lnTo>
                  <a:lnTo>
                    <a:pt x="755086" y="2839512"/>
                  </a:lnTo>
                  <a:lnTo>
                    <a:pt x="722067" y="2863065"/>
                  </a:lnTo>
                  <a:lnTo>
                    <a:pt x="711381" y="2871456"/>
                  </a:lnTo>
                  <a:lnTo>
                    <a:pt x="700580" y="2878393"/>
                  </a:lnTo>
                  <a:lnTo>
                    <a:pt x="667290" y="2902140"/>
                  </a:lnTo>
                  <a:lnTo>
                    <a:pt x="626787" y="2925787"/>
                  </a:lnTo>
                  <a:lnTo>
                    <a:pt x="615727" y="2932890"/>
                  </a:lnTo>
                  <a:lnTo>
                    <a:pt x="606741" y="2937490"/>
                  </a:lnTo>
                  <a:lnTo>
                    <a:pt x="574708" y="2956193"/>
                  </a:lnTo>
                  <a:lnTo>
                    <a:pt x="521745" y="2981002"/>
                  </a:lnTo>
                  <a:lnTo>
                    <a:pt x="507862" y="2988110"/>
                  </a:lnTo>
                  <a:lnTo>
                    <a:pt x="500132" y="2991127"/>
                  </a:lnTo>
                  <a:lnTo>
                    <a:pt x="478009" y="3001490"/>
                  </a:lnTo>
                  <a:lnTo>
                    <a:pt x="456046" y="3008370"/>
                  </a:lnTo>
                  <a:lnTo>
                    <a:pt x="484187" y="2998070"/>
                  </a:lnTo>
                  <a:cubicBezTo>
                    <a:pt x="661202" y="2923200"/>
                    <a:pt x="816213" y="2806493"/>
                    <a:pt x="936825" y="2660345"/>
                  </a:cubicBezTo>
                  <a:lnTo>
                    <a:pt x="949032" y="2644020"/>
                  </a:lnTo>
                  <a:close/>
                  <a:moveTo>
                    <a:pt x="418421" y="3774570"/>
                  </a:moveTo>
                  <a:lnTo>
                    <a:pt x="408097" y="3777224"/>
                  </a:lnTo>
                  <a:lnTo>
                    <a:pt x="369064" y="3783182"/>
                  </a:lnTo>
                  <a:close/>
                  <a:moveTo>
                    <a:pt x="603635" y="3725571"/>
                  </a:moveTo>
                  <a:lnTo>
                    <a:pt x="591004" y="3730194"/>
                  </a:lnTo>
                  <a:lnTo>
                    <a:pt x="540290" y="3743234"/>
                  </a:lnTo>
                  <a:close/>
                  <a:moveTo>
                    <a:pt x="782768" y="3658108"/>
                  </a:moveTo>
                  <a:lnTo>
                    <a:pt x="766356" y="3666015"/>
                  </a:lnTo>
                  <a:lnTo>
                    <a:pt x="704716" y="3688575"/>
                  </a:lnTo>
                  <a:close/>
                  <a:moveTo>
                    <a:pt x="953394" y="3573372"/>
                  </a:moveTo>
                  <a:lnTo>
                    <a:pt x="933192" y="3585645"/>
                  </a:lnTo>
                  <a:lnTo>
                    <a:pt x="869261" y="3616442"/>
                  </a:lnTo>
                  <a:close/>
                  <a:moveTo>
                    <a:pt x="1105096" y="3479171"/>
                  </a:moveTo>
                  <a:lnTo>
                    <a:pt x="1090555" y="3490045"/>
                  </a:lnTo>
                  <a:lnTo>
                    <a:pt x="1046388" y="3516877"/>
                  </a:lnTo>
                  <a:close/>
                  <a:moveTo>
                    <a:pt x="1245922" y="3372505"/>
                  </a:moveTo>
                  <a:lnTo>
                    <a:pt x="1237483" y="3380174"/>
                  </a:lnTo>
                  <a:lnTo>
                    <a:pt x="1209555" y="3401058"/>
                  </a:lnTo>
                  <a:close/>
                  <a:moveTo>
                    <a:pt x="1381617" y="3247531"/>
                  </a:moveTo>
                  <a:lnTo>
                    <a:pt x="1373019" y="3256991"/>
                  </a:lnTo>
                  <a:lnTo>
                    <a:pt x="1358697" y="3270007"/>
                  </a:lnTo>
                  <a:lnTo>
                    <a:pt x="1373757" y="3255702"/>
                  </a:lnTo>
                  <a:close/>
                  <a:moveTo>
                    <a:pt x="1701673" y="2817164"/>
                  </a:moveTo>
                  <a:lnTo>
                    <a:pt x="1662529" y="2881597"/>
                  </a:lnTo>
                  <a:lnTo>
                    <a:pt x="1276073" y="2824080"/>
                  </a:lnTo>
                  <a:lnTo>
                    <a:pt x="1041434" y="2511709"/>
                  </a:lnTo>
                  <a:lnTo>
                    <a:pt x="1040005" y="2511545"/>
                  </a:lnTo>
                  <a:lnTo>
                    <a:pt x="1064255" y="2471629"/>
                  </a:lnTo>
                  <a:cubicBezTo>
                    <a:pt x="1155364" y="2303912"/>
                    <a:pt x="1207117" y="2111711"/>
                    <a:pt x="1207116" y="1907424"/>
                  </a:cubicBezTo>
                  <a:cubicBezTo>
                    <a:pt x="1207116" y="1294562"/>
                    <a:pt x="741345" y="790487"/>
                    <a:pt x="144475" y="729872"/>
                  </a:cubicBezTo>
                  <a:lnTo>
                    <a:pt x="37123" y="724450"/>
                  </a:lnTo>
                  <a:lnTo>
                    <a:pt x="190324" y="365061"/>
                  </a:lnTo>
                  <a:lnTo>
                    <a:pt x="46267" y="0"/>
                  </a:lnTo>
                  <a:lnTo>
                    <a:pt x="218593" y="8702"/>
                  </a:lnTo>
                  <a:cubicBezTo>
                    <a:pt x="1181004" y="106440"/>
                    <a:pt x="1932028" y="919228"/>
                    <a:pt x="1932028" y="1907424"/>
                  </a:cubicBezTo>
                  <a:cubicBezTo>
                    <a:pt x="1932028" y="2236823"/>
                    <a:pt x="1848581" y="2546732"/>
                    <a:pt x="1701673" y="2817164"/>
                  </a:cubicBezTo>
                  <a:close/>
                </a:path>
              </a:pathLst>
            </a:custGeom>
            <a:solidFill>
              <a:srgbClr val="66667E"/>
            </a:solidFill>
            <a:ln w="38100">
              <a:solidFill>
                <a:schemeClr val="bg2"/>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2" name="Freeform 21"/>
            <p:cNvSpPr/>
            <p:nvPr/>
          </p:nvSpPr>
          <p:spPr bwMode="auto">
            <a:xfrm rot="3600000">
              <a:off x="5482710" y="2446741"/>
              <a:ext cx="2075446" cy="3816000"/>
            </a:xfrm>
            <a:custGeom>
              <a:avLst/>
              <a:gdLst>
                <a:gd name="connsiteX0" fmla="*/ 152652 w 2075446"/>
                <a:gd name="connsiteY0" fmla="*/ 3090371 h 3816000"/>
                <a:gd name="connsiteX1" fmla="*/ 166870 w 2075446"/>
                <a:gd name="connsiteY1" fmla="*/ 3091088 h 3816000"/>
                <a:gd name="connsiteX2" fmla="*/ 1350534 w 2075446"/>
                <a:gd name="connsiteY2" fmla="*/ 1907424 h 3816000"/>
                <a:gd name="connsiteX3" fmla="*/ 1224291 w 2075446"/>
                <a:gd name="connsiteY3" fmla="*/ 1374950 h 3816000"/>
                <a:gd name="connsiteX4" fmla="*/ 1198147 w 2075446"/>
                <a:gd name="connsiteY4" fmla="*/ 1328505 h 3816000"/>
                <a:gd name="connsiteX5" fmla="*/ 1198523 w 2075446"/>
                <a:gd name="connsiteY5" fmla="*/ 1327968 h 3816000"/>
                <a:gd name="connsiteX6" fmla="*/ 1586364 w 2075446"/>
                <a:gd name="connsiteY6" fmla="*/ 1280948 h 3816000"/>
                <a:gd name="connsiteX7" fmla="*/ 1829406 w 2075446"/>
                <a:gd name="connsiteY7" fmla="*/ 975022 h 3816000"/>
                <a:gd name="connsiteX8" fmla="*/ 1829863 w 2075446"/>
                <a:gd name="connsiteY8" fmla="*/ 974191 h 3816000"/>
                <a:gd name="connsiteX9" fmla="*/ 1871888 w 2075446"/>
                <a:gd name="connsiteY9" fmla="*/ 1048848 h 3816000"/>
                <a:gd name="connsiteX10" fmla="*/ 2075446 w 2075446"/>
                <a:gd name="connsiteY10" fmla="*/ 1907424 h 3816000"/>
                <a:gd name="connsiteX11" fmla="*/ 166870 w 2075446"/>
                <a:gd name="connsiteY11" fmla="*/ 3816000 h 3816000"/>
                <a:gd name="connsiteX12" fmla="*/ 143593 w 2075446"/>
                <a:gd name="connsiteY12" fmla="*/ 3814825 h 3816000"/>
                <a:gd name="connsiteX13" fmla="*/ 0 w 2075446"/>
                <a:gd name="connsiteY13" fmla="*/ 3450939 h 3816000"/>
                <a:gd name="connsiteX14" fmla="*/ 153201 w 2075446"/>
                <a:gd name="connsiteY14" fmla="*/ 3091550 h 3816000"/>
                <a:gd name="connsiteX15" fmla="*/ 1027356 w 2075446"/>
                <a:gd name="connsiteY15" fmla="*/ 1095778 h 3816000"/>
                <a:gd name="connsiteX16" fmla="*/ 1036370 w 2075446"/>
                <a:gd name="connsiteY16" fmla="*/ 1104611 h 3816000"/>
                <a:gd name="connsiteX17" fmla="*/ 1037604 w 2075446"/>
                <a:gd name="connsiteY17" fmla="*/ 1106087 h 3816000"/>
                <a:gd name="connsiteX18" fmla="*/ 938074 w 2075446"/>
                <a:gd name="connsiteY18" fmla="*/ 1010913 h 3816000"/>
                <a:gd name="connsiteX19" fmla="*/ 952715 w 2075446"/>
                <a:gd name="connsiteY19" fmla="*/ 1022634 h 3816000"/>
                <a:gd name="connsiteX20" fmla="*/ 956904 w 2075446"/>
                <a:gd name="connsiteY20" fmla="*/ 1026739 h 3816000"/>
                <a:gd name="connsiteX21" fmla="*/ 846789 w 2075446"/>
                <a:gd name="connsiteY21" fmla="*/ 939856 h 3816000"/>
                <a:gd name="connsiteX22" fmla="*/ 859902 w 2075446"/>
                <a:gd name="connsiteY22" fmla="*/ 948336 h 3816000"/>
                <a:gd name="connsiteX23" fmla="*/ 866391 w 2075446"/>
                <a:gd name="connsiteY23" fmla="*/ 953531 h 3816000"/>
                <a:gd name="connsiteX24" fmla="*/ 746455 w 2075446"/>
                <a:gd name="connsiteY24" fmla="*/ 876499 h 3816000"/>
                <a:gd name="connsiteX25" fmla="*/ 758149 w 2075446"/>
                <a:gd name="connsiteY25" fmla="*/ 882532 h 3816000"/>
                <a:gd name="connsiteX26" fmla="*/ 766634 w 2075446"/>
                <a:gd name="connsiteY26" fmla="*/ 888019 h 3816000"/>
                <a:gd name="connsiteX27" fmla="*/ 644506 w 2075446"/>
                <a:gd name="connsiteY27" fmla="*/ 825351 h 3816000"/>
                <a:gd name="connsiteX28" fmla="*/ 657119 w 2075446"/>
                <a:gd name="connsiteY28" fmla="*/ 830412 h 3816000"/>
                <a:gd name="connsiteX29" fmla="*/ 668531 w 2075446"/>
                <a:gd name="connsiteY29" fmla="*/ 836299 h 3816000"/>
                <a:gd name="connsiteX30" fmla="*/ 537726 w 2075446"/>
                <a:gd name="connsiteY30" fmla="*/ 784173 h 3816000"/>
                <a:gd name="connsiteX31" fmla="*/ 553509 w 2075446"/>
                <a:gd name="connsiteY31" fmla="*/ 788840 h 3816000"/>
                <a:gd name="connsiteX32" fmla="*/ 569395 w 2075446"/>
                <a:gd name="connsiteY32" fmla="*/ 795213 h 3816000"/>
                <a:gd name="connsiteX33" fmla="*/ 431537 w 2075446"/>
                <a:gd name="connsiteY33" fmla="*/ 754596 h 3816000"/>
                <a:gd name="connsiteX34" fmla="*/ 447988 w 2075446"/>
                <a:gd name="connsiteY34" fmla="*/ 757637 h 3816000"/>
                <a:gd name="connsiteX35" fmla="*/ 469116 w 2075446"/>
                <a:gd name="connsiteY35" fmla="*/ 763885 h 3816000"/>
                <a:gd name="connsiteX36" fmla="*/ 303479 w 2075446"/>
                <a:gd name="connsiteY36" fmla="*/ 732200 h 3816000"/>
                <a:gd name="connsiteX37" fmla="*/ 314420 w 2075446"/>
                <a:gd name="connsiteY37" fmla="*/ 732944 h 3816000"/>
                <a:gd name="connsiteX38" fmla="*/ 339558 w 2075446"/>
                <a:gd name="connsiteY38" fmla="*/ 737592 h 3816000"/>
                <a:gd name="connsiteX39" fmla="*/ 658691 w 2075446"/>
                <a:gd name="connsiteY39" fmla="*/ 64652 h 3816000"/>
                <a:gd name="connsiteX40" fmla="*/ 711952 w 2075446"/>
                <a:gd name="connsiteY40" fmla="*/ 77818 h 3816000"/>
                <a:gd name="connsiteX41" fmla="*/ 1579632 w 2075446"/>
                <a:gd name="connsiteY41" fmla="*/ 624141 h 3816000"/>
                <a:gd name="connsiteX42" fmla="*/ 1618046 w 2075446"/>
                <a:gd name="connsiteY42" fmla="*/ 670407 h 3816000"/>
                <a:gd name="connsiteX43" fmla="*/ 1617812 w 2075446"/>
                <a:gd name="connsiteY43" fmla="*/ 670951 h 3816000"/>
                <a:gd name="connsiteX44" fmla="*/ 1585731 w 2075446"/>
                <a:gd name="connsiteY44" fmla="*/ 632580 h 3816000"/>
                <a:gd name="connsiteX45" fmla="*/ 1497599 w 2075446"/>
                <a:gd name="connsiteY45" fmla="*/ 542645 h 3816000"/>
                <a:gd name="connsiteX46" fmla="*/ 1450692 w 2075446"/>
                <a:gd name="connsiteY46" fmla="*/ 496679 h 3816000"/>
                <a:gd name="connsiteX47" fmla="*/ 1368071 w 2075446"/>
                <a:gd name="connsiteY47" fmla="*/ 427605 h 3816000"/>
                <a:gd name="connsiteX48" fmla="*/ 1302692 w 2075446"/>
                <a:gd name="connsiteY48" fmla="*/ 375268 h 3816000"/>
                <a:gd name="connsiteX49" fmla="*/ 1223310 w 2075446"/>
                <a:gd name="connsiteY49" fmla="*/ 321160 h 3816000"/>
                <a:gd name="connsiteX50" fmla="*/ 1144003 w 2075446"/>
                <a:gd name="connsiteY50" fmla="*/ 269873 h 3816000"/>
                <a:gd name="connsiteX51" fmla="*/ 1048519 w 2075446"/>
                <a:gd name="connsiteY51" fmla="*/ 217552 h 3816000"/>
                <a:gd name="connsiteX52" fmla="*/ 986576 w 2075446"/>
                <a:gd name="connsiteY52" fmla="*/ 185595 h 3816000"/>
                <a:gd name="connsiteX53" fmla="*/ 866621 w 2075446"/>
                <a:gd name="connsiteY53" fmla="*/ 134155 h 3816000"/>
                <a:gd name="connsiteX54" fmla="*/ 823787 w 2075446"/>
                <a:gd name="connsiteY54" fmla="*/ 116968 h 3816000"/>
                <a:gd name="connsiteX55" fmla="*/ 678563 w 2075446"/>
                <a:gd name="connsiteY55" fmla="*/ 70527 h 3816000"/>
                <a:gd name="connsiteX56" fmla="*/ 180792 w 2075446"/>
                <a:gd name="connsiteY56" fmla="*/ 723862 h 3816000"/>
                <a:gd name="connsiteX57" fmla="*/ 215199 w 2075446"/>
                <a:gd name="connsiteY57" fmla="*/ 726201 h 3816000"/>
                <a:gd name="connsiteX58" fmla="*/ 180541 w 2075446"/>
                <a:gd name="connsiteY58" fmla="*/ 724450 h 3816000"/>
                <a:gd name="connsiteX59" fmla="*/ 492622 w 2075446"/>
                <a:gd name="connsiteY59" fmla="*/ 28218 h 3816000"/>
                <a:gd name="connsiteX60" fmla="*/ 539854 w 2075446"/>
                <a:gd name="connsiteY60" fmla="*/ 35275 h 3816000"/>
                <a:gd name="connsiteX61" fmla="*/ 647736 w 2075446"/>
                <a:gd name="connsiteY61" fmla="*/ 61943 h 3816000"/>
                <a:gd name="connsiteX62" fmla="*/ 320490 w 2075446"/>
                <a:gd name="connsiteY62" fmla="*/ 6605 h 3816000"/>
                <a:gd name="connsiteX63" fmla="*/ 362011 w 2075446"/>
                <a:gd name="connsiteY63" fmla="*/ 8702 h 3816000"/>
                <a:gd name="connsiteX64" fmla="*/ 455686 w 2075446"/>
                <a:gd name="connsiteY64" fmla="*/ 22699 h 3816000"/>
                <a:gd name="connsiteX65" fmla="*/ 189685 w 2075446"/>
                <a:gd name="connsiteY65" fmla="*/ 0 h 3816000"/>
                <a:gd name="connsiteX66" fmla="*/ 246800 w 2075446"/>
                <a:gd name="connsiteY66" fmla="*/ 2884 h 3816000"/>
                <a:gd name="connsiteX67" fmla="*/ 190325 w 2075446"/>
                <a:gd name="connsiteY67" fmla="*/ 1623 h 38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2075446" h="3816000">
                  <a:moveTo>
                    <a:pt x="152652" y="3090371"/>
                  </a:moveTo>
                  <a:lnTo>
                    <a:pt x="166870" y="3091088"/>
                  </a:lnTo>
                  <a:cubicBezTo>
                    <a:pt x="820590" y="3091089"/>
                    <a:pt x="1350534" y="2561144"/>
                    <a:pt x="1350534" y="1907424"/>
                  </a:cubicBezTo>
                  <a:cubicBezTo>
                    <a:pt x="1350534" y="1715905"/>
                    <a:pt x="1305049" y="1535009"/>
                    <a:pt x="1224291" y="1374950"/>
                  </a:cubicBezTo>
                  <a:lnTo>
                    <a:pt x="1198147" y="1328505"/>
                  </a:lnTo>
                  <a:lnTo>
                    <a:pt x="1198523" y="1327968"/>
                  </a:lnTo>
                  <a:lnTo>
                    <a:pt x="1586364" y="1280948"/>
                  </a:lnTo>
                  <a:lnTo>
                    <a:pt x="1829406" y="975022"/>
                  </a:lnTo>
                  <a:lnTo>
                    <a:pt x="1829863" y="974191"/>
                  </a:lnTo>
                  <a:lnTo>
                    <a:pt x="1871888" y="1048848"/>
                  </a:lnTo>
                  <a:cubicBezTo>
                    <a:pt x="2002104" y="1306931"/>
                    <a:pt x="2075446" y="1598613"/>
                    <a:pt x="2075446" y="1907424"/>
                  </a:cubicBezTo>
                  <a:cubicBezTo>
                    <a:pt x="2075446" y="2961501"/>
                    <a:pt x="1220947" y="3816000"/>
                    <a:pt x="166870" y="3816000"/>
                  </a:cubicBezTo>
                  <a:lnTo>
                    <a:pt x="143593" y="3814825"/>
                  </a:lnTo>
                  <a:lnTo>
                    <a:pt x="0" y="3450939"/>
                  </a:lnTo>
                  <a:lnTo>
                    <a:pt x="153201" y="3091550"/>
                  </a:lnTo>
                  <a:close/>
                  <a:moveTo>
                    <a:pt x="1027356" y="1095778"/>
                  </a:moveTo>
                  <a:lnTo>
                    <a:pt x="1036370" y="1104611"/>
                  </a:lnTo>
                  <a:lnTo>
                    <a:pt x="1037604" y="1106087"/>
                  </a:lnTo>
                  <a:close/>
                  <a:moveTo>
                    <a:pt x="938074" y="1010913"/>
                  </a:moveTo>
                  <a:lnTo>
                    <a:pt x="952715" y="1022634"/>
                  </a:lnTo>
                  <a:lnTo>
                    <a:pt x="956904" y="1026739"/>
                  </a:lnTo>
                  <a:close/>
                  <a:moveTo>
                    <a:pt x="846789" y="939856"/>
                  </a:moveTo>
                  <a:lnTo>
                    <a:pt x="859902" y="948336"/>
                  </a:lnTo>
                  <a:lnTo>
                    <a:pt x="866391" y="953531"/>
                  </a:lnTo>
                  <a:close/>
                  <a:moveTo>
                    <a:pt x="746455" y="876499"/>
                  </a:moveTo>
                  <a:lnTo>
                    <a:pt x="758149" y="882532"/>
                  </a:lnTo>
                  <a:lnTo>
                    <a:pt x="766634" y="888019"/>
                  </a:lnTo>
                  <a:close/>
                  <a:moveTo>
                    <a:pt x="644506" y="825351"/>
                  </a:moveTo>
                  <a:lnTo>
                    <a:pt x="657119" y="830412"/>
                  </a:lnTo>
                  <a:lnTo>
                    <a:pt x="668531" y="836299"/>
                  </a:lnTo>
                  <a:close/>
                  <a:moveTo>
                    <a:pt x="537726" y="784173"/>
                  </a:moveTo>
                  <a:lnTo>
                    <a:pt x="553509" y="788840"/>
                  </a:lnTo>
                  <a:lnTo>
                    <a:pt x="569395" y="795213"/>
                  </a:lnTo>
                  <a:close/>
                  <a:moveTo>
                    <a:pt x="431537" y="754596"/>
                  </a:moveTo>
                  <a:lnTo>
                    <a:pt x="447988" y="757637"/>
                  </a:lnTo>
                  <a:lnTo>
                    <a:pt x="469116" y="763885"/>
                  </a:lnTo>
                  <a:close/>
                  <a:moveTo>
                    <a:pt x="303479" y="732200"/>
                  </a:moveTo>
                  <a:lnTo>
                    <a:pt x="314420" y="732944"/>
                  </a:lnTo>
                  <a:lnTo>
                    <a:pt x="339558" y="737592"/>
                  </a:lnTo>
                  <a:close/>
                  <a:moveTo>
                    <a:pt x="658691" y="64652"/>
                  </a:moveTo>
                  <a:lnTo>
                    <a:pt x="711952" y="77818"/>
                  </a:lnTo>
                  <a:cubicBezTo>
                    <a:pt x="1049877" y="178343"/>
                    <a:pt x="1348590" y="369937"/>
                    <a:pt x="1579632" y="624141"/>
                  </a:cubicBezTo>
                  <a:lnTo>
                    <a:pt x="1618046" y="670407"/>
                  </a:lnTo>
                  <a:lnTo>
                    <a:pt x="1617812" y="670951"/>
                  </a:lnTo>
                  <a:lnTo>
                    <a:pt x="1585731" y="632580"/>
                  </a:lnTo>
                  <a:lnTo>
                    <a:pt x="1497599" y="542645"/>
                  </a:lnTo>
                  <a:lnTo>
                    <a:pt x="1450692" y="496679"/>
                  </a:lnTo>
                  <a:lnTo>
                    <a:pt x="1368071" y="427605"/>
                  </a:lnTo>
                  <a:lnTo>
                    <a:pt x="1302692" y="375268"/>
                  </a:lnTo>
                  <a:lnTo>
                    <a:pt x="1223310" y="321160"/>
                  </a:lnTo>
                  <a:lnTo>
                    <a:pt x="1144003" y="269873"/>
                  </a:lnTo>
                  <a:cubicBezTo>
                    <a:pt x="1112176" y="252432"/>
                    <a:pt x="1080347" y="234993"/>
                    <a:pt x="1048519" y="217552"/>
                  </a:cubicBezTo>
                  <a:lnTo>
                    <a:pt x="986576" y="185595"/>
                  </a:lnTo>
                  <a:lnTo>
                    <a:pt x="866621" y="134155"/>
                  </a:lnTo>
                  <a:lnTo>
                    <a:pt x="823787" y="116968"/>
                  </a:lnTo>
                  <a:lnTo>
                    <a:pt x="678563" y="70527"/>
                  </a:lnTo>
                  <a:close/>
                  <a:moveTo>
                    <a:pt x="180792" y="723862"/>
                  </a:moveTo>
                  <a:lnTo>
                    <a:pt x="215199" y="726201"/>
                  </a:lnTo>
                  <a:lnTo>
                    <a:pt x="180541" y="724450"/>
                  </a:lnTo>
                  <a:close/>
                  <a:moveTo>
                    <a:pt x="492622" y="28218"/>
                  </a:moveTo>
                  <a:lnTo>
                    <a:pt x="539854" y="35275"/>
                  </a:lnTo>
                  <a:lnTo>
                    <a:pt x="647736" y="61943"/>
                  </a:lnTo>
                  <a:close/>
                  <a:moveTo>
                    <a:pt x="320490" y="6605"/>
                  </a:moveTo>
                  <a:lnTo>
                    <a:pt x="362011" y="8702"/>
                  </a:lnTo>
                  <a:lnTo>
                    <a:pt x="455686" y="22699"/>
                  </a:lnTo>
                  <a:close/>
                  <a:moveTo>
                    <a:pt x="189685" y="0"/>
                  </a:moveTo>
                  <a:lnTo>
                    <a:pt x="246800" y="2884"/>
                  </a:lnTo>
                  <a:lnTo>
                    <a:pt x="190325" y="1623"/>
                  </a:lnTo>
                  <a:close/>
                </a:path>
              </a:pathLst>
            </a:custGeom>
            <a:solidFill>
              <a:srgbClr val="00FFB9"/>
            </a:solidFill>
            <a:ln w="38100">
              <a:solidFill>
                <a:schemeClr val="bg2"/>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3" name="Freeform 22"/>
            <p:cNvSpPr/>
            <p:nvPr/>
          </p:nvSpPr>
          <p:spPr bwMode="auto">
            <a:xfrm>
              <a:off x="6098733" y="1693275"/>
              <a:ext cx="1893500" cy="2880595"/>
            </a:xfrm>
            <a:custGeom>
              <a:avLst/>
              <a:gdLst>
                <a:gd name="connsiteX0" fmla="*/ 9464 w 1893500"/>
                <a:gd name="connsiteY0" fmla="*/ 0 h 2880595"/>
                <a:gd name="connsiteX1" fmla="*/ 29502 w 1893500"/>
                <a:gd name="connsiteY1" fmla="*/ 218 h 2880595"/>
                <a:gd name="connsiteX2" fmla="*/ 144419 w 1893500"/>
                <a:gd name="connsiteY2" fmla="*/ 6021 h 2880595"/>
                <a:gd name="connsiteX3" fmla="*/ 222513 w 1893500"/>
                <a:gd name="connsiteY3" fmla="*/ 14025 h 2880595"/>
                <a:gd name="connsiteX4" fmla="*/ 312663 w 1893500"/>
                <a:gd name="connsiteY4" fmla="*/ 27495 h 2880595"/>
                <a:gd name="connsiteX5" fmla="*/ 403180 w 1893500"/>
                <a:gd name="connsiteY5" fmla="*/ 45309 h 2880595"/>
                <a:gd name="connsiteX6" fmla="*/ 478155 w 1893500"/>
                <a:gd name="connsiteY6" fmla="*/ 63843 h 2880595"/>
                <a:gd name="connsiteX7" fmla="*/ 580202 w 1893500"/>
                <a:gd name="connsiteY7" fmla="*/ 94018 h 2880595"/>
                <a:gd name="connsiteX8" fmla="*/ 640177 w 1893500"/>
                <a:gd name="connsiteY8" fmla="*/ 114927 h 2880595"/>
                <a:gd name="connsiteX9" fmla="*/ 751835 w 1893500"/>
                <a:gd name="connsiteY9" fmla="*/ 159728 h 2880595"/>
                <a:gd name="connsiteX10" fmla="*/ 800067 w 1893500"/>
                <a:gd name="connsiteY10" fmla="*/ 181707 h 2880595"/>
                <a:gd name="connsiteX11" fmla="*/ 915571 w 1893500"/>
                <a:gd name="connsiteY11" fmla="*/ 241295 h 2880595"/>
                <a:gd name="connsiteX12" fmla="*/ 957837 w 1893500"/>
                <a:gd name="connsiteY12" fmla="*/ 265425 h 2880595"/>
                <a:gd name="connsiteX13" fmla="*/ 1076054 w 1893500"/>
                <a:gd name="connsiteY13" fmla="*/ 341876 h 2880595"/>
                <a:gd name="connsiteX14" fmla="*/ 1118023 w 1893500"/>
                <a:gd name="connsiteY14" fmla="*/ 371153 h 2880595"/>
                <a:gd name="connsiteX15" fmla="*/ 1220110 w 1893500"/>
                <a:gd name="connsiteY15" fmla="*/ 452874 h 2880595"/>
                <a:gd name="connsiteX16" fmla="*/ 1263416 w 1893500"/>
                <a:gd name="connsiteY16" fmla="*/ 489270 h 2880595"/>
                <a:gd name="connsiteX17" fmla="*/ 1356593 w 1893500"/>
                <a:gd name="connsiteY17" fmla="*/ 580578 h 2880595"/>
                <a:gd name="connsiteX18" fmla="*/ 1393066 w 1893500"/>
                <a:gd name="connsiteY18" fmla="*/ 617270 h 2880595"/>
                <a:gd name="connsiteX19" fmla="*/ 1508444 w 1893500"/>
                <a:gd name="connsiteY19" fmla="*/ 755274 h 2880595"/>
                <a:gd name="connsiteX20" fmla="*/ 1612401 w 1893500"/>
                <a:gd name="connsiteY20" fmla="*/ 907790 h 2880595"/>
                <a:gd name="connsiteX21" fmla="*/ 1614934 w 1893500"/>
                <a:gd name="connsiteY21" fmla="*/ 912291 h 2880595"/>
                <a:gd name="connsiteX22" fmla="*/ 1700484 w 1893500"/>
                <a:gd name="connsiteY22" fmla="*/ 1068417 h 2880595"/>
                <a:gd name="connsiteX23" fmla="*/ 1704181 w 1893500"/>
                <a:gd name="connsiteY23" fmla="*/ 1076664 h 2880595"/>
                <a:gd name="connsiteX24" fmla="*/ 1772472 w 1893500"/>
                <a:gd name="connsiteY24" fmla="*/ 1235911 h 2880595"/>
                <a:gd name="connsiteX25" fmla="*/ 1776672 w 1893500"/>
                <a:gd name="connsiteY25" fmla="*/ 1248201 h 2880595"/>
                <a:gd name="connsiteX26" fmla="*/ 1827554 w 1893500"/>
                <a:gd name="connsiteY26" fmla="*/ 1407315 h 2880595"/>
                <a:gd name="connsiteX27" fmla="*/ 1833418 w 1893500"/>
                <a:gd name="connsiteY27" fmla="*/ 1431688 h 2880595"/>
                <a:gd name="connsiteX28" fmla="*/ 1865811 w 1893500"/>
                <a:gd name="connsiteY28" fmla="*/ 1580676 h 2880595"/>
                <a:gd name="connsiteX29" fmla="*/ 1872344 w 1893500"/>
                <a:gd name="connsiteY29" fmla="*/ 1626365 h 2880595"/>
                <a:gd name="connsiteX30" fmla="*/ 1887773 w 1893500"/>
                <a:gd name="connsiteY30" fmla="*/ 1755969 h 2880595"/>
                <a:gd name="connsiteX31" fmla="*/ 1891069 w 1893500"/>
                <a:gd name="connsiteY31" fmla="*/ 1825592 h 2880595"/>
                <a:gd name="connsiteX32" fmla="*/ 1893500 w 1893500"/>
                <a:gd name="connsiteY32" fmla="*/ 1934444 h 2880595"/>
                <a:gd name="connsiteX33" fmla="*/ 1888737 w 1893500"/>
                <a:gd name="connsiteY33" fmla="*/ 2028769 h 2880595"/>
                <a:gd name="connsiteX34" fmla="*/ 1881569 w 1893500"/>
                <a:gd name="connsiteY34" fmla="*/ 2124570 h 2880595"/>
                <a:gd name="connsiteX35" fmla="*/ 1868934 w 1893500"/>
                <a:gd name="connsiteY35" fmla="*/ 2207358 h 2880595"/>
                <a:gd name="connsiteX36" fmla="*/ 1850424 w 1893500"/>
                <a:gd name="connsiteY36" fmla="*/ 2313447 h 2880595"/>
                <a:gd name="connsiteX37" fmla="*/ 1834070 w 1893500"/>
                <a:gd name="connsiteY37" fmla="*/ 2377053 h 2880595"/>
                <a:gd name="connsiteX38" fmla="*/ 1800250 w 1893500"/>
                <a:gd name="connsiteY38" fmla="*/ 2498345 h 2880595"/>
                <a:gd name="connsiteX39" fmla="*/ 1783060 w 1893500"/>
                <a:gd name="connsiteY39" fmla="*/ 2545313 h 2880595"/>
                <a:gd name="connsiteX40" fmla="*/ 1731554 w 1893500"/>
                <a:gd name="connsiteY40" fmla="*/ 2677263 h 2880595"/>
                <a:gd name="connsiteX41" fmla="*/ 1712342 w 1893500"/>
                <a:gd name="connsiteY41" fmla="*/ 2717145 h 2880595"/>
                <a:gd name="connsiteX42" fmla="*/ 1645505 w 1893500"/>
                <a:gd name="connsiteY42" fmla="*/ 2847705 h 2880595"/>
                <a:gd name="connsiteX43" fmla="*/ 1625524 w 1893500"/>
                <a:gd name="connsiteY43" fmla="*/ 2880595 h 2880595"/>
                <a:gd name="connsiteX44" fmla="*/ 1239063 w 1893500"/>
                <a:gd name="connsiteY44" fmla="*/ 2823077 h 2880595"/>
                <a:gd name="connsiteX45" fmla="*/ 1004423 w 1893500"/>
                <a:gd name="connsiteY45" fmla="*/ 2510707 h 2880595"/>
                <a:gd name="connsiteX46" fmla="*/ 1003128 w 1893500"/>
                <a:gd name="connsiteY46" fmla="*/ 2510593 h 2880595"/>
                <a:gd name="connsiteX47" fmla="*/ 1010858 w 1893500"/>
                <a:gd name="connsiteY47" fmla="*/ 2498638 h 2880595"/>
                <a:gd name="connsiteX48" fmla="*/ 1014216 w 1893500"/>
                <a:gd name="connsiteY48" fmla="*/ 2492079 h 2880595"/>
                <a:gd name="connsiteX49" fmla="*/ 1027132 w 1893500"/>
                <a:gd name="connsiteY49" fmla="*/ 2470819 h 2880595"/>
                <a:gd name="connsiteX50" fmla="*/ 1059542 w 1893500"/>
                <a:gd name="connsiteY50" fmla="*/ 2403540 h 2880595"/>
                <a:gd name="connsiteX51" fmla="*/ 1066077 w 1893500"/>
                <a:gd name="connsiteY51" fmla="*/ 2390774 h 2880595"/>
                <a:gd name="connsiteX52" fmla="*/ 1067724 w 1893500"/>
                <a:gd name="connsiteY52" fmla="*/ 2386554 h 2880595"/>
                <a:gd name="connsiteX53" fmla="*/ 1076976 w 1893500"/>
                <a:gd name="connsiteY53" fmla="*/ 2367350 h 2880595"/>
                <a:gd name="connsiteX54" fmla="*/ 1103373 w 1893500"/>
                <a:gd name="connsiteY54" fmla="*/ 2295226 h 2880595"/>
                <a:gd name="connsiteX55" fmla="*/ 1109307 w 1893500"/>
                <a:gd name="connsiteY55" fmla="*/ 2280024 h 2880595"/>
                <a:gd name="connsiteX56" fmla="*/ 1110490 w 1893500"/>
                <a:gd name="connsiteY56" fmla="*/ 2275781 h 2880595"/>
                <a:gd name="connsiteX57" fmla="*/ 1116779 w 1893500"/>
                <a:gd name="connsiteY57" fmla="*/ 2258600 h 2880595"/>
                <a:gd name="connsiteX58" fmla="*/ 1134521 w 1893500"/>
                <a:gd name="connsiteY58" fmla="*/ 2189597 h 2880595"/>
                <a:gd name="connsiteX59" fmla="*/ 1140765 w 1893500"/>
                <a:gd name="connsiteY59" fmla="*/ 2167202 h 2880595"/>
                <a:gd name="connsiteX60" fmla="*/ 1141792 w 1893500"/>
                <a:gd name="connsiteY60" fmla="*/ 2161321 h 2880595"/>
                <a:gd name="connsiteX61" fmla="*/ 1145946 w 1893500"/>
                <a:gd name="connsiteY61" fmla="*/ 2145164 h 2880595"/>
                <a:gd name="connsiteX62" fmla="*/ 1155269 w 1893500"/>
                <a:gd name="connsiteY62" fmla="*/ 2084073 h 2880595"/>
                <a:gd name="connsiteX63" fmla="*/ 1160670 w 1893500"/>
                <a:gd name="connsiteY63" fmla="*/ 2053120 h 2880595"/>
                <a:gd name="connsiteX64" fmla="*/ 1161321 w 1893500"/>
                <a:gd name="connsiteY64" fmla="*/ 2044424 h 2880595"/>
                <a:gd name="connsiteX65" fmla="*/ 1163883 w 1893500"/>
                <a:gd name="connsiteY65" fmla="*/ 2027637 h 2880595"/>
                <a:gd name="connsiteX66" fmla="*/ 1166594 w 1893500"/>
                <a:gd name="connsiteY66" fmla="*/ 1973938 h 2880595"/>
                <a:gd name="connsiteX67" fmla="*/ 1169239 w 1893500"/>
                <a:gd name="connsiteY67" fmla="*/ 1938592 h 2880595"/>
                <a:gd name="connsiteX68" fmla="*/ 1168975 w 1893500"/>
                <a:gd name="connsiteY68" fmla="*/ 1926787 h 2880595"/>
                <a:gd name="connsiteX69" fmla="*/ 1169994 w 1893500"/>
                <a:gd name="connsiteY69" fmla="*/ 1906614 h 2880595"/>
                <a:gd name="connsiteX70" fmla="*/ 1167213 w 1893500"/>
                <a:gd name="connsiteY70" fmla="*/ 1847885 h 2880595"/>
                <a:gd name="connsiteX71" fmla="*/ 1166689 w 1893500"/>
                <a:gd name="connsiteY71" fmla="*/ 1824429 h 2880595"/>
                <a:gd name="connsiteX72" fmla="*/ 1165715 w 1893500"/>
                <a:gd name="connsiteY72" fmla="*/ 1816244 h 2880595"/>
                <a:gd name="connsiteX73" fmla="*/ 1164617 w 1893500"/>
                <a:gd name="connsiteY73" fmla="*/ 1793059 h 2880595"/>
                <a:gd name="connsiteX74" fmla="*/ 1154693 w 1893500"/>
                <a:gd name="connsiteY74" fmla="*/ 1723657 h 2880595"/>
                <a:gd name="connsiteX75" fmla="*/ 1153239 w 1893500"/>
                <a:gd name="connsiteY75" fmla="*/ 1711444 h 2880595"/>
                <a:gd name="connsiteX76" fmla="*/ 1152385 w 1893500"/>
                <a:gd name="connsiteY76" fmla="*/ 1707514 h 2880595"/>
                <a:gd name="connsiteX77" fmla="*/ 1148814 w 1893500"/>
                <a:gd name="connsiteY77" fmla="*/ 1682544 h 2880595"/>
                <a:gd name="connsiteX78" fmla="*/ 1129509 w 1893500"/>
                <a:gd name="connsiteY78" fmla="*/ 1602299 h 2880595"/>
                <a:gd name="connsiteX79" fmla="*/ 1129107 w 1893500"/>
                <a:gd name="connsiteY79" fmla="*/ 1600451 h 2880595"/>
                <a:gd name="connsiteX80" fmla="*/ 1128934 w 1893500"/>
                <a:gd name="connsiteY80" fmla="*/ 1599911 h 2880595"/>
                <a:gd name="connsiteX81" fmla="*/ 1123076 w 1893500"/>
                <a:gd name="connsiteY81" fmla="*/ 1575559 h 2880595"/>
                <a:gd name="connsiteX82" fmla="*/ 862499 w 1893500"/>
                <a:gd name="connsiteY82" fmla="*/ 1110745 h 2880595"/>
                <a:gd name="connsiteX83" fmla="*/ 858753 w 1893500"/>
                <a:gd name="connsiteY83" fmla="*/ 1107300 h 2880595"/>
                <a:gd name="connsiteX84" fmla="*/ 855828 w 1893500"/>
                <a:gd name="connsiteY84" fmla="*/ 1103801 h 2880595"/>
                <a:gd name="connsiteX85" fmla="*/ 772173 w 1893500"/>
                <a:gd name="connsiteY85" fmla="*/ 1021824 h 2880595"/>
                <a:gd name="connsiteX86" fmla="*/ 723165 w 1893500"/>
                <a:gd name="connsiteY86" fmla="*/ 982592 h 2880595"/>
                <a:gd name="connsiteX87" fmla="*/ 705875 w 1893500"/>
                <a:gd name="connsiteY87" fmla="*/ 966690 h 2880595"/>
                <a:gd name="connsiteX88" fmla="*/ 685839 w 1893500"/>
                <a:gd name="connsiteY88" fmla="*/ 952712 h 2880595"/>
                <a:gd name="connsiteX89" fmla="*/ 679361 w 1893500"/>
                <a:gd name="connsiteY89" fmla="*/ 947527 h 2880595"/>
                <a:gd name="connsiteX90" fmla="*/ 666264 w 1893500"/>
                <a:gd name="connsiteY90" fmla="*/ 939057 h 2880595"/>
                <a:gd name="connsiteX91" fmla="*/ 618297 w 1893500"/>
                <a:gd name="connsiteY91" fmla="*/ 905595 h 2880595"/>
                <a:gd name="connsiteX92" fmla="*/ 586084 w 1893500"/>
                <a:gd name="connsiteY92" fmla="*/ 887205 h 2880595"/>
                <a:gd name="connsiteX93" fmla="*/ 577607 w 1893500"/>
                <a:gd name="connsiteY93" fmla="*/ 881723 h 2880595"/>
                <a:gd name="connsiteX94" fmla="*/ 565926 w 1893500"/>
                <a:gd name="connsiteY94" fmla="*/ 875696 h 2880595"/>
                <a:gd name="connsiteX95" fmla="*/ 525195 w 1893500"/>
                <a:gd name="connsiteY95" fmla="*/ 852443 h 2880595"/>
                <a:gd name="connsiteX96" fmla="*/ 487984 w 1893500"/>
                <a:gd name="connsiteY96" fmla="*/ 835486 h 2880595"/>
                <a:gd name="connsiteX97" fmla="*/ 476577 w 1893500"/>
                <a:gd name="connsiteY97" fmla="*/ 829601 h 2880595"/>
                <a:gd name="connsiteX98" fmla="*/ 463967 w 1893500"/>
                <a:gd name="connsiteY98" fmla="*/ 824542 h 2880595"/>
                <a:gd name="connsiteX99" fmla="*/ 427059 w 1893500"/>
                <a:gd name="connsiteY99" fmla="*/ 807723 h 2880595"/>
                <a:gd name="connsiteX100" fmla="*/ 388849 w 1893500"/>
                <a:gd name="connsiteY100" fmla="*/ 794402 h 2880595"/>
                <a:gd name="connsiteX101" fmla="*/ 372967 w 1893500"/>
                <a:gd name="connsiteY101" fmla="*/ 788029 h 2880595"/>
                <a:gd name="connsiteX102" fmla="*/ 357184 w 1893500"/>
                <a:gd name="connsiteY102" fmla="*/ 783363 h 2880595"/>
                <a:gd name="connsiteX103" fmla="*/ 324380 w 1893500"/>
                <a:gd name="connsiteY103" fmla="*/ 771926 h 2880595"/>
                <a:gd name="connsiteX104" fmla="*/ 288574 w 1893500"/>
                <a:gd name="connsiteY104" fmla="*/ 763075 h 2880595"/>
                <a:gd name="connsiteX105" fmla="*/ 267446 w 1893500"/>
                <a:gd name="connsiteY105" fmla="*/ 756828 h 2880595"/>
                <a:gd name="connsiteX106" fmla="*/ 247110 w 1893500"/>
                <a:gd name="connsiteY106" fmla="*/ 752825 h 2880595"/>
                <a:gd name="connsiteX107" fmla="*/ 217647 w 1893500"/>
                <a:gd name="connsiteY107" fmla="*/ 745542 h 2880595"/>
                <a:gd name="connsiteX108" fmla="*/ 186317 w 1893500"/>
                <a:gd name="connsiteY108" fmla="*/ 740861 h 2880595"/>
                <a:gd name="connsiteX109" fmla="*/ 160684 w 1893500"/>
                <a:gd name="connsiteY109" fmla="*/ 735816 h 2880595"/>
                <a:gd name="connsiteX110" fmla="*/ 134804 w 1893500"/>
                <a:gd name="connsiteY110" fmla="*/ 733164 h 2880595"/>
                <a:gd name="connsiteX111" fmla="*/ 107352 w 1893500"/>
                <a:gd name="connsiteY111" fmla="*/ 729062 h 2880595"/>
                <a:gd name="connsiteX112" fmla="*/ 82569 w 1893500"/>
                <a:gd name="connsiteY112" fmla="*/ 727810 h 2880595"/>
                <a:gd name="connsiteX113" fmla="*/ 53350 w 1893500"/>
                <a:gd name="connsiteY113" fmla="*/ 724816 h 2880595"/>
                <a:gd name="connsiteX114" fmla="*/ 14991 w 1893500"/>
                <a:gd name="connsiteY114" fmla="*/ 724397 h 2880595"/>
                <a:gd name="connsiteX115" fmla="*/ 0 w 1893500"/>
                <a:gd name="connsiteY115" fmla="*/ 723640 h 2880595"/>
                <a:gd name="connsiteX116" fmla="*/ 153201 w 1893500"/>
                <a:gd name="connsiteY116" fmla="*/ 364251 h 2880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1893500" h="2880595">
                  <a:moveTo>
                    <a:pt x="9464" y="0"/>
                  </a:moveTo>
                  <a:lnTo>
                    <a:pt x="29502" y="218"/>
                  </a:lnTo>
                  <a:lnTo>
                    <a:pt x="144419" y="6021"/>
                  </a:lnTo>
                  <a:lnTo>
                    <a:pt x="222513" y="14025"/>
                  </a:lnTo>
                  <a:lnTo>
                    <a:pt x="312663" y="27495"/>
                  </a:lnTo>
                  <a:lnTo>
                    <a:pt x="403180" y="45309"/>
                  </a:lnTo>
                  <a:lnTo>
                    <a:pt x="478155" y="63843"/>
                  </a:lnTo>
                  <a:lnTo>
                    <a:pt x="580202" y="94018"/>
                  </a:lnTo>
                  <a:lnTo>
                    <a:pt x="640177" y="114927"/>
                  </a:lnTo>
                  <a:lnTo>
                    <a:pt x="751835" y="159728"/>
                  </a:lnTo>
                  <a:lnTo>
                    <a:pt x="800067" y="181707"/>
                  </a:lnTo>
                  <a:lnTo>
                    <a:pt x="915571" y="241295"/>
                  </a:lnTo>
                  <a:lnTo>
                    <a:pt x="957837" y="265425"/>
                  </a:lnTo>
                  <a:lnTo>
                    <a:pt x="1076054" y="341876"/>
                  </a:lnTo>
                  <a:lnTo>
                    <a:pt x="1118023" y="371153"/>
                  </a:lnTo>
                  <a:lnTo>
                    <a:pt x="1220110" y="452874"/>
                  </a:lnTo>
                  <a:lnTo>
                    <a:pt x="1263416" y="489270"/>
                  </a:lnTo>
                  <a:lnTo>
                    <a:pt x="1356593" y="580578"/>
                  </a:lnTo>
                  <a:lnTo>
                    <a:pt x="1393066" y="617270"/>
                  </a:lnTo>
                  <a:lnTo>
                    <a:pt x="1508444" y="755274"/>
                  </a:lnTo>
                  <a:lnTo>
                    <a:pt x="1612401" y="907790"/>
                  </a:lnTo>
                  <a:lnTo>
                    <a:pt x="1614934" y="912291"/>
                  </a:lnTo>
                  <a:lnTo>
                    <a:pt x="1700484" y="1068417"/>
                  </a:lnTo>
                  <a:lnTo>
                    <a:pt x="1704181" y="1076664"/>
                  </a:lnTo>
                  <a:lnTo>
                    <a:pt x="1772472" y="1235911"/>
                  </a:lnTo>
                  <a:lnTo>
                    <a:pt x="1776672" y="1248201"/>
                  </a:lnTo>
                  <a:lnTo>
                    <a:pt x="1827554" y="1407315"/>
                  </a:lnTo>
                  <a:lnTo>
                    <a:pt x="1833418" y="1431688"/>
                  </a:lnTo>
                  <a:lnTo>
                    <a:pt x="1865811" y="1580676"/>
                  </a:lnTo>
                  <a:lnTo>
                    <a:pt x="1872344" y="1626365"/>
                  </a:lnTo>
                  <a:lnTo>
                    <a:pt x="1887773" y="1755969"/>
                  </a:lnTo>
                  <a:lnTo>
                    <a:pt x="1891069" y="1825592"/>
                  </a:lnTo>
                  <a:lnTo>
                    <a:pt x="1893500" y="1934444"/>
                  </a:lnTo>
                  <a:lnTo>
                    <a:pt x="1888737" y="2028769"/>
                  </a:lnTo>
                  <a:lnTo>
                    <a:pt x="1881569" y="2124570"/>
                  </a:lnTo>
                  <a:lnTo>
                    <a:pt x="1868934" y="2207358"/>
                  </a:lnTo>
                  <a:lnTo>
                    <a:pt x="1850424" y="2313447"/>
                  </a:lnTo>
                  <a:lnTo>
                    <a:pt x="1834070" y="2377053"/>
                  </a:lnTo>
                  <a:lnTo>
                    <a:pt x="1800250" y="2498345"/>
                  </a:lnTo>
                  <a:lnTo>
                    <a:pt x="1783060" y="2545313"/>
                  </a:lnTo>
                  <a:lnTo>
                    <a:pt x="1731554" y="2677263"/>
                  </a:lnTo>
                  <a:lnTo>
                    <a:pt x="1712342" y="2717145"/>
                  </a:lnTo>
                  <a:lnTo>
                    <a:pt x="1645505" y="2847705"/>
                  </a:lnTo>
                  <a:lnTo>
                    <a:pt x="1625524" y="2880595"/>
                  </a:lnTo>
                  <a:lnTo>
                    <a:pt x="1239063" y="2823077"/>
                  </a:lnTo>
                  <a:lnTo>
                    <a:pt x="1004423" y="2510707"/>
                  </a:lnTo>
                  <a:lnTo>
                    <a:pt x="1003128" y="2510593"/>
                  </a:lnTo>
                  <a:lnTo>
                    <a:pt x="1010858" y="2498638"/>
                  </a:lnTo>
                  <a:lnTo>
                    <a:pt x="1014216" y="2492079"/>
                  </a:lnTo>
                  <a:lnTo>
                    <a:pt x="1027132" y="2470819"/>
                  </a:lnTo>
                  <a:lnTo>
                    <a:pt x="1059542" y="2403540"/>
                  </a:lnTo>
                  <a:lnTo>
                    <a:pt x="1066077" y="2390774"/>
                  </a:lnTo>
                  <a:lnTo>
                    <a:pt x="1067724" y="2386554"/>
                  </a:lnTo>
                  <a:lnTo>
                    <a:pt x="1076976" y="2367350"/>
                  </a:lnTo>
                  <a:lnTo>
                    <a:pt x="1103373" y="2295226"/>
                  </a:lnTo>
                  <a:lnTo>
                    <a:pt x="1109307" y="2280024"/>
                  </a:lnTo>
                  <a:lnTo>
                    <a:pt x="1110490" y="2275781"/>
                  </a:lnTo>
                  <a:lnTo>
                    <a:pt x="1116779" y="2258600"/>
                  </a:lnTo>
                  <a:lnTo>
                    <a:pt x="1134521" y="2189597"/>
                  </a:lnTo>
                  <a:lnTo>
                    <a:pt x="1140765" y="2167202"/>
                  </a:lnTo>
                  <a:lnTo>
                    <a:pt x="1141792" y="2161321"/>
                  </a:lnTo>
                  <a:lnTo>
                    <a:pt x="1145946" y="2145164"/>
                  </a:lnTo>
                  <a:lnTo>
                    <a:pt x="1155269" y="2084073"/>
                  </a:lnTo>
                  <a:lnTo>
                    <a:pt x="1160670" y="2053120"/>
                  </a:lnTo>
                  <a:lnTo>
                    <a:pt x="1161321" y="2044424"/>
                  </a:lnTo>
                  <a:lnTo>
                    <a:pt x="1163883" y="2027637"/>
                  </a:lnTo>
                  <a:lnTo>
                    <a:pt x="1166594" y="1973938"/>
                  </a:lnTo>
                  <a:lnTo>
                    <a:pt x="1169239" y="1938592"/>
                  </a:lnTo>
                  <a:lnTo>
                    <a:pt x="1168975" y="1926787"/>
                  </a:lnTo>
                  <a:lnTo>
                    <a:pt x="1169994" y="1906614"/>
                  </a:lnTo>
                  <a:lnTo>
                    <a:pt x="1167213" y="1847885"/>
                  </a:lnTo>
                  <a:lnTo>
                    <a:pt x="1166689" y="1824429"/>
                  </a:lnTo>
                  <a:lnTo>
                    <a:pt x="1165715" y="1816244"/>
                  </a:lnTo>
                  <a:lnTo>
                    <a:pt x="1164617" y="1793059"/>
                  </a:lnTo>
                  <a:lnTo>
                    <a:pt x="1154693" y="1723657"/>
                  </a:lnTo>
                  <a:lnTo>
                    <a:pt x="1153239" y="1711444"/>
                  </a:lnTo>
                  <a:lnTo>
                    <a:pt x="1152385" y="1707514"/>
                  </a:lnTo>
                  <a:lnTo>
                    <a:pt x="1148814" y="1682544"/>
                  </a:lnTo>
                  <a:lnTo>
                    <a:pt x="1129509" y="1602299"/>
                  </a:lnTo>
                  <a:lnTo>
                    <a:pt x="1129107" y="1600451"/>
                  </a:lnTo>
                  <a:lnTo>
                    <a:pt x="1128934" y="1599911"/>
                  </a:lnTo>
                  <a:lnTo>
                    <a:pt x="1123076" y="1575559"/>
                  </a:lnTo>
                  <a:cubicBezTo>
                    <a:pt x="1072170" y="1400465"/>
                    <a:pt x="981907" y="1242123"/>
                    <a:pt x="862499" y="1110745"/>
                  </a:cubicBezTo>
                  <a:lnTo>
                    <a:pt x="858753" y="1107300"/>
                  </a:lnTo>
                  <a:lnTo>
                    <a:pt x="855828" y="1103801"/>
                  </a:lnTo>
                  <a:cubicBezTo>
                    <a:pt x="829494" y="1075286"/>
                    <a:pt x="801597" y="1047915"/>
                    <a:pt x="772173" y="1021824"/>
                  </a:cubicBezTo>
                  <a:lnTo>
                    <a:pt x="723165" y="982592"/>
                  </a:lnTo>
                  <a:lnTo>
                    <a:pt x="705875" y="966690"/>
                  </a:lnTo>
                  <a:lnTo>
                    <a:pt x="685839" y="952712"/>
                  </a:lnTo>
                  <a:lnTo>
                    <a:pt x="679361" y="947527"/>
                  </a:lnTo>
                  <a:lnTo>
                    <a:pt x="666264" y="939057"/>
                  </a:lnTo>
                  <a:lnTo>
                    <a:pt x="618297" y="905595"/>
                  </a:lnTo>
                  <a:lnTo>
                    <a:pt x="586084" y="887205"/>
                  </a:lnTo>
                  <a:lnTo>
                    <a:pt x="577607" y="881723"/>
                  </a:lnTo>
                  <a:lnTo>
                    <a:pt x="565926" y="875696"/>
                  </a:lnTo>
                  <a:lnTo>
                    <a:pt x="525195" y="852443"/>
                  </a:lnTo>
                  <a:lnTo>
                    <a:pt x="487984" y="835486"/>
                  </a:lnTo>
                  <a:lnTo>
                    <a:pt x="476577" y="829601"/>
                  </a:lnTo>
                  <a:lnTo>
                    <a:pt x="463967" y="824542"/>
                  </a:lnTo>
                  <a:lnTo>
                    <a:pt x="427059" y="807723"/>
                  </a:lnTo>
                  <a:lnTo>
                    <a:pt x="388849" y="794402"/>
                  </a:lnTo>
                  <a:lnTo>
                    <a:pt x="372967" y="788029"/>
                  </a:lnTo>
                  <a:lnTo>
                    <a:pt x="357184" y="783363"/>
                  </a:lnTo>
                  <a:lnTo>
                    <a:pt x="324380" y="771926"/>
                  </a:lnTo>
                  <a:lnTo>
                    <a:pt x="288574" y="763075"/>
                  </a:lnTo>
                  <a:lnTo>
                    <a:pt x="267446" y="756828"/>
                  </a:lnTo>
                  <a:lnTo>
                    <a:pt x="247110" y="752825"/>
                  </a:lnTo>
                  <a:lnTo>
                    <a:pt x="217647" y="745542"/>
                  </a:lnTo>
                  <a:lnTo>
                    <a:pt x="186317" y="740861"/>
                  </a:lnTo>
                  <a:lnTo>
                    <a:pt x="160684" y="735816"/>
                  </a:lnTo>
                  <a:lnTo>
                    <a:pt x="134804" y="733164"/>
                  </a:lnTo>
                  <a:lnTo>
                    <a:pt x="107352" y="729062"/>
                  </a:lnTo>
                  <a:lnTo>
                    <a:pt x="82569" y="727810"/>
                  </a:lnTo>
                  <a:lnTo>
                    <a:pt x="53350" y="724816"/>
                  </a:lnTo>
                  <a:lnTo>
                    <a:pt x="14991" y="724397"/>
                  </a:lnTo>
                  <a:lnTo>
                    <a:pt x="0" y="723640"/>
                  </a:lnTo>
                  <a:lnTo>
                    <a:pt x="153201" y="364251"/>
                  </a:lnTo>
                  <a:close/>
                </a:path>
              </a:pathLst>
            </a:custGeom>
            <a:solidFill>
              <a:srgbClr val="00AF8E"/>
            </a:solidFill>
            <a:ln w="38100">
              <a:solidFill>
                <a:schemeClr val="bg2"/>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grpSp>
      <p:sp>
        <p:nvSpPr>
          <p:cNvPr id="205" name="Rechteck 28"/>
          <p:cNvSpPr/>
          <p:nvPr/>
        </p:nvSpPr>
        <p:spPr bwMode="gray">
          <a:xfrm>
            <a:off x="8478790" y="2866433"/>
            <a:ext cx="2518688" cy="719625"/>
          </a:xfrm>
          <a:prstGeom prst="rect">
            <a:avLst/>
          </a:prstGeom>
          <a:noFill/>
          <a:ln w="19050">
            <a:noFill/>
            <a:miter lim="800000"/>
          </a:ln>
          <a:effectLst/>
        </p:spPr>
        <p:txBody>
          <a:bodyPr wrap="square" lIns="143925" tIns="0" rIns="143925" bIns="0" numCol="1" spcCol="72000" rtlCol="0" anchor="t" anchorCtr="0">
            <a:noAutofit/>
          </a:bodyPr>
          <a:lstStyle/>
          <a:p>
            <a:pPr>
              <a:tabLst>
                <a:tab pos="1255085" algn="r"/>
              </a:tabLst>
              <a:defRPr/>
            </a:pPr>
            <a:r>
              <a:rPr lang="en-US" altLang="de-DE" sz="1599" b="1" dirty="0">
                <a:solidFill>
                  <a:srgbClr val="00AF8E"/>
                </a:solidFill>
                <a:ea typeface="Arial Unicode MS"/>
              </a:rPr>
              <a:t>Cras ultricies mi eu</a:t>
            </a:r>
            <a:endParaRPr lang="en-US" altLang="de-DE" sz="1199" dirty="0">
              <a:solidFill>
                <a:srgbClr val="00AF8E"/>
              </a:solidFill>
              <a:ea typeface="Arial Unicode MS"/>
              <a:cs typeface="Arial" pitchFamily="34" charset="0"/>
            </a:endParaRPr>
          </a:p>
        </p:txBody>
      </p:sp>
      <p:sp>
        <p:nvSpPr>
          <p:cNvPr id="206" name="Rechteck 28"/>
          <p:cNvSpPr/>
          <p:nvPr/>
        </p:nvSpPr>
        <p:spPr bwMode="gray">
          <a:xfrm>
            <a:off x="1174908" y="2868466"/>
            <a:ext cx="2518688" cy="719625"/>
          </a:xfrm>
          <a:prstGeom prst="rect">
            <a:avLst/>
          </a:prstGeom>
          <a:noFill/>
          <a:ln w="19050">
            <a:noFill/>
            <a:miter lim="800000"/>
          </a:ln>
          <a:effectLst/>
        </p:spPr>
        <p:txBody>
          <a:bodyPr wrap="square" lIns="143925" tIns="0" rIns="143925" bIns="0" numCol="1" spcCol="72000" rtlCol="0" anchor="t" anchorCtr="0">
            <a:noAutofit/>
          </a:bodyPr>
          <a:lstStyle/>
          <a:p>
            <a:pPr algn="r">
              <a:tabLst>
                <a:tab pos="1255085" algn="r"/>
              </a:tabLst>
              <a:defRPr/>
            </a:pPr>
            <a:r>
              <a:rPr lang="en-US" altLang="de-DE" sz="1599" b="1" dirty="0">
                <a:solidFill>
                  <a:srgbClr val="9999A9"/>
                </a:solidFill>
                <a:ea typeface="Arial Unicode MS"/>
              </a:rPr>
              <a:t>At vero eos et accusam</a:t>
            </a:r>
            <a:endParaRPr lang="en-US" altLang="de-DE" sz="1199" dirty="0">
              <a:solidFill>
                <a:srgbClr val="9999A9"/>
              </a:solidFill>
              <a:ea typeface="Arial Unicode MS"/>
              <a:cs typeface="Arial" pitchFamily="34" charset="0"/>
            </a:endParaRPr>
          </a:p>
        </p:txBody>
      </p:sp>
      <p:sp>
        <p:nvSpPr>
          <p:cNvPr id="25" name="Rechteck 28"/>
          <p:cNvSpPr/>
          <p:nvPr/>
        </p:nvSpPr>
        <p:spPr bwMode="gray">
          <a:xfrm>
            <a:off x="4804522" y="5743166"/>
            <a:ext cx="2518688" cy="423359"/>
          </a:xfrm>
          <a:prstGeom prst="rect">
            <a:avLst/>
          </a:prstGeom>
          <a:noFill/>
          <a:ln w="19050">
            <a:noFill/>
            <a:miter lim="800000"/>
          </a:ln>
          <a:effectLst/>
        </p:spPr>
        <p:txBody>
          <a:bodyPr wrap="square" lIns="0" tIns="143925" rIns="0" bIns="0" numCol="1" spcCol="72000" rtlCol="0" anchor="t" anchorCtr="0">
            <a:noAutofit/>
          </a:bodyPr>
          <a:lstStyle/>
          <a:p>
            <a:pPr algn="ctr">
              <a:tabLst>
                <a:tab pos="1255085" algn="r"/>
              </a:tabLst>
              <a:defRPr/>
            </a:pPr>
            <a:r>
              <a:rPr lang="en-US" altLang="de-DE" sz="1599" b="1" dirty="0">
                <a:solidFill>
                  <a:srgbClr val="00FFB9"/>
                </a:solidFill>
                <a:ea typeface="Arial Unicode MS"/>
              </a:rPr>
              <a:t>Consetetur sadipscing</a:t>
            </a:r>
            <a:endParaRPr lang="en-US" altLang="de-DE" sz="1199" dirty="0">
              <a:solidFill>
                <a:srgbClr val="00FFB9"/>
              </a:solidFill>
              <a:ea typeface="Arial Unicode MS"/>
              <a:cs typeface="Arial" pitchFamily="34" charset="0"/>
            </a:endParaRPr>
          </a:p>
        </p:txBody>
      </p:sp>
      <p:sp>
        <p:nvSpPr>
          <p:cNvPr id="13" name="Freihandform 85">
            <a:extLst>
              <a:ext uri="{FF2B5EF4-FFF2-40B4-BE49-F238E27FC236}">
                <a16:creationId xmlns:a16="http://schemas.microsoft.com/office/drawing/2014/main" id="{BFBF49EA-24F1-411B-BEDE-CD73451C1F2C}"/>
              </a:ext>
            </a:extLst>
          </p:cNvPr>
          <p:cNvSpPr/>
          <p:nvPr/>
        </p:nvSpPr>
        <p:spPr bwMode="gray">
          <a:xfrm flipH="1">
            <a:off x="7989694" y="2996153"/>
            <a:ext cx="477950" cy="119488"/>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9999A9"/>
            </a:solidFill>
            <a:prstDash val="solid"/>
            <a:round/>
            <a:headEnd type="none" w="lg" len="lg"/>
            <a:tailEnd type="none" w="lg" len="lg"/>
          </a:ln>
          <a:effectLst/>
        </p:spPr>
        <p:txBody>
          <a:bodyPr rtlCol="0" anchor="ctr"/>
          <a:lstStyle/>
          <a:p>
            <a:pPr algn="ctr"/>
            <a:endParaRPr lang="en-US" sz="1799" dirty="0">
              <a:ea typeface="Arial Unicode MS"/>
            </a:endParaRPr>
          </a:p>
        </p:txBody>
      </p:sp>
      <p:sp>
        <p:nvSpPr>
          <p:cNvPr id="14" name="Freihandform 97">
            <a:extLst>
              <a:ext uri="{FF2B5EF4-FFF2-40B4-BE49-F238E27FC236}">
                <a16:creationId xmlns:a16="http://schemas.microsoft.com/office/drawing/2014/main" id="{E87F7C87-A541-4722-84F1-998063E65C30}"/>
              </a:ext>
            </a:extLst>
          </p:cNvPr>
          <p:cNvSpPr/>
          <p:nvPr/>
        </p:nvSpPr>
        <p:spPr bwMode="gray">
          <a:xfrm>
            <a:off x="3682452" y="2996154"/>
            <a:ext cx="483137" cy="120784"/>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9999A9"/>
            </a:solidFill>
            <a:prstDash val="solid"/>
            <a:round/>
            <a:headEnd type="none" w="lg" len="lg"/>
            <a:tailEnd type="none" w="lg" len="lg"/>
          </a:ln>
          <a:effectLst/>
        </p:spPr>
        <p:txBody>
          <a:bodyPr rtlCol="0" anchor="ctr"/>
          <a:lstStyle/>
          <a:p>
            <a:pPr algn="ctr"/>
            <a:endParaRPr lang="en-US" sz="1799" dirty="0">
              <a:ea typeface="Arial Unicode MS"/>
            </a:endParaRPr>
          </a:p>
        </p:txBody>
      </p:sp>
      <p:cxnSp>
        <p:nvCxnSpPr>
          <p:cNvPr id="15" name="Gerade Verbindung mit Pfeil 32">
            <a:extLst>
              <a:ext uri="{FF2B5EF4-FFF2-40B4-BE49-F238E27FC236}">
                <a16:creationId xmlns:a16="http://schemas.microsoft.com/office/drawing/2014/main" id="{126079DA-836E-4F02-AAAD-878CCDFB6DF9}"/>
              </a:ext>
            </a:extLst>
          </p:cNvPr>
          <p:cNvCxnSpPr>
            <a:cxnSpLocks/>
          </p:cNvCxnSpPr>
          <p:nvPr/>
        </p:nvCxnSpPr>
        <p:spPr bwMode="auto">
          <a:xfrm>
            <a:off x="6079960" y="5544549"/>
            <a:ext cx="0" cy="203019"/>
          </a:xfrm>
          <a:prstGeom prst="straightConnector1">
            <a:avLst/>
          </a:prstGeom>
          <a:noFill/>
          <a:ln w="12700" cap="flat" cmpd="sng" algn="ctr">
            <a:solidFill>
              <a:srgbClr val="9999A9"/>
            </a:solidFill>
            <a:prstDash val="solid"/>
            <a:round/>
            <a:headEnd type="none" w="lg" len="lg"/>
            <a:tailEnd type="none" w="lg" len="lg"/>
          </a:ln>
          <a:effectLst/>
        </p:spPr>
      </p:cxnSp>
      <p:sp>
        <p:nvSpPr>
          <p:cNvPr id="3" name="Footer Placeholder 2">
            <a:extLst>
              <a:ext uri="{FF2B5EF4-FFF2-40B4-BE49-F238E27FC236}">
                <a16:creationId xmlns:a16="http://schemas.microsoft.com/office/drawing/2014/main" id="{AC1CE573-B5AC-407B-9DB8-C347C1221C40}"/>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E49A3213-CF50-4B6D-9E0D-0B15B43F148A}"/>
              </a:ext>
            </a:extLst>
          </p:cNvPr>
          <p:cNvSpPr>
            <a:spLocks noGrp="1"/>
          </p:cNvSpPr>
          <p:nvPr>
            <p:ph type="sldNum" sz="quarter" idx="11"/>
          </p:nvPr>
        </p:nvSpPr>
        <p:spPr/>
        <p:txBody>
          <a:bodyPr/>
          <a:lstStyle/>
          <a:p>
            <a:r>
              <a:rPr lang="en-US" dirty="0"/>
              <a:t>Page </a:t>
            </a:r>
            <a:fld id="{15EBE321-CBB1-4E91-BD14-37C8D44326FB}" type="slidenum">
              <a:rPr lang="en-US" smtClean="0"/>
              <a:pPr/>
              <a:t>135</a:t>
            </a:fld>
            <a:endParaRPr lang="en-US" dirty="0"/>
          </a:p>
        </p:txBody>
      </p:sp>
    </p:spTree>
    <p:extLst>
      <p:ext uri="{BB962C8B-B14F-4D97-AF65-F5344CB8AC3E}">
        <p14:creationId xmlns:p14="http://schemas.microsoft.com/office/powerpoint/2010/main" val="2466292616"/>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800" name="Title 161799"/>
          <p:cNvSpPr>
            <a:spLocks noGrp="1"/>
          </p:cNvSpPr>
          <p:nvPr>
            <p:ph type="title"/>
          </p:nvPr>
        </p:nvSpPr>
        <p:spPr/>
        <p:txBody>
          <a:bodyPr/>
          <a:lstStyle/>
          <a:p>
            <a:r>
              <a:rPr lang="en-US" dirty="0"/>
              <a:t>Radial diagram – four parts</a:t>
            </a:r>
          </a:p>
        </p:txBody>
      </p:sp>
      <p:sp>
        <p:nvSpPr>
          <p:cNvPr id="205" name="Rechteck 28"/>
          <p:cNvSpPr/>
          <p:nvPr/>
        </p:nvSpPr>
        <p:spPr bwMode="gray">
          <a:xfrm>
            <a:off x="8478790" y="2299487"/>
            <a:ext cx="2518688" cy="719625"/>
          </a:xfrm>
          <a:prstGeom prst="rect">
            <a:avLst/>
          </a:prstGeom>
          <a:noFill/>
          <a:ln w="19050">
            <a:noFill/>
            <a:miter lim="800000"/>
          </a:ln>
          <a:effectLst/>
        </p:spPr>
        <p:txBody>
          <a:bodyPr wrap="square" lIns="143925" tIns="0" rIns="143925" bIns="0" numCol="1" spcCol="72000" rtlCol="0" anchor="t" anchorCtr="0">
            <a:noAutofit/>
          </a:bodyPr>
          <a:lstStyle/>
          <a:p>
            <a:pPr>
              <a:tabLst>
                <a:tab pos="1255085" algn="r"/>
              </a:tabLst>
              <a:defRPr/>
            </a:pPr>
            <a:r>
              <a:rPr lang="en-US" altLang="de-DE" sz="1599" b="1" dirty="0">
                <a:solidFill>
                  <a:srgbClr val="66667E"/>
                </a:solidFill>
                <a:ea typeface="Arial Unicode MS"/>
              </a:rPr>
              <a:t>At vero eos et accusam</a:t>
            </a:r>
            <a:endParaRPr lang="en-US" altLang="de-DE" sz="1199" dirty="0">
              <a:solidFill>
                <a:srgbClr val="66667E"/>
              </a:solidFill>
              <a:ea typeface="Arial Unicode MS"/>
              <a:cs typeface="Arial" pitchFamily="34" charset="0"/>
            </a:endParaRPr>
          </a:p>
        </p:txBody>
      </p:sp>
      <p:sp>
        <p:nvSpPr>
          <p:cNvPr id="206" name="Rechteck 28"/>
          <p:cNvSpPr/>
          <p:nvPr/>
        </p:nvSpPr>
        <p:spPr bwMode="gray">
          <a:xfrm>
            <a:off x="1174908" y="2301520"/>
            <a:ext cx="2518688" cy="719625"/>
          </a:xfrm>
          <a:prstGeom prst="rect">
            <a:avLst/>
          </a:prstGeom>
          <a:noFill/>
          <a:ln w="19050">
            <a:noFill/>
            <a:miter lim="800000"/>
          </a:ln>
          <a:effectLst/>
        </p:spPr>
        <p:txBody>
          <a:bodyPr wrap="square" lIns="143925" tIns="0" rIns="143925" bIns="0" numCol="1" spcCol="72000" rtlCol="0" anchor="t" anchorCtr="0">
            <a:noAutofit/>
          </a:bodyPr>
          <a:lstStyle/>
          <a:p>
            <a:pPr algn="r">
              <a:tabLst>
                <a:tab pos="1255085" algn="r"/>
              </a:tabLst>
              <a:defRPr/>
            </a:pPr>
            <a:r>
              <a:rPr lang="en-US" altLang="de-DE" sz="1599" b="1" dirty="0">
                <a:solidFill>
                  <a:srgbClr val="66667E"/>
                </a:solidFill>
                <a:ea typeface="Arial Unicode MS"/>
              </a:rPr>
              <a:t>Consetetur sadipscing elitr, seddiam nonumy</a:t>
            </a:r>
            <a:endParaRPr lang="en-US" altLang="de-DE" sz="1199" dirty="0">
              <a:solidFill>
                <a:srgbClr val="66667E"/>
              </a:solidFill>
              <a:ea typeface="Arial Unicode MS"/>
              <a:cs typeface="Arial" pitchFamily="34" charset="0"/>
            </a:endParaRPr>
          </a:p>
        </p:txBody>
      </p:sp>
      <p:sp>
        <p:nvSpPr>
          <p:cNvPr id="10" name="Freihandform 85">
            <a:extLst>
              <a:ext uri="{FF2B5EF4-FFF2-40B4-BE49-F238E27FC236}">
                <a16:creationId xmlns:a16="http://schemas.microsoft.com/office/drawing/2014/main" id="{309DD962-068E-4C37-8E61-B0CF5226BCCD}"/>
              </a:ext>
            </a:extLst>
          </p:cNvPr>
          <p:cNvSpPr/>
          <p:nvPr/>
        </p:nvSpPr>
        <p:spPr bwMode="gray">
          <a:xfrm flipH="1">
            <a:off x="7803890" y="2428176"/>
            <a:ext cx="674897" cy="168725"/>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66667E"/>
            </a:solidFill>
            <a:prstDash val="solid"/>
            <a:round/>
            <a:headEnd type="none" w="lg" len="lg"/>
            <a:tailEnd type="none" w="lg" len="lg"/>
          </a:ln>
          <a:effectLst/>
        </p:spPr>
        <p:txBody>
          <a:bodyPr rtlCol="0" anchor="ctr"/>
          <a:lstStyle/>
          <a:p>
            <a:pPr algn="ctr"/>
            <a:endParaRPr lang="en-US" sz="1799" dirty="0">
              <a:ea typeface="Arial Unicode MS"/>
            </a:endParaRPr>
          </a:p>
        </p:txBody>
      </p:sp>
      <p:sp>
        <p:nvSpPr>
          <p:cNvPr id="11" name="Freihandform 97">
            <a:extLst>
              <a:ext uri="{FF2B5EF4-FFF2-40B4-BE49-F238E27FC236}">
                <a16:creationId xmlns:a16="http://schemas.microsoft.com/office/drawing/2014/main" id="{C35D8A8C-AFD5-4D7F-98E8-CD6196236302}"/>
              </a:ext>
            </a:extLst>
          </p:cNvPr>
          <p:cNvSpPr/>
          <p:nvPr/>
        </p:nvSpPr>
        <p:spPr bwMode="gray">
          <a:xfrm>
            <a:off x="3693597" y="2434599"/>
            <a:ext cx="654393" cy="163598"/>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66667E"/>
            </a:solidFill>
            <a:prstDash val="solid"/>
            <a:round/>
            <a:headEnd type="none" w="lg" len="lg"/>
            <a:tailEnd type="none" w="lg" len="lg"/>
          </a:ln>
          <a:effectLst/>
        </p:spPr>
        <p:txBody>
          <a:bodyPr rtlCol="0" anchor="ctr"/>
          <a:lstStyle/>
          <a:p>
            <a:pPr algn="ctr"/>
            <a:endParaRPr lang="en-US" sz="1799" dirty="0">
              <a:ea typeface="Arial Unicode MS"/>
            </a:endParaRPr>
          </a:p>
        </p:txBody>
      </p:sp>
      <p:grpSp>
        <p:nvGrpSpPr>
          <p:cNvPr id="2" name="Group 1">
            <a:extLst>
              <a:ext uri="{FF2B5EF4-FFF2-40B4-BE49-F238E27FC236}">
                <a16:creationId xmlns:a16="http://schemas.microsoft.com/office/drawing/2014/main" id="{AA3506FB-354A-4AFA-9416-E96237E065DF}"/>
              </a:ext>
            </a:extLst>
          </p:cNvPr>
          <p:cNvGrpSpPr/>
          <p:nvPr/>
        </p:nvGrpSpPr>
        <p:grpSpPr>
          <a:xfrm>
            <a:off x="4181704" y="1667717"/>
            <a:ext cx="3814016" cy="3814015"/>
            <a:chOff x="4181704" y="1667717"/>
            <a:chExt cx="3814016" cy="3814015"/>
          </a:xfrm>
        </p:grpSpPr>
        <p:sp>
          <p:nvSpPr>
            <p:cNvPr id="15" name="Freeform: Shape 14">
              <a:extLst>
                <a:ext uri="{FF2B5EF4-FFF2-40B4-BE49-F238E27FC236}">
                  <a16:creationId xmlns:a16="http://schemas.microsoft.com/office/drawing/2014/main" id="{E6A06111-288F-443C-A375-7F96FF55148F}"/>
                </a:ext>
              </a:extLst>
            </p:cNvPr>
            <p:cNvSpPr/>
            <p:nvPr/>
          </p:nvSpPr>
          <p:spPr bwMode="auto">
            <a:xfrm>
              <a:off x="6103173" y="1668344"/>
              <a:ext cx="1892547" cy="2073120"/>
            </a:xfrm>
            <a:custGeom>
              <a:avLst/>
              <a:gdLst>
                <a:gd name="connsiteX0" fmla="*/ 9636 w 1893533"/>
                <a:gd name="connsiteY0" fmla="*/ 0 h 2074200"/>
                <a:gd name="connsiteX1" fmla="*/ 180098 w 1893533"/>
                <a:gd name="connsiteY1" fmla="*/ 8608 h 2074200"/>
                <a:gd name="connsiteX2" fmla="*/ 1052060 w 1893533"/>
                <a:gd name="connsiteY2" fmla="*/ 324709 h 2074200"/>
                <a:gd name="connsiteX3" fmla="*/ 1197833 w 1893533"/>
                <a:gd name="connsiteY3" fmla="*/ 433716 h 2074200"/>
                <a:gd name="connsiteX4" fmla="*/ 1200553 w 1893533"/>
                <a:gd name="connsiteY4" fmla="*/ 436002 h 2074200"/>
                <a:gd name="connsiteX5" fmla="*/ 1332700 w 1893533"/>
                <a:gd name="connsiteY5" fmla="*/ 556105 h 2074200"/>
                <a:gd name="connsiteX6" fmla="*/ 1336403 w 1893533"/>
                <a:gd name="connsiteY6" fmla="*/ 559831 h 2074200"/>
                <a:gd name="connsiteX7" fmla="*/ 1455844 w 1893533"/>
                <a:gd name="connsiteY7" fmla="*/ 691249 h 2074200"/>
                <a:gd name="connsiteX8" fmla="*/ 1459168 w 1893533"/>
                <a:gd name="connsiteY8" fmla="*/ 695252 h 2074200"/>
                <a:gd name="connsiteX9" fmla="*/ 1566374 w 1893533"/>
                <a:gd name="connsiteY9" fmla="*/ 838616 h 2074200"/>
                <a:gd name="connsiteX10" fmla="*/ 1568290 w 1893533"/>
                <a:gd name="connsiteY10" fmla="*/ 841399 h 2074200"/>
                <a:gd name="connsiteX11" fmla="*/ 1663178 w 1893533"/>
                <a:gd name="connsiteY11" fmla="*/ 997590 h 2074200"/>
                <a:gd name="connsiteX12" fmla="*/ 1893533 w 1893533"/>
                <a:gd name="connsiteY12" fmla="*/ 1907330 h 2074200"/>
                <a:gd name="connsiteX13" fmla="*/ 1892358 w 1893533"/>
                <a:gd name="connsiteY13" fmla="*/ 1930607 h 2074200"/>
                <a:gd name="connsiteX14" fmla="*/ 1528472 w 1893533"/>
                <a:gd name="connsiteY14" fmla="*/ 2074200 h 2074200"/>
                <a:gd name="connsiteX15" fmla="*/ 1169242 w 1893533"/>
                <a:gd name="connsiteY15" fmla="*/ 1921067 h 2074200"/>
                <a:gd name="connsiteX16" fmla="*/ 1169994 w 1893533"/>
                <a:gd name="connsiteY16" fmla="*/ 1906177 h 2074200"/>
                <a:gd name="connsiteX17" fmla="*/ 862499 w 1893533"/>
                <a:gd name="connsiteY17" fmla="*/ 1110308 h 2074200"/>
                <a:gd name="connsiteX18" fmla="*/ 836591 w 1893533"/>
                <a:gd name="connsiteY18" fmla="*/ 1086479 h 2074200"/>
                <a:gd name="connsiteX19" fmla="*/ 821935 w 1893533"/>
                <a:gd name="connsiteY19" fmla="*/ 1070353 h 2074200"/>
                <a:gd name="connsiteX20" fmla="*/ 737878 w 1893533"/>
                <a:gd name="connsiteY20" fmla="*/ 993957 h 2074200"/>
                <a:gd name="connsiteX21" fmla="*/ 727816 w 1893533"/>
                <a:gd name="connsiteY21" fmla="*/ 986433 h 2074200"/>
                <a:gd name="connsiteX22" fmla="*/ 705875 w 1893533"/>
                <a:gd name="connsiteY22" fmla="*/ 966253 h 2074200"/>
                <a:gd name="connsiteX23" fmla="*/ 107352 w 1893533"/>
                <a:gd name="connsiteY23" fmla="*/ 728625 h 2074200"/>
                <a:gd name="connsiteX24" fmla="*/ 0 w 1893533"/>
                <a:gd name="connsiteY24" fmla="*/ 723203 h 2074200"/>
                <a:gd name="connsiteX25" fmla="*/ 153201 w 1893533"/>
                <a:gd name="connsiteY25" fmla="*/ 363814 h 2074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93533" h="2074200">
                  <a:moveTo>
                    <a:pt x="9636" y="0"/>
                  </a:moveTo>
                  <a:lnTo>
                    <a:pt x="180098" y="8608"/>
                  </a:lnTo>
                  <a:cubicBezTo>
                    <a:pt x="500902" y="41187"/>
                    <a:pt x="798218" y="153217"/>
                    <a:pt x="1052060" y="324709"/>
                  </a:cubicBezTo>
                  <a:lnTo>
                    <a:pt x="1197833" y="433716"/>
                  </a:lnTo>
                  <a:lnTo>
                    <a:pt x="1200553" y="436002"/>
                  </a:lnTo>
                  <a:lnTo>
                    <a:pt x="1332700" y="556105"/>
                  </a:lnTo>
                  <a:lnTo>
                    <a:pt x="1336403" y="559831"/>
                  </a:lnTo>
                  <a:lnTo>
                    <a:pt x="1455844" y="691249"/>
                  </a:lnTo>
                  <a:lnTo>
                    <a:pt x="1459168" y="695252"/>
                  </a:lnTo>
                  <a:lnTo>
                    <a:pt x="1566374" y="838616"/>
                  </a:lnTo>
                  <a:lnTo>
                    <a:pt x="1568290" y="841399"/>
                  </a:lnTo>
                  <a:lnTo>
                    <a:pt x="1663178" y="997590"/>
                  </a:lnTo>
                  <a:cubicBezTo>
                    <a:pt x="1810086" y="1268022"/>
                    <a:pt x="1893533" y="1577931"/>
                    <a:pt x="1893533" y="1907330"/>
                  </a:cubicBezTo>
                  <a:lnTo>
                    <a:pt x="1892358" y="1930607"/>
                  </a:lnTo>
                  <a:lnTo>
                    <a:pt x="1528472" y="2074200"/>
                  </a:lnTo>
                  <a:lnTo>
                    <a:pt x="1169242" y="1921067"/>
                  </a:lnTo>
                  <a:lnTo>
                    <a:pt x="1169994" y="1906177"/>
                  </a:lnTo>
                  <a:cubicBezTo>
                    <a:pt x="1169994" y="1599746"/>
                    <a:pt x="1053551" y="1320512"/>
                    <a:pt x="862499" y="1110308"/>
                  </a:cubicBezTo>
                  <a:lnTo>
                    <a:pt x="836591" y="1086479"/>
                  </a:lnTo>
                  <a:lnTo>
                    <a:pt x="821935" y="1070353"/>
                  </a:lnTo>
                  <a:cubicBezTo>
                    <a:pt x="795159" y="1043578"/>
                    <a:pt x="767107" y="1018079"/>
                    <a:pt x="737878" y="993957"/>
                  </a:cubicBezTo>
                  <a:lnTo>
                    <a:pt x="727816" y="986433"/>
                  </a:lnTo>
                  <a:lnTo>
                    <a:pt x="705875" y="966253"/>
                  </a:lnTo>
                  <a:cubicBezTo>
                    <a:pt x="536569" y="836448"/>
                    <a:pt x="331179" y="751355"/>
                    <a:pt x="107352" y="728625"/>
                  </a:cubicBezTo>
                  <a:lnTo>
                    <a:pt x="0" y="723203"/>
                  </a:lnTo>
                  <a:lnTo>
                    <a:pt x="153201" y="363814"/>
                  </a:lnTo>
                  <a:close/>
                </a:path>
              </a:pathLst>
            </a:custGeom>
            <a:solidFill>
              <a:srgbClr val="00646E"/>
            </a:solidFill>
            <a:ln w="38100">
              <a:solidFill>
                <a:schemeClr val="bg1"/>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6" name="Freeform: Shape 15">
              <a:extLst>
                <a:ext uri="{FF2B5EF4-FFF2-40B4-BE49-F238E27FC236}">
                  <a16:creationId xmlns:a16="http://schemas.microsoft.com/office/drawing/2014/main" id="{5B90E2B4-ADED-4345-9141-A8BD74D0F74A}"/>
                </a:ext>
              </a:extLst>
            </p:cNvPr>
            <p:cNvSpPr/>
            <p:nvPr/>
          </p:nvSpPr>
          <p:spPr bwMode="auto">
            <a:xfrm rot="5400000">
              <a:off x="4092056" y="3497539"/>
              <a:ext cx="2073214" cy="1893918"/>
            </a:xfrm>
            <a:custGeom>
              <a:avLst/>
              <a:gdLst>
                <a:gd name="connsiteX0" fmla="*/ 0 w 2074294"/>
                <a:gd name="connsiteY0" fmla="*/ 1529843 h 1894904"/>
                <a:gd name="connsiteX1" fmla="*/ 153201 w 2074294"/>
                <a:gd name="connsiteY1" fmla="*/ 1170454 h 1894904"/>
                <a:gd name="connsiteX2" fmla="*/ 152652 w 2074294"/>
                <a:gd name="connsiteY2" fmla="*/ 1169275 h 1894904"/>
                <a:gd name="connsiteX3" fmla="*/ 166876 w 2074294"/>
                <a:gd name="connsiteY3" fmla="*/ 1169994 h 1894904"/>
                <a:gd name="connsiteX4" fmla="*/ 280431 w 2074294"/>
                <a:gd name="connsiteY4" fmla="*/ 1164617 h 1894904"/>
                <a:gd name="connsiteX5" fmla="*/ 284310 w 2074294"/>
                <a:gd name="connsiteY5" fmla="*/ 1164062 h 1894904"/>
                <a:gd name="connsiteX6" fmla="*/ 287893 w 2074294"/>
                <a:gd name="connsiteY6" fmla="*/ 1163882 h 1894904"/>
                <a:gd name="connsiteX7" fmla="*/ 322321 w 2074294"/>
                <a:gd name="connsiteY7" fmla="*/ 1158627 h 1894904"/>
                <a:gd name="connsiteX8" fmla="*/ 390946 w 2074294"/>
                <a:gd name="connsiteY8" fmla="*/ 1148814 h 1894904"/>
                <a:gd name="connsiteX9" fmla="*/ 398456 w 2074294"/>
                <a:gd name="connsiteY9" fmla="*/ 1147008 h 1894904"/>
                <a:gd name="connsiteX10" fmla="*/ 405420 w 2074294"/>
                <a:gd name="connsiteY10" fmla="*/ 1145945 h 1894904"/>
                <a:gd name="connsiteX11" fmla="*/ 442451 w 2074294"/>
                <a:gd name="connsiteY11" fmla="*/ 1136423 h 1894904"/>
                <a:gd name="connsiteX12" fmla="*/ 497931 w 2074294"/>
                <a:gd name="connsiteY12" fmla="*/ 1123075 h 1894904"/>
                <a:gd name="connsiteX13" fmla="*/ 508781 w 2074294"/>
                <a:gd name="connsiteY13" fmla="*/ 1119368 h 1894904"/>
                <a:gd name="connsiteX14" fmla="*/ 518856 w 2074294"/>
                <a:gd name="connsiteY14" fmla="*/ 1116777 h 1894904"/>
                <a:gd name="connsiteX15" fmla="*/ 553944 w 2074294"/>
                <a:gd name="connsiteY15" fmla="*/ 1103935 h 1894904"/>
                <a:gd name="connsiteX16" fmla="*/ 600896 w 2074294"/>
                <a:gd name="connsiteY16" fmla="*/ 1087891 h 1894904"/>
                <a:gd name="connsiteX17" fmla="*/ 614747 w 2074294"/>
                <a:gd name="connsiteY17" fmla="*/ 1081681 h 1894904"/>
                <a:gd name="connsiteX18" fmla="*/ 627606 w 2074294"/>
                <a:gd name="connsiteY18" fmla="*/ 1076974 h 1894904"/>
                <a:gd name="connsiteX19" fmla="*/ 659309 w 2074294"/>
                <a:gd name="connsiteY19" fmla="*/ 1061702 h 1894904"/>
                <a:gd name="connsiteX20" fmla="*/ 699350 w 2074294"/>
                <a:gd name="connsiteY20" fmla="*/ 1043751 h 1894904"/>
                <a:gd name="connsiteX21" fmla="*/ 715819 w 2074294"/>
                <a:gd name="connsiteY21" fmla="*/ 1034480 h 1894904"/>
                <a:gd name="connsiteX22" fmla="*/ 731075 w 2074294"/>
                <a:gd name="connsiteY22" fmla="*/ 1027131 h 1894904"/>
                <a:gd name="connsiteX23" fmla="*/ 758841 w 2074294"/>
                <a:gd name="connsiteY23" fmla="*/ 1010263 h 1894904"/>
                <a:gd name="connsiteX24" fmla="*/ 792802 w 2074294"/>
                <a:gd name="connsiteY24" fmla="*/ 991145 h 1894904"/>
                <a:gd name="connsiteX25" fmla="*/ 811459 w 2074294"/>
                <a:gd name="connsiteY25" fmla="*/ 978296 h 1894904"/>
                <a:gd name="connsiteX26" fmla="*/ 828668 w 2074294"/>
                <a:gd name="connsiteY26" fmla="*/ 967841 h 1894904"/>
                <a:gd name="connsiteX27" fmla="*/ 852323 w 2074294"/>
                <a:gd name="connsiteY27" fmla="*/ 950153 h 1894904"/>
                <a:gd name="connsiteX28" fmla="*/ 880764 w 2074294"/>
                <a:gd name="connsiteY28" fmla="*/ 930565 h 1894904"/>
                <a:gd name="connsiteX29" fmla="*/ 901134 w 2074294"/>
                <a:gd name="connsiteY29" fmla="*/ 913652 h 1894904"/>
                <a:gd name="connsiteX30" fmla="*/ 919790 w 2074294"/>
                <a:gd name="connsiteY30" fmla="*/ 899701 h 1894904"/>
                <a:gd name="connsiteX31" fmla="*/ 939367 w 2074294"/>
                <a:gd name="connsiteY31" fmla="*/ 881909 h 1894904"/>
                <a:gd name="connsiteX32" fmla="*/ 962744 w 2074294"/>
                <a:gd name="connsiteY32" fmla="*/ 862499 h 1894904"/>
                <a:gd name="connsiteX33" fmla="*/ 973045 w 2074294"/>
                <a:gd name="connsiteY33" fmla="*/ 851300 h 1894904"/>
                <a:gd name="connsiteX34" fmla="*/ 1003847 w 2074294"/>
                <a:gd name="connsiteY34" fmla="*/ 823305 h 1894904"/>
                <a:gd name="connsiteX35" fmla="*/ 1080243 w 2074294"/>
                <a:gd name="connsiteY35" fmla="*/ 739249 h 1894904"/>
                <a:gd name="connsiteX36" fmla="*/ 1098238 w 2074294"/>
                <a:gd name="connsiteY36" fmla="*/ 715185 h 1894904"/>
                <a:gd name="connsiteX37" fmla="*/ 1106800 w 2074294"/>
                <a:gd name="connsiteY37" fmla="*/ 705875 h 1894904"/>
                <a:gd name="connsiteX38" fmla="*/ 1129054 w 2074294"/>
                <a:gd name="connsiteY38" fmla="*/ 673975 h 1894904"/>
                <a:gd name="connsiteX39" fmla="*/ 1148383 w 2074294"/>
                <a:gd name="connsiteY39" fmla="*/ 648126 h 1894904"/>
                <a:gd name="connsiteX40" fmla="*/ 1157131 w 2074294"/>
                <a:gd name="connsiteY40" fmla="*/ 633727 h 1894904"/>
                <a:gd name="connsiteX41" fmla="*/ 1167895 w 2074294"/>
                <a:gd name="connsiteY41" fmla="*/ 618297 h 1894904"/>
                <a:gd name="connsiteX42" fmla="*/ 1189570 w 2074294"/>
                <a:gd name="connsiteY42" fmla="*/ 580330 h 1894904"/>
                <a:gd name="connsiteX43" fmla="*/ 1207672 w 2074294"/>
                <a:gd name="connsiteY43" fmla="*/ 550533 h 1894904"/>
                <a:gd name="connsiteX44" fmla="*/ 1213565 w 2074294"/>
                <a:gd name="connsiteY44" fmla="*/ 538300 h 1894904"/>
                <a:gd name="connsiteX45" fmla="*/ 1221047 w 2074294"/>
                <a:gd name="connsiteY45" fmla="*/ 525195 h 1894904"/>
                <a:gd name="connsiteX46" fmla="*/ 1241506 w 2074294"/>
                <a:gd name="connsiteY46" fmla="*/ 480299 h 1894904"/>
                <a:gd name="connsiteX47" fmla="*/ 1257516 w 2074294"/>
                <a:gd name="connsiteY47" fmla="*/ 447064 h 1894904"/>
                <a:gd name="connsiteX48" fmla="*/ 1261047 w 2074294"/>
                <a:gd name="connsiteY48" fmla="*/ 437417 h 1894904"/>
                <a:gd name="connsiteX49" fmla="*/ 1265767 w 2074294"/>
                <a:gd name="connsiteY49" fmla="*/ 427059 h 1894904"/>
                <a:gd name="connsiteX50" fmla="*/ 1284407 w 2074294"/>
                <a:gd name="connsiteY50" fmla="*/ 373591 h 1894904"/>
                <a:gd name="connsiteX51" fmla="*/ 1297319 w 2074294"/>
                <a:gd name="connsiteY51" fmla="*/ 338314 h 1894904"/>
                <a:gd name="connsiteX52" fmla="*/ 1299042 w 2074294"/>
                <a:gd name="connsiteY52" fmla="*/ 331615 h 1894904"/>
                <a:gd name="connsiteX53" fmla="*/ 1301564 w 2074294"/>
                <a:gd name="connsiteY53" fmla="*/ 324380 h 1894904"/>
                <a:gd name="connsiteX54" fmla="*/ 1318045 w 2074294"/>
                <a:gd name="connsiteY54" fmla="*/ 257708 h 1894904"/>
                <a:gd name="connsiteX55" fmla="*/ 1326486 w 2074294"/>
                <a:gd name="connsiteY55" fmla="*/ 224878 h 1894904"/>
                <a:gd name="connsiteX56" fmla="*/ 1327012 w 2074294"/>
                <a:gd name="connsiteY56" fmla="*/ 221431 h 1894904"/>
                <a:gd name="connsiteX57" fmla="*/ 1327948 w 2074294"/>
                <a:gd name="connsiteY57" fmla="*/ 217647 h 1894904"/>
                <a:gd name="connsiteX58" fmla="*/ 1344428 w 2074294"/>
                <a:gd name="connsiteY58" fmla="*/ 107352 h 1894904"/>
                <a:gd name="connsiteX59" fmla="*/ 1349850 w 2074294"/>
                <a:gd name="connsiteY59" fmla="*/ 0 h 1894904"/>
                <a:gd name="connsiteX60" fmla="*/ 1709239 w 2074294"/>
                <a:gd name="connsiteY60" fmla="*/ 153201 h 1894904"/>
                <a:gd name="connsiteX61" fmla="*/ 2074294 w 2074294"/>
                <a:gd name="connsiteY61" fmla="*/ 9147 h 1894904"/>
                <a:gd name="connsiteX62" fmla="*/ 2065592 w 2074294"/>
                <a:gd name="connsiteY62" fmla="*/ 181469 h 1894904"/>
                <a:gd name="connsiteX63" fmla="*/ 2037523 w 2074294"/>
                <a:gd name="connsiteY63" fmla="*/ 365385 h 1894904"/>
                <a:gd name="connsiteX64" fmla="*/ 2022985 w 2074294"/>
                <a:gd name="connsiteY64" fmla="*/ 424195 h 1894904"/>
                <a:gd name="connsiteX65" fmla="*/ 1992426 w 2074294"/>
                <a:gd name="connsiteY65" fmla="*/ 543046 h 1894904"/>
                <a:gd name="connsiteX66" fmla="*/ 1968757 w 2074294"/>
                <a:gd name="connsiteY66" fmla="*/ 610936 h 1894904"/>
                <a:gd name="connsiteX67" fmla="*/ 1931166 w 2074294"/>
                <a:gd name="connsiteY67" fmla="*/ 713642 h 1894904"/>
                <a:gd name="connsiteX68" fmla="*/ 1899587 w 2074294"/>
                <a:gd name="connsiteY68" fmla="*/ 782942 h 1894904"/>
                <a:gd name="connsiteX69" fmla="*/ 1854610 w 2074294"/>
                <a:gd name="connsiteY69" fmla="*/ 876307 h 1894904"/>
                <a:gd name="connsiteX70" fmla="*/ 1815847 w 2074294"/>
                <a:gd name="connsiteY70" fmla="*/ 944205 h 1894904"/>
                <a:gd name="connsiteX71" fmla="*/ 1763620 w 2074294"/>
                <a:gd name="connsiteY71" fmla="*/ 1030174 h 1894904"/>
                <a:gd name="connsiteX72" fmla="*/ 1718271 w 2074294"/>
                <a:gd name="connsiteY72" fmla="*/ 1095180 h 1894904"/>
                <a:gd name="connsiteX73" fmla="*/ 1659048 w 2074294"/>
                <a:gd name="connsiteY73" fmla="*/ 1174379 h 1894904"/>
                <a:gd name="connsiteX74" fmla="*/ 1607673 w 2074294"/>
                <a:gd name="connsiteY74" fmla="*/ 1235510 h 1894904"/>
                <a:gd name="connsiteX75" fmla="*/ 1541737 w 2074294"/>
                <a:gd name="connsiteY75" fmla="*/ 1308058 h 1894904"/>
                <a:gd name="connsiteX76" fmla="*/ 1484892 w 2074294"/>
                <a:gd name="connsiteY76" fmla="*/ 1364565 h 1894904"/>
                <a:gd name="connsiteX77" fmla="*/ 1412511 w 2074294"/>
                <a:gd name="connsiteY77" fmla="*/ 1430349 h 1894904"/>
                <a:gd name="connsiteX78" fmla="*/ 1350778 w 2074294"/>
                <a:gd name="connsiteY78" fmla="*/ 1481604 h 1894904"/>
                <a:gd name="connsiteX79" fmla="*/ 1272166 w 2074294"/>
                <a:gd name="connsiteY79" fmla="*/ 1540389 h 1894904"/>
                <a:gd name="connsiteX80" fmla="*/ 1206187 w 2074294"/>
                <a:gd name="connsiteY80" fmla="*/ 1585829 h 1894904"/>
                <a:gd name="connsiteX81" fmla="*/ 1121439 w 2074294"/>
                <a:gd name="connsiteY81" fmla="*/ 1637315 h 1894904"/>
                <a:gd name="connsiteX82" fmla="*/ 1051979 w 2074294"/>
                <a:gd name="connsiteY82" fmla="*/ 1676415 h 1894904"/>
                <a:gd name="connsiteX83" fmla="*/ 960959 w 2074294"/>
                <a:gd name="connsiteY83" fmla="*/ 1720262 h 1894904"/>
                <a:gd name="connsiteX84" fmla="*/ 889013 w 2074294"/>
                <a:gd name="connsiteY84" fmla="*/ 1752517 h 1894904"/>
                <a:gd name="connsiteX85" fmla="*/ 791075 w 2074294"/>
                <a:gd name="connsiteY85" fmla="*/ 1788363 h 1894904"/>
                <a:gd name="connsiteX86" fmla="*/ 718155 w 2074294"/>
                <a:gd name="connsiteY86" fmla="*/ 1813281 h 1894904"/>
                <a:gd name="connsiteX87" fmla="*/ 611316 w 2074294"/>
                <a:gd name="connsiteY87" fmla="*/ 1840752 h 1894904"/>
                <a:gd name="connsiteX88" fmla="*/ 540269 w 2074294"/>
                <a:gd name="connsiteY88" fmla="*/ 1857845 h 1894904"/>
                <a:gd name="connsiteX89" fmla="*/ 417641 w 2074294"/>
                <a:gd name="connsiteY89" fmla="*/ 1876560 h 1894904"/>
                <a:gd name="connsiteX90" fmla="*/ 356222 w 2074294"/>
                <a:gd name="connsiteY90" fmla="*/ 1885343 h 1894904"/>
                <a:gd name="connsiteX91" fmla="*/ 166870 w 2074294"/>
                <a:gd name="connsiteY91" fmla="*/ 1894904 h 1894904"/>
                <a:gd name="connsiteX92" fmla="*/ 143594 w 2074294"/>
                <a:gd name="connsiteY92" fmla="*/ 1893729 h 1894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2074294" h="1894904">
                  <a:moveTo>
                    <a:pt x="0" y="1529843"/>
                  </a:moveTo>
                  <a:lnTo>
                    <a:pt x="153201" y="1170454"/>
                  </a:lnTo>
                  <a:lnTo>
                    <a:pt x="152652" y="1169275"/>
                  </a:lnTo>
                  <a:lnTo>
                    <a:pt x="166876" y="1169994"/>
                  </a:lnTo>
                  <a:cubicBezTo>
                    <a:pt x="205180" y="1169994"/>
                    <a:pt x="243059" y="1168174"/>
                    <a:pt x="280431" y="1164617"/>
                  </a:cubicBezTo>
                  <a:lnTo>
                    <a:pt x="284310" y="1164062"/>
                  </a:lnTo>
                  <a:lnTo>
                    <a:pt x="287893" y="1163882"/>
                  </a:lnTo>
                  <a:lnTo>
                    <a:pt x="322321" y="1158627"/>
                  </a:lnTo>
                  <a:lnTo>
                    <a:pt x="390946" y="1148814"/>
                  </a:lnTo>
                  <a:lnTo>
                    <a:pt x="398456" y="1147008"/>
                  </a:lnTo>
                  <a:lnTo>
                    <a:pt x="405420" y="1145945"/>
                  </a:lnTo>
                  <a:lnTo>
                    <a:pt x="442451" y="1136423"/>
                  </a:lnTo>
                  <a:lnTo>
                    <a:pt x="497931" y="1123075"/>
                  </a:lnTo>
                  <a:lnTo>
                    <a:pt x="508781" y="1119368"/>
                  </a:lnTo>
                  <a:lnTo>
                    <a:pt x="518856" y="1116777"/>
                  </a:lnTo>
                  <a:lnTo>
                    <a:pt x="553944" y="1103935"/>
                  </a:lnTo>
                  <a:lnTo>
                    <a:pt x="600896" y="1087891"/>
                  </a:lnTo>
                  <a:lnTo>
                    <a:pt x="614747" y="1081681"/>
                  </a:lnTo>
                  <a:lnTo>
                    <a:pt x="627606" y="1076974"/>
                  </a:lnTo>
                  <a:lnTo>
                    <a:pt x="659309" y="1061702"/>
                  </a:lnTo>
                  <a:lnTo>
                    <a:pt x="699350" y="1043751"/>
                  </a:lnTo>
                  <a:lnTo>
                    <a:pt x="715819" y="1034480"/>
                  </a:lnTo>
                  <a:lnTo>
                    <a:pt x="731075" y="1027131"/>
                  </a:lnTo>
                  <a:lnTo>
                    <a:pt x="758841" y="1010263"/>
                  </a:lnTo>
                  <a:lnTo>
                    <a:pt x="792802" y="991145"/>
                  </a:lnTo>
                  <a:lnTo>
                    <a:pt x="811459" y="978296"/>
                  </a:lnTo>
                  <a:lnTo>
                    <a:pt x="828668" y="967841"/>
                  </a:lnTo>
                  <a:lnTo>
                    <a:pt x="852323" y="950153"/>
                  </a:lnTo>
                  <a:lnTo>
                    <a:pt x="880764" y="930565"/>
                  </a:lnTo>
                  <a:lnTo>
                    <a:pt x="901134" y="913652"/>
                  </a:lnTo>
                  <a:lnTo>
                    <a:pt x="919790" y="899701"/>
                  </a:lnTo>
                  <a:lnTo>
                    <a:pt x="939367" y="881909"/>
                  </a:lnTo>
                  <a:lnTo>
                    <a:pt x="962744" y="862499"/>
                  </a:lnTo>
                  <a:lnTo>
                    <a:pt x="973045" y="851300"/>
                  </a:lnTo>
                  <a:lnTo>
                    <a:pt x="1003847" y="823305"/>
                  </a:lnTo>
                  <a:cubicBezTo>
                    <a:pt x="1030622" y="796530"/>
                    <a:pt x="1056120" y="768478"/>
                    <a:pt x="1080243" y="739249"/>
                  </a:cubicBezTo>
                  <a:lnTo>
                    <a:pt x="1098238" y="715185"/>
                  </a:lnTo>
                  <a:lnTo>
                    <a:pt x="1106800" y="705875"/>
                  </a:lnTo>
                  <a:lnTo>
                    <a:pt x="1129054" y="673975"/>
                  </a:lnTo>
                  <a:lnTo>
                    <a:pt x="1148383" y="648126"/>
                  </a:lnTo>
                  <a:lnTo>
                    <a:pt x="1157131" y="633727"/>
                  </a:lnTo>
                  <a:lnTo>
                    <a:pt x="1167895" y="618297"/>
                  </a:lnTo>
                  <a:lnTo>
                    <a:pt x="1189570" y="580330"/>
                  </a:lnTo>
                  <a:lnTo>
                    <a:pt x="1207672" y="550533"/>
                  </a:lnTo>
                  <a:lnTo>
                    <a:pt x="1213565" y="538300"/>
                  </a:lnTo>
                  <a:lnTo>
                    <a:pt x="1221047" y="525195"/>
                  </a:lnTo>
                  <a:lnTo>
                    <a:pt x="1241506" y="480299"/>
                  </a:lnTo>
                  <a:lnTo>
                    <a:pt x="1257516" y="447064"/>
                  </a:lnTo>
                  <a:lnTo>
                    <a:pt x="1261047" y="437417"/>
                  </a:lnTo>
                  <a:lnTo>
                    <a:pt x="1265767" y="427059"/>
                  </a:lnTo>
                  <a:lnTo>
                    <a:pt x="1284407" y="373591"/>
                  </a:lnTo>
                  <a:lnTo>
                    <a:pt x="1297319" y="338314"/>
                  </a:lnTo>
                  <a:lnTo>
                    <a:pt x="1299042" y="331615"/>
                  </a:lnTo>
                  <a:lnTo>
                    <a:pt x="1301564" y="324380"/>
                  </a:lnTo>
                  <a:lnTo>
                    <a:pt x="1318045" y="257708"/>
                  </a:lnTo>
                  <a:lnTo>
                    <a:pt x="1326486" y="224878"/>
                  </a:lnTo>
                  <a:lnTo>
                    <a:pt x="1327012" y="221431"/>
                  </a:lnTo>
                  <a:lnTo>
                    <a:pt x="1327948" y="217647"/>
                  </a:lnTo>
                  <a:cubicBezTo>
                    <a:pt x="1335119" y="181449"/>
                    <a:pt x="1340640" y="144657"/>
                    <a:pt x="1344428" y="107352"/>
                  </a:cubicBezTo>
                  <a:lnTo>
                    <a:pt x="1349850" y="0"/>
                  </a:lnTo>
                  <a:lnTo>
                    <a:pt x="1709239" y="153201"/>
                  </a:lnTo>
                  <a:lnTo>
                    <a:pt x="2074294" y="9147"/>
                  </a:lnTo>
                  <a:lnTo>
                    <a:pt x="2065592" y="181469"/>
                  </a:lnTo>
                  <a:lnTo>
                    <a:pt x="2037523" y="365385"/>
                  </a:lnTo>
                  <a:lnTo>
                    <a:pt x="2022985" y="424195"/>
                  </a:lnTo>
                  <a:lnTo>
                    <a:pt x="1992426" y="543046"/>
                  </a:lnTo>
                  <a:lnTo>
                    <a:pt x="1968757" y="610936"/>
                  </a:lnTo>
                  <a:lnTo>
                    <a:pt x="1931166" y="713642"/>
                  </a:lnTo>
                  <a:lnTo>
                    <a:pt x="1899587" y="782942"/>
                  </a:lnTo>
                  <a:lnTo>
                    <a:pt x="1854610" y="876307"/>
                  </a:lnTo>
                  <a:lnTo>
                    <a:pt x="1815847" y="944205"/>
                  </a:lnTo>
                  <a:lnTo>
                    <a:pt x="1763620" y="1030174"/>
                  </a:lnTo>
                  <a:lnTo>
                    <a:pt x="1718271" y="1095180"/>
                  </a:lnTo>
                  <a:lnTo>
                    <a:pt x="1659048" y="1174379"/>
                  </a:lnTo>
                  <a:lnTo>
                    <a:pt x="1607673" y="1235510"/>
                  </a:lnTo>
                  <a:lnTo>
                    <a:pt x="1541737" y="1308058"/>
                  </a:lnTo>
                  <a:lnTo>
                    <a:pt x="1484892" y="1364565"/>
                  </a:lnTo>
                  <a:lnTo>
                    <a:pt x="1412511" y="1430349"/>
                  </a:lnTo>
                  <a:lnTo>
                    <a:pt x="1350778" y="1481604"/>
                  </a:lnTo>
                  <a:lnTo>
                    <a:pt x="1272166" y="1540389"/>
                  </a:lnTo>
                  <a:lnTo>
                    <a:pt x="1206187" y="1585829"/>
                  </a:lnTo>
                  <a:lnTo>
                    <a:pt x="1121439" y="1637315"/>
                  </a:lnTo>
                  <a:lnTo>
                    <a:pt x="1051979" y="1676415"/>
                  </a:lnTo>
                  <a:lnTo>
                    <a:pt x="960959" y="1720262"/>
                  </a:lnTo>
                  <a:lnTo>
                    <a:pt x="889013" y="1752517"/>
                  </a:lnTo>
                  <a:lnTo>
                    <a:pt x="791075" y="1788363"/>
                  </a:lnTo>
                  <a:lnTo>
                    <a:pt x="718155" y="1813281"/>
                  </a:lnTo>
                  <a:lnTo>
                    <a:pt x="611316" y="1840752"/>
                  </a:lnTo>
                  <a:lnTo>
                    <a:pt x="540269" y="1857845"/>
                  </a:lnTo>
                  <a:lnTo>
                    <a:pt x="417641" y="1876560"/>
                  </a:lnTo>
                  <a:lnTo>
                    <a:pt x="356222" y="1885343"/>
                  </a:lnTo>
                  <a:lnTo>
                    <a:pt x="166870" y="1894904"/>
                  </a:lnTo>
                  <a:lnTo>
                    <a:pt x="143594" y="1893729"/>
                  </a:lnTo>
                  <a:close/>
                </a:path>
              </a:pathLst>
            </a:custGeom>
            <a:solidFill>
              <a:schemeClr val="accent2"/>
            </a:solidFill>
            <a:ln w="38100">
              <a:solidFill>
                <a:schemeClr val="bg1"/>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1" name="Freeform: Shape 20">
              <a:extLst>
                <a:ext uri="{FF2B5EF4-FFF2-40B4-BE49-F238E27FC236}">
                  <a16:creationId xmlns:a16="http://schemas.microsoft.com/office/drawing/2014/main" id="{A23F2F03-08D5-4137-972B-828A51F67FFA}"/>
                </a:ext>
              </a:extLst>
            </p:cNvPr>
            <p:cNvSpPr/>
            <p:nvPr/>
          </p:nvSpPr>
          <p:spPr bwMode="auto">
            <a:xfrm rot="5400000">
              <a:off x="6012260" y="3498899"/>
              <a:ext cx="1892547" cy="2073120"/>
            </a:xfrm>
            <a:custGeom>
              <a:avLst/>
              <a:gdLst>
                <a:gd name="connsiteX0" fmla="*/ 9636 w 1893533"/>
                <a:gd name="connsiteY0" fmla="*/ 0 h 2074200"/>
                <a:gd name="connsiteX1" fmla="*/ 180098 w 1893533"/>
                <a:gd name="connsiteY1" fmla="*/ 8608 h 2074200"/>
                <a:gd name="connsiteX2" fmla="*/ 1052060 w 1893533"/>
                <a:gd name="connsiteY2" fmla="*/ 324709 h 2074200"/>
                <a:gd name="connsiteX3" fmla="*/ 1197833 w 1893533"/>
                <a:gd name="connsiteY3" fmla="*/ 433716 h 2074200"/>
                <a:gd name="connsiteX4" fmla="*/ 1200553 w 1893533"/>
                <a:gd name="connsiteY4" fmla="*/ 436002 h 2074200"/>
                <a:gd name="connsiteX5" fmla="*/ 1332700 w 1893533"/>
                <a:gd name="connsiteY5" fmla="*/ 556105 h 2074200"/>
                <a:gd name="connsiteX6" fmla="*/ 1336403 w 1893533"/>
                <a:gd name="connsiteY6" fmla="*/ 559831 h 2074200"/>
                <a:gd name="connsiteX7" fmla="*/ 1455844 w 1893533"/>
                <a:gd name="connsiteY7" fmla="*/ 691249 h 2074200"/>
                <a:gd name="connsiteX8" fmla="*/ 1459168 w 1893533"/>
                <a:gd name="connsiteY8" fmla="*/ 695252 h 2074200"/>
                <a:gd name="connsiteX9" fmla="*/ 1566374 w 1893533"/>
                <a:gd name="connsiteY9" fmla="*/ 838616 h 2074200"/>
                <a:gd name="connsiteX10" fmla="*/ 1568290 w 1893533"/>
                <a:gd name="connsiteY10" fmla="*/ 841399 h 2074200"/>
                <a:gd name="connsiteX11" fmla="*/ 1663178 w 1893533"/>
                <a:gd name="connsiteY11" fmla="*/ 997590 h 2074200"/>
                <a:gd name="connsiteX12" fmla="*/ 1893533 w 1893533"/>
                <a:gd name="connsiteY12" fmla="*/ 1907330 h 2074200"/>
                <a:gd name="connsiteX13" fmla="*/ 1892358 w 1893533"/>
                <a:gd name="connsiteY13" fmla="*/ 1930607 h 2074200"/>
                <a:gd name="connsiteX14" fmla="*/ 1528472 w 1893533"/>
                <a:gd name="connsiteY14" fmla="*/ 2074200 h 2074200"/>
                <a:gd name="connsiteX15" fmla="*/ 1169242 w 1893533"/>
                <a:gd name="connsiteY15" fmla="*/ 1921067 h 2074200"/>
                <a:gd name="connsiteX16" fmla="*/ 1169994 w 1893533"/>
                <a:gd name="connsiteY16" fmla="*/ 1906177 h 2074200"/>
                <a:gd name="connsiteX17" fmla="*/ 862499 w 1893533"/>
                <a:gd name="connsiteY17" fmla="*/ 1110308 h 2074200"/>
                <a:gd name="connsiteX18" fmla="*/ 836591 w 1893533"/>
                <a:gd name="connsiteY18" fmla="*/ 1086479 h 2074200"/>
                <a:gd name="connsiteX19" fmla="*/ 821935 w 1893533"/>
                <a:gd name="connsiteY19" fmla="*/ 1070353 h 2074200"/>
                <a:gd name="connsiteX20" fmla="*/ 737878 w 1893533"/>
                <a:gd name="connsiteY20" fmla="*/ 993957 h 2074200"/>
                <a:gd name="connsiteX21" fmla="*/ 727816 w 1893533"/>
                <a:gd name="connsiteY21" fmla="*/ 986433 h 2074200"/>
                <a:gd name="connsiteX22" fmla="*/ 705875 w 1893533"/>
                <a:gd name="connsiteY22" fmla="*/ 966253 h 2074200"/>
                <a:gd name="connsiteX23" fmla="*/ 107352 w 1893533"/>
                <a:gd name="connsiteY23" fmla="*/ 728625 h 2074200"/>
                <a:gd name="connsiteX24" fmla="*/ 0 w 1893533"/>
                <a:gd name="connsiteY24" fmla="*/ 723203 h 2074200"/>
                <a:gd name="connsiteX25" fmla="*/ 153201 w 1893533"/>
                <a:gd name="connsiteY25" fmla="*/ 363814 h 2074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93533" h="2074200">
                  <a:moveTo>
                    <a:pt x="9636" y="0"/>
                  </a:moveTo>
                  <a:lnTo>
                    <a:pt x="180098" y="8608"/>
                  </a:lnTo>
                  <a:cubicBezTo>
                    <a:pt x="500902" y="41187"/>
                    <a:pt x="798218" y="153217"/>
                    <a:pt x="1052060" y="324709"/>
                  </a:cubicBezTo>
                  <a:lnTo>
                    <a:pt x="1197833" y="433716"/>
                  </a:lnTo>
                  <a:lnTo>
                    <a:pt x="1200553" y="436002"/>
                  </a:lnTo>
                  <a:lnTo>
                    <a:pt x="1332700" y="556105"/>
                  </a:lnTo>
                  <a:lnTo>
                    <a:pt x="1336403" y="559831"/>
                  </a:lnTo>
                  <a:lnTo>
                    <a:pt x="1455844" y="691249"/>
                  </a:lnTo>
                  <a:lnTo>
                    <a:pt x="1459168" y="695252"/>
                  </a:lnTo>
                  <a:lnTo>
                    <a:pt x="1566374" y="838616"/>
                  </a:lnTo>
                  <a:lnTo>
                    <a:pt x="1568290" y="841399"/>
                  </a:lnTo>
                  <a:lnTo>
                    <a:pt x="1663178" y="997590"/>
                  </a:lnTo>
                  <a:cubicBezTo>
                    <a:pt x="1810086" y="1268022"/>
                    <a:pt x="1893533" y="1577931"/>
                    <a:pt x="1893533" y="1907330"/>
                  </a:cubicBezTo>
                  <a:lnTo>
                    <a:pt x="1892358" y="1930607"/>
                  </a:lnTo>
                  <a:lnTo>
                    <a:pt x="1528472" y="2074200"/>
                  </a:lnTo>
                  <a:lnTo>
                    <a:pt x="1169242" y="1921067"/>
                  </a:lnTo>
                  <a:lnTo>
                    <a:pt x="1169994" y="1906177"/>
                  </a:lnTo>
                  <a:cubicBezTo>
                    <a:pt x="1169994" y="1599746"/>
                    <a:pt x="1053551" y="1320512"/>
                    <a:pt x="862499" y="1110308"/>
                  </a:cubicBezTo>
                  <a:lnTo>
                    <a:pt x="836591" y="1086479"/>
                  </a:lnTo>
                  <a:lnTo>
                    <a:pt x="821935" y="1070353"/>
                  </a:lnTo>
                  <a:cubicBezTo>
                    <a:pt x="795159" y="1043578"/>
                    <a:pt x="767107" y="1018079"/>
                    <a:pt x="737878" y="993957"/>
                  </a:cubicBezTo>
                  <a:lnTo>
                    <a:pt x="727816" y="986433"/>
                  </a:lnTo>
                  <a:lnTo>
                    <a:pt x="705875" y="966253"/>
                  </a:lnTo>
                  <a:cubicBezTo>
                    <a:pt x="536569" y="836448"/>
                    <a:pt x="331179" y="751355"/>
                    <a:pt x="107352" y="728625"/>
                  </a:cubicBezTo>
                  <a:lnTo>
                    <a:pt x="0" y="723203"/>
                  </a:lnTo>
                  <a:lnTo>
                    <a:pt x="153201" y="363814"/>
                  </a:lnTo>
                  <a:close/>
                </a:path>
              </a:pathLst>
            </a:custGeom>
            <a:solidFill>
              <a:srgbClr val="00AF8E"/>
            </a:solidFill>
            <a:ln w="38100">
              <a:solidFill>
                <a:schemeClr val="bg1"/>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2" name="Freeform: Shape 21">
              <a:extLst>
                <a:ext uri="{FF2B5EF4-FFF2-40B4-BE49-F238E27FC236}">
                  <a16:creationId xmlns:a16="http://schemas.microsoft.com/office/drawing/2014/main" id="{112891FE-134A-4A3C-B3A1-BB33E0F75073}"/>
                </a:ext>
              </a:extLst>
            </p:cNvPr>
            <p:cNvSpPr/>
            <p:nvPr/>
          </p:nvSpPr>
          <p:spPr bwMode="auto">
            <a:xfrm rot="10800000">
              <a:off x="4182331" y="1667717"/>
              <a:ext cx="2073214" cy="1893918"/>
            </a:xfrm>
            <a:custGeom>
              <a:avLst/>
              <a:gdLst>
                <a:gd name="connsiteX0" fmla="*/ 0 w 2074294"/>
                <a:gd name="connsiteY0" fmla="*/ 1529843 h 1894904"/>
                <a:gd name="connsiteX1" fmla="*/ 153201 w 2074294"/>
                <a:gd name="connsiteY1" fmla="*/ 1170454 h 1894904"/>
                <a:gd name="connsiteX2" fmla="*/ 152652 w 2074294"/>
                <a:gd name="connsiteY2" fmla="*/ 1169275 h 1894904"/>
                <a:gd name="connsiteX3" fmla="*/ 166876 w 2074294"/>
                <a:gd name="connsiteY3" fmla="*/ 1169994 h 1894904"/>
                <a:gd name="connsiteX4" fmla="*/ 280431 w 2074294"/>
                <a:gd name="connsiteY4" fmla="*/ 1164617 h 1894904"/>
                <a:gd name="connsiteX5" fmla="*/ 284310 w 2074294"/>
                <a:gd name="connsiteY5" fmla="*/ 1164062 h 1894904"/>
                <a:gd name="connsiteX6" fmla="*/ 287893 w 2074294"/>
                <a:gd name="connsiteY6" fmla="*/ 1163882 h 1894904"/>
                <a:gd name="connsiteX7" fmla="*/ 322321 w 2074294"/>
                <a:gd name="connsiteY7" fmla="*/ 1158627 h 1894904"/>
                <a:gd name="connsiteX8" fmla="*/ 390946 w 2074294"/>
                <a:gd name="connsiteY8" fmla="*/ 1148814 h 1894904"/>
                <a:gd name="connsiteX9" fmla="*/ 398456 w 2074294"/>
                <a:gd name="connsiteY9" fmla="*/ 1147008 h 1894904"/>
                <a:gd name="connsiteX10" fmla="*/ 405420 w 2074294"/>
                <a:gd name="connsiteY10" fmla="*/ 1145945 h 1894904"/>
                <a:gd name="connsiteX11" fmla="*/ 442451 w 2074294"/>
                <a:gd name="connsiteY11" fmla="*/ 1136423 h 1894904"/>
                <a:gd name="connsiteX12" fmla="*/ 497931 w 2074294"/>
                <a:gd name="connsiteY12" fmla="*/ 1123075 h 1894904"/>
                <a:gd name="connsiteX13" fmla="*/ 508781 w 2074294"/>
                <a:gd name="connsiteY13" fmla="*/ 1119368 h 1894904"/>
                <a:gd name="connsiteX14" fmla="*/ 518856 w 2074294"/>
                <a:gd name="connsiteY14" fmla="*/ 1116777 h 1894904"/>
                <a:gd name="connsiteX15" fmla="*/ 553944 w 2074294"/>
                <a:gd name="connsiteY15" fmla="*/ 1103935 h 1894904"/>
                <a:gd name="connsiteX16" fmla="*/ 600896 w 2074294"/>
                <a:gd name="connsiteY16" fmla="*/ 1087891 h 1894904"/>
                <a:gd name="connsiteX17" fmla="*/ 614747 w 2074294"/>
                <a:gd name="connsiteY17" fmla="*/ 1081681 h 1894904"/>
                <a:gd name="connsiteX18" fmla="*/ 627606 w 2074294"/>
                <a:gd name="connsiteY18" fmla="*/ 1076974 h 1894904"/>
                <a:gd name="connsiteX19" fmla="*/ 659309 w 2074294"/>
                <a:gd name="connsiteY19" fmla="*/ 1061702 h 1894904"/>
                <a:gd name="connsiteX20" fmla="*/ 699350 w 2074294"/>
                <a:gd name="connsiteY20" fmla="*/ 1043751 h 1894904"/>
                <a:gd name="connsiteX21" fmla="*/ 715819 w 2074294"/>
                <a:gd name="connsiteY21" fmla="*/ 1034480 h 1894904"/>
                <a:gd name="connsiteX22" fmla="*/ 731075 w 2074294"/>
                <a:gd name="connsiteY22" fmla="*/ 1027131 h 1894904"/>
                <a:gd name="connsiteX23" fmla="*/ 758841 w 2074294"/>
                <a:gd name="connsiteY23" fmla="*/ 1010263 h 1894904"/>
                <a:gd name="connsiteX24" fmla="*/ 792802 w 2074294"/>
                <a:gd name="connsiteY24" fmla="*/ 991145 h 1894904"/>
                <a:gd name="connsiteX25" fmla="*/ 811459 w 2074294"/>
                <a:gd name="connsiteY25" fmla="*/ 978296 h 1894904"/>
                <a:gd name="connsiteX26" fmla="*/ 828668 w 2074294"/>
                <a:gd name="connsiteY26" fmla="*/ 967841 h 1894904"/>
                <a:gd name="connsiteX27" fmla="*/ 852323 w 2074294"/>
                <a:gd name="connsiteY27" fmla="*/ 950153 h 1894904"/>
                <a:gd name="connsiteX28" fmla="*/ 880764 w 2074294"/>
                <a:gd name="connsiteY28" fmla="*/ 930565 h 1894904"/>
                <a:gd name="connsiteX29" fmla="*/ 901134 w 2074294"/>
                <a:gd name="connsiteY29" fmla="*/ 913652 h 1894904"/>
                <a:gd name="connsiteX30" fmla="*/ 919790 w 2074294"/>
                <a:gd name="connsiteY30" fmla="*/ 899701 h 1894904"/>
                <a:gd name="connsiteX31" fmla="*/ 939367 w 2074294"/>
                <a:gd name="connsiteY31" fmla="*/ 881909 h 1894904"/>
                <a:gd name="connsiteX32" fmla="*/ 962744 w 2074294"/>
                <a:gd name="connsiteY32" fmla="*/ 862499 h 1894904"/>
                <a:gd name="connsiteX33" fmla="*/ 973045 w 2074294"/>
                <a:gd name="connsiteY33" fmla="*/ 851300 h 1894904"/>
                <a:gd name="connsiteX34" fmla="*/ 1003847 w 2074294"/>
                <a:gd name="connsiteY34" fmla="*/ 823305 h 1894904"/>
                <a:gd name="connsiteX35" fmla="*/ 1080243 w 2074294"/>
                <a:gd name="connsiteY35" fmla="*/ 739249 h 1894904"/>
                <a:gd name="connsiteX36" fmla="*/ 1098238 w 2074294"/>
                <a:gd name="connsiteY36" fmla="*/ 715185 h 1894904"/>
                <a:gd name="connsiteX37" fmla="*/ 1106800 w 2074294"/>
                <a:gd name="connsiteY37" fmla="*/ 705875 h 1894904"/>
                <a:gd name="connsiteX38" fmla="*/ 1129054 w 2074294"/>
                <a:gd name="connsiteY38" fmla="*/ 673975 h 1894904"/>
                <a:gd name="connsiteX39" fmla="*/ 1148383 w 2074294"/>
                <a:gd name="connsiteY39" fmla="*/ 648126 h 1894904"/>
                <a:gd name="connsiteX40" fmla="*/ 1157131 w 2074294"/>
                <a:gd name="connsiteY40" fmla="*/ 633727 h 1894904"/>
                <a:gd name="connsiteX41" fmla="*/ 1167895 w 2074294"/>
                <a:gd name="connsiteY41" fmla="*/ 618297 h 1894904"/>
                <a:gd name="connsiteX42" fmla="*/ 1189570 w 2074294"/>
                <a:gd name="connsiteY42" fmla="*/ 580330 h 1894904"/>
                <a:gd name="connsiteX43" fmla="*/ 1207672 w 2074294"/>
                <a:gd name="connsiteY43" fmla="*/ 550533 h 1894904"/>
                <a:gd name="connsiteX44" fmla="*/ 1213565 w 2074294"/>
                <a:gd name="connsiteY44" fmla="*/ 538300 h 1894904"/>
                <a:gd name="connsiteX45" fmla="*/ 1221047 w 2074294"/>
                <a:gd name="connsiteY45" fmla="*/ 525195 h 1894904"/>
                <a:gd name="connsiteX46" fmla="*/ 1241506 w 2074294"/>
                <a:gd name="connsiteY46" fmla="*/ 480299 h 1894904"/>
                <a:gd name="connsiteX47" fmla="*/ 1257516 w 2074294"/>
                <a:gd name="connsiteY47" fmla="*/ 447064 h 1894904"/>
                <a:gd name="connsiteX48" fmla="*/ 1261047 w 2074294"/>
                <a:gd name="connsiteY48" fmla="*/ 437417 h 1894904"/>
                <a:gd name="connsiteX49" fmla="*/ 1265767 w 2074294"/>
                <a:gd name="connsiteY49" fmla="*/ 427059 h 1894904"/>
                <a:gd name="connsiteX50" fmla="*/ 1284407 w 2074294"/>
                <a:gd name="connsiteY50" fmla="*/ 373591 h 1894904"/>
                <a:gd name="connsiteX51" fmla="*/ 1297319 w 2074294"/>
                <a:gd name="connsiteY51" fmla="*/ 338314 h 1894904"/>
                <a:gd name="connsiteX52" fmla="*/ 1299042 w 2074294"/>
                <a:gd name="connsiteY52" fmla="*/ 331615 h 1894904"/>
                <a:gd name="connsiteX53" fmla="*/ 1301564 w 2074294"/>
                <a:gd name="connsiteY53" fmla="*/ 324380 h 1894904"/>
                <a:gd name="connsiteX54" fmla="*/ 1318045 w 2074294"/>
                <a:gd name="connsiteY54" fmla="*/ 257708 h 1894904"/>
                <a:gd name="connsiteX55" fmla="*/ 1326486 w 2074294"/>
                <a:gd name="connsiteY55" fmla="*/ 224878 h 1894904"/>
                <a:gd name="connsiteX56" fmla="*/ 1327012 w 2074294"/>
                <a:gd name="connsiteY56" fmla="*/ 221431 h 1894904"/>
                <a:gd name="connsiteX57" fmla="*/ 1327948 w 2074294"/>
                <a:gd name="connsiteY57" fmla="*/ 217647 h 1894904"/>
                <a:gd name="connsiteX58" fmla="*/ 1344428 w 2074294"/>
                <a:gd name="connsiteY58" fmla="*/ 107352 h 1894904"/>
                <a:gd name="connsiteX59" fmla="*/ 1349850 w 2074294"/>
                <a:gd name="connsiteY59" fmla="*/ 0 h 1894904"/>
                <a:gd name="connsiteX60" fmla="*/ 1709239 w 2074294"/>
                <a:gd name="connsiteY60" fmla="*/ 153201 h 1894904"/>
                <a:gd name="connsiteX61" fmla="*/ 2074294 w 2074294"/>
                <a:gd name="connsiteY61" fmla="*/ 9147 h 1894904"/>
                <a:gd name="connsiteX62" fmla="*/ 2065592 w 2074294"/>
                <a:gd name="connsiteY62" fmla="*/ 181469 h 1894904"/>
                <a:gd name="connsiteX63" fmla="*/ 2037523 w 2074294"/>
                <a:gd name="connsiteY63" fmla="*/ 365385 h 1894904"/>
                <a:gd name="connsiteX64" fmla="*/ 2022985 w 2074294"/>
                <a:gd name="connsiteY64" fmla="*/ 424195 h 1894904"/>
                <a:gd name="connsiteX65" fmla="*/ 1992426 w 2074294"/>
                <a:gd name="connsiteY65" fmla="*/ 543046 h 1894904"/>
                <a:gd name="connsiteX66" fmla="*/ 1968757 w 2074294"/>
                <a:gd name="connsiteY66" fmla="*/ 610936 h 1894904"/>
                <a:gd name="connsiteX67" fmla="*/ 1931166 w 2074294"/>
                <a:gd name="connsiteY67" fmla="*/ 713642 h 1894904"/>
                <a:gd name="connsiteX68" fmla="*/ 1899587 w 2074294"/>
                <a:gd name="connsiteY68" fmla="*/ 782942 h 1894904"/>
                <a:gd name="connsiteX69" fmla="*/ 1854610 w 2074294"/>
                <a:gd name="connsiteY69" fmla="*/ 876307 h 1894904"/>
                <a:gd name="connsiteX70" fmla="*/ 1815847 w 2074294"/>
                <a:gd name="connsiteY70" fmla="*/ 944205 h 1894904"/>
                <a:gd name="connsiteX71" fmla="*/ 1763620 w 2074294"/>
                <a:gd name="connsiteY71" fmla="*/ 1030174 h 1894904"/>
                <a:gd name="connsiteX72" fmla="*/ 1718271 w 2074294"/>
                <a:gd name="connsiteY72" fmla="*/ 1095180 h 1894904"/>
                <a:gd name="connsiteX73" fmla="*/ 1659048 w 2074294"/>
                <a:gd name="connsiteY73" fmla="*/ 1174379 h 1894904"/>
                <a:gd name="connsiteX74" fmla="*/ 1607673 w 2074294"/>
                <a:gd name="connsiteY74" fmla="*/ 1235510 h 1894904"/>
                <a:gd name="connsiteX75" fmla="*/ 1541737 w 2074294"/>
                <a:gd name="connsiteY75" fmla="*/ 1308058 h 1894904"/>
                <a:gd name="connsiteX76" fmla="*/ 1484892 w 2074294"/>
                <a:gd name="connsiteY76" fmla="*/ 1364565 h 1894904"/>
                <a:gd name="connsiteX77" fmla="*/ 1412511 w 2074294"/>
                <a:gd name="connsiteY77" fmla="*/ 1430349 h 1894904"/>
                <a:gd name="connsiteX78" fmla="*/ 1350778 w 2074294"/>
                <a:gd name="connsiteY78" fmla="*/ 1481604 h 1894904"/>
                <a:gd name="connsiteX79" fmla="*/ 1272166 w 2074294"/>
                <a:gd name="connsiteY79" fmla="*/ 1540389 h 1894904"/>
                <a:gd name="connsiteX80" fmla="*/ 1206187 w 2074294"/>
                <a:gd name="connsiteY80" fmla="*/ 1585829 h 1894904"/>
                <a:gd name="connsiteX81" fmla="*/ 1121439 w 2074294"/>
                <a:gd name="connsiteY81" fmla="*/ 1637315 h 1894904"/>
                <a:gd name="connsiteX82" fmla="*/ 1051979 w 2074294"/>
                <a:gd name="connsiteY82" fmla="*/ 1676415 h 1894904"/>
                <a:gd name="connsiteX83" fmla="*/ 960959 w 2074294"/>
                <a:gd name="connsiteY83" fmla="*/ 1720262 h 1894904"/>
                <a:gd name="connsiteX84" fmla="*/ 889013 w 2074294"/>
                <a:gd name="connsiteY84" fmla="*/ 1752517 h 1894904"/>
                <a:gd name="connsiteX85" fmla="*/ 791075 w 2074294"/>
                <a:gd name="connsiteY85" fmla="*/ 1788363 h 1894904"/>
                <a:gd name="connsiteX86" fmla="*/ 718155 w 2074294"/>
                <a:gd name="connsiteY86" fmla="*/ 1813281 h 1894904"/>
                <a:gd name="connsiteX87" fmla="*/ 611316 w 2074294"/>
                <a:gd name="connsiteY87" fmla="*/ 1840752 h 1894904"/>
                <a:gd name="connsiteX88" fmla="*/ 540269 w 2074294"/>
                <a:gd name="connsiteY88" fmla="*/ 1857845 h 1894904"/>
                <a:gd name="connsiteX89" fmla="*/ 417641 w 2074294"/>
                <a:gd name="connsiteY89" fmla="*/ 1876560 h 1894904"/>
                <a:gd name="connsiteX90" fmla="*/ 356222 w 2074294"/>
                <a:gd name="connsiteY90" fmla="*/ 1885343 h 1894904"/>
                <a:gd name="connsiteX91" fmla="*/ 166870 w 2074294"/>
                <a:gd name="connsiteY91" fmla="*/ 1894904 h 1894904"/>
                <a:gd name="connsiteX92" fmla="*/ 143594 w 2074294"/>
                <a:gd name="connsiteY92" fmla="*/ 1893729 h 1894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2074294" h="1894904">
                  <a:moveTo>
                    <a:pt x="0" y="1529843"/>
                  </a:moveTo>
                  <a:lnTo>
                    <a:pt x="153201" y="1170454"/>
                  </a:lnTo>
                  <a:lnTo>
                    <a:pt x="152652" y="1169275"/>
                  </a:lnTo>
                  <a:lnTo>
                    <a:pt x="166876" y="1169994"/>
                  </a:lnTo>
                  <a:cubicBezTo>
                    <a:pt x="205180" y="1169994"/>
                    <a:pt x="243059" y="1168174"/>
                    <a:pt x="280431" y="1164617"/>
                  </a:cubicBezTo>
                  <a:lnTo>
                    <a:pt x="284310" y="1164062"/>
                  </a:lnTo>
                  <a:lnTo>
                    <a:pt x="287893" y="1163882"/>
                  </a:lnTo>
                  <a:lnTo>
                    <a:pt x="322321" y="1158627"/>
                  </a:lnTo>
                  <a:lnTo>
                    <a:pt x="390946" y="1148814"/>
                  </a:lnTo>
                  <a:lnTo>
                    <a:pt x="398456" y="1147008"/>
                  </a:lnTo>
                  <a:lnTo>
                    <a:pt x="405420" y="1145945"/>
                  </a:lnTo>
                  <a:lnTo>
                    <a:pt x="442451" y="1136423"/>
                  </a:lnTo>
                  <a:lnTo>
                    <a:pt x="497931" y="1123075"/>
                  </a:lnTo>
                  <a:lnTo>
                    <a:pt x="508781" y="1119368"/>
                  </a:lnTo>
                  <a:lnTo>
                    <a:pt x="518856" y="1116777"/>
                  </a:lnTo>
                  <a:lnTo>
                    <a:pt x="553944" y="1103935"/>
                  </a:lnTo>
                  <a:lnTo>
                    <a:pt x="600896" y="1087891"/>
                  </a:lnTo>
                  <a:lnTo>
                    <a:pt x="614747" y="1081681"/>
                  </a:lnTo>
                  <a:lnTo>
                    <a:pt x="627606" y="1076974"/>
                  </a:lnTo>
                  <a:lnTo>
                    <a:pt x="659309" y="1061702"/>
                  </a:lnTo>
                  <a:lnTo>
                    <a:pt x="699350" y="1043751"/>
                  </a:lnTo>
                  <a:lnTo>
                    <a:pt x="715819" y="1034480"/>
                  </a:lnTo>
                  <a:lnTo>
                    <a:pt x="731075" y="1027131"/>
                  </a:lnTo>
                  <a:lnTo>
                    <a:pt x="758841" y="1010263"/>
                  </a:lnTo>
                  <a:lnTo>
                    <a:pt x="792802" y="991145"/>
                  </a:lnTo>
                  <a:lnTo>
                    <a:pt x="811459" y="978296"/>
                  </a:lnTo>
                  <a:lnTo>
                    <a:pt x="828668" y="967841"/>
                  </a:lnTo>
                  <a:lnTo>
                    <a:pt x="852323" y="950153"/>
                  </a:lnTo>
                  <a:lnTo>
                    <a:pt x="880764" y="930565"/>
                  </a:lnTo>
                  <a:lnTo>
                    <a:pt x="901134" y="913652"/>
                  </a:lnTo>
                  <a:lnTo>
                    <a:pt x="919790" y="899701"/>
                  </a:lnTo>
                  <a:lnTo>
                    <a:pt x="939367" y="881909"/>
                  </a:lnTo>
                  <a:lnTo>
                    <a:pt x="962744" y="862499"/>
                  </a:lnTo>
                  <a:lnTo>
                    <a:pt x="973045" y="851300"/>
                  </a:lnTo>
                  <a:lnTo>
                    <a:pt x="1003847" y="823305"/>
                  </a:lnTo>
                  <a:cubicBezTo>
                    <a:pt x="1030622" y="796530"/>
                    <a:pt x="1056120" y="768478"/>
                    <a:pt x="1080243" y="739249"/>
                  </a:cubicBezTo>
                  <a:lnTo>
                    <a:pt x="1098238" y="715185"/>
                  </a:lnTo>
                  <a:lnTo>
                    <a:pt x="1106800" y="705875"/>
                  </a:lnTo>
                  <a:lnTo>
                    <a:pt x="1129054" y="673975"/>
                  </a:lnTo>
                  <a:lnTo>
                    <a:pt x="1148383" y="648126"/>
                  </a:lnTo>
                  <a:lnTo>
                    <a:pt x="1157131" y="633727"/>
                  </a:lnTo>
                  <a:lnTo>
                    <a:pt x="1167895" y="618297"/>
                  </a:lnTo>
                  <a:lnTo>
                    <a:pt x="1189570" y="580330"/>
                  </a:lnTo>
                  <a:lnTo>
                    <a:pt x="1207672" y="550533"/>
                  </a:lnTo>
                  <a:lnTo>
                    <a:pt x="1213565" y="538300"/>
                  </a:lnTo>
                  <a:lnTo>
                    <a:pt x="1221047" y="525195"/>
                  </a:lnTo>
                  <a:lnTo>
                    <a:pt x="1241506" y="480299"/>
                  </a:lnTo>
                  <a:lnTo>
                    <a:pt x="1257516" y="447064"/>
                  </a:lnTo>
                  <a:lnTo>
                    <a:pt x="1261047" y="437417"/>
                  </a:lnTo>
                  <a:lnTo>
                    <a:pt x="1265767" y="427059"/>
                  </a:lnTo>
                  <a:lnTo>
                    <a:pt x="1284407" y="373591"/>
                  </a:lnTo>
                  <a:lnTo>
                    <a:pt x="1297319" y="338314"/>
                  </a:lnTo>
                  <a:lnTo>
                    <a:pt x="1299042" y="331615"/>
                  </a:lnTo>
                  <a:lnTo>
                    <a:pt x="1301564" y="324380"/>
                  </a:lnTo>
                  <a:lnTo>
                    <a:pt x="1318045" y="257708"/>
                  </a:lnTo>
                  <a:lnTo>
                    <a:pt x="1326486" y="224878"/>
                  </a:lnTo>
                  <a:lnTo>
                    <a:pt x="1327012" y="221431"/>
                  </a:lnTo>
                  <a:lnTo>
                    <a:pt x="1327948" y="217647"/>
                  </a:lnTo>
                  <a:cubicBezTo>
                    <a:pt x="1335119" y="181449"/>
                    <a:pt x="1340640" y="144657"/>
                    <a:pt x="1344428" y="107352"/>
                  </a:cubicBezTo>
                  <a:lnTo>
                    <a:pt x="1349850" y="0"/>
                  </a:lnTo>
                  <a:lnTo>
                    <a:pt x="1709239" y="153201"/>
                  </a:lnTo>
                  <a:lnTo>
                    <a:pt x="2074294" y="9147"/>
                  </a:lnTo>
                  <a:lnTo>
                    <a:pt x="2065592" y="181469"/>
                  </a:lnTo>
                  <a:lnTo>
                    <a:pt x="2037523" y="365385"/>
                  </a:lnTo>
                  <a:lnTo>
                    <a:pt x="2022985" y="424195"/>
                  </a:lnTo>
                  <a:lnTo>
                    <a:pt x="1992426" y="543046"/>
                  </a:lnTo>
                  <a:lnTo>
                    <a:pt x="1968757" y="610936"/>
                  </a:lnTo>
                  <a:lnTo>
                    <a:pt x="1931166" y="713642"/>
                  </a:lnTo>
                  <a:lnTo>
                    <a:pt x="1899587" y="782942"/>
                  </a:lnTo>
                  <a:lnTo>
                    <a:pt x="1854610" y="876307"/>
                  </a:lnTo>
                  <a:lnTo>
                    <a:pt x="1815847" y="944205"/>
                  </a:lnTo>
                  <a:lnTo>
                    <a:pt x="1763620" y="1030174"/>
                  </a:lnTo>
                  <a:lnTo>
                    <a:pt x="1718271" y="1095180"/>
                  </a:lnTo>
                  <a:lnTo>
                    <a:pt x="1659048" y="1174379"/>
                  </a:lnTo>
                  <a:lnTo>
                    <a:pt x="1607673" y="1235510"/>
                  </a:lnTo>
                  <a:lnTo>
                    <a:pt x="1541737" y="1308058"/>
                  </a:lnTo>
                  <a:lnTo>
                    <a:pt x="1484892" y="1364565"/>
                  </a:lnTo>
                  <a:lnTo>
                    <a:pt x="1412511" y="1430349"/>
                  </a:lnTo>
                  <a:lnTo>
                    <a:pt x="1350778" y="1481604"/>
                  </a:lnTo>
                  <a:lnTo>
                    <a:pt x="1272166" y="1540389"/>
                  </a:lnTo>
                  <a:lnTo>
                    <a:pt x="1206187" y="1585829"/>
                  </a:lnTo>
                  <a:lnTo>
                    <a:pt x="1121439" y="1637315"/>
                  </a:lnTo>
                  <a:lnTo>
                    <a:pt x="1051979" y="1676415"/>
                  </a:lnTo>
                  <a:lnTo>
                    <a:pt x="960959" y="1720262"/>
                  </a:lnTo>
                  <a:lnTo>
                    <a:pt x="889013" y="1752517"/>
                  </a:lnTo>
                  <a:lnTo>
                    <a:pt x="791075" y="1788363"/>
                  </a:lnTo>
                  <a:lnTo>
                    <a:pt x="718155" y="1813281"/>
                  </a:lnTo>
                  <a:lnTo>
                    <a:pt x="611316" y="1840752"/>
                  </a:lnTo>
                  <a:lnTo>
                    <a:pt x="540269" y="1857845"/>
                  </a:lnTo>
                  <a:lnTo>
                    <a:pt x="417641" y="1876560"/>
                  </a:lnTo>
                  <a:lnTo>
                    <a:pt x="356222" y="1885343"/>
                  </a:lnTo>
                  <a:lnTo>
                    <a:pt x="166870" y="1894904"/>
                  </a:lnTo>
                  <a:lnTo>
                    <a:pt x="143594" y="1893729"/>
                  </a:lnTo>
                  <a:close/>
                </a:path>
              </a:pathLst>
            </a:custGeom>
            <a:solidFill>
              <a:srgbClr val="00FFB9"/>
            </a:solidFill>
            <a:ln w="38100">
              <a:solidFill>
                <a:schemeClr val="bg1"/>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grpSp>
      <p:sp>
        <p:nvSpPr>
          <p:cNvPr id="23" name="Freihandform 85">
            <a:extLst>
              <a:ext uri="{FF2B5EF4-FFF2-40B4-BE49-F238E27FC236}">
                <a16:creationId xmlns:a16="http://schemas.microsoft.com/office/drawing/2014/main" id="{DEB7CF16-5F1F-4F28-A547-3B29094CE2ED}"/>
              </a:ext>
            </a:extLst>
          </p:cNvPr>
          <p:cNvSpPr/>
          <p:nvPr/>
        </p:nvSpPr>
        <p:spPr bwMode="gray">
          <a:xfrm flipH="1" flipV="1">
            <a:off x="7803890" y="4572246"/>
            <a:ext cx="674899" cy="168725"/>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66667E"/>
            </a:solidFill>
            <a:prstDash val="solid"/>
            <a:round/>
            <a:headEnd type="none" w="lg" len="lg"/>
            <a:tailEnd type="none" w="lg" len="lg"/>
          </a:ln>
          <a:effectLst/>
        </p:spPr>
        <p:txBody>
          <a:bodyPr rtlCol="0" anchor="ctr"/>
          <a:lstStyle/>
          <a:p>
            <a:pPr algn="ctr"/>
            <a:endParaRPr lang="en-US" sz="1799" dirty="0">
              <a:ea typeface="Arial Unicode MS"/>
            </a:endParaRPr>
          </a:p>
        </p:txBody>
      </p:sp>
      <p:sp>
        <p:nvSpPr>
          <p:cNvPr id="24" name="Freihandform 97">
            <a:extLst>
              <a:ext uri="{FF2B5EF4-FFF2-40B4-BE49-F238E27FC236}">
                <a16:creationId xmlns:a16="http://schemas.microsoft.com/office/drawing/2014/main" id="{9C9C3683-E313-4163-A552-B0902D0AF325}"/>
              </a:ext>
            </a:extLst>
          </p:cNvPr>
          <p:cNvSpPr/>
          <p:nvPr/>
        </p:nvSpPr>
        <p:spPr bwMode="gray">
          <a:xfrm flipV="1">
            <a:off x="3693597" y="4570950"/>
            <a:ext cx="654393" cy="163598"/>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66667E"/>
            </a:solidFill>
            <a:prstDash val="solid"/>
            <a:round/>
            <a:headEnd type="none" w="lg" len="lg"/>
            <a:tailEnd type="none" w="lg" len="lg"/>
          </a:ln>
          <a:effectLst/>
        </p:spPr>
        <p:txBody>
          <a:bodyPr rtlCol="0" anchor="ctr"/>
          <a:lstStyle/>
          <a:p>
            <a:pPr algn="ctr"/>
            <a:endParaRPr lang="en-US" sz="1799" dirty="0">
              <a:ea typeface="Arial Unicode MS"/>
            </a:endParaRPr>
          </a:p>
        </p:txBody>
      </p:sp>
      <p:sp>
        <p:nvSpPr>
          <p:cNvPr id="25" name="Rechteck 28">
            <a:extLst>
              <a:ext uri="{FF2B5EF4-FFF2-40B4-BE49-F238E27FC236}">
                <a16:creationId xmlns:a16="http://schemas.microsoft.com/office/drawing/2014/main" id="{893CB4B1-B699-40B6-ACA9-661BE2339453}"/>
              </a:ext>
            </a:extLst>
          </p:cNvPr>
          <p:cNvSpPr/>
          <p:nvPr/>
        </p:nvSpPr>
        <p:spPr bwMode="gray">
          <a:xfrm>
            <a:off x="1174908" y="4616445"/>
            <a:ext cx="2518688" cy="719625"/>
          </a:xfrm>
          <a:prstGeom prst="rect">
            <a:avLst/>
          </a:prstGeom>
          <a:noFill/>
          <a:ln w="19050">
            <a:noFill/>
            <a:miter lim="800000"/>
          </a:ln>
          <a:effectLst/>
        </p:spPr>
        <p:txBody>
          <a:bodyPr wrap="square" lIns="143925" tIns="0" rIns="143925" bIns="0" numCol="1" spcCol="72000" rtlCol="0" anchor="t" anchorCtr="0">
            <a:noAutofit/>
          </a:bodyPr>
          <a:lstStyle/>
          <a:p>
            <a:pPr algn="r">
              <a:tabLst>
                <a:tab pos="1255085" algn="r"/>
              </a:tabLst>
              <a:defRPr/>
            </a:pPr>
            <a:r>
              <a:rPr lang="en-US" altLang="de-DE" sz="1599" b="1" dirty="0">
                <a:solidFill>
                  <a:srgbClr val="66667E"/>
                </a:solidFill>
                <a:ea typeface="Arial Unicode MS"/>
              </a:rPr>
              <a:t>Consetetur sadipscing</a:t>
            </a:r>
            <a:endParaRPr lang="en-US" altLang="de-DE" sz="1199" dirty="0">
              <a:solidFill>
                <a:srgbClr val="66667E"/>
              </a:solidFill>
              <a:ea typeface="Arial Unicode MS"/>
              <a:cs typeface="Arial" pitchFamily="34" charset="0"/>
            </a:endParaRPr>
          </a:p>
        </p:txBody>
      </p:sp>
      <p:sp>
        <p:nvSpPr>
          <p:cNvPr id="26" name="Rechteck 28">
            <a:extLst>
              <a:ext uri="{FF2B5EF4-FFF2-40B4-BE49-F238E27FC236}">
                <a16:creationId xmlns:a16="http://schemas.microsoft.com/office/drawing/2014/main" id="{49EEEA86-4554-42C6-A280-D82F2DAB6CB6}"/>
              </a:ext>
            </a:extLst>
          </p:cNvPr>
          <p:cNvSpPr/>
          <p:nvPr/>
        </p:nvSpPr>
        <p:spPr bwMode="gray">
          <a:xfrm>
            <a:off x="8478790" y="4616445"/>
            <a:ext cx="2518688" cy="719625"/>
          </a:xfrm>
          <a:prstGeom prst="rect">
            <a:avLst/>
          </a:prstGeom>
          <a:noFill/>
          <a:ln w="19050">
            <a:noFill/>
            <a:miter lim="800000"/>
          </a:ln>
          <a:effectLst/>
        </p:spPr>
        <p:txBody>
          <a:bodyPr wrap="square" lIns="143925" tIns="0" rIns="143925" bIns="0" numCol="1" spcCol="72000" rtlCol="0" anchor="t" anchorCtr="0">
            <a:noAutofit/>
          </a:bodyPr>
          <a:lstStyle/>
          <a:p>
            <a:pPr>
              <a:tabLst>
                <a:tab pos="1255085" algn="r"/>
              </a:tabLst>
              <a:defRPr/>
            </a:pPr>
            <a:r>
              <a:rPr lang="en-US" altLang="de-DE" sz="1599" b="1" dirty="0">
                <a:solidFill>
                  <a:srgbClr val="66667E"/>
                </a:solidFill>
                <a:ea typeface="Arial Unicode MS"/>
              </a:rPr>
              <a:t>Seddiam eos et accusam</a:t>
            </a:r>
            <a:endParaRPr lang="en-US" altLang="de-DE" sz="1199" dirty="0">
              <a:solidFill>
                <a:srgbClr val="66667E"/>
              </a:solidFill>
              <a:ea typeface="Arial Unicode MS"/>
              <a:cs typeface="Arial" pitchFamily="34" charset="0"/>
            </a:endParaRPr>
          </a:p>
        </p:txBody>
      </p:sp>
      <p:sp>
        <p:nvSpPr>
          <p:cNvPr id="3" name="Footer Placeholder 2">
            <a:extLst>
              <a:ext uri="{FF2B5EF4-FFF2-40B4-BE49-F238E27FC236}">
                <a16:creationId xmlns:a16="http://schemas.microsoft.com/office/drawing/2014/main" id="{B6ABEDE1-C610-41B3-92F1-71C2A16668C1}"/>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A331B7D6-952E-4133-9336-EDDC240DC508}"/>
              </a:ext>
            </a:extLst>
          </p:cNvPr>
          <p:cNvSpPr>
            <a:spLocks noGrp="1"/>
          </p:cNvSpPr>
          <p:nvPr>
            <p:ph type="sldNum" sz="quarter" idx="11"/>
          </p:nvPr>
        </p:nvSpPr>
        <p:spPr/>
        <p:txBody>
          <a:bodyPr/>
          <a:lstStyle/>
          <a:p>
            <a:r>
              <a:rPr lang="en-US" dirty="0"/>
              <a:t>Page </a:t>
            </a:r>
            <a:fld id="{15EBE321-CBB1-4E91-BD14-37C8D44326FB}" type="slidenum">
              <a:rPr lang="en-US" smtClean="0"/>
              <a:pPr/>
              <a:t>136</a:t>
            </a:fld>
            <a:endParaRPr lang="en-US" dirty="0"/>
          </a:p>
        </p:txBody>
      </p:sp>
    </p:spTree>
    <p:extLst>
      <p:ext uri="{BB962C8B-B14F-4D97-AF65-F5344CB8AC3E}">
        <p14:creationId xmlns:p14="http://schemas.microsoft.com/office/powerpoint/2010/main" val="19967497"/>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800" name="Title 161799"/>
          <p:cNvSpPr>
            <a:spLocks noGrp="1"/>
          </p:cNvSpPr>
          <p:nvPr>
            <p:ph type="title"/>
          </p:nvPr>
        </p:nvSpPr>
        <p:spPr/>
        <p:txBody>
          <a:bodyPr/>
          <a:lstStyle/>
          <a:p>
            <a:r>
              <a:rPr lang="en-US" dirty="0"/>
              <a:t>Radial diagram – four parts</a:t>
            </a:r>
          </a:p>
        </p:txBody>
      </p:sp>
      <p:sp>
        <p:nvSpPr>
          <p:cNvPr id="205" name="Rechteck 28"/>
          <p:cNvSpPr/>
          <p:nvPr/>
        </p:nvSpPr>
        <p:spPr bwMode="gray">
          <a:xfrm>
            <a:off x="8478790" y="2299487"/>
            <a:ext cx="2518688" cy="719625"/>
          </a:xfrm>
          <a:prstGeom prst="rect">
            <a:avLst/>
          </a:prstGeom>
          <a:noFill/>
          <a:ln w="19050">
            <a:noFill/>
            <a:miter lim="800000"/>
          </a:ln>
          <a:effectLst/>
        </p:spPr>
        <p:txBody>
          <a:bodyPr wrap="square" lIns="143925" tIns="0" rIns="143925" bIns="0" numCol="1" spcCol="72000" rtlCol="0" anchor="t" anchorCtr="0">
            <a:noAutofit/>
          </a:bodyPr>
          <a:lstStyle/>
          <a:p>
            <a:pPr>
              <a:tabLst>
                <a:tab pos="1255085" algn="r"/>
              </a:tabLst>
              <a:defRPr/>
            </a:pPr>
            <a:r>
              <a:rPr lang="en-US" altLang="de-DE" sz="1599" b="1" dirty="0">
                <a:solidFill>
                  <a:srgbClr val="9999A9"/>
                </a:solidFill>
                <a:ea typeface="Arial Unicode MS"/>
              </a:rPr>
              <a:t>At vero eos et accusam</a:t>
            </a:r>
            <a:endParaRPr lang="en-US" altLang="de-DE" sz="1199" dirty="0">
              <a:solidFill>
                <a:srgbClr val="9999A9"/>
              </a:solidFill>
              <a:ea typeface="Arial Unicode MS"/>
              <a:cs typeface="Arial" pitchFamily="34" charset="0"/>
            </a:endParaRPr>
          </a:p>
        </p:txBody>
      </p:sp>
      <p:sp>
        <p:nvSpPr>
          <p:cNvPr id="206" name="Rechteck 28"/>
          <p:cNvSpPr/>
          <p:nvPr/>
        </p:nvSpPr>
        <p:spPr bwMode="gray">
          <a:xfrm>
            <a:off x="1174908" y="2301520"/>
            <a:ext cx="2518688" cy="719625"/>
          </a:xfrm>
          <a:prstGeom prst="rect">
            <a:avLst/>
          </a:prstGeom>
          <a:noFill/>
          <a:ln w="19050">
            <a:noFill/>
            <a:miter lim="800000"/>
          </a:ln>
          <a:effectLst/>
        </p:spPr>
        <p:txBody>
          <a:bodyPr wrap="square" lIns="143925" tIns="0" rIns="143925" bIns="0" numCol="1" spcCol="72000" rtlCol="0" anchor="t" anchorCtr="0">
            <a:noAutofit/>
          </a:bodyPr>
          <a:lstStyle/>
          <a:p>
            <a:pPr algn="r">
              <a:tabLst>
                <a:tab pos="1255085" algn="r"/>
              </a:tabLst>
              <a:defRPr/>
            </a:pPr>
            <a:r>
              <a:rPr lang="en-US" altLang="de-DE" sz="1599" b="1" dirty="0">
                <a:solidFill>
                  <a:srgbClr val="9999A9"/>
                </a:solidFill>
                <a:ea typeface="Arial Unicode MS"/>
              </a:rPr>
              <a:t>Consetetur sadipscing elitr, seddiam nonumy</a:t>
            </a:r>
            <a:endParaRPr lang="en-US" altLang="de-DE" sz="1199" dirty="0">
              <a:solidFill>
                <a:srgbClr val="9999A9"/>
              </a:solidFill>
              <a:ea typeface="Arial Unicode MS"/>
              <a:cs typeface="Arial" pitchFamily="34" charset="0"/>
            </a:endParaRPr>
          </a:p>
        </p:txBody>
      </p:sp>
      <p:sp>
        <p:nvSpPr>
          <p:cNvPr id="10" name="Freihandform 85">
            <a:extLst>
              <a:ext uri="{FF2B5EF4-FFF2-40B4-BE49-F238E27FC236}">
                <a16:creationId xmlns:a16="http://schemas.microsoft.com/office/drawing/2014/main" id="{309DD962-068E-4C37-8E61-B0CF5226BCCD}"/>
              </a:ext>
            </a:extLst>
          </p:cNvPr>
          <p:cNvSpPr/>
          <p:nvPr/>
        </p:nvSpPr>
        <p:spPr bwMode="gray">
          <a:xfrm flipH="1">
            <a:off x="7803890" y="2428176"/>
            <a:ext cx="674897" cy="168725"/>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9999A9"/>
            </a:solidFill>
            <a:prstDash val="solid"/>
            <a:round/>
            <a:headEnd type="none" w="lg" len="lg"/>
            <a:tailEnd type="none" w="lg" len="lg"/>
          </a:ln>
          <a:effectLst/>
        </p:spPr>
        <p:txBody>
          <a:bodyPr rtlCol="0" anchor="ctr"/>
          <a:lstStyle/>
          <a:p>
            <a:pPr algn="ctr"/>
            <a:endParaRPr lang="en-US" sz="1799" dirty="0">
              <a:ea typeface="Arial Unicode MS"/>
            </a:endParaRPr>
          </a:p>
        </p:txBody>
      </p:sp>
      <p:sp>
        <p:nvSpPr>
          <p:cNvPr id="11" name="Freihandform 97">
            <a:extLst>
              <a:ext uri="{FF2B5EF4-FFF2-40B4-BE49-F238E27FC236}">
                <a16:creationId xmlns:a16="http://schemas.microsoft.com/office/drawing/2014/main" id="{C35D8A8C-AFD5-4D7F-98E8-CD6196236302}"/>
              </a:ext>
            </a:extLst>
          </p:cNvPr>
          <p:cNvSpPr/>
          <p:nvPr/>
        </p:nvSpPr>
        <p:spPr bwMode="gray">
          <a:xfrm>
            <a:off x="3693597" y="2434599"/>
            <a:ext cx="654393" cy="163598"/>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9999A9"/>
            </a:solidFill>
            <a:prstDash val="solid"/>
            <a:round/>
            <a:headEnd type="none" w="lg" len="lg"/>
            <a:tailEnd type="none" w="lg" len="lg"/>
          </a:ln>
          <a:effectLst/>
        </p:spPr>
        <p:txBody>
          <a:bodyPr rtlCol="0" anchor="ctr"/>
          <a:lstStyle/>
          <a:p>
            <a:pPr algn="ctr"/>
            <a:endParaRPr lang="en-US" sz="1799" dirty="0">
              <a:ea typeface="Arial Unicode MS"/>
            </a:endParaRPr>
          </a:p>
        </p:txBody>
      </p:sp>
      <p:grpSp>
        <p:nvGrpSpPr>
          <p:cNvPr id="2" name="Group 1">
            <a:extLst>
              <a:ext uri="{FF2B5EF4-FFF2-40B4-BE49-F238E27FC236}">
                <a16:creationId xmlns:a16="http://schemas.microsoft.com/office/drawing/2014/main" id="{E81F0558-4550-4BD7-ABAB-085AFB467966}"/>
              </a:ext>
            </a:extLst>
          </p:cNvPr>
          <p:cNvGrpSpPr/>
          <p:nvPr/>
        </p:nvGrpSpPr>
        <p:grpSpPr>
          <a:xfrm>
            <a:off x="4181704" y="1667717"/>
            <a:ext cx="3814016" cy="3814015"/>
            <a:chOff x="4181704" y="1667717"/>
            <a:chExt cx="3814016" cy="3814015"/>
          </a:xfrm>
        </p:grpSpPr>
        <p:sp>
          <p:nvSpPr>
            <p:cNvPr id="15" name="Freeform: Shape 14">
              <a:extLst>
                <a:ext uri="{FF2B5EF4-FFF2-40B4-BE49-F238E27FC236}">
                  <a16:creationId xmlns:a16="http://schemas.microsoft.com/office/drawing/2014/main" id="{E6A06111-288F-443C-A375-7F96FF55148F}"/>
                </a:ext>
              </a:extLst>
            </p:cNvPr>
            <p:cNvSpPr/>
            <p:nvPr/>
          </p:nvSpPr>
          <p:spPr bwMode="auto">
            <a:xfrm>
              <a:off x="6103173" y="1668344"/>
              <a:ext cx="1892547" cy="2073120"/>
            </a:xfrm>
            <a:custGeom>
              <a:avLst/>
              <a:gdLst>
                <a:gd name="connsiteX0" fmla="*/ 9636 w 1893533"/>
                <a:gd name="connsiteY0" fmla="*/ 0 h 2074200"/>
                <a:gd name="connsiteX1" fmla="*/ 180098 w 1893533"/>
                <a:gd name="connsiteY1" fmla="*/ 8608 h 2074200"/>
                <a:gd name="connsiteX2" fmla="*/ 1052060 w 1893533"/>
                <a:gd name="connsiteY2" fmla="*/ 324709 h 2074200"/>
                <a:gd name="connsiteX3" fmla="*/ 1197833 w 1893533"/>
                <a:gd name="connsiteY3" fmla="*/ 433716 h 2074200"/>
                <a:gd name="connsiteX4" fmla="*/ 1200553 w 1893533"/>
                <a:gd name="connsiteY4" fmla="*/ 436002 h 2074200"/>
                <a:gd name="connsiteX5" fmla="*/ 1332700 w 1893533"/>
                <a:gd name="connsiteY5" fmla="*/ 556105 h 2074200"/>
                <a:gd name="connsiteX6" fmla="*/ 1336403 w 1893533"/>
                <a:gd name="connsiteY6" fmla="*/ 559831 h 2074200"/>
                <a:gd name="connsiteX7" fmla="*/ 1455844 w 1893533"/>
                <a:gd name="connsiteY7" fmla="*/ 691249 h 2074200"/>
                <a:gd name="connsiteX8" fmla="*/ 1459168 w 1893533"/>
                <a:gd name="connsiteY8" fmla="*/ 695252 h 2074200"/>
                <a:gd name="connsiteX9" fmla="*/ 1566374 w 1893533"/>
                <a:gd name="connsiteY9" fmla="*/ 838616 h 2074200"/>
                <a:gd name="connsiteX10" fmla="*/ 1568290 w 1893533"/>
                <a:gd name="connsiteY10" fmla="*/ 841399 h 2074200"/>
                <a:gd name="connsiteX11" fmla="*/ 1663178 w 1893533"/>
                <a:gd name="connsiteY11" fmla="*/ 997590 h 2074200"/>
                <a:gd name="connsiteX12" fmla="*/ 1893533 w 1893533"/>
                <a:gd name="connsiteY12" fmla="*/ 1907330 h 2074200"/>
                <a:gd name="connsiteX13" fmla="*/ 1892358 w 1893533"/>
                <a:gd name="connsiteY13" fmla="*/ 1930607 h 2074200"/>
                <a:gd name="connsiteX14" fmla="*/ 1528472 w 1893533"/>
                <a:gd name="connsiteY14" fmla="*/ 2074200 h 2074200"/>
                <a:gd name="connsiteX15" fmla="*/ 1169242 w 1893533"/>
                <a:gd name="connsiteY15" fmla="*/ 1921067 h 2074200"/>
                <a:gd name="connsiteX16" fmla="*/ 1169994 w 1893533"/>
                <a:gd name="connsiteY16" fmla="*/ 1906177 h 2074200"/>
                <a:gd name="connsiteX17" fmla="*/ 862499 w 1893533"/>
                <a:gd name="connsiteY17" fmla="*/ 1110308 h 2074200"/>
                <a:gd name="connsiteX18" fmla="*/ 836591 w 1893533"/>
                <a:gd name="connsiteY18" fmla="*/ 1086479 h 2074200"/>
                <a:gd name="connsiteX19" fmla="*/ 821935 w 1893533"/>
                <a:gd name="connsiteY19" fmla="*/ 1070353 h 2074200"/>
                <a:gd name="connsiteX20" fmla="*/ 737878 w 1893533"/>
                <a:gd name="connsiteY20" fmla="*/ 993957 h 2074200"/>
                <a:gd name="connsiteX21" fmla="*/ 727816 w 1893533"/>
                <a:gd name="connsiteY21" fmla="*/ 986433 h 2074200"/>
                <a:gd name="connsiteX22" fmla="*/ 705875 w 1893533"/>
                <a:gd name="connsiteY22" fmla="*/ 966253 h 2074200"/>
                <a:gd name="connsiteX23" fmla="*/ 107352 w 1893533"/>
                <a:gd name="connsiteY23" fmla="*/ 728625 h 2074200"/>
                <a:gd name="connsiteX24" fmla="*/ 0 w 1893533"/>
                <a:gd name="connsiteY24" fmla="*/ 723203 h 2074200"/>
                <a:gd name="connsiteX25" fmla="*/ 153201 w 1893533"/>
                <a:gd name="connsiteY25" fmla="*/ 363814 h 2074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93533" h="2074200">
                  <a:moveTo>
                    <a:pt x="9636" y="0"/>
                  </a:moveTo>
                  <a:lnTo>
                    <a:pt x="180098" y="8608"/>
                  </a:lnTo>
                  <a:cubicBezTo>
                    <a:pt x="500902" y="41187"/>
                    <a:pt x="798218" y="153217"/>
                    <a:pt x="1052060" y="324709"/>
                  </a:cubicBezTo>
                  <a:lnTo>
                    <a:pt x="1197833" y="433716"/>
                  </a:lnTo>
                  <a:lnTo>
                    <a:pt x="1200553" y="436002"/>
                  </a:lnTo>
                  <a:lnTo>
                    <a:pt x="1332700" y="556105"/>
                  </a:lnTo>
                  <a:lnTo>
                    <a:pt x="1336403" y="559831"/>
                  </a:lnTo>
                  <a:lnTo>
                    <a:pt x="1455844" y="691249"/>
                  </a:lnTo>
                  <a:lnTo>
                    <a:pt x="1459168" y="695252"/>
                  </a:lnTo>
                  <a:lnTo>
                    <a:pt x="1566374" y="838616"/>
                  </a:lnTo>
                  <a:lnTo>
                    <a:pt x="1568290" y="841399"/>
                  </a:lnTo>
                  <a:lnTo>
                    <a:pt x="1663178" y="997590"/>
                  </a:lnTo>
                  <a:cubicBezTo>
                    <a:pt x="1810086" y="1268022"/>
                    <a:pt x="1893533" y="1577931"/>
                    <a:pt x="1893533" y="1907330"/>
                  </a:cubicBezTo>
                  <a:lnTo>
                    <a:pt x="1892358" y="1930607"/>
                  </a:lnTo>
                  <a:lnTo>
                    <a:pt x="1528472" y="2074200"/>
                  </a:lnTo>
                  <a:lnTo>
                    <a:pt x="1169242" y="1921067"/>
                  </a:lnTo>
                  <a:lnTo>
                    <a:pt x="1169994" y="1906177"/>
                  </a:lnTo>
                  <a:cubicBezTo>
                    <a:pt x="1169994" y="1599746"/>
                    <a:pt x="1053551" y="1320512"/>
                    <a:pt x="862499" y="1110308"/>
                  </a:cubicBezTo>
                  <a:lnTo>
                    <a:pt x="836591" y="1086479"/>
                  </a:lnTo>
                  <a:lnTo>
                    <a:pt x="821935" y="1070353"/>
                  </a:lnTo>
                  <a:cubicBezTo>
                    <a:pt x="795159" y="1043578"/>
                    <a:pt x="767107" y="1018079"/>
                    <a:pt x="737878" y="993957"/>
                  </a:cubicBezTo>
                  <a:lnTo>
                    <a:pt x="727816" y="986433"/>
                  </a:lnTo>
                  <a:lnTo>
                    <a:pt x="705875" y="966253"/>
                  </a:lnTo>
                  <a:cubicBezTo>
                    <a:pt x="536569" y="836448"/>
                    <a:pt x="331179" y="751355"/>
                    <a:pt x="107352" y="728625"/>
                  </a:cubicBezTo>
                  <a:lnTo>
                    <a:pt x="0" y="723203"/>
                  </a:lnTo>
                  <a:lnTo>
                    <a:pt x="153201" y="363814"/>
                  </a:lnTo>
                  <a:close/>
                </a:path>
              </a:pathLst>
            </a:custGeom>
            <a:solidFill>
              <a:srgbClr val="00646E"/>
            </a:solidFill>
            <a:ln w="38100">
              <a:solidFill>
                <a:schemeClr val="bg2"/>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6" name="Freeform: Shape 15">
              <a:extLst>
                <a:ext uri="{FF2B5EF4-FFF2-40B4-BE49-F238E27FC236}">
                  <a16:creationId xmlns:a16="http://schemas.microsoft.com/office/drawing/2014/main" id="{5B90E2B4-ADED-4345-9141-A8BD74D0F74A}"/>
                </a:ext>
              </a:extLst>
            </p:cNvPr>
            <p:cNvSpPr/>
            <p:nvPr/>
          </p:nvSpPr>
          <p:spPr bwMode="auto">
            <a:xfrm rot="5400000">
              <a:off x="4092056" y="3497539"/>
              <a:ext cx="2073214" cy="1893918"/>
            </a:xfrm>
            <a:custGeom>
              <a:avLst/>
              <a:gdLst>
                <a:gd name="connsiteX0" fmla="*/ 0 w 2074294"/>
                <a:gd name="connsiteY0" fmla="*/ 1529843 h 1894904"/>
                <a:gd name="connsiteX1" fmla="*/ 153201 w 2074294"/>
                <a:gd name="connsiteY1" fmla="*/ 1170454 h 1894904"/>
                <a:gd name="connsiteX2" fmla="*/ 152652 w 2074294"/>
                <a:gd name="connsiteY2" fmla="*/ 1169275 h 1894904"/>
                <a:gd name="connsiteX3" fmla="*/ 166876 w 2074294"/>
                <a:gd name="connsiteY3" fmla="*/ 1169994 h 1894904"/>
                <a:gd name="connsiteX4" fmla="*/ 280431 w 2074294"/>
                <a:gd name="connsiteY4" fmla="*/ 1164617 h 1894904"/>
                <a:gd name="connsiteX5" fmla="*/ 284310 w 2074294"/>
                <a:gd name="connsiteY5" fmla="*/ 1164062 h 1894904"/>
                <a:gd name="connsiteX6" fmla="*/ 287893 w 2074294"/>
                <a:gd name="connsiteY6" fmla="*/ 1163882 h 1894904"/>
                <a:gd name="connsiteX7" fmla="*/ 322321 w 2074294"/>
                <a:gd name="connsiteY7" fmla="*/ 1158627 h 1894904"/>
                <a:gd name="connsiteX8" fmla="*/ 390946 w 2074294"/>
                <a:gd name="connsiteY8" fmla="*/ 1148814 h 1894904"/>
                <a:gd name="connsiteX9" fmla="*/ 398456 w 2074294"/>
                <a:gd name="connsiteY9" fmla="*/ 1147008 h 1894904"/>
                <a:gd name="connsiteX10" fmla="*/ 405420 w 2074294"/>
                <a:gd name="connsiteY10" fmla="*/ 1145945 h 1894904"/>
                <a:gd name="connsiteX11" fmla="*/ 442451 w 2074294"/>
                <a:gd name="connsiteY11" fmla="*/ 1136423 h 1894904"/>
                <a:gd name="connsiteX12" fmla="*/ 497931 w 2074294"/>
                <a:gd name="connsiteY12" fmla="*/ 1123075 h 1894904"/>
                <a:gd name="connsiteX13" fmla="*/ 508781 w 2074294"/>
                <a:gd name="connsiteY13" fmla="*/ 1119368 h 1894904"/>
                <a:gd name="connsiteX14" fmla="*/ 518856 w 2074294"/>
                <a:gd name="connsiteY14" fmla="*/ 1116777 h 1894904"/>
                <a:gd name="connsiteX15" fmla="*/ 553944 w 2074294"/>
                <a:gd name="connsiteY15" fmla="*/ 1103935 h 1894904"/>
                <a:gd name="connsiteX16" fmla="*/ 600896 w 2074294"/>
                <a:gd name="connsiteY16" fmla="*/ 1087891 h 1894904"/>
                <a:gd name="connsiteX17" fmla="*/ 614747 w 2074294"/>
                <a:gd name="connsiteY17" fmla="*/ 1081681 h 1894904"/>
                <a:gd name="connsiteX18" fmla="*/ 627606 w 2074294"/>
                <a:gd name="connsiteY18" fmla="*/ 1076974 h 1894904"/>
                <a:gd name="connsiteX19" fmla="*/ 659309 w 2074294"/>
                <a:gd name="connsiteY19" fmla="*/ 1061702 h 1894904"/>
                <a:gd name="connsiteX20" fmla="*/ 699350 w 2074294"/>
                <a:gd name="connsiteY20" fmla="*/ 1043751 h 1894904"/>
                <a:gd name="connsiteX21" fmla="*/ 715819 w 2074294"/>
                <a:gd name="connsiteY21" fmla="*/ 1034480 h 1894904"/>
                <a:gd name="connsiteX22" fmla="*/ 731075 w 2074294"/>
                <a:gd name="connsiteY22" fmla="*/ 1027131 h 1894904"/>
                <a:gd name="connsiteX23" fmla="*/ 758841 w 2074294"/>
                <a:gd name="connsiteY23" fmla="*/ 1010263 h 1894904"/>
                <a:gd name="connsiteX24" fmla="*/ 792802 w 2074294"/>
                <a:gd name="connsiteY24" fmla="*/ 991145 h 1894904"/>
                <a:gd name="connsiteX25" fmla="*/ 811459 w 2074294"/>
                <a:gd name="connsiteY25" fmla="*/ 978296 h 1894904"/>
                <a:gd name="connsiteX26" fmla="*/ 828668 w 2074294"/>
                <a:gd name="connsiteY26" fmla="*/ 967841 h 1894904"/>
                <a:gd name="connsiteX27" fmla="*/ 852323 w 2074294"/>
                <a:gd name="connsiteY27" fmla="*/ 950153 h 1894904"/>
                <a:gd name="connsiteX28" fmla="*/ 880764 w 2074294"/>
                <a:gd name="connsiteY28" fmla="*/ 930565 h 1894904"/>
                <a:gd name="connsiteX29" fmla="*/ 901134 w 2074294"/>
                <a:gd name="connsiteY29" fmla="*/ 913652 h 1894904"/>
                <a:gd name="connsiteX30" fmla="*/ 919790 w 2074294"/>
                <a:gd name="connsiteY30" fmla="*/ 899701 h 1894904"/>
                <a:gd name="connsiteX31" fmla="*/ 939367 w 2074294"/>
                <a:gd name="connsiteY31" fmla="*/ 881909 h 1894904"/>
                <a:gd name="connsiteX32" fmla="*/ 962744 w 2074294"/>
                <a:gd name="connsiteY32" fmla="*/ 862499 h 1894904"/>
                <a:gd name="connsiteX33" fmla="*/ 973045 w 2074294"/>
                <a:gd name="connsiteY33" fmla="*/ 851300 h 1894904"/>
                <a:gd name="connsiteX34" fmla="*/ 1003847 w 2074294"/>
                <a:gd name="connsiteY34" fmla="*/ 823305 h 1894904"/>
                <a:gd name="connsiteX35" fmla="*/ 1080243 w 2074294"/>
                <a:gd name="connsiteY35" fmla="*/ 739249 h 1894904"/>
                <a:gd name="connsiteX36" fmla="*/ 1098238 w 2074294"/>
                <a:gd name="connsiteY36" fmla="*/ 715185 h 1894904"/>
                <a:gd name="connsiteX37" fmla="*/ 1106800 w 2074294"/>
                <a:gd name="connsiteY37" fmla="*/ 705875 h 1894904"/>
                <a:gd name="connsiteX38" fmla="*/ 1129054 w 2074294"/>
                <a:gd name="connsiteY38" fmla="*/ 673975 h 1894904"/>
                <a:gd name="connsiteX39" fmla="*/ 1148383 w 2074294"/>
                <a:gd name="connsiteY39" fmla="*/ 648126 h 1894904"/>
                <a:gd name="connsiteX40" fmla="*/ 1157131 w 2074294"/>
                <a:gd name="connsiteY40" fmla="*/ 633727 h 1894904"/>
                <a:gd name="connsiteX41" fmla="*/ 1167895 w 2074294"/>
                <a:gd name="connsiteY41" fmla="*/ 618297 h 1894904"/>
                <a:gd name="connsiteX42" fmla="*/ 1189570 w 2074294"/>
                <a:gd name="connsiteY42" fmla="*/ 580330 h 1894904"/>
                <a:gd name="connsiteX43" fmla="*/ 1207672 w 2074294"/>
                <a:gd name="connsiteY43" fmla="*/ 550533 h 1894904"/>
                <a:gd name="connsiteX44" fmla="*/ 1213565 w 2074294"/>
                <a:gd name="connsiteY44" fmla="*/ 538300 h 1894904"/>
                <a:gd name="connsiteX45" fmla="*/ 1221047 w 2074294"/>
                <a:gd name="connsiteY45" fmla="*/ 525195 h 1894904"/>
                <a:gd name="connsiteX46" fmla="*/ 1241506 w 2074294"/>
                <a:gd name="connsiteY46" fmla="*/ 480299 h 1894904"/>
                <a:gd name="connsiteX47" fmla="*/ 1257516 w 2074294"/>
                <a:gd name="connsiteY47" fmla="*/ 447064 h 1894904"/>
                <a:gd name="connsiteX48" fmla="*/ 1261047 w 2074294"/>
                <a:gd name="connsiteY48" fmla="*/ 437417 h 1894904"/>
                <a:gd name="connsiteX49" fmla="*/ 1265767 w 2074294"/>
                <a:gd name="connsiteY49" fmla="*/ 427059 h 1894904"/>
                <a:gd name="connsiteX50" fmla="*/ 1284407 w 2074294"/>
                <a:gd name="connsiteY50" fmla="*/ 373591 h 1894904"/>
                <a:gd name="connsiteX51" fmla="*/ 1297319 w 2074294"/>
                <a:gd name="connsiteY51" fmla="*/ 338314 h 1894904"/>
                <a:gd name="connsiteX52" fmla="*/ 1299042 w 2074294"/>
                <a:gd name="connsiteY52" fmla="*/ 331615 h 1894904"/>
                <a:gd name="connsiteX53" fmla="*/ 1301564 w 2074294"/>
                <a:gd name="connsiteY53" fmla="*/ 324380 h 1894904"/>
                <a:gd name="connsiteX54" fmla="*/ 1318045 w 2074294"/>
                <a:gd name="connsiteY54" fmla="*/ 257708 h 1894904"/>
                <a:gd name="connsiteX55" fmla="*/ 1326486 w 2074294"/>
                <a:gd name="connsiteY55" fmla="*/ 224878 h 1894904"/>
                <a:gd name="connsiteX56" fmla="*/ 1327012 w 2074294"/>
                <a:gd name="connsiteY56" fmla="*/ 221431 h 1894904"/>
                <a:gd name="connsiteX57" fmla="*/ 1327948 w 2074294"/>
                <a:gd name="connsiteY57" fmla="*/ 217647 h 1894904"/>
                <a:gd name="connsiteX58" fmla="*/ 1344428 w 2074294"/>
                <a:gd name="connsiteY58" fmla="*/ 107352 h 1894904"/>
                <a:gd name="connsiteX59" fmla="*/ 1349850 w 2074294"/>
                <a:gd name="connsiteY59" fmla="*/ 0 h 1894904"/>
                <a:gd name="connsiteX60" fmla="*/ 1709239 w 2074294"/>
                <a:gd name="connsiteY60" fmla="*/ 153201 h 1894904"/>
                <a:gd name="connsiteX61" fmla="*/ 2074294 w 2074294"/>
                <a:gd name="connsiteY61" fmla="*/ 9147 h 1894904"/>
                <a:gd name="connsiteX62" fmla="*/ 2065592 w 2074294"/>
                <a:gd name="connsiteY62" fmla="*/ 181469 h 1894904"/>
                <a:gd name="connsiteX63" fmla="*/ 2037523 w 2074294"/>
                <a:gd name="connsiteY63" fmla="*/ 365385 h 1894904"/>
                <a:gd name="connsiteX64" fmla="*/ 2022985 w 2074294"/>
                <a:gd name="connsiteY64" fmla="*/ 424195 h 1894904"/>
                <a:gd name="connsiteX65" fmla="*/ 1992426 w 2074294"/>
                <a:gd name="connsiteY65" fmla="*/ 543046 h 1894904"/>
                <a:gd name="connsiteX66" fmla="*/ 1968757 w 2074294"/>
                <a:gd name="connsiteY66" fmla="*/ 610936 h 1894904"/>
                <a:gd name="connsiteX67" fmla="*/ 1931166 w 2074294"/>
                <a:gd name="connsiteY67" fmla="*/ 713642 h 1894904"/>
                <a:gd name="connsiteX68" fmla="*/ 1899587 w 2074294"/>
                <a:gd name="connsiteY68" fmla="*/ 782942 h 1894904"/>
                <a:gd name="connsiteX69" fmla="*/ 1854610 w 2074294"/>
                <a:gd name="connsiteY69" fmla="*/ 876307 h 1894904"/>
                <a:gd name="connsiteX70" fmla="*/ 1815847 w 2074294"/>
                <a:gd name="connsiteY70" fmla="*/ 944205 h 1894904"/>
                <a:gd name="connsiteX71" fmla="*/ 1763620 w 2074294"/>
                <a:gd name="connsiteY71" fmla="*/ 1030174 h 1894904"/>
                <a:gd name="connsiteX72" fmla="*/ 1718271 w 2074294"/>
                <a:gd name="connsiteY72" fmla="*/ 1095180 h 1894904"/>
                <a:gd name="connsiteX73" fmla="*/ 1659048 w 2074294"/>
                <a:gd name="connsiteY73" fmla="*/ 1174379 h 1894904"/>
                <a:gd name="connsiteX74" fmla="*/ 1607673 w 2074294"/>
                <a:gd name="connsiteY74" fmla="*/ 1235510 h 1894904"/>
                <a:gd name="connsiteX75" fmla="*/ 1541737 w 2074294"/>
                <a:gd name="connsiteY75" fmla="*/ 1308058 h 1894904"/>
                <a:gd name="connsiteX76" fmla="*/ 1484892 w 2074294"/>
                <a:gd name="connsiteY76" fmla="*/ 1364565 h 1894904"/>
                <a:gd name="connsiteX77" fmla="*/ 1412511 w 2074294"/>
                <a:gd name="connsiteY77" fmla="*/ 1430349 h 1894904"/>
                <a:gd name="connsiteX78" fmla="*/ 1350778 w 2074294"/>
                <a:gd name="connsiteY78" fmla="*/ 1481604 h 1894904"/>
                <a:gd name="connsiteX79" fmla="*/ 1272166 w 2074294"/>
                <a:gd name="connsiteY79" fmla="*/ 1540389 h 1894904"/>
                <a:gd name="connsiteX80" fmla="*/ 1206187 w 2074294"/>
                <a:gd name="connsiteY80" fmla="*/ 1585829 h 1894904"/>
                <a:gd name="connsiteX81" fmla="*/ 1121439 w 2074294"/>
                <a:gd name="connsiteY81" fmla="*/ 1637315 h 1894904"/>
                <a:gd name="connsiteX82" fmla="*/ 1051979 w 2074294"/>
                <a:gd name="connsiteY82" fmla="*/ 1676415 h 1894904"/>
                <a:gd name="connsiteX83" fmla="*/ 960959 w 2074294"/>
                <a:gd name="connsiteY83" fmla="*/ 1720262 h 1894904"/>
                <a:gd name="connsiteX84" fmla="*/ 889013 w 2074294"/>
                <a:gd name="connsiteY84" fmla="*/ 1752517 h 1894904"/>
                <a:gd name="connsiteX85" fmla="*/ 791075 w 2074294"/>
                <a:gd name="connsiteY85" fmla="*/ 1788363 h 1894904"/>
                <a:gd name="connsiteX86" fmla="*/ 718155 w 2074294"/>
                <a:gd name="connsiteY86" fmla="*/ 1813281 h 1894904"/>
                <a:gd name="connsiteX87" fmla="*/ 611316 w 2074294"/>
                <a:gd name="connsiteY87" fmla="*/ 1840752 h 1894904"/>
                <a:gd name="connsiteX88" fmla="*/ 540269 w 2074294"/>
                <a:gd name="connsiteY88" fmla="*/ 1857845 h 1894904"/>
                <a:gd name="connsiteX89" fmla="*/ 417641 w 2074294"/>
                <a:gd name="connsiteY89" fmla="*/ 1876560 h 1894904"/>
                <a:gd name="connsiteX90" fmla="*/ 356222 w 2074294"/>
                <a:gd name="connsiteY90" fmla="*/ 1885343 h 1894904"/>
                <a:gd name="connsiteX91" fmla="*/ 166870 w 2074294"/>
                <a:gd name="connsiteY91" fmla="*/ 1894904 h 1894904"/>
                <a:gd name="connsiteX92" fmla="*/ 143594 w 2074294"/>
                <a:gd name="connsiteY92" fmla="*/ 1893729 h 1894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2074294" h="1894904">
                  <a:moveTo>
                    <a:pt x="0" y="1529843"/>
                  </a:moveTo>
                  <a:lnTo>
                    <a:pt x="153201" y="1170454"/>
                  </a:lnTo>
                  <a:lnTo>
                    <a:pt x="152652" y="1169275"/>
                  </a:lnTo>
                  <a:lnTo>
                    <a:pt x="166876" y="1169994"/>
                  </a:lnTo>
                  <a:cubicBezTo>
                    <a:pt x="205180" y="1169994"/>
                    <a:pt x="243059" y="1168174"/>
                    <a:pt x="280431" y="1164617"/>
                  </a:cubicBezTo>
                  <a:lnTo>
                    <a:pt x="284310" y="1164062"/>
                  </a:lnTo>
                  <a:lnTo>
                    <a:pt x="287893" y="1163882"/>
                  </a:lnTo>
                  <a:lnTo>
                    <a:pt x="322321" y="1158627"/>
                  </a:lnTo>
                  <a:lnTo>
                    <a:pt x="390946" y="1148814"/>
                  </a:lnTo>
                  <a:lnTo>
                    <a:pt x="398456" y="1147008"/>
                  </a:lnTo>
                  <a:lnTo>
                    <a:pt x="405420" y="1145945"/>
                  </a:lnTo>
                  <a:lnTo>
                    <a:pt x="442451" y="1136423"/>
                  </a:lnTo>
                  <a:lnTo>
                    <a:pt x="497931" y="1123075"/>
                  </a:lnTo>
                  <a:lnTo>
                    <a:pt x="508781" y="1119368"/>
                  </a:lnTo>
                  <a:lnTo>
                    <a:pt x="518856" y="1116777"/>
                  </a:lnTo>
                  <a:lnTo>
                    <a:pt x="553944" y="1103935"/>
                  </a:lnTo>
                  <a:lnTo>
                    <a:pt x="600896" y="1087891"/>
                  </a:lnTo>
                  <a:lnTo>
                    <a:pt x="614747" y="1081681"/>
                  </a:lnTo>
                  <a:lnTo>
                    <a:pt x="627606" y="1076974"/>
                  </a:lnTo>
                  <a:lnTo>
                    <a:pt x="659309" y="1061702"/>
                  </a:lnTo>
                  <a:lnTo>
                    <a:pt x="699350" y="1043751"/>
                  </a:lnTo>
                  <a:lnTo>
                    <a:pt x="715819" y="1034480"/>
                  </a:lnTo>
                  <a:lnTo>
                    <a:pt x="731075" y="1027131"/>
                  </a:lnTo>
                  <a:lnTo>
                    <a:pt x="758841" y="1010263"/>
                  </a:lnTo>
                  <a:lnTo>
                    <a:pt x="792802" y="991145"/>
                  </a:lnTo>
                  <a:lnTo>
                    <a:pt x="811459" y="978296"/>
                  </a:lnTo>
                  <a:lnTo>
                    <a:pt x="828668" y="967841"/>
                  </a:lnTo>
                  <a:lnTo>
                    <a:pt x="852323" y="950153"/>
                  </a:lnTo>
                  <a:lnTo>
                    <a:pt x="880764" y="930565"/>
                  </a:lnTo>
                  <a:lnTo>
                    <a:pt x="901134" y="913652"/>
                  </a:lnTo>
                  <a:lnTo>
                    <a:pt x="919790" y="899701"/>
                  </a:lnTo>
                  <a:lnTo>
                    <a:pt x="939367" y="881909"/>
                  </a:lnTo>
                  <a:lnTo>
                    <a:pt x="962744" y="862499"/>
                  </a:lnTo>
                  <a:lnTo>
                    <a:pt x="973045" y="851300"/>
                  </a:lnTo>
                  <a:lnTo>
                    <a:pt x="1003847" y="823305"/>
                  </a:lnTo>
                  <a:cubicBezTo>
                    <a:pt x="1030622" y="796530"/>
                    <a:pt x="1056120" y="768478"/>
                    <a:pt x="1080243" y="739249"/>
                  </a:cubicBezTo>
                  <a:lnTo>
                    <a:pt x="1098238" y="715185"/>
                  </a:lnTo>
                  <a:lnTo>
                    <a:pt x="1106800" y="705875"/>
                  </a:lnTo>
                  <a:lnTo>
                    <a:pt x="1129054" y="673975"/>
                  </a:lnTo>
                  <a:lnTo>
                    <a:pt x="1148383" y="648126"/>
                  </a:lnTo>
                  <a:lnTo>
                    <a:pt x="1157131" y="633727"/>
                  </a:lnTo>
                  <a:lnTo>
                    <a:pt x="1167895" y="618297"/>
                  </a:lnTo>
                  <a:lnTo>
                    <a:pt x="1189570" y="580330"/>
                  </a:lnTo>
                  <a:lnTo>
                    <a:pt x="1207672" y="550533"/>
                  </a:lnTo>
                  <a:lnTo>
                    <a:pt x="1213565" y="538300"/>
                  </a:lnTo>
                  <a:lnTo>
                    <a:pt x="1221047" y="525195"/>
                  </a:lnTo>
                  <a:lnTo>
                    <a:pt x="1241506" y="480299"/>
                  </a:lnTo>
                  <a:lnTo>
                    <a:pt x="1257516" y="447064"/>
                  </a:lnTo>
                  <a:lnTo>
                    <a:pt x="1261047" y="437417"/>
                  </a:lnTo>
                  <a:lnTo>
                    <a:pt x="1265767" y="427059"/>
                  </a:lnTo>
                  <a:lnTo>
                    <a:pt x="1284407" y="373591"/>
                  </a:lnTo>
                  <a:lnTo>
                    <a:pt x="1297319" y="338314"/>
                  </a:lnTo>
                  <a:lnTo>
                    <a:pt x="1299042" y="331615"/>
                  </a:lnTo>
                  <a:lnTo>
                    <a:pt x="1301564" y="324380"/>
                  </a:lnTo>
                  <a:lnTo>
                    <a:pt x="1318045" y="257708"/>
                  </a:lnTo>
                  <a:lnTo>
                    <a:pt x="1326486" y="224878"/>
                  </a:lnTo>
                  <a:lnTo>
                    <a:pt x="1327012" y="221431"/>
                  </a:lnTo>
                  <a:lnTo>
                    <a:pt x="1327948" y="217647"/>
                  </a:lnTo>
                  <a:cubicBezTo>
                    <a:pt x="1335119" y="181449"/>
                    <a:pt x="1340640" y="144657"/>
                    <a:pt x="1344428" y="107352"/>
                  </a:cubicBezTo>
                  <a:lnTo>
                    <a:pt x="1349850" y="0"/>
                  </a:lnTo>
                  <a:lnTo>
                    <a:pt x="1709239" y="153201"/>
                  </a:lnTo>
                  <a:lnTo>
                    <a:pt x="2074294" y="9147"/>
                  </a:lnTo>
                  <a:lnTo>
                    <a:pt x="2065592" y="181469"/>
                  </a:lnTo>
                  <a:lnTo>
                    <a:pt x="2037523" y="365385"/>
                  </a:lnTo>
                  <a:lnTo>
                    <a:pt x="2022985" y="424195"/>
                  </a:lnTo>
                  <a:lnTo>
                    <a:pt x="1992426" y="543046"/>
                  </a:lnTo>
                  <a:lnTo>
                    <a:pt x="1968757" y="610936"/>
                  </a:lnTo>
                  <a:lnTo>
                    <a:pt x="1931166" y="713642"/>
                  </a:lnTo>
                  <a:lnTo>
                    <a:pt x="1899587" y="782942"/>
                  </a:lnTo>
                  <a:lnTo>
                    <a:pt x="1854610" y="876307"/>
                  </a:lnTo>
                  <a:lnTo>
                    <a:pt x="1815847" y="944205"/>
                  </a:lnTo>
                  <a:lnTo>
                    <a:pt x="1763620" y="1030174"/>
                  </a:lnTo>
                  <a:lnTo>
                    <a:pt x="1718271" y="1095180"/>
                  </a:lnTo>
                  <a:lnTo>
                    <a:pt x="1659048" y="1174379"/>
                  </a:lnTo>
                  <a:lnTo>
                    <a:pt x="1607673" y="1235510"/>
                  </a:lnTo>
                  <a:lnTo>
                    <a:pt x="1541737" y="1308058"/>
                  </a:lnTo>
                  <a:lnTo>
                    <a:pt x="1484892" y="1364565"/>
                  </a:lnTo>
                  <a:lnTo>
                    <a:pt x="1412511" y="1430349"/>
                  </a:lnTo>
                  <a:lnTo>
                    <a:pt x="1350778" y="1481604"/>
                  </a:lnTo>
                  <a:lnTo>
                    <a:pt x="1272166" y="1540389"/>
                  </a:lnTo>
                  <a:lnTo>
                    <a:pt x="1206187" y="1585829"/>
                  </a:lnTo>
                  <a:lnTo>
                    <a:pt x="1121439" y="1637315"/>
                  </a:lnTo>
                  <a:lnTo>
                    <a:pt x="1051979" y="1676415"/>
                  </a:lnTo>
                  <a:lnTo>
                    <a:pt x="960959" y="1720262"/>
                  </a:lnTo>
                  <a:lnTo>
                    <a:pt x="889013" y="1752517"/>
                  </a:lnTo>
                  <a:lnTo>
                    <a:pt x="791075" y="1788363"/>
                  </a:lnTo>
                  <a:lnTo>
                    <a:pt x="718155" y="1813281"/>
                  </a:lnTo>
                  <a:lnTo>
                    <a:pt x="611316" y="1840752"/>
                  </a:lnTo>
                  <a:lnTo>
                    <a:pt x="540269" y="1857845"/>
                  </a:lnTo>
                  <a:lnTo>
                    <a:pt x="417641" y="1876560"/>
                  </a:lnTo>
                  <a:lnTo>
                    <a:pt x="356222" y="1885343"/>
                  </a:lnTo>
                  <a:lnTo>
                    <a:pt x="166870" y="1894904"/>
                  </a:lnTo>
                  <a:lnTo>
                    <a:pt x="143594" y="1893729"/>
                  </a:lnTo>
                  <a:close/>
                </a:path>
              </a:pathLst>
            </a:custGeom>
            <a:solidFill>
              <a:schemeClr val="accent2"/>
            </a:solidFill>
            <a:ln w="38100">
              <a:solidFill>
                <a:schemeClr val="bg2"/>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1" name="Freeform: Shape 20">
              <a:extLst>
                <a:ext uri="{FF2B5EF4-FFF2-40B4-BE49-F238E27FC236}">
                  <a16:creationId xmlns:a16="http://schemas.microsoft.com/office/drawing/2014/main" id="{A23F2F03-08D5-4137-972B-828A51F67FFA}"/>
                </a:ext>
              </a:extLst>
            </p:cNvPr>
            <p:cNvSpPr/>
            <p:nvPr/>
          </p:nvSpPr>
          <p:spPr bwMode="auto">
            <a:xfrm rot="5400000">
              <a:off x="6012260" y="3498899"/>
              <a:ext cx="1892547" cy="2073120"/>
            </a:xfrm>
            <a:custGeom>
              <a:avLst/>
              <a:gdLst>
                <a:gd name="connsiteX0" fmla="*/ 9636 w 1893533"/>
                <a:gd name="connsiteY0" fmla="*/ 0 h 2074200"/>
                <a:gd name="connsiteX1" fmla="*/ 180098 w 1893533"/>
                <a:gd name="connsiteY1" fmla="*/ 8608 h 2074200"/>
                <a:gd name="connsiteX2" fmla="*/ 1052060 w 1893533"/>
                <a:gd name="connsiteY2" fmla="*/ 324709 h 2074200"/>
                <a:gd name="connsiteX3" fmla="*/ 1197833 w 1893533"/>
                <a:gd name="connsiteY3" fmla="*/ 433716 h 2074200"/>
                <a:gd name="connsiteX4" fmla="*/ 1200553 w 1893533"/>
                <a:gd name="connsiteY4" fmla="*/ 436002 h 2074200"/>
                <a:gd name="connsiteX5" fmla="*/ 1332700 w 1893533"/>
                <a:gd name="connsiteY5" fmla="*/ 556105 h 2074200"/>
                <a:gd name="connsiteX6" fmla="*/ 1336403 w 1893533"/>
                <a:gd name="connsiteY6" fmla="*/ 559831 h 2074200"/>
                <a:gd name="connsiteX7" fmla="*/ 1455844 w 1893533"/>
                <a:gd name="connsiteY7" fmla="*/ 691249 h 2074200"/>
                <a:gd name="connsiteX8" fmla="*/ 1459168 w 1893533"/>
                <a:gd name="connsiteY8" fmla="*/ 695252 h 2074200"/>
                <a:gd name="connsiteX9" fmla="*/ 1566374 w 1893533"/>
                <a:gd name="connsiteY9" fmla="*/ 838616 h 2074200"/>
                <a:gd name="connsiteX10" fmla="*/ 1568290 w 1893533"/>
                <a:gd name="connsiteY10" fmla="*/ 841399 h 2074200"/>
                <a:gd name="connsiteX11" fmla="*/ 1663178 w 1893533"/>
                <a:gd name="connsiteY11" fmla="*/ 997590 h 2074200"/>
                <a:gd name="connsiteX12" fmla="*/ 1893533 w 1893533"/>
                <a:gd name="connsiteY12" fmla="*/ 1907330 h 2074200"/>
                <a:gd name="connsiteX13" fmla="*/ 1892358 w 1893533"/>
                <a:gd name="connsiteY13" fmla="*/ 1930607 h 2074200"/>
                <a:gd name="connsiteX14" fmla="*/ 1528472 w 1893533"/>
                <a:gd name="connsiteY14" fmla="*/ 2074200 h 2074200"/>
                <a:gd name="connsiteX15" fmla="*/ 1169242 w 1893533"/>
                <a:gd name="connsiteY15" fmla="*/ 1921067 h 2074200"/>
                <a:gd name="connsiteX16" fmla="*/ 1169994 w 1893533"/>
                <a:gd name="connsiteY16" fmla="*/ 1906177 h 2074200"/>
                <a:gd name="connsiteX17" fmla="*/ 862499 w 1893533"/>
                <a:gd name="connsiteY17" fmla="*/ 1110308 h 2074200"/>
                <a:gd name="connsiteX18" fmla="*/ 836591 w 1893533"/>
                <a:gd name="connsiteY18" fmla="*/ 1086479 h 2074200"/>
                <a:gd name="connsiteX19" fmla="*/ 821935 w 1893533"/>
                <a:gd name="connsiteY19" fmla="*/ 1070353 h 2074200"/>
                <a:gd name="connsiteX20" fmla="*/ 737878 w 1893533"/>
                <a:gd name="connsiteY20" fmla="*/ 993957 h 2074200"/>
                <a:gd name="connsiteX21" fmla="*/ 727816 w 1893533"/>
                <a:gd name="connsiteY21" fmla="*/ 986433 h 2074200"/>
                <a:gd name="connsiteX22" fmla="*/ 705875 w 1893533"/>
                <a:gd name="connsiteY22" fmla="*/ 966253 h 2074200"/>
                <a:gd name="connsiteX23" fmla="*/ 107352 w 1893533"/>
                <a:gd name="connsiteY23" fmla="*/ 728625 h 2074200"/>
                <a:gd name="connsiteX24" fmla="*/ 0 w 1893533"/>
                <a:gd name="connsiteY24" fmla="*/ 723203 h 2074200"/>
                <a:gd name="connsiteX25" fmla="*/ 153201 w 1893533"/>
                <a:gd name="connsiteY25" fmla="*/ 363814 h 2074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93533" h="2074200">
                  <a:moveTo>
                    <a:pt x="9636" y="0"/>
                  </a:moveTo>
                  <a:lnTo>
                    <a:pt x="180098" y="8608"/>
                  </a:lnTo>
                  <a:cubicBezTo>
                    <a:pt x="500902" y="41187"/>
                    <a:pt x="798218" y="153217"/>
                    <a:pt x="1052060" y="324709"/>
                  </a:cubicBezTo>
                  <a:lnTo>
                    <a:pt x="1197833" y="433716"/>
                  </a:lnTo>
                  <a:lnTo>
                    <a:pt x="1200553" y="436002"/>
                  </a:lnTo>
                  <a:lnTo>
                    <a:pt x="1332700" y="556105"/>
                  </a:lnTo>
                  <a:lnTo>
                    <a:pt x="1336403" y="559831"/>
                  </a:lnTo>
                  <a:lnTo>
                    <a:pt x="1455844" y="691249"/>
                  </a:lnTo>
                  <a:lnTo>
                    <a:pt x="1459168" y="695252"/>
                  </a:lnTo>
                  <a:lnTo>
                    <a:pt x="1566374" y="838616"/>
                  </a:lnTo>
                  <a:lnTo>
                    <a:pt x="1568290" y="841399"/>
                  </a:lnTo>
                  <a:lnTo>
                    <a:pt x="1663178" y="997590"/>
                  </a:lnTo>
                  <a:cubicBezTo>
                    <a:pt x="1810086" y="1268022"/>
                    <a:pt x="1893533" y="1577931"/>
                    <a:pt x="1893533" y="1907330"/>
                  </a:cubicBezTo>
                  <a:lnTo>
                    <a:pt x="1892358" y="1930607"/>
                  </a:lnTo>
                  <a:lnTo>
                    <a:pt x="1528472" y="2074200"/>
                  </a:lnTo>
                  <a:lnTo>
                    <a:pt x="1169242" y="1921067"/>
                  </a:lnTo>
                  <a:lnTo>
                    <a:pt x="1169994" y="1906177"/>
                  </a:lnTo>
                  <a:cubicBezTo>
                    <a:pt x="1169994" y="1599746"/>
                    <a:pt x="1053551" y="1320512"/>
                    <a:pt x="862499" y="1110308"/>
                  </a:cubicBezTo>
                  <a:lnTo>
                    <a:pt x="836591" y="1086479"/>
                  </a:lnTo>
                  <a:lnTo>
                    <a:pt x="821935" y="1070353"/>
                  </a:lnTo>
                  <a:cubicBezTo>
                    <a:pt x="795159" y="1043578"/>
                    <a:pt x="767107" y="1018079"/>
                    <a:pt x="737878" y="993957"/>
                  </a:cubicBezTo>
                  <a:lnTo>
                    <a:pt x="727816" y="986433"/>
                  </a:lnTo>
                  <a:lnTo>
                    <a:pt x="705875" y="966253"/>
                  </a:lnTo>
                  <a:cubicBezTo>
                    <a:pt x="536569" y="836448"/>
                    <a:pt x="331179" y="751355"/>
                    <a:pt x="107352" y="728625"/>
                  </a:cubicBezTo>
                  <a:lnTo>
                    <a:pt x="0" y="723203"/>
                  </a:lnTo>
                  <a:lnTo>
                    <a:pt x="153201" y="363814"/>
                  </a:lnTo>
                  <a:close/>
                </a:path>
              </a:pathLst>
            </a:custGeom>
            <a:solidFill>
              <a:srgbClr val="00AF8E"/>
            </a:solidFill>
            <a:ln w="38100">
              <a:solidFill>
                <a:schemeClr val="bg2"/>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2" name="Freeform: Shape 21">
              <a:extLst>
                <a:ext uri="{FF2B5EF4-FFF2-40B4-BE49-F238E27FC236}">
                  <a16:creationId xmlns:a16="http://schemas.microsoft.com/office/drawing/2014/main" id="{112891FE-134A-4A3C-B3A1-BB33E0F75073}"/>
                </a:ext>
              </a:extLst>
            </p:cNvPr>
            <p:cNvSpPr/>
            <p:nvPr/>
          </p:nvSpPr>
          <p:spPr bwMode="auto">
            <a:xfrm rot="10800000">
              <a:off x="4182331" y="1667717"/>
              <a:ext cx="2073214" cy="1893918"/>
            </a:xfrm>
            <a:custGeom>
              <a:avLst/>
              <a:gdLst>
                <a:gd name="connsiteX0" fmla="*/ 0 w 2074294"/>
                <a:gd name="connsiteY0" fmla="*/ 1529843 h 1894904"/>
                <a:gd name="connsiteX1" fmla="*/ 153201 w 2074294"/>
                <a:gd name="connsiteY1" fmla="*/ 1170454 h 1894904"/>
                <a:gd name="connsiteX2" fmla="*/ 152652 w 2074294"/>
                <a:gd name="connsiteY2" fmla="*/ 1169275 h 1894904"/>
                <a:gd name="connsiteX3" fmla="*/ 166876 w 2074294"/>
                <a:gd name="connsiteY3" fmla="*/ 1169994 h 1894904"/>
                <a:gd name="connsiteX4" fmla="*/ 280431 w 2074294"/>
                <a:gd name="connsiteY4" fmla="*/ 1164617 h 1894904"/>
                <a:gd name="connsiteX5" fmla="*/ 284310 w 2074294"/>
                <a:gd name="connsiteY5" fmla="*/ 1164062 h 1894904"/>
                <a:gd name="connsiteX6" fmla="*/ 287893 w 2074294"/>
                <a:gd name="connsiteY6" fmla="*/ 1163882 h 1894904"/>
                <a:gd name="connsiteX7" fmla="*/ 322321 w 2074294"/>
                <a:gd name="connsiteY7" fmla="*/ 1158627 h 1894904"/>
                <a:gd name="connsiteX8" fmla="*/ 390946 w 2074294"/>
                <a:gd name="connsiteY8" fmla="*/ 1148814 h 1894904"/>
                <a:gd name="connsiteX9" fmla="*/ 398456 w 2074294"/>
                <a:gd name="connsiteY9" fmla="*/ 1147008 h 1894904"/>
                <a:gd name="connsiteX10" fmla="*/ 405420 w 2074294"/>
                <a:gd name="connsiteY10" fmla="*/ 1145945 h 1894904"/>
                <a:gd name="connsiteX11" fmla="*/ 442451 w 2074294"/>
                <a:gd name="connsiteY11" fmla="*/ 1136423 h 1894904"/>
                <a:gd name="connsiteX12" fmla="*/ 497931 w 2074294"/>
                <a:gd name="connsiteY12" fmla="*/ 1123075 h 1894904"/>
                <a:gd name="connsiteX13" fmla="*/ 508781 w 2074294"/>
                <a:gd name="connsiteY13" fmla="*/ 1119368 h 1894904"/>
                <a:gd name="connsiteX14" fmla="*/ 518856 w 2074294"/>
                <a:gd name="connsiteY14" fmla="*/ 1116777 h 1894904"/>
                <a:gd name="connsiteX15" fmla="*/ 553944 w 2074294"/>
                <a:gd name="connsiteY15" fmla="*/ 1103935 h 1894904"/>
                <a:gd name="connsiteX16" fmla="*/ 600896 w 2074294"/>
                <a:gd name="connsiteY16" fmla="*/ 1087891 h 1894904"/>
                <a:gd name="connsiteX17" fmla="*/ 614747 w 2074294"/>
                <a:gd name="connsiteY17" fmla="*/ 1081681 h 1894904"/>
                <a:gd name="connsiteX18" fmla="*/ 627606 w 2074294"/>
                <a:gd name="connsiteY18" fmla="*/ 1076974 h 1894904"/>
                <a:gd name="connsiteX19" fmla="*/ 659309 w 2074294"/>
                <a:gd name="connsiteY19" fmla="*/ 1061702 h 1894904"/>
                <a:gd name="connsiteX20" fmla="*/ 699350 w 2074294"/>
                <a:gd name="connsiteY20" fmla="*/ 1043751 h 1894904"/>
                <a:gd name="connsiteX21" fmla="*/ 715819 w 2074294"/>
                <a:gd name="connsiteY21" fmla="*/ 1034480 h 1894904"/>
                <a:gd name="connsiteX22" fmla="*/ 731075 w 2074294"/>
                <a:gd name="connsiteY22" fmla="*/ 1027131 h 1894904"/>
                <a:gd name="connsiteX23" fmla="*/ 758841 w 2074294"/>
                <a:gd name="connsiteY23" fmla="*/ 1010263 h 1894904"/>
                <a:gd name="connsiteX24" fmla="*/ 792802 w 2074294"/>
                <a:gd name="connsiteY24" fmla="*/ 991145 h 1894904"/>
                <a:gd name="connsiteX25" fmla="*/ 811459 w 2074294"/>
                <a:gd name="connsiteY25" fmla="*/ 978296 h 1894904"/>
                <a:gd name="connsiteX26" fmla="*/ 828668 w 2074294"/>
                <a:gd name="connsiteY26" fmla="*/ 967841 h 1894904"/>
                <a:gd name="connsiteX27" fmla="*/ 852323 w 2074294"/>
                <a:gd name="connsiteY27" fmla="*/ 950153 h 1894904"/>
                <a:gd name="connsiteX28" fmla="*/ 880764 w 2074294"/>
                <a:gd name="connsiteY28" fmla="*/ 930565 h 1894904"/>
                <a:gd name="connsiteX29" fmla="*/ 901134 w 2074294"/>
                <a:gd name="connsiteY29" fmla="*/ 913652 h 1894904"/>
                <a:gd name="connsiteX30" fmla="*/ 919790 w 2074294"/>
                <a:gd name="connsiteY30" fmla="*/ 899701 h 1894904"/>
                <a:gd name="connsiteX31" fmla="*/ 939367 w 2074294"/>
                <a:gd name="connsiteY31" fmla="*/ 881909 h 1894904"/>
                <a:gd name="connsiteX32" fmla="*/ 962744 w 2074294"/>
                <a:gd name="connsiteY32" fmla="*/ 862499 h 1894904"/>
                <a:gd name="connsiteX33" fmla="*/ 973045 w 2074294"/>
                <a:gd name="connsiteY33" fmla="*/ 851300 h 1894904"/>
                <a:gd name="connsiteX34" fmla="*/ 1003847 w 2074294"/>
                <a:gd name="connsiteY34" fmla="*/ 823305 h 1894904"/>
                <a:gd name="connsiteX35" fmla="*/ 1080243 w 2074294"/>
                <a:gd name="connsiteY35" fmla="*/ 739249 h 1894904"/>
                <a:gd name="connsiteX36" fmla="*/ 1098238 w 2074294"/>
                <a:gd name="connsiteY36" fmla="*/ 715185 h 1894904"/>
                <a:gd name="connsiteX37" fmla="*/ 1106800 w 2074294"/>
                <a:gd name="connsiteY37" fmla="*/ 705875 h 1894904"/>
                <a:gd name="connsiteX38" fmla="*/ 1129054 w 2074294"/>
                <a:gd name="connsiteY38" fmla="*/ 673975 h 1894904"/>
                <a:gd name="connsiteX39" fmla="*/ 1148383 w 2074294"/>
                <a:gd name="connsiteY39" fmla="*/ 648126 h 1894904"/>
                <a:gd name="connsiteX40" fmla="*/ 1157131 w 2074294"/>
                <a:gd name="connsiteY40" fmla="*/ 633727 h 1894904"/>
                <a:gd name="connsiteX41" fmla="*/ 1167895 w 2074294"/>
                <a:gd name="connsiteY41" fmla="*/ 618297 h 1894904"/>
                <a:gd name="connsiteX42" fmla="*/ 1189570 w 2074294"/>
                <a:gd name="connsiteY42" fmla="*/ 580330 h 1894904"/>
                <a:gd name="connsiteX43" fmla="*/ 1207672 w 2074294"/>
                <a:gd name="connsiteY43" fmla="*/ 550533 h 1894904"/>
                <a:gd name="connsiteX44" fmla="*/ 1213565 w 2074294"/>
                <a:gd name="connsiteY44" fmla="*/ 538300 h 1894904"/>
                <a:gd name="connsiteX45" fmla="*/ 1221047 w 2074294"/>
                <a:gd name="connsiteY45" fmla="*/ 525195 h 1894904"/>
                <a:gd name="connsiteX46" fmla="*/ 1241506 w 2074294"/>
                <a:gd name="connsiteY46" fmla="*/ 480299 h 1894904"/>
                <a:gd name="connsiteX47" fmla="*/ 1257516 w 2074294"/>
                <a:gd name="connsiteY47" fmla="*/ 447064 h 1894904"/>
                <a:gd name="connsiteX48" fmla="*/ 1261047 w 2074294"/>
                <a:gd name="connsiteY48" fmla="*/ 437417 h 1894904"/>
                <a:gd name="connsiteX49" fmla="*/ 1265767 w 2074294"/>
                <a:gd name="connsiteY49" fmla="*/ 427059 h 1894904"/>
                <a:gd name="connsiteX50" fmla="*/ 1284407 w 2074294"/>
                <a:gd name="connsiteY50" fmla="*/ 373591 h 1894904"/>
                <a:gd name="connsiteX51" fmla="*/ 1297319 w 2074294"/>
                <a:gd name="connsiteY51" fmla="*/ 338314 h 1894904"/>
                <a:gd name="connsiteX52" fmla="*/ 1299042 w 2074294"/>
                <a:gd name="connsiteY52" fmla="*/ 331615 h 1894904"/>
                <a:gd name="connsiteX53" fmla="*/ 1301564 w 2074294"/>
                <a:gd name="connsiteY53" fmla="*/ 324380 h 1894904"/>
                <a:gd name="connsiteX54" fmla="*/ 1318045 w 2074294"/>
                <a:gd name="connsiteY54" fmla="*/ 257708 h 1894904"/>
                <a:gd name="connsiteX55" fmla="*/ 1326486 w 2074294"/>
                <a:gd name="connsiteY55" fmla="*/ 224878 h 1894904"/>
                <a:gd name="connsiteX56" fmla="*/ 1327012 w 2074294"/>
                <a:gd name="connsiteY56" fmla="*/ 221431 h 1894904"/>
                <a:gd name="connsiteX57" fmla="*/ 1327948 w 2074294"/>
                <a:gd name="connsiteY57" fmla="*/ 217647 h 1894904"/>
                <a:gd name="connsiteX58" fmla="*/ 1344428 w 2074294"/>
                <a:gd name="connsiteY58" fmla="*/ 107352 h 1894904"/>
                <a:gd name="connsiteX59" fmla="*/ 1349850 w 2074294"/>
                <a:gd name="connsiteY59" fmla="*/ 0 h 1894904"/>
                <a:gd name="connsiteX60" fmla="*/ 1709239 w 2074294"/>
                <a:gd name="connsiteY60" fmla="*/ 153201 h 1894904"/>
                <a:gd name="connsiteX61" fmla="*/ 2074294 w 2074294"/>
                <a:gd name="connsiteY61" fmla="*/ 9147 h 1894904"/>
                <a:gd name="connsiteX62" fmla="*/ 2065592 w 2074294"/>
                <a:gd name="connsiteY62" fmla="*/ 181469 h 1894904"/>
                <a:gd name="connsiteX63" fmla="*/ 2037523 w 2074294"/>
                <a:gd name="connsiteY63" fmla="*/ 365385 h 1894904"/>
                <a:gd name="connsiteX64" fmla="*/ 2022985 w 2074294"/>
                <a:gd name="connsiteY64" fmla="*/ 424195 h 1894904"/>
                <a:gd name="connsiteX65" fmla="*/ 1992426 w 2074294"/>
                <a:gd name="connsiteY65" fmla="*/ 543046 h 1894904"/>
                <a:gd name="connsiteX66" fmla="*/ 1968757 w 2074294"/>
                <a:gd name="connsiteY66" fmla="*/ 610936 h 1894904"/>
                <a:gd name="connsiteX67" fmla="*/ 1931166 w 2074294"/>
                <a:gd name="connsiteY67" fmla="*/ 713642 h 1894904"/>
                <a:gd name="connsiteX68" fmla="*/ 1899587 w 2074294"/>
                <a:gd name="connsiteY68" fmla="*/ 782942 h 1894904"/>
                <a:gd name="connsiteX69" fmla="*/ 1854610 w 2074294"/>
                <a:gd name="connsiteY69" fmla="*/ 876307 h 1894904"/>
                <a:gd name="connsiteX70" fmla="*/ 1815847 w 2074294"/>
                <a:gd name="connsiteY70" fmla="*/ 944205 h 1894904"/>
                <a:gd name="connsiteX71" fmla="*/ 1763620 w 2074294"/>
                <a:gd name="connsiteY71" fmla="*/ 1030174 h 1894904"/>
                <a:gd name="connsiteX72" fmla="*/ 1718271 w 2074294"/>
                <a:gd name="connsiteY72" fmla="*/ 1095180 h 1894904"/>
                <a:gd name="connsiteX73" fmla="*/ 1659048 w 2074294"/>
                <a:gd name="connsiteY73" fmla="*/ 1174379 h 1894904"/>
                <a:gd name="connsiteX74" fmla="*/ 1607673 w 2074294"/>
                <a:gd name="connsiteY74" fmla="*/ 1235510 h 1894904"/>
                <a:gd name="connsiteX75" fmla="*/ 1541737 w 2074294"/>
                <a:gd name="connsiteY75" fmla="*/ 1308058 h 1894904"/>
                <a:gd name="connsiteX76" fmla="*/ 1484892 w 2074294"/>
                <a:gd name="connsiteY76" fmla="*/ 1364565 h 1894904"/>
                <a:gd name="connsiteX77" fmla="*/ 1412511 w 2074294"/>
                <a:gd name="connsiteY77" fmla="*/ 1430349 h 1894904"/>
                <a:gd name="connsiteX78" fmla="*/ 1350778 w 2074294"/>
                <a:gd name="connsiteY78" fmla="*/ 1481604 h 1894904"/>
                <a:gd name="connsiteX79" fmla="*/ 1272166 w 2074294"/>
                <a:gd name="connsiteY79" fmla="*/ 1540389 h 1894904"/>
                <a:gd name="connsiteX80" fmla="*/ 1206187 w 2074294"/>
                <a:gd name="connsiteY80" fmla="*/ 1585829 h 1894904"/>
                <a:gd name="connsiteX81" fmla="*/ 1121439 w 2074294"/>
                <a:gd name="connsiteY81" fmla="*/ 1637315 h 1894904"/>
                <a:gd name="connsiteX82" fmla="*/ 1051979 w 2074294"/>
                <a:gd name="connsiteY82" fmla="*/ 1676415 h 1894904"/>
                <a:gd name="connsiteX83" fmla="*/ 960959 w 2074294"/>
                <a:gd name="connsiteY83" fmla="*/ 1720262 h 1894904"/>
                <a:gd name="connsiteX84" fmla="*/ 889013 w 2074294"/>
                <a:gd name="connsiteY84" fmla="*/ 1752517 h 1894904"/>
                <a:gd name="connsiteX85" fmla="*/ 791075 w 2074294"/>
                <a:gd name="connsiteY85" fmla="*/ 1788363 h 1894904"/>
                <a:gd name="connsiteX86" fmla="*/ 718155 w 2074294"/>
                <a:gd name="connsiteY86" fmla="*/ 1813281 h 1894904"/>
                <a:gd name="connsiteX87" fmla="*/ 611316 w 2074294"/>
                <a:gd name="connsiteY87" fmla="*/ 1840752 h 1894904"/>
                <a:gd name="connsiteX88" fmla="*/ 540269 w 2074294"/>
                <a:gd name="connsiteY88" fmla="*/ 1857845 h 1894904"/>
                <a:gd name="connsiteX89" fmla="*/ 417641 w 2074294"/>
                <a:gd name="connsiteY89" fmla="*/ 1876560 h 1894904"/>
                <a:gd name="connsiteX90" fmla="*/ 356222 w 2074294"/>
                <a:gd name="connsiteY90" fmla="*/ 1885343 h 1894904"/>
                <a:gd name="connsiteX91" fmla="*/ 166870 w 2074294"/>
                <a:gd name="connsiteY91" fmla="*/ 1894904 h 1894904"/>
                <a:gd name="connsiteX92" fmla="*/ 143594 w 2074294"/>
                <a:gd name="connsiteY92" fmla="*/ 1893729 h 1894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2074294" h="1894904">
                  <a:moveTo>
                    <a:pt x="0" y="1529843"/>
                  </a:moveTo>
                  <a:lnTo>
                    <a:pt x="153201" y="1170454"/>
                  </a:lnTo>
                  <a:lnTo>
                    <a:pt x="152652" y="1169275"/>
                  </a:lnTo>
                  <a:lnTo>
                    <a:pt x="166876" y="1169994"/>
                  </a:lnTo>
                  <a:cubicBezTo>
                    <a:pt x="205180" y="1169994"/>
                    <a:pt x="243059" y="1168174"/>
                    <a:pt x="280431" y="1164617"/>
                  </a:cubicBezTo>
                  <a:lnTo>
                    <a:pt x="284310" y="1164062"/>
                  </a:lnTo>
                  <a:lnTo>
                    <a:pt x="287893" y="1163882"/>
                  </a:lnTo>
                  <a:lnTo>
                    <a:pt x="322321" y="1158627"/>
                  </a:lnTo>
                  <a:lnTo>
                    <a:pt x="390946" y="1148814"/>
                  </a:lnTo>
                  <a:lnTo>
                    <a:pt x="398456" y="1147008"/>
                  </a:lnTo>
                  <a:lnTo>
                    <a:pt x="405420" y="1145945"/>
                  </a:lnTo>
                  <a:lnTo>
                    <a:pt x="442451" y="1136423"/>
                  </a:lnTo>
                  <a:lnTo>
                    <a:pt x="497931" y="1123075"/>
                  </a:lnTo>
                  <a:lnTo>
                    <a:pt x="508781" y="1119368"/>
                  </a:lnTo>
                  <a:lnTo>
                    <a:pt x="518856" y="1116777"/>
                  </a:lnTo>
                  <a:lnTo>
                    <a:pt x="553944" y="1103935"/>
                  </a:lnTo>
                  <a:lnTo>
                    <a:pt x="600896" y="1087891"/>
                  </a:lnTo>
                  <a:lnTo>
                    <a:pt x="614747" y="1081681"/>
                  </a:lnTo>
                  <a:lnTo>
                    <a:pt x="627606" y="1076974"/>
                  </a:lnTo>
                  <a:lnTo>
                    <a:pt x="659309" y="1061702"/>
                  </a:lnTo>
                  <a:lnTo>
                    <a:pt x="699350" y="1043751"/>
                  </a:lnTo>
                  <a:lnTo>
                    <a:pt x="715819" y="1034480"/>
                  </a:lnTo>
                  <a:lnTo>
                    <a:pt x="731075" y="1027131"/>
                  </a:lnTo>
                  <a:lnTo>
                    <a:pt x="758841" y="1010263"/>
                  </a:lnTo>
                  <a:lnTo>
                    <a:pt x="792802" y="991145"/>
                  </a:lnTo>
                  <a:lnTo>
                    <a:pt x="811459" y="978296"/>
                  </a:lnTo>
                  <a:lnTo>
                    <a:pt x="828668" y="967841"/>
                  </a:lnTo>
                  <a:lnTo>
                    <a:pt x="852323" y="950153"/>
                  </a:lnTo>
                  <a:lnTo>
                    <a:pt x="880764" y="930565"/>
                  </a:lnTo>
                  <a:lnTo>
                    <a:pt x="901134" y="913652"/>
                  </a:lnTo>
                  <a:lnTo>
                    <a:pt x="919790" y="899701"/>
                  </a:lnTo>
                  <a:lnTo>
                    <a:pt x="939367" y="881909"/>
                  </a:lnTo>
                  <a:lnTo>
                    <a:pt x="962744" y="862499"/>
                  </a:lnTo>
                  <a:lnTo>
                    <a:pt x="973045" y="851300"/>
                  </a:lnTo>
                  <a:lnTo>
                    <a:pt x="1003847" y="823305"/>
                  </a:lnTo>
                  <a:cubicBezTo>
                    <a:pt x="1030622" y="796530"/>
                    <a:pt x="1056120" y="768478"/>
                    <a:pt x="1080243" y="739249"/>
                  </a:cubicBezTo>
                  <a:lnTo>
                    <a:pt x="1098238" y="715185"/>
                  </a:lnTo>
                  <a:lnTo>
                    <a:pt x="1106800" y="705875"/>
                  </a:lnTo>
                  <a:lnTo>
                    <a:pt x="1129054" y="673975"/>
                  </a:lnTo>
                  <a:lnTo>
                    <a:pt x="1148383" y="648126"/>
                  </a:lnTo>
                  <a:lnTo>
                    <a:pt x="1157131" y="633727"/>
                  </a:lnTo>
                  <a:lnTo>
                    <a:pt x="1167895" y="618297"/>
                  </a:lnTo>
                  <a:lnTo>
                    <a:pt x="1189570" y="580330"/>
                  </a:lnTo>
                  <a:lnTo>
                    <a:pt x="1207672" y="550533"/>
                  </a:lnTo>
                  <a:lnTo>
                    <a:pt x="1213565" y="538300"/>
                  </a:lnTo>
                  <a:lnTo>
                    <a:pt x="1221047" y="525195"/>
                  </a:lnTo>
                  <a:lnTo>
                    <a:pt x="1241506" y="480299"/>
                  </a:lnTo>
                  <a:lnTo>
                    <a:pt x="1257516" y="447064"/>
                  </a:lnTo>
                  <a:lnTo>
                    <a:pt x="1261047" y="437417"/>
                  </a:lnTo>
                  <a:lnTo>
                    <a:pt x="1265767" y="427059"/>
                  </a:lnTo>
                  <a:lnTo>
                    <a:pt x="1284407" y="373591"/>
                  </a:lnTo>
                  <a:lnTo>
                    <a:pt x="1297319" y="338314"/>
                  </a:lnTo>
                  <a:lnTo>
                    <a:pt x="1299042" y="331615"/>
                  </a:lnTo>
                  <a:lnTo>
                    <a:pt x="1301564" y="324380"/>
                  </a:lnTo>
                  <a:lnTo>
                    <a:pt x="1318045" y="257708"/>
                  </a:lnTo>
                  <a:lnTo>
                    <a:pt x="1326486" y="224878"/>
                  </a:lnTo>
                  <a:lnTo>
                    <a:pt x="1327012" y="221431"/>
                  </a:lnTo>
                  <a:lnTo>
                    <a:pt x="1327948" y="217647"/>
                  </a:lnTo>
                  <a:cubicBezTo>
                    <a:pt x="1335119" y="181449"/>
                    <a:pt x="1340640" y="144657"/>
                    <a:pt x="1344428" y="107352"/>
                  </a:cubicBezTo>
                  <a:lnTo>
                    <a:pt x="1349850" y="0"/>
                  </a:lnTo>
                  <a:lnTo>
                    <a:pt x="1709239" y="153201"/>
                  </a:lnTo>
                  <a:lnTo>
                    <a:pt x="2074294" y="9147"/>
                  </a:lnTo>
                  <a:lnTo>
                    <a:pt x="2065592" y="181469"/>
                  </a:lnTo>
                  <a:lnTo>
                    <a:pt x="2037523" y="365385"/>
                  </a:lnTo>
                  <a:lnTo>
                    <a:pt x="2022985" y="424195"/>
                  </a:lnTo>
                  <a:lnTo>
                    <a:pt x="1992426" y="543046"/>
                  </a:lnTo>
                  <a:lnTo>
                    <a:pt x="1968757" y="610936"/>
                  </a:lnTo>
                  <a:lnTo>
                    <a:pt x="1931166" y="713642"/>
                  </a:lnTo>
                  <a:lnTo>
                    <a:pt x="1899587" y="782942"/>
                  </a:lnTo>
                  <a:lnTo>
                    <a:pt x="1854610" y="876307"/>
                  </a:lnTo>
                  <a:lnTo>
                    <a:pt x="1815847" y="944205"/>
                  </a:lnTo>
                  <a:lnTo>
                    <a:pt x="1763620" y="1030174"/>
                  </a:lnTo>
                  <a:lnTo>
                    <a:pt x="1718271" y="1095180"/>
                  </a:lnTo>
                  <a:lnTo>
                    <a:pt x="1659048" y="1174379"/>
                  </a:lnTo>
                  <a:lnTo>
                    <a:pt x="1607673" y="1235510"/>
                  </a:lnTo>
                  <a:lnTo>
                    <a:pt x="1541737" y="1308058"/>
                  </a:lnTo>
                  <a:lnTo>
                    <a:pt x="1484892" y="1364565"/>
                  </a:lnTo>
                  <a:lnTo>
                    <a:pt x="1412511" y="1430349"/>
                  </a:lnTo>
                  <a:lnTo>
                    <a:pt x="1350778" y="1481604"/>
                  </a:lnTo>
                  <a:lnTo>
                    <a:pt x="1272166" y="1540389"/>
                  </a:lnTo>
                  <a:lnTo>
                    <a:pt x="1206187" y="1585829"/>
                  </a:lnTo>
                  <a:lnTo>
                    <a:pt x="1121439" y="1637315"/>
                  </a:lnTo>
                  <a:lnTo>
                    <a:pt x="1051979" y="1676415"/>
                  </a:lnTo>
                  <a:lnTo>
                    <a:pt x="960959" y="1720262"/>
                  </a:lnTo>
                  <a:lnTo>
                    <a:pt x="889013" y="1752517"/>
                  </a:lnTo>
                  <a:lnTo>
                    <a:pt x="791075" y="1788363"/>
                  </a:lnTo>
                  <a:lnTo>
                    <a:pt x="718155" y="1813281"/>
                  </a:lnTo>
                  <a:lnTo>
                    <a:pt x="611316" y="1840752"/>
                  </a:lnTo>
                  <a:lnTo>
                    <a:pt x="540269" y="1857845"/>
                  </a:lnTo>
                  <a:lnTo>
                    <a:pt x="417641" y="1876560"/>
                  </a:lnTo>
                  <a:lnTo>
                    <a:pt x="356222" y="1885343"/>
                  </a:lnTo>
                  <a:lnTo>
                    <a:pt x="166870" y="1894904"/>
                  </a:lnTo>
                  <a:lnTo>
                    <a:pt x="143594" y="1893729"/>
                  </a:lnTo>
                  <a:close/>
                </a:path>
              </a:pathLst>
            </a:custGeom>
            <a:solidFill>
              <a:srgbClr val="00FFB9"/>
            </a:solidFill>
            <a:ln w="38100">
              <a:solidFill>
                <a:schemeClr val="bg2"/>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grpSp>
      <p:sp>
        <p:nvSpPr>
          <p:cNvPr id="23" name="Freihandform 85">
            <a:extLst>
              <a:ext uri="{FF2B5EF4-FFF2-40B4-BE49-F238E27FC236}">
                <a16:creationId xmlns:a16="http://schemas.microsoft.com/office/drawing/2014/main" id="{DEB7CF16-5F1F-4F28-A547-3B29094CE2ED}"/>
              </a:ext>
            </a:extLst>
          </p:cNvPr>
          <p:cNvSpPr/>
          <p:nvPr/>
        </p:nvSpPr>
        <p:spPr bwMode="gray">
          <a:xfrm flipH="1" flipV="1">
            <a:off x="7803890" y="4572246"/>
            <a:ext cx="674899" cy="168725"/>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9999A9"/>
            </a:solidFill>
            <a:prstDash val="solid"/>
            <a:round/>
            <a:headEnd type="none" w="lg" len="lg"/>
            <a:tailEnd type="none" w="lg" len="lg"/>
          </a:ln>
          <a:effectLst/>
        </p:spPr>
        <p:txBody>
          <a:bodyPr rtlCol="0" anchor="ctr"/>
          <a:lstStyle/>
          <a:p>
            <a:pPr algn="ctr"/>
            <a:endParaRPr lang="en-US" sz="1799" dirty="0">
              <a:ea typeface="Arial Unicode MS"/>
            </a:endParaRPr>
          </a:p>
        </p:txBody>
      </p:sp>
      <p:sp>
        <p:nvSpPr>
          <p:cNvPr id="24" name="Freihandform 97">
            <a:extLst>
              <a:ext uri="{FF2B5EF4-FFF2-40B4-BE49-F238E27FC236}">
                <a16:creationId xmlns:a16="http://schemas.microsoft.com/office/drawing/2014/main" id="{9C9C3683-E313-4163-A552-B0902D0AF325}"/>
              </a:ext>
            </a:extLst>
          </p:cNvPr>
          <p:cNvSpPr/>
          <p:nvPr/>
        </p:nvSpPr>
        <p:spPr bwMode="gray">
          <a:xfrm flipV="1">
            <a:off x="3693597" y="4570950"/>
            <a:ext cx="654393" cy="163598"/>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9999A9"/>
            </a:solidFill>
            <a:prstDash val="solid"/>
            <a:round/>
            <a:headEnd type="none" w="lg" len="lg"/>
            <a:tailEnd type="none" w="lg" len="lg"/>
          </a:ln>
          <a:effectLst/>
        </p:spPr>
        <p:txBody>
          <a:bodyPr rtlCol="0" anchor="ctr"/>
          <a:lstStyle/>
          <a:p>
            <a:pPr algn="ctr"/>
            <a:endParaRPr lang="en-US" sz="1799" dirty="0">
              <a:ea typeface="Arial Unicode MS"/>
            </a:endParaRPr>
          </a:p>
        </p:txBody>
      </p:sp>
      <p:sp>
        <p:nvSpPr>
          <p:cNvPr id="25" name="Rechteck 28">
            <a:extLst>
              <a:ext uri="{FF2B5EF4-FFF2-40B4-BE49-F238E27FC236}">
                <a16:creationId xmlns:a16="http://schemas.microsoft.com/office/drawing/2014/main" id="{893CB4B1-B699-40B6-ACA9-661BE2339453}"/>
              </a:ext>
            </a:extLst>
          </p:cNvPr>
          <p:cNvSpPr/>
          <p:nvPr/>
        </p:nvSpPr>
        <p:spPr bwMode="gray">
          <a:xfrm>
            <a:off x="1174908" y="4616445"/>
            <a:ext cx="2518688" cy="719625"/>
          </a:xfrm>
          <a:prstGeom prst="rect">
            <a:avLst/>
          </a:prstGeom>
          <a:noFill/>
          <a:ln w="19050">
            <a:noFill/>
            <a:miter lim="800000"/>
          </a:ln>
          <a:effectLst/>
        </p:spPr>
        <p:txBody>
          <a:bodyPr wrap="square" lIns="143925" tIns="0" rIns="143925" bIns="0" numCol="1" spcCol="72000" rtlCol="0" anchor="t" anchorCtr="0">
            <a:noAutofit/>
          </a:bodyPr>
          <a:lstStyle/>
          <a:p>
            <a:pPr algn="r">
              <a:tabLst>
                <a:tab pos="1255085" algn="r"/>
              </a:tabLst>
              <a:defRPr/>
            </a:pPr>
            <a:r>
              <a:rPr lang="en-US" altLang="de-DE" sz="1599" b="1" dirty="0">
                <a:solidFill>
                  <a:srgbClr val="9999A9"/>
                </a:solidFill>
                <a:ea typeface="Arial Unicode MS"/>
              </a:rPr>
              <a:t>Consetetur sadipscing</a:t>
            </a:r>
            <a:endParaRPr lang="en-US" altLang="de-DE" sz="1199" dirty="0">
              <a:solidFill>
                <a:srgbClr val="9999A9"/>
              </a:solidFill>
              <a:ea typeface="Arial Unicode MS"/>
              <a:cs typeface="Arial" pitchFamily="34" charset="0"/>
            </a:endParaRPr>
          </a:p>
        </p:txBody>
      </p:sp>
      <p:sp>
        <p:nvSpPr>
          <p:cNvPr id="26" name="Rechteck 28">
            <a:extLst>
              <a:ext uri="{FF2B5EF4-FFF2-40B4-BE49-F238E27FC236}">
                <a16:creationId xmlns:a16="http://schemas.microsoft.com/office/drawing/2014/main" id="{49EEEA86-4554-42C6-A280-D82F2DAB6CB6}"/>
              </a:ext>
            </a:extLst>
          </p:cNvPr>
          <p:cNvSpPr/>
          <p:nvPr/>
        </p:nvSpPr>
        <p:spPr bwMode="gray">
          <a:xfrm>
            <a:off x="8478790" y="4616445"/>
            <a:ext cx="2518688" cy="719625"/>
          </a:xfrm>
          <a:prstGeom prst="rect">
            <a:avLst/>
          </a:prstGeom>
          <a:noFill/>
          <a:ln w="19050">
            <a:noFill/>
            <a:miter lim="800000"/>
          </a:ln>
          <a:effectLst/>
        </p:spPr>
        <p:txBody>
          <a:bodyPr wrap="square" lIns="143925" tIns="0" rIns="143925" bIns="0" numCol="1" spcCol="72000" rtlCol="0" anchor="t" anchorCtr="0">
            <a:noAutofit/>
          </a:bodyPr>
          <a:lstStyle/>
          <a:p>
            <a:pPr>
              <a:tabLst>
                <a:tab pos="1255085" algn="r"/>
              </a:tabLst>
              <a:defRPr/>
            </a:pPr>
            <a:r>
              <a:rPr lang="en-US" altLang="de-DE" sz="1599" b="1" dirty="0">
                <a:solidFill>
                  <a:srgbClr val="9999A9"/>
                </a:solidFill>
                <a:ea typeface="Arial Unicode MS"/>
              </a:rPr>
              <a:t>Seddiam eos et accusam</a:t>
            </a:r>
            <a:endParaRPr lang="en-US" altLang="de-DE" sz="1199" dirty="0">
              <a:solidFill>
                <a:srgbClr val="9999A9"/>
              </a:solidFill>
              <a:ea typeface="Arial Unicode MS"/>
              <a:cs typeface="Arial" pitchFamily="34" charset="0"/>
            </a:endParaRPr>
          </a:p>
        </p:txBody>
      </p:sp>
      <p:sp>
        <p:nvSpPr>
          <p:cNvPr id="3" name="Footer Placeholder 2">
            <a:extLst>
              <a:ext uri="{FF2B5EF4-FFF2-40B4-BE49-F238E27FC236}">
                <a16:creationId xmlns:a16="http://schemas.microsoft.com/office/drawing/2014/main" id="{B893FD11-D5E5-4614-BD92-1C47AF0A104A}"/>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1A955DF6-D3C4-41BA-A570-A385573634D7}"/>
              </a:ext>
            </a:extLst>
          </p:cNvPr>
          <p:cNvSpPr>
            <a:spLocks noGrp="1"/>
          </p:cNvSpPr>
          <p:nvPr>
            <p:ph type="sldNum" sz="quarter" idx="11"/>
          </p:nvPr>
        </p:nvSpPr>
        <p:spPr/>
        <p:txBody>
          <a:bodyPr/>
          <a:lstStyle/>
          <a:p>
            <a:r>
              <a:rPr lang="en-US" dirty="0"/>
              <a:t>Page </a:t>
            </a:r>
            <a:fld id="{15EBE321-CBB1-4E91-BD14-37C8D44326FB}" type="slidenum">
              <a:rPr lang="en-US" smtClean="0"/>
              <a:pPr/>
              <a:t>137</a:t>
            </a:fld>
            <a:endParaRPr lang="en-US" dirty="0"/>
          </a:p>
        </p:txBody>
      </p:sp>
    </p:spTree>
    <p:extLst>
      <p:ext uri="{BB962C8B-B14F-4D97-AF65-F5344CB8AC3E}">
        <p14:creationId xmlns:p14="http://schemas.microsoft.com/office/powerpoint/2010/main" val="1341158739"/>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el 1"/>
          <p:cNvSpPr>
            <a:spLocks noGrp="1"/>
          </p:cNvSpPr>
          <p:nvPr>
            <p:ph type="title"/>
          </p:nvPr>
        </p:nvSpPr>
        <p:spPr bwMode="gray"/>
        <p:txBody>
          <a:bodyPr/>
          <a:lstStyle/>
          <a:p>
            <a:r>
              <a:rPr lang="en-US" altLang="de-DE" dirty="0"/>
              <a:t>Scale – unbalanced weight </a:t>
            </a:r>
          </a:p>
        </p:txBody>
      </p:sp>
      <p:sp>
        <p:nvSpPr>
          <p:cNvPr id="16" name="Rechteck 15"/>
          <p:cNvSpPr/>
          <p:nvPr/>
        </p:nvSpPr>
        <p:spPr bwMode="gray">
          <a:xfrm rot="21240000">
            <a:off x="1832400" y="4680244"/>
            <a:ext cx="8532000" cy="71963"/>
          </a:xfrm>
          <a:prstGeom prst="rect">
            <a:avLst/>
          </a:prstGeom>
          <a:solidFill>
            <a:srgbClr val="CCCCD4"/>
          </a:solidFill>
          <a:ln>
            <a:noFill/>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endParaRPr lang="en-US" sz="2399" dirty="0">
              <a:solidFill>
                <a:srgbClr val="000000"/>
              </a:solidFill>
              <a:ea typeface="ヒラギノ角ゴ Pro W3" charset="0"/>
            </a:endParaRPr>
          </a:p>
        </p:txBody>
      </p:sp>
      <p:sp>
        <p:nvSpPr>
          <p:cNvPr id="77" name="Freeform 76"/>
          <p:cNvSpPr/>
          <p:nvPr/>
        </p:nvSpPr>
        <p:spPr bwMode="gray">
          <a:xfrm>
            <a:off x="5288400" y="4834800"/>
            <a:ext cx="1620000" cy="972000"/>
          </a:xfrm>
          <a:custGeom>
            <a:avLst/>
            <a:gdLst>
              <a:gd name="connsiteX0" fmla="*/ 796958 w 1593916"/>
              <a:gd name="connsiteY0" fmla="*/ 0 h 956221"/>
              <a:gd name="connsiteX1" fmla="*/ 1593916 w 1593916"/>
              <a:gd name="connsiteY1" fmla="*/ 833763 h 956221"/>
              <a:gd name="connsiteX2" fmla="*/ 1593916 w 1593916"/>
              <a:gd name="connsiteY2" fmla="*/ 956221 h 956221"/>
              <a:gd name="connsiteX3" fmla="*/ 0 w 1593916"/>
              <a:gd name="connsiteY3" fmla="*/ 956221 h 956221"/>
              <a:gd name="connsiteX4" fmla="*/ 0 w 1593916"/>
              <a:gd name="connsiteY4" fmla="*/ 833763 h 956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916" h="956221">
                <a:moveTo>
                  <a:pt x="796958" y="0"/>
                </a:moveTo>
                <a:lnTo>
                  <a:pt x="1593916" y="833763"/>
                </a:lnTo>
                <a:lnTo>
                  <a:pt x="1593916" y="956221"/>
                </a:lnTo>
                <a:lnTo>
                  <a:pt x="0" y="956221"/>
                </a:lnTo>
                <a:lnTo>
                  <a:pt x="0" y="833763"/>
                </a:lnTo>
                <a:close/>
              </a:path>
            </a:pathLst>
          </a:custGeom>
          <a:solidFill>
            <a:srgbClr val="CCCCD4"/>
          </a:solidFill>
          <a:ln>
            <a:noFill/>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endParaRPr lang="en-US" sz="2399" dirty="0">
              <a:solidFill>
                <a:srgbClr val="000000"/>
              </a:solidFill>
              <a:ea typeface="ヒラギノ角ゴ Pro W3" charset="0"/>
            </a:endParaRPr>
          </a:p>
        </p:txBody>
      </p:sp>
      <p:sp>
        <p:nvSpPr>
          <p:cNvPr id="18" name="Ellipse 17"/>
          <p:cNvSpPr/>
          <p:nvPr/>
        </p:nvSpPr>
        <p:spPr bwMode="gray">
          <a:xfrm>
            <a:off x="5306401" y="3898800"/>
            <a:ext cx="1584000" cy="1584000"/>
          </a:xfrm>
          <a:prstGeom prst="ellipse">
            <a:avLst/>
          </a:prstGeom>
          <a:solidFill>
            <a:srgbClr val="9999A9"/>
          </a:solid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2" algn="ctr">
              <a:tabLst>
                <a:tab pos="0" algn="l"/>
              </a:tabLst>
            </a:pPr>
            <a:r>
              <a:rPr lang="en-US" sz="1799" b="1" dirty="0">
                <a:solidFill>
                  <a:schemeClr val="bg1"/>
                </a:solidFill>
                <a:ea typeface="Arial Unicode MS"/>
              </a:rPr>
              <a:t>Cras ultricies mi eu</a:t>
            </a:r>
          </a:p>
        </p:txBody>
      </p:sp>
      <p:grpSp>
        <p:nvGrpSpPr>
          <p:cNvPr id="3" name="Group 2"/>
          <p:cNvGrpSpPr/>
          <p:nvPr/>
        </p:nvGrpSpPr>
        <p:grpSpPr>
          <a:xfrm>
            <a:off x="410401" y="4546800"/>
            <a:ext cx="3600000" cy="586681"/>
            <a:chOff x="1531110" y="4931335"/>
            <a:chExt cx="3601880" cy="586987"/>
          </a:xfrm>
          <a:solidFill>
            <a:srgbClr val="BECDD7"/>
          </a:solidFill>
        </p:grpSpPr>
        <p:cxnSp>
          <p:nvCxnSpPr>
            <p:cNvPr id="69" name="Gerade Verbindung mit Pfeil 32"/>
            <p:cNvCxnSpPr/>
            <p:nvPr/>
          </p:nvCxnSpPr>
          <p:spPr bwMode="auto">
            <a:xfrm flipV="1">
              <a:off x="3332050" y="5032452"/>
              <a:ext cx="0" cy="485870"/>
            </a:xfrm>
            <a:prstGeom prst="straightConnector1">
              <a:avLst/>
            </a:prstGeom>
            <a:grpFill/>
            <a:ln w="38100" cap="flat" cmpd="sng" algn="ctr">
              <a:solidFill>
                <a:srgbClr val="CCCCD4"/>
              </a:solidFill>
              <a:prstDash val="solid"/>
              <a:round/>
              <a:headEnd type="oval" w="lg" len="lg"/>
              <a:tailEnd type="none" w="lg" len="lg"/>
            </a:ln>
            <a:effectLst/>
          </p:spPr>
        </p:cxnSp>
        <p:sp>
          <p:nvSpPr>
            <p:cNvPr id="26" name="Rechteck 25"/>
            <p:cNvSpPr/>
            <p:nvPr/>
          </p:nvSpPr>
          <p:spPr bwMode="gray">
            <a:xfrm>
              <a:off x="1531110" y="4931335"/>
              <a:ext cx="3601880" cy="216113"/>
            </a:xfrm>
            <a:prstGeom prst="rect">
              <a:avLst/>
            </a:prstGeom>
            <a:solidFill>
              <a:srgbClr val="9999A9"/>
            </a:solidFill>
            <a:ln>
              <a:noFill/>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endParaRPr lang="en-US" sz="2399" dirty="0">
                <a:solidFill>
                  <a:srgbClr val="000000"/>
                </a:solidFill>
                <a:ea typeface="ヒラギノ角ゴ Pro W3" charset="0"/>
              </a:endParaRPr>
            </a:p>
          </p:txBody>
        </p:sp>
      </p:grpSp>
      <p:grpSp>
        <p:nvGrpSpPr>
          <p:cNvPr id="71" name="Group 70"/>
          <p:cNvGrpSpPr/>
          <p:nvPr/>
        </p:nvGrpSpPr>
        <p:grpSpPr>
          <a:xfrm>
            <a:off x="8186400" y="3718795"/>
            <a:ext cx="3600000" cy="590200"/>
            <a:chOff x="1531110" y="4927814"/>
            <a:chExt cx="2763356" cy="590508"/>
          </a:xfrm>
        </p:grpSpPr>
        <p:cxnSp>
          <p:nvCxnSpPr>
            <p:cNvPr id="72" name="Gerade Verbindung mit Pfeil 32"/>
            <p:cNvCxnSpPr/>
            <p:nvPr/>
          </p:nvCxnSpPr>
          <p:spPr bwMode="auto">
            <a:xfrm flipV="1">
              <a:off x="2912788" y="5032452"/>
              <a:ext cx="0" cy="485870"/>
            </a:xfrm>
            <a:prstGeom prst="straightConnector1">
              <a:avLst/>
            </a:prstGeom>
            <a:noFill/>
            <a:ln w="38100" cap="flat" cmpd="sng" algn="ctr">
              <a:solidFill>
                <a:srgbClr val="CCCCD4"/>
              </a:solidFill>
              <a:prstDash val="solid"/>
              <a:round/>
              <a:headEnd type="oval" w="lg" len="lg"/>
              <a:tailEnd type="none" w="lg" len="lg"/>
            </a:ln>
            <a:effectLst/>
          </p:spPr>
        </p:cxnSp>
        <p:sp>
          <p:nvSpPr>
            <p:cNvPr id="73" name="Rechteck 25"/>
            <p:cNvSpPr/>
            <p:nvPr/>
          </p:nvSpPr>
          <p:spPr bwMode="gray">
            <a:xfrm>
              <a:off x="1531110" y="4927814"/>
              <a:ext cx="2763356" cy="216113"/>
            </a:xfrm>
            <a:prstGeom prst="rect">
              <a:avLst/>
            </a:prstGeom>
            <a:solidFill>
              <a:schemeClr val="accent1"/>
            </a:solidFill>
            <a:ln>
              <a:noFill/>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endParaRPr lang="en-US" sz="2399" dirty="0">
                <a:solidFill>
                  <a:srgbClr val="000000"/>
                </a:solidFill>
                <a:ea typeface="ヒラギノ角ゴ Pro W3" charset="0"/>
              </a:endParaRPr>
            </a:p>
          </p:txBody>
        </p:sp>
      </p:grpSp>
      <p:sp>
        <p:nvSpPr>
          <p:cNvPr id="75" name="Textfeld 30"/>
          <p:cNvSpPr txBox="1">
            <a:spLocks/>
          </p:cNvSpPr>
          <p:nvPr/>
        </p:nvSpPr>
        <p:spPr bwMode="gray">
          <a:xfrm>
            <a:off x="410401" y="2242800"/>
            <a:ext cx="3599621" cy="2304000"/>
          </a:xfrm>
          <a:prstGeom prst="rect">
            <a:avLst/>
          </a:prstGeom>
          <a:noFill/>
          <a:ln>
            <a:noFill/>
          </a:ln>
          <a:scene3d>
            <a:camera prst="orthographicFront">
              <a:rot lat="0" lon="0" rev="0"/>
            </a:camera>
            <a:lightRig rig="threePt" dir="t"/>
          </a:scene3d>
        </p:spPr>
        <p:txBody>
          <a:bodyPr wrap="square" lIns="0" tIns="0" rIns="0" bIns="143925" rtlCol="0" anchor="b" anchorCtr="0">
            <a:noAutofit/>
          </a:bodyPr>
          <a:lstStyle/>
          <a:p>
            <a:pPr algn="ctr">
              <a:tabLst>
                <a:tab pos="1255085" algn="r"/>
              </a:tabLst>
              <a:defRPr/>
            </a:pPr>
            <a:r>
              <a:rPr lang="en-US" altLang="de-DE" sz="2399" b="1" dirty="0">
                <a:solidFill>
                  <a:srgbClr val="66667E"/>
                </a:solidFill>
                <a:ea typeface="Arial Unicode MS"/>
              </a:rPr>
              <a:t>Stet clita kasd gubergren, no sea takimata sanctus est lorem</a:t>
            </a:r>
          </a:p>
        </p:txBody>
      </p:sp>
      <p:sp>
        <p:nvSpPr>
          <p:cNvPr id="76" name="Textfeld 30"/>
          <p:cNvSpPr txBox="1">
            <a:spLocks/>
          </p:cNvSpPr>
          <p:nvPr/>
        </p:nvSpPr>
        <p:spPr bwMode="gray">
          <a:xfrm>
            <a:off x="8186400" y="1415848"/>
            <a:ext cx="3600000" cy="2304000"/>
          </a:xfrm>
          <a:prstGeom prst="rect">
            <a:avLst/>
          </a:prstGeom>
          <a:noFill/>
          <a:ln>
            <a:noFill/>
          </a:ln>
          <a:scene3d>
            <a:camera prst="orthographicFront">
              <a:rot lat="0" lon="0" rev="0"/>
            </a:camera>
            <a:lightRig rig="threePt" dir="t"/>
          </a:scene3d>
        </p:spPr>
        <p:txBody>
          <a:bodyPr wrap="square" lIns="0" tIns="0" rIns="0" bIns="143925" rtlCol="0" anchor="b" anchorCtr="0">
            <a:noAutofit/>
          </a:bodyPr>
          <a:lstStyle/>
          <a:p>
            <a:pPr algn="ctr">
              <a:tabLst>
                <a:tab pos="1255085" algn="r"/>
              </a:tabLst>
              <a:defRPr/>
            </a:pPr>
            <a:r>
              <a:rPr lang="en-US" altLang="de-DE" sz="2399" b="1" dirty="0">
                <a:solidFill>
                  <a:schemeClr val="accent1"/>
                </a:solidFill>
                <a:ea typeface="Arial Unicode MS"/>
              </a:rPr>
              <a:t>Consetetur </a:t>
            </a:r>
            <a:br>
              <a:rPr lang="en-US" altLang="de-DE" sz="2399" b="1" dirty="0">
                <a:solidFill>
                  <a:schemeClr val="accent1"/>
                </a:solidFill>
                <a:ea typeface="Arial Unicode MS"/>
              </a:rPr>
            </a:br>
            <a:r>
              <a:rPr lang="en-US" altLang="de-DE" sz="2399" b="1" dirty="0">
                <a:solidFill>
                  <a:schemeClr val="accent1"/>
                </a:solidFill>
                <a:ea typeface="Arial Unicode MS"/>
              </a:rPr>
              <a:t>sadipscing elitr, seddiam nonumy</a:t>
            </a:r>
          </a:p>
        </p:txBody>
      </p:sp>
      <p:sp>
        <p:nvSpPr>
          <p:cNvPr id="2" name="Footer Placeholder 1">
            <a:extLst>
              <a:ext uri="{FF2B5EF4-FFF2-40B4-BE49-F238E27FC236}">
                <a16:creationId xmlns:a16="http://schemas.microsoft.com/office/drawing/2014/main" id="{1442B266-F80E-481E-9896-1EEFA21253F6}"/>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09F08AE1-FAE5-4197-9DA1-1BAFE7137175}"/>
              </a:ext>
            </a:extLst>
          </p:cNvPr>
          <p:cNvSpPr>
            <a:spLocks noGrp="1"/>
          </p:cNvSpPr>
          <p:nvPr>
            <p:ph type="sldNum" sz="quarter" idx="11"/>
          </p:nvPr>
        </p:nvSpPr>
        <p:spPr/>
        <p:txBody>
          <a:bodyPr/>
          <a:lstStyle/>
          <a:p>
            <a:r>
              <a:rPr lang="en-US" dirty="0"/>
              <a:t>Page </a:t>
            </a:r>
            <a:fld id="{15EBE321-CBB1-4E91-BD14-37C8D44326FB}" type="slidenum">
              <a:rPr lang="en-US" smtClean="0"/>
              <a:pPr/>
              <a:t>138</a:t>
            </a:fld>
            <a:endParaRPr lang="en-US" dirty="0"/>
          </a:p>
        </p:txBody>
      </p:sp>
    </p:spTree>
    <p:extLst>
      <p:ext uri="{BB962C8B-B14F-4D97-AF65-F5344CB8AC3E}">
        <p14:creationId xmlns:p14="http://schemas.microsoft.com/office/powerpoint/2010/main" val="55712889"/>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el 1"/>
          <p:cNvSpPr>
            <a:spLocks noGrp="1"/>
          </p:cNvSpPr>
          <p:nvPr>
            <p:ph type="title"/>
          </p:nvPr>
        </p:nvSpPr>
        <p:spPr bwMode="gray"/>
        <p:txBody>
          <a:bodyPr/>
          <a:lstStyle/>
          <a:p>
            <a:r>
              <a:rPr lang="en-US" altLang="de-DE" dirty="0"/>
              <a:t>Scale – unbalanced weight </a:t>
            </a:r>
          </a:p>
        </p:txBody>
      </p:sp>
      <p:sp>
        <p:nvSpPr>
          <p:cNvPr id="16" name="Rechteck 15"/>
          <p:cNvSpPr/>
          <p:nvPr/>
        </p:nvSpPr>
        <p:spPr bwMode="gray">
          <a:xfrm rot="21240000">
            <a:off x="1832400" y="4680244"/>
            <a:ext cx="8532000" cy="71963"/>
          </a:xfrm>
          <a:prstGeom prst="rect">
            <a:avLst/>
          </a:prstGeom>
          <a:solidFill>
            <a:srgbClr val="66667E"/>
          </a:solidFill>
          <a:ln>
            <a:noFill/>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endParaRPr lang="en-US" sz="2399" dirty="0">
              <a:solidFill>
                <a:srgbClr val="000000"/>
              </a:solidFill>
              <a:ea typeface="ヒラギノ角ゴ Pro W3" charset="0"/>
            </a:endParaRPr>
          </a:p>
        </p:txBody>
      </p:sp>
      <p:sp>
        <p:nvSpPr>
          <p:cNvPr id="77" name="Freeform 76"/>
          <p:cNvSpPr/>
          <p:nvPr/>
        </p:nvSpPr>
        <p:spPr bwMode="gray">
          <a:xfrm>
            <a:off x="5288400" y="4834800"/>
            <a:ext cx="1620000" cy="972000"/>
          </a:xfrm>
          <a:custGeom>
            <a:avLst/>
            <a:gdLst>
              <a:gd name="connsiteX0" fmla="*/ 796958 w 1593916"/>
              <a:gd name="connsiteY0" fmla="*/ 0 h 956221"/>
              <a:gd name="connsiteX1" fmla="*/ 1593916 w 1593916"/>
              <a:gd name="connsiteY1" fmla="*/ 833763 h 956221"/>
              <a:gd name="connsiteX2" fmla="*/ 1593916 w 1593916"/>
              <a:gd name="connsiteY2" fmla="*/ 956221 h 956221"/>
              <a:gd name="connsiteX3" fmla="*/ 0 w 1593916"/>
              <a:gd name="connsiteY3" fmla="*/ 956221 h 956221"/>
              <a:gd name="connsiteX4" fmla="*/ 0 w 1593916"/>
              <a:gd name="connsiteY4" fmla="*/ 833763 h 956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916" h="956221">
                <a:moveTo>
                  <a:pt x="796958" y="0"/>
                </a:moveTo>
                <a:lnTo>
                  <a:pt x="1593916" y="833763"/>
                </a:lnTo>
                <a:lnTo>
                  <a:pt x="1593916" y="956221"/>
                </a:lnTo>
                <a:lnTo>
                  <a:pt x="0" y="956221"/>
                </a:lnTo>
                <a:lnTo>
                  <a:pt x="0" y="833763"/>
                </a:lnTo>
                <a:close/>
              </a:path>
            </a:pathLst>
          </a:custGeom>
          <a:solidFill>
            <a:srgbClr val="66667E"/>
          </a:solidFill>
          <a:ln>
            <a:noFill/>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endParaRPr lang="en-US" sz="2399" dirty="0">
              <a:solidFill>
                <a:srgbClr val="000000"/>
              </a:solidFill>
              <a:ea typeface="ヒラギノ角ゴ Pro W3" charset="0"/>
            </a:endParaRPr>
          </a:p>
        </p:txBody>
      </p:sp>
      <p:sp>
        <p:nvSpPr>
          <p:cNvPr id="18" name="Ellipse 17"/>
          <p:cNvSpPr/>
          <p:nvPr/>
        </p:nvSpPr>
        <p:spPr bwMode="gray">
          <a:xfrm>
            <a:off x="5306401" y="3898800"/>
            <a:ext cx="1584000" cy="1584000"/>
          </a:xfrm>
          <a:prstGeom prst="ellipse">
            <a:avLst/>
          </a:prstGeom>
          <a:solidFill>
            <a:srgbClr val="9999A9"/>
          </a:solid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2" algn="ctr">
              <a:tabLst>
                <a:tab pos="0" algn="l"/>
              </a:tabLst>
            </a:pPr>
            <a:r>
              <a:rPr lang="en-US" sz="1799" b="1" dirty="0">
                <a:solidFill>
                  <a:srgbClr val="000028"/>
                </a:solidFill>
                <a:ea typeface="Arial Unicode MS"/>
              </a:rPr>
              <a:t>Cras ultricies mi eu</a:t>
            </a:r>
          </a:p>
        </p:txBody>
      </p:sp>
      <p:grpSp>
        <p:nvGrpSpPr>
          <p:cNvPr id="3" name="Group 2"/>
          <p:cNvGrpSpPr/>
          <p:nvPr/>
        </p:nvGrpSpPr>
        <p:grpSpPr>
          <a:xfrm>
            <a:off x="410401" y="4546800"/>
            <a:ext cx="3600000" cy="586681"/>
            <a:chOff x="1531110" y="4931335"/>
            <a:chExt cx="3601880" cy="586987"/>
          </a:xfrm>
          <a:solidFill>
            <a:srgbClr val="BECDD7"/>
          </a:solidFill>
        </p:grpSpPr>
        <p:cxnSp>
          <p:nvCxnSpPr>
            <p:cNvPr id="69" name="Gerade Verbindung mit Pfeil 32"/>
            <p:cNvCxnSpPr/>
            <p:nvPr/>
          </p:nvCxnSpPr>
          <p:spPr bwMode="auto">
            <a:xfrm flipV="1">
              <a:off x="3332050" y="5032452"/>
              <a:ext cx="0" cy="485870"/>
            </a:xfrm>
            <a:prstGeom prst="straightConnector1">
              <a:avLst/>
            </a:prstGeom>
            <a:grpFill/>
            <a:ln w="38100" cap="flat" cmpd="sng" algn="ctr">
              <a:solidFill>
                <a:srgbClr val="66667E"/>
              </a:solidFill>
              <a:prstDash val="solid"/>
              <a:round/>
              <a:headEnd type="oval" w="lg" len="lg"/>
              <a:tailEnd type="none" w="lg" len="lg"/>
            </a:ln>
            <a:effectLst/>
          </p:spPr>
        </p:cxnSp>
        <p:sp>
          <p:nvSpPr>
            <p:cNvPr id="26" name="Rechteck 25"/>
            <p:cNvSpPr/>
            <p:nvPr/>
          </p:nvSpPr>
          <p:spPr bwMode="gray">
            <a:xfrm>
              <a:off x="1531110" y="4931335"/>
              <a:ext cx="3601880" cy="216113"/>
            </a:xfrm>
            <a:prstGeom prst="rect">
              <a:avLst/>
            </a:prstGeom>
            <a:solidFill>
              <a:srgbClr val="9999A9"/>
            </a:solidFill>
            <a:ln>
              <a:noFill/>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endParaRPr lang="en-US" sz="2399" dirty="0">
                <a:solidFill>
                  <a:srgbClr val="000000"/>
                </a:solidFill>
                <a:ea typeface="ヒラギノ角ゴ Pro W3" charset="0"/>
              </a:endParaRPr>
            </a:p>
          </p:txBody>
        </p:sp>
      </p:grpSp>
      <p:grpSp>
        <p:nvGrpSpPr>
          <p:cNvPr id="71" name="Group 70"/>
          <p:cNvGrpSpPr/>
          <p:nvPr/>
        </p:nvGrpSpPr>
        <p:grpSpPr>
          <a:xfrm>
            <a:off x="8186400" y="3718795"/>
            <a:ext cx="3600000" cy="590200"/>
            <a:chOff x="1531110" y="4927814"/>
            <a:chExt cx="2763356" cy="590508"/>
          </a:xfrm>
        </p:grpSpPr>
        <p:cxnSp>
          <p:nvCxnSpPr>
            <p:cNvPr id="72" name="Gerade Verbindung mit Pfeil 32"/>
            <p:cNvCxnSpPr/>
            <p:nvPr/>
          </p:nvCxnSpPr>
          <p:spPr bwMode="auto">
            <a:xfrm flipV="1">
              <a:off x="2912788" y="5032452"/>
              <a:ext cx="0" cy="485870"/>
            </a:xfrm>
            <a:prstGeom prst="straightConnector1">
              <a:avLst/>
            </a:prstGeom>
            <a:noFill/>
            <a:ln w="38100" cap="flat" cmpd="sng" algn="ctr">
              <a:solidFill>
                <a:srgbClr val="66667E"/>
              </a:solidFill>
              <a:prstDash val="solid"/>
              <a:round/>
              <a:headEnd type="oval" w="lg" len="lg"/>
              <a:tailEnd type="none" w="lg" len="lg"/>
            </a:ln>
            <a:effectLst/>
          </p:spPr>
        </p:cxnSp>
        <p:sp>
          <p:nvSpPr>
            <p:cNvPr id="73" name="Rechteck 25"/>
            <p:cNvSpPr/>
            <p:nvPr/>
          </p:nvSpPr>
          <p:spPr bwMode="gray">
            <a:xfrm>
              <a:off x="1531110" y="4927814"/>
              <a:ext cx="2763356" cy="216113"/>
            </a:xfrm>
            <a:prstGeom prst="rect">
              <a:avLst/>
            </a:prstGeom>
            <a:solidFill>
              <a:srgbClr val="00FFB9"/>
            </a:solidFill>
            <a:ln>
              <a:noFill/>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endParaRPr lang="en-US" sz="2399" dirty="0">
                <a:solidFill>
                  <a:srgbClr val="000000"/>
                </a:solidFill>
                <a:ea typeface="ヒラギノ角ゴ Pro W3" charset="0"/>
              </a:endParaRPr>
            </a:p>
          </p:txBody>
        </p:sp>
      </p:grpSp>
      <p:sp>
        <p:nvSpPr>
          <p:cNvPr id="75" name="Textfeld 30"/>
          <p:cNvSpPr txBox="1">
            <a:spLocks/>
          </p:cNvSpPr>
          <p:nvPr/>
        </p:nvSpPr>
        <p:spPr bwMode="gray">
          <a:xfrm>
            <a:off x="410401" y="2242800"/>
            <a:ext cx="3599621" cy="2304000"/>
          </a:xfrm>
          <a:prstGeom prst="rect">
            <a:avLst/>
          </a:prstGeom>
          <a:noFill/>
          <a:ln>
            <a:noFill/>
          </a:ln>
          <a:scene3d>
            <a:camera prst="orthographicFront">
              <a:rot lat="0" lon="0" rev="0"/>
            </a:camera>
            <a:lightRig rig="threePt" dir="t"/>
          </a:scene3d>
        </p:spPr>
        <p:txBody>
          <a:bodyPr wrap="square" lIns="0" tIns="0" rIns="0" bIns="143925" rtlCol="0" anchor="b" anchorCtr="0">
            <a:noAutofit/>
          </a:bodyPr>
          <a:lstStyle/>
          <a:p>
            <a:pPr algn="ctr">
              <a:tabLst>
                <a:tab pos="1255085" algn="r"/>
              </a:tabLst>
              <a:defRPr/>
            </a:pPr>
            <a:r>
              <a:rPr lang="en-US" altLang="de-DE" sz="2399" b="1" dirty="0">
                <a:solidFill>
                  <a:srgbClr val="9999A9"/>
                </a:solidFill>
                <a:ea typeface="Arial Unicode MS"/>
              </a:rPr>
              <a:t>Stet clita kasd gubergren, no sea takimata sanctus est lorem</a:t>
            </a:r>
          </a:p>
        </p:txBody>
      </p:sp>
      <p:sp>
        <p:nvSpPr>
          <p:cNvPr id="76" name="Textfeld 30"/>
          <p:cNvSpPr txBox="1">
            <a:spLocks/>
          </p:cNvSpPr>
          <p:nvPr/>
        </p:nvSpPr>
        <p:spPr bwMode="gray">
          <a:xfrm>
            <a:off x="8186400" y="1415848"/>
            <a:ext cx="3600000" cy="2304000"/>
          </a:xfrm>
          <a:prstGeom prst="rect">
            <a:avLst/>
          </a:prstGeom>
          <a:noFill/>
          <a:ln>
            <a:noFill/>
          </a:ln>
          <a:scene3d>
            <a:camera prst="orthographicFront">
              <a:rot lat="0" lon="0" rev="0"/>
            </a:camera>
            <a:lightRig rig="threePt" dir="t"/>
          </a:scene3d>
        </p:spPr>
        <p:txBody>
          <a:bodyPr wrap="square" lIns="0" tIns="0" rIns="0" bIns="143925" rtlCol="0" anchor="b" anchorCtr="0">
            <a:noAutofit/>
          </a:bodyPr>
          <a:lstStyle/>
          <a:p>
            <a:pPr algn="ctr">
              <a:tabLst>
                <a:tab pos="1255085" algn="r"/>
              </a:tabLst>
              <a:defRPr/>
            </a:pPr>
            <a:r>
              <a:rPr lang="en-US" altLang="de-DE" sz="2399" b="1" dirty="0">
                <a:solidFill>
                  <a:srgbClr val="00FFB9"/>
                </a:solidFill>
                <a:ea typeface="Arial Unicode MS"/>
              </a:rPr>
              <a:t>Consetetur </a:t>
            </a:r>
            <a:br>
              <a:rPr lang="en-US" altLang="de-DE" sz="2399" b="1" dirty="0">
                <a:solidFill>
                  <a:srgbClr val="00FFB9"/>
                </a:solidFill>
                <a:ea typeface="Arial Unicode MS"/>
              </a:rPr>
            </a:br>
            <a:r>
              <a:rPr lang="en-US" altLang="de-DE" sz="2399" b="1" dirty="0">
                <a:solidFill>
                  <a:srgbClr val="00FFB9"/>
                </a:solidFill>
                <a:ea typeface="Arial Unicode MS"/>
              </a:rPr>
              <a:t>sadipscing elitr, seddiam nonumy</a:t>
            </a:r>
          </a:p>
        </p:txBody>
      </p:sp>
      <p:sp>
        <p:nvSpPr>
          <p:cNvPr id="2" name="Footer Placeholder 1">
            <a:extLst>
              <a:ext uri="{FF2B5EF4-FFF2-40B4-BE49-F238E27FC236}">
                <a16:creationId xmlns:a16="http://schemas.microsoft.com/office/drawing/2014/main" id="{59C13E39-EE0A-49DB-8478-776E81632DCC}"/>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0814AE6E-7D67-4902-A4FD-FF40FFDD9AE5}"/>
              </a:ext>
            </a:extLst>
          </p:cNvPr>
          <p:cNvSpPr>
            <a:spLocks noGrp="1"/>
          </p:cNvSpPr>
          <p:nvPr>
            <p:ph type="sldNum" sz="quarter" idx="11"/>
          </p:nvPr>
        </p:nvSpPr>
        <p:spPr/>
        <p:txBody>
          <a:bodyPr/>
          <a:lstStyle/>
          <a:p>
            <a:r>
              <a:rPr lang="en-US" dirty="0"/>
              <a:t>Page </a:t>
            </a:r>
            <a:fld id="{15EBE321-CBB1-4E91-BD14-37C8D44326FB}" type="slidenum">
              <a:rPr lang="en-US" smtClean="0"/>
              <a:pPr/>
              <a:t>139</a:t>
            </a:fld>
            <a:endParaRPr lang="en-US" dirty="0"/>
          </a:p>
        </p:txBody>
      </p:sp>
    </p:spTree>
    <p:extLst>
      <p:ext uri="{BB962C8B-B14F-4D97-AF65-F5344CB8AC3E}">
        <p14:creationId xmlns:p14="http://schemas.microsoft.com/office/powerpoint/2010/main" val="14341464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Inhaltsplatzhalter 2">
            <a:extLst>
              <a:ext uri="{FF2B5EF4-FFF2-40B4-BE49-F238E27FC236}">
                <a16:creationId xmlns:a16="http://schemas.microsoft.com/office/drawing/2014/main" id="{95789268-B0BD-48D2-A9E2-5472976E01FA}"/>
              </a:ext>
            </a:extLst>
          </p:cNvPr>
          <p:cNvSpPr txBox="1">
            <a:spLocks/>
          </p:cNvSpPr>
          <p:nvPr/>
        </p:nvSpPr>
        <p:spPr>
          <a:xfrm>
            <a:off x="6315075" y="1414463"/>
            <a:ext cx="5472113" cy="4752000"/>
          </a:xfrm>
          <a:prstGeom prst="rect">
            <a:avLst/>
          </a:prstGeom>
          <a:solidFill>
            <a:schemeClr val="tx2"/>
          </a:solidFill>
        </p:spPr>
        <p:txBody>
          <a:bodyPr vert="horz" lIns="432000" tIns="360000" rIns="432000" bIns="36000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r>
              <a:rPr lang="en-US" b="1" dirty="0">
                <a:solidFill>
                  <a:schemeClr val="bg1"/>
                </a:solidFill>
              </a:rPr>
              <a:t>Contra</a:t>
            </a:r>
          </a:p>
          <a:p>
            <a:pPr lvl="1"/>
            <a:r>
              <a:rPr lang="en-US" dirty="0">
                <a:solidFill>
                  <a:schemeClr val="bg1"/>
                </a:solidFill>
              </a:rPr>
              <a:t>Cras ultricies mi eu</a:t>
            </a:r>
          </a:p>
          <a:p>
            <a:pPr lvl="1"/>
            <a:r>
              <a:rPr lang="en-US" dirty="0">
                <a:solidFill>
                  <a:schemeClr val="bg1"/>
                </a:solidFill>
              </a:rPr>
              <a:t>Duis arcu tortor, suscipit eget, imperdiet nec, imperdiet iaculis, ipsum</a:t>
            </a:r>
          </a:p>
        </p:txBody>
      </p:sp>
      <p:sp>
        <p:nvSpPr>
          <p:cNvPr id="17" name="Inhaltsplatzhalter 2">
            <a:extLst>
              <a:ext uri="{FF2B5EF4-FFF2-40B4-BE49-F238E27FC236}">
                <a16:creationId xmlns:a16="http://schemas.microsoft.com/office/drawing/2014/main" id="{74220BBB-432A-494D-B5B6-FDBDF93EA35E}"/>
              </a:ext>
            </a:extLst>
          </p:cNvPr>
          <p:cNvSpPr txBox="1">
            <a:spLocks/>
          </p:cNvSpPr>
          <p:nvPr/>
        </p:nvSpPr>
        <p:spPr>
          <a:xfrm>
            <a:off x="410400" y="1414463"/>
            <a:ext cx="5471288" cy="4752000"/>
          </a:xfrm>
          <a:prstGeom prst="rect">
            <a:avLst/>
          </a:prstGeom>
          <a:solidFill>
            <a:srgbClr val="E5E5E9"/>
          </a:solidFill>
        </p:spPr>
        <p:txBody>
          <a:bodyPr vert="horz" lIns="432000" tIns="360000" rIns="432000" bIns="36000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r>
              <a:rPr lang="en-US" b="1" dirty="0">
                <a:solidFill>
                  <a:schemeClr val="tx2"/>
                </a:solidFill>
              </a:rPr>
              <a:t>Pro</a:t>
            </a:r>
          </a:p>
          <a:p>
            <a:pPr lvl="1"/>
            <a:r>
              <a:rPr lang="en-US" dirty="0">
                <a:solidFill>
                  <a:schemeClr val="tx2"/>
                </a:solidFill>
              </a:rPr>
              <a:t>Cras ultricies mi eu</a:t>
            </a:r>
          </a:p>
          <a:p>
            <a:pPr lvl="1"/>
            <a:r>
              <a:rPr lang="en-US" dirty="0">
                <a:solidFill>
                  <a:schemeClr val="tx2"/>
                </a:solidFill>
              </a:rPr>
              <a:t>At vero eos et accusam</a:t>
            </a:r>
          </a:p>
        </p:txBody>
      </p:sp>
      <p:sp>
        <p:nvSpPr>
          <p:cNvPr id="9" name="Titel 8">
            <a:extLst>
              <a:ext uri="{FF2B5EF4-FFF2-40B4-BE49-F238E27FC236}">
                <a16:creationId xmlns:a16="http://schemas.microsoft.com/office/drawing/2014/main" id="{30916218-0FE7-DA40-850A-7231E8C46B1B}"/>
              </a:ext>
            </a:extLst>
          </p:cNvPr>
          <p:cNvSpPr>
            <a:spLocks noGrp="1"/>
          </p:cNvSpPr>
          <p:nvPr>
            <p:ph type="title"/>
          </p:nvPr>
        </p:nvSpPr>
        <p:spPr/>
        <p:txBody>
          <a:bodyPr/>
          <a:lstStyle/>
          <a:p>
            <a:r>
              <a:rPr lang="en-US" dirty="0"/>
              <a:t>Comparison – pro and contra</a:t>
            </a:r>
          </a:p>
        </p:txBody>
      </p:sp>
      <p:sp>
        <p:nvSpPr>
          <p:cNvPr id="3" name="Fußzeilenplatzhalter 2">
            <a:extLst>
              <a:ext uri="{FF2B5EF4-FFF2-40B4-BE49-F238E27FC236}">
                <a16:creationId xmlns:a16="http://schemas.microsoft.com/office/drawing/2014/main" id="{6944935C-0A56-F643-B740-58DF1DF54D92}"/>
              </a:ext>
            </a:extLst>
          </p:cNvPr>
          <p:cNvSpPr>
            <a:spLocks noGrp="1"/>
          </p:cNvSpPr>
          <p:nvPr>
            <p:ph type="ftr" sz="quarter" idx="10"/>
          </p:nvPr>
        </p:nvSpPr>
        <p:spPr/>
        <p:txBody>
          <a:bodyPr/>
          <a:lstStyle/>
          <a:p>
            <a:r>
              <a:rPr lang="en-US" dirty="0"/>
              <a:t>Restricted | © Siemens 20XX | Author | Department | YYYY-MM-DD</a:t>
            </a:r>
          </a:p>
        </p:txBody>
      </p:sp>
      <p:sp>
        <p:nvSpPr>
          <p:cNvPr id="4" name="Foliennummernplatzhalter 3">
            <a:extLst>
              <a:ext uri="{FF2B5EF4-FFF2-40B4-BE49-F238E27FC236}">
                <a16:creationId xmlns:a16="http://schemas.microsoft.com/office/drawing/2014/main" id="{47EA469E-CFF4-9C45-9AEE-0BE7E3565C9B}"/>
              </a:ext>
            </a:extLst>
          </p:cNvPr>
          <p:cNvSpPr>
            <a:spLocks noGrp="1"/>
          </p:cNvSpPr>
          <p:nvPr>
            <p:ph type="sldNum" sz="quarter" idx="11"/>
          </p:nvPr>
        </p:nvSpPr>
        <p:spPr/>
        <p:txBody>
          <a:bodyPr/>
          <a:lstStyle/>
          <a:p>
            <a:r>
              <a:rPr lang="en-US" dirty="0"/>
              <a:t>Page </a:t>
            </a:r>
            <a:fld id="{15EBE321-CBB1-4E91-BD14-37C8D44326FB}" type="slidenum">
              <a:rPr lang="en-US" smtClean="0"/>
              <a:pPr/>
              <a:t>14</a:t>
            </a:fld>
            <a:endParaRPr lang="en-US" dirty="0"/>
          </a:p>
        </p:txBody>
      </p:sp>
      <p:sp>
        <p:nvSpPr>
          <p:cNvPr id="10" name="Rectangle 67">
            <a:extLst>
              <a:ext uri="{FF2B5EF4-FFF2-40B4-BE49-F238E27FC236}">
                <a16:creationId xmlns:a16="http://schemas.microsoft.com/office/drawing/2014/main" id="{0797F3CA-3262-4595-8A0A-AA7E26F89A77}"/>
              </a:ext>
            </a:extLst>
          </p:cNvPr>
          <p:cNvSpPr>
            <a:spLocks noChangeAspect="1" noChangeArrowheads="1"/>
          </p:cNvSpPr>
          <p:nvPr/>
        </p:nvSpPr>
        <p:spPr bwMode="auto">
          <a:xfrm>
            <a:off x="10346400" y="5130867"/>
            <a:ext cx="1080000" cy="288000"/>
          </a:xfrm>
          <a:prstGeom prst="rect">
            <a:avLst/>
          </a:pr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rgbClr val="BECDD7"/>
              </a:solidFill>
            </a:endParaRPr>
          </a:p>
        </p:txBody>
      </p:sp>
      <p:sp>
        <p:nvSpPr>
          <p:cNvPr id="11" name="Freeform 62">
            <a:extLst>
              <a:ext uri="{FF2B5EF4-FFF2-40B4-BE49-F238E27FC236}">
                <a16:creationId xmlns:a16="http://schemas.microsoft.com/office/drawing/2014/main" id="{4C3F61E1-AEA9-4DE5-AA96-42FBF80A35CE}"/>
              </a:ext>
            </a:extLst>
          </p:cNvPr>
          <p:cNvSpPr>
            <a:spLocks noChangeAspect="1"/>
          </p:cNvSpPr>
          <p:nvPr/>
        </p:nvSpPr>
        <p:spPr bwMode="auto">
          <a:xfrm>
            <a:off x="4442400" y="4734867"/>
            <a:ext cx="1080000" cy="1080000"/>
          </a:xfrm>
          <a:custGeom>
            <a:avLst/>
            <a:gdLst>
              <a:gd name="T0" fmla="*/ 132 w 132"/>
              <a:gd name="T1" fmla="*/ 53 h 131"/>
              <a:gd name="T2" fmla="*/ 83 w 132"/>
              <a:gd name="T3" fmla="*/ 49 h 131"/>
              <a:gd name="T4" fmla="*/ 79 w 132"/>
              <a:gd name="T5" fmla="*/ 0 h 131"/>
              <a:gd name="T6" fmla="*/ 53 w 132"/>
              <a:gd name="T7" fmla="*/ 0 h 131"/>
              <a:gd name="T8" fmla="*/ 49 w 132"/>
              <a:gd name="T9" fmla="*/ 49 h 131"/>
              <a:gd name="T10" fmla="*/ 0 w 132"/>
              <a:gd name="T11" fmla="*/ 53 h 131"/>
              <a:gd name="T12" fmla="*/ 0 w 132"/>
              <a:gd name="T13" fmla="*/ 79 h 131"/>
              <a:gd name="T14" fmla="*/ 49 w 132"/>
              <a:gd name="T15" fmla="*/ 82 h 131"/>
              <a:gd name="T16" fmla="*/ 53 w 132"/>
              <a:gd name="T17" fmla="*/ 131 h 131"/>
              <a:gd name="T18" fmla="*/ 79 w 132"/>
              <a:gd name="T19" fmla="*/ 131 h 131"/>
              <a:gd name="T20" fmla="*/ 83 w 132"/>
              <a:gd name="T21" fmla="*/ 82 h 131"/>
              <a:gd name="T22" fmla="*/ 132 w 132"/>
              <a:gd name="T23" fmla="*/ 79 h 131"/>
              <a:gd name="T24" fmla="*/ 132 w 132"/>
              <a:gd name="T25" fmla="*/ 53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2" h="131">
                <a:moveTo>
                  <a:pt x="132" y="53"/>
                </a:moveTo>
                <a:lnTo>
                  <a:pt x="83" y="49"/>
                </a:lnTo>
                <a:lnTo>
                  <a:pt x="79" y="0"/>
                </a:lnTo>
                <a:lnTo>
                  <a:pt x="53" y="0"/>
                </a:lnTo>
                <a:lnTo>
                  <a:pt x="49" y="49"/>
                </a:lnTo>
                <a:lnTo>
                  <a:pt x="0" y="53"/>
                </a:lnTo>
                <a:lnTo>
                  <a:pt x="0" y="79"/>
                </a:lnTo>
                <a:lnTo>
                  <a:pt x="49" y="82"/>
                </a:lnTo>
                <a:lnTo>
                  <a:pt x="53" y="131"/>
                </a:lnTo>
                <a:lnTo>
                  <a:pt x="79" y="131"/>
                </a:lnTo>
                <a:lnTo>
                  <a:pt x="83" y="82"/>
                </a:lnTo>
                <a:lnTo>
                  <a:pt x="132" y="79"/>
                </a:lnTo>
                <a:lnTo>
                  <a:pt x="132" y="5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BECDD7"/>
              </a:solidFill>
            </a:endParaRPr>
          </a:p>
        </p:txBody>
      </p:sp>
    </p:spTree>
    <p:extLst>
      <p:ext uri="{BB962C8B-B14F-4D97-AF65-F5344CB8AC3E}">
        <p14:creationId xmlns:p14="http://schemas.microsoft.com/office/powerpoint/2010/main" val="2921883198"/>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el 1"/>
          <p:cNvSpPr>
            <a:spLocks noGrp="1"/>
          </p:cNvSpPr>
          <p:nvPr>
            <p:ph type="title"/>
          </p:nvPr>
        </p:nvSpPr>
        <p:spPr bwMode="gray"/>
        <p:txBody>
          <a:bodyPr/>
          <a:lstStyle/>
          <a:p>
            <a:r>
              <a:rPr lang="en-US" altLang="de-DE" dirty="0"/>
              <a:t>Scale – balanced weight </a:t>
            </a:r>
          </a:p>
        </p:txBody>
      </p:sp>
      <p:sp>
        <p:nvSpPr>
          <p:cNvPr id="16" name="Rechteck 15"/>
          <p:cNvSpPr/>
          <p:nvPr/>
        </p:nvSpPr>
        <p:spPr bwMode="gray">
          <a:xfrm>
            <a:off x="1832400" y="4680244"/>
            <a:ext cx="8532000" cy="71963"/>
          </a:xfrm>
          <a:prstGeom prst="rect">
            <a:avLst/>
          </a:prstGeom>
          <a:solidFill>
            <a:srgbClr val="CCCCD4"/>
          </a:solidFill>
          <a:ln>
            <a:noFill/>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endParaRPr lang="en-US" sz="2399" dirty="0">
              <a:solidFill>
                <a:srgbClr val="000000"/>
              </a:solidFill>
              <a:ea typeface="ヒラギノ角ゴ Pro W3" charset="0"/>
            </a:endParaRPr>
          </a:p>
        </p:txBody>
      </p:sp>
      <p:sp>
        <p:nvSpPr>
          <p:cNvPr id="77" name="Freeform 76"/>
          <p:cNvSpPr/>
          <p:nvPr/>
        </p:nvSpPr>
        <p:spPr bwMode="gray">
          <a:xfrm>
            <a:off x="5288400" y="4834800"/>
            <a:ext cx="1620000" cy="972000"/>
          </a:xfrm>
          <a:custGeom>
            <a:avLst/>
            <a:gdLst>
              <a:gd name="connsiteX0" fmla="*/ 796958 w 1593916"/>
              <a:gd name="connsiteY0" fmla="*/ 0 h 956221"/>
              <a:gd name="connsiteX1" fmla="*/ 1593916 w 1593916"/>
              <a:gd name="connsiteY1" fmla="*/ 833763 h 956221"/>
              <a:gd name="connsiteX2" fmla="*/ 1593916 w 1593916"/>
              <a:gd name="connsiteY2" fmla="*/ 956221 h 956221"/>
              <a:gd name="connsiteX3" fmla="*/ 0 w 1593916"/>
              <a:gd name="connsiteY3" fmla="*/ 956221 h 956221"/>
              <a:gd name="connsiteX4" fmla="*/ 0 w 1593916"/>
              <a:gd name="connsiteY4" fmla="*/ 833763 h 956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916" h="956221">
                <a:moveTo>
                  <a:pt x="796958" y="0"/>
                </a:moveTo>
                <a:lnTo>
                  <a:pt x="1593916" y="833763"/>
                </a:lnTo>
                <a:lnTo>
                  <a:pt x="1593916" y="956221"/>
                </a:lnTo>
                <a:lnTo>
                  <a:pt x="0" y="956221"/>
                </a:lnTo>
                <a:lnTo>
                  <a:pt x="0" y="833763"/>
                </a:lnTo>
                <a:close/>
              </a:path>
            </a:pathLst>
          </a:custGeom>
          <a:solidFill>
            <a:srgbClr val="CCCCD4"/>
          </a:solidFill>
          <a:ln>
            <a:noFill/>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endParaRPr lang="en-US" sz="2399" dirty="0">
              <a:solidFill>
                <a:srgbClr val="000000"/>
              </a:solidFill>
              <a:ea typeface="ヒラギノ角ゴ Pro W3" charset="0"/>
            </a:endParaRPr>
          </a:p>
        </p:txBody>
      </p:sp>
      <p:sp>
        <p:nvSpPr>
          <p:cNvPr id="18" name="Ellipse 17"/>
          <p:cNvSpPr/>
          <p:nvPr/>
        </p:nvSpPr>
        <p:spPr bwMode="gray">
          <a:xfrm>
            <a:off x="5306401" y="3898800"/>
            <a:ext cx="1584000" cy="1584000"/>
          </a:xfrm>
          <a:prstGeom prst="ellipse">
            <a:avLst/>
          </a:prstGeom>
          <a:solidFill>
            <a:srgbClr val="9999A9"/>
          </a:solid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2" algn="ctr">
              <a:tabLst>
                <a:tab pos="0" algn="l"/>
              </a:tabLst>
            </a:pPr>
            <a:r>
              <a:rPr lang="en-US" sz="1799" b="1" dirty="0">
                <a:solidFill>
                  <a:schemeClr val="bg1"/>
                </a:solidFill>
                <a:ea typeface="Arial Unicode MS"/>
              </a:rPr>
              <a:t>Cras ultricies mi eu</a:t>
            </a:r>
          </a:p>
        </p:txBody>
      </p:sp>
      <p:grpSp>
        <p:nvGrpSpPr>
          <p:cNvPr id="3" name="Group 2"/>
          <p:cNvGrpSpPr/>
          <p:nvPr/>
        </p:nvGrpSpPr>
        <p:grpSpPr>
          <a:xfrm>
            <a:off x="410401" y="4132800"/>
            <a:ext cx="3600000" cy="586681"/>
            <a:chOff x="1531110" y="4931335"/>
            <a:chExt cx="3601880" cy="586987"/>
          </a:xfrm>
          <a:solidFill>
            <a:srgbClr val="BECDD7"/>
          </a:solidFill>
        </p:grpSpPr>
        <p:cxnSp>
          <p:nvCxnSpPr>
            <p:cNvPr id="69" name="Gerade Verbindung mit Pfeil 32"/>
            <p:cNvCxnSpPr/>
            <p:nvPr/>
          </p:nvCxnSpPr>
          <p:spPr bwMode="auto">
            <a:xfrm flipV="1">
              <a:off x="3332050" y="5032452"/>
              <a:ext cx="0" cy="485870"/>
            </a:xfrm>
            <a:prstGeom prst="straightConnector1">
              <a:avLst/>
            </a:prstGeom>
            <a:grpFill/>
            <a:ln w="38100" cap="flat" cmpd="sng" algn="ctr">
              <a:solidFill>
                <a:srgbClr val="CCCCD4"/>
              </a:solidFill>
              <a:prstDash val="solid"/>
              <a:round/>
              <a:headEnd type="oval" w="lg" len="lg"/>
              <a:tailEnd type="none" w="lg" len="lg"/>
            </a:ln>
            <a:effectLst/>
          </p:spPr>
        </p:cxnSp>
        <p:sp>
          <p:nvSpPr>
            <p:cNvPr id="26" name="Rechteck 25"/>
            <p:cNvSpPr/>
            <p:nvPr/>
          </p:nvSpPr>
          <p:spPr bwMode="gray">
            <a:xfrm>
              <a:off x="1531110" y="4931335"/>
              <a:ext cx="3601880" cy="216113"/>
            </a:xfrm>
            <a:prstGeom prst="rect">
              <a:avLst/>
            </a:prstGeom>
            <a:solidFill>
              <a:schemeClr val="accent1"/>
            </a:solidFill>
            <a:ln>
              <a:noFill/>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endParaRPr lang="en-US" sz="2399" dirty="0">
                <a:solidFill>
                  <a:srgbClr val="000000"/>
                </a:solidFill>
                <a:ea typeface="ヒラギノ角ゴ Pro W3" charset="0"/>
              </a:endParaRPr>
            </a:p>
          </p:txBody>
        </p:sp>
      </p:grpSp>
      <p:grpSp>
        <p:nvGrpSpPr>
          <p:cNvPr id="71" name="Group 70"/>
          <p:cNvGrpSpPr/>
          <p:nvPr/>
        </p:nvGrpSpPr>
        <p:grpSpPr>
          <a:xfrm>
            <a:off x="8186400" y="4129281"/>
            <a:ext cx="3600000" cy="590200"/>
            <a:chOff x="1531110" y="4927814"/>
            <a:chExt cx="2763356" cy="590508"/>
          </a:xfrm>
        </p:grpSpPr>
        <p:cxnSp>
          <p:nvCxnSpPr>
            <p:cNvPr id="72" name="Gerade Verbindung mit Pfeil 32"/>
            <p:cNvCxnSpPr/>
            <p:nvPr/>
          </p:nvCxnSpPr>
          <p:spPr bwMode="auto">
            <a:xfrm flipV="1">
              <a:off x="2912788" y="5032452"/>
              <a:ext cx="0" cy="485870"/>
            </a:xfrm>
            <a:prstGeom prst="straightConnector1">
              <a:avLst/>
            </a:prstGeom>
            <a:noFill/>
            <a:ln w="38100" cap="flat" cmpd="sng" algn="ctr">
              <a:solidFill>
                <a:srgbClr val="CCCCD4"/>
              </a:solidFill>
              <a:prstDash val="solid"/>
              <a:round/>
              <a:headEnd type="oval" w="lg" len="lg"/>
              <a:tailEnd type="none" w="lg" len="lg"/>
            </a:ln>
            <a:effectLst/>
          </p:spPr>
        </p:cxnSp>
        <p:sp>
          <p:nvSpPr>
            <p:cNvPr id="73" name="Rechteck 25"/>
            <p:cNvSpPr/>
            <p:nvPr/>
          </p:nvSpPr>
          <p:spPr bwMode="gray">
            <a:xfrm>
              <a:off x="1531110" y="4927814"/>
              <a:ext cx="2763356" cy="216113"/>
            </a:xfrm>
            <a:prstGeom prst="rect">
              <a:avLst/>
            </a:prstGeom>
            <a:solidFill>
              <a:schemeClr val="accent1"/>
            </a:solidFill>
            <a:ln>
              <a:noFill/>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endParaRPr lang="en-US" sz="2399" dirty="0">
                <a:solidFill>
                  <a:srgbClr val="000000"/>
                </a:solidFill>
                <a:ea typeface="ヒラギノ角ゴ Pro W3" charset="0"/>
              </a:endParaRPr>
            </a:p>
          </p:txBody>
        </p:sp>
      </p:grpSp>
      <p:sp>
        <p:nvSpPr>
          <p:cNvPr id="75" name="Textfeld 30"/>
          <p:cNvSpPr txBox="1">
            <a:spLocks/>
          </p:cNvSpPr>
          <p:nvPr/>
        </p:nvSpPr>
        <p:spPr bwMode="gray">
          <a:xfrm>
            <a:off x="410401" y="1828800"/>
            <a:ext cx="3599621" cy="2304000"/>
          </a:xfrm>
          <a:prstGeom prst="rect">
            <a:avLst/>
          </a:prstGeom>
          <a:noFill/>
          <a:ln>
            <a:noFill/>
          </a:ln>
          <a:scene3d>
            <a:camera prst="orthographicFront">
              <a:rot lat="0" lon="0" rev="0"/>
            </a:camera>
            <a:lightRig rig="threePt" dir="t"/>
          </a:scene3d>
        </p:spPr>
        <p:txBody>
          <a:bodyPr wrap="square" lIns="0" tIns="0" rIns="0" bIns="143925" rtlCol="0" anchor="b" anchorCtr="0">
            <a:noAutofit/>
          </a:bodyPr>
          <a:lstStyle/>
          <a:p>
            <a:pPr algn="ctr">
              <a:tabLst>
                <a:tab pos="1255085" algn="r"/>
              </a:tabLst>
              <a:defRPr/>
            </a:pPr>
            <a:r>
              <a:rPr lang="pt-BR" altLang="de-DE" sz="2399" b="1" dirty="0">
                <a:solidFill>
                  <a:srgbClr val="00646E"/>
                </a:solidFill>
                <a:ea typeface="Arial Unicode MS"/>
              </a:rPr>
              <a:t>Phasellus sem</a:t>
            </a:r>
          </a:p>
          <a:p>
            <a:pPr algn="ctr">
              <a:tabLst>
                <a:tab pos="1255085" algn="r"/>
              </a:tabLst>
              <a:defRPr/>
            </a:pPr>
            <a:r>
              <a:rPr lang="pt-BR" altLang="de-DE" sz="2399" b="1" dirty="0">
                <a:solidFill>
                  <a:srgbClr val="00AF8E"/>
                </a:solidFill>
                <a:ea typeface="Arial Unicode MS"/>
              </a:rPr>
              <a:t>Maecenas nec</a:t>
            </a:r>
          </a:p>
          <a:p>
            <a:pPr algn="ctr">
              <a:tabLst>
                <a:tab pos="1255085" algn="r"/>
              </a:tabLst>
              <a:defRPr/>
            </a:pPr>
            <a:r>
              <a:rPr lang="pt-BR" altLang="de-DE" sz="2399" b="1" dirty="0">
                <a:solidFill>
                  <a:srgbClr val="00D7A0"/>
                </a:solidFill>
                <a:ea typeface="Arial Unicode MS"/>
              </a:rPr>
              <a:t>Cras ultricies</a:t>
            </a:r>
          </a:p>
          <a:p>
            <a:pPr algn="ctr">
              <a:tabLst>
                <a:tab pos="1255085" algn="r"/>
              </a:tabLst>
              <a:defRPr/>
            </a:pPr>
            <a:r>
              <a:rPr lang="pt-BR" altLang="de-DE" sz="2399" b="1" dirty="0">
                <a:solidFill>
                  <a:srgbClr val="00FFB9"/>
                </a:solidFill>
                <a:ea typeface="Arial Unicode MS"/>
              </a:rPr>
              <a:t>Duis arcu tortor</a:t>
            </a:r>
          </a:p>
        </p:txBody>
      </p:sp>
      <p:sp>
        <p:nvSpPr>
          <p:cNvPr id="76" name="Textfeld 30"/>
          <p:cNvSpPr txBox="1">
            <a:spLocks/>
          </p:cNvSpPr>
          <p:nvPr/>
        </p:nvSpPr>
        <p:spPr bwMode="gray">
          <a:xfrm>
            <a:off x="8186400" y="1828800"/>
            <a:ext cx="3600000" cy="2304000"/>
          </a:xfrm>
          <a:prstGeom prst="rect">
            <a:avLst/>
          </a:prstGeom>
          <a:noFill/>
          <a:ln>
            <a:noFill/>
          </a:ln>
          <a:scene3d>
            <a:camera prst="orthographicFront">
              <a:rot lat="0" lon="0" rev="0"/>
            </a:camera>
            <a:lightRig rig="threePt" dir="t"/>
          </a:scene3d>
        </p:spPr>
        <p:txBody>
          <a:bodyPr wrap="square" lIns="0" tIns="0" rIns="0" bIns="143925" rtlCol="0" anchor="b" anchorCtr="0">
            <a:noAutofit/>
          </a:bodyPr>
          <a:lstStyle/>
          <a:p>
            <a:pPr algn="ctr">
              <a:tabLst>
                <a:tab pos="1255085" algn="r"/>
              </a:tabLst>
              <a:defRPr/>
            </a:pPr>
            <a:r>
              <a:rPr lang="pt-BR" altLang="de-DE" sz="2399" b="1" dirty="0">
                <a:solidFill>
                  <a:srgbClr val="00646E"/>
                </a:solidFill>
                <a:ea typeface="Arial Unicode MS"/>
              </a:rPr>
              <a:t>Phasellus sem</a:t>
            </a:r>
          </a:p>
          <a:p>
            <a:pPr algn="ctr">
              <a:tabLst>
                <a:tab pos="1255085" algn="r"/>
              </a:tabLst>
              <a:defRPr/>
            </a:pPr>
            <a:r>
              <a:rPr lang="pt-BR" altLang="de-DE" sz="2399" b="1" dirty="0">
                <a:solidFill>
                  <a:srgbClr val="00AF8E"/>
                </a:solidFill>
                <a:ea typeface="Arial Unicode MS"/>
              </a:rPr>
              <a:t>Maecenas nec</a:t>
            </a:r>
          </a:p>
          <a:p>
            <a:pPr algn="ctr">
              <a:tabLst>
                <a:tab pos="1255085" algn="r"/>
              </a:tabLst>
              <a:defRPr/>
            </a:pPr>
            <a:r>
              <a:rPr lang="pt-BR" altLang="de-DE" sz="2399" b="1" dirty="0">
                <a:solidFill>
                  <a:srgbClr val="00D7A0"/>
                </a:solidFill>
                <a:ea typeface="Arial Unicode MS"/>
              </a:rPr>
              <a:t>Cras ultricies</a:t>
            </a:r>
          </a:p>
          <a:p>
            <a:pPr algn="ctr">
              <a:tabLst>
                <a:tab pos="1255085" algn="r"/>
              </a:tabLst>
              <a:defRPr/>
            </a:pPr>
            <a:r>
              <a:rPr lang="pt-BR" altLang="de-DE" sz="2399" b="1" dirty="0">
                <a:solidFill>
                  <a:srgbClr val="00FFB9"/>
                </a:solidFill>
                <a:ea typeface="Arial Unicode MS"/>
              </a:rPr>
              <a:t>Duis arcu tortor</a:t>
            </a:r>
          </a:p>
        </p:txBody>
      </p:sp>
      <p:sp>
        <p:nvSpPr>
          <p:cNvPr id="2" name="Footer Placeholder 1">
            <a:extLst>
              <a:ext uri="{FF2B5EF4-FFF2-40B4-BE49-F238E27FC236}">
                <a16:creationId xmlns:a16="http://schemas.microsoft.com/office/drawing/2014/main" id="{4D0284F7-814E-4A91-8C95-288172364450}"/>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EB7D1E02-7273-4CAE-AD20-EF2BC3AF9A52}"/>
              </a:ext>
            </a:extLst>
          </p:cNvPr>
          <p:cNvSpPr>
            <a:spLocks noGrp="1"/>
          </p:cNvSpPr>
          <p:nvPr>
            <p:ph type="sldNum" sz="quarter" idx="11"/>
          </p:nvPr>
        </p:nvSpPr>
        <p:spPr/>
        <p:txBody>
          <a:bodyPr/>
          <a:lstStyle/>
          <a:p>
            <a:r>
              <a:rPr lang="en-US" dirty="0"/>
              <a:t>Page </a:t>
            </a:r>
            <a:fld id="{15EBE321-CBB1-4E91-BD14-37C8D44326FB}" type="slidenum">
              <a:rPr lang="en-US" smtClean="0"/>
              <a:pPr/>
              <a:t>140</a:t>
            </a:fld>
            <a:endParaRPr lang="en-US" dirty="0"/>
          </a:p>
        </p:txBody>
      </p:sp>
    </p:spTree>
    <p:extLst>
      <p:ext uri="{BB962C8B-B14F-4D97-AF65-F5344CB8AC3E}">
        <p14:creationId xmlns:p14="http://schemas.microsoft.com/office/powerpoint/2010/main" val="2134119889"/>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el 1"/>
          <p:cNvSpPr>
            <a:spLocks noGrp="1"/>
          </p:cNvSpPr>
          <p:nvPr>
            <p:ph type="title"/>
          </p:nvPr>
        </p:nvSpPr>
        <p:spPr bwMode="gray"/>
        <p:txBody>
          <a:bodyPr/>
          <a:lstStyle/>
          <a:p>
            <a:r>
              <a:rPr lang="en-US" altLang="de-DE" dirty="0"/>
              <a:t>Scale – balanced weight </a:t>
            </a:r>
          </a:p>
        </p:txBody>
      </p:sp>
      <p:sp>
        <p:nvSpPr>
          <p:cNvPr id="16" name="Rechteck 15"/>
          <p:cNvSpPr/>
          <p:nvPr/>
        </p:nvSpPr>
        <p:spPr bwMode="gray">
          <a:xfrm>
            <a:off x="1832400" y="4680244"/>
            <a:ext cx="8532000" cy="71963"/>
          </a:xfrm>
          <a:prstGeom prst="rect">
            <a:avLst/>
          </a:prstGeom>
          <a:solidFill>
            <a:srgbClr val="66667E"/>
          </a:solidFill>
          <a:ln>
            <a:noFill/>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endParaRPr lang="en-US" sz="2399" dirty="0">
              <a:solidFill>
                <a:srgbClr val="000000"/>
              </a:solidFill>
              <a:ea typeface="ヒラギノ角ゴ Pro W3" charset="0"/>
            </a:endParaRPr>
          </a:p>
        </p:txBody>
      </p:sp>
      <p:sp>
        <p:nvSpPr>
          <p:cNvPr id="77" name="Freeform 76"/>
          <p:cNvSpPr/>
          <p:nvPr/>
        </p:nvSpPr>
        <p:spPr bwMode="gray">
          <a:xfrm>
            <a:off x="5288400" y="4834800"/>
            <a:ext cx="1620000" cy="972000"/>
          </a:xfrm>
          <a:custGeom>
            <a:avLst/>
            <a:gdLst>
              <a:gd name="connsiteX0" fmla="*/ 796958 w 1593916"/>
              <a:gd name="connsiteY0" fmla="*/ 0 h 956221"/>
              <a:gd name="connsiteX1" fmla="*/ 1593916 w 1593916"/>
              <a:gd name="connsiteY1" fmla="*/ 833763 h 956221"/>
              <a:gd name="connsiteX2" fmla="*/ 1593916 w 1593916"/>
              <a:gd name="connsiteY2" fmla="*/ 956221 h 956221"/>
              <a:gd name="connsiteX3" fmla="*/ 0 w 1593916"/>
              <a:gd name="connsiteY3" fmla="*/ 956221 h 956221"/>
              <a:gd name="connsiteX4" fmla="*/ 0 w 1593916"/>
              <a:gd name="connsiteY4" fmla="*/ 833763 h 956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916" h="956221">
                <a:moveTo>
                  <a:pt x="796958" y="0"/>
                </a:moveTo>
                <a:lnTo>
                  <a:pt x="1593916" y="833763"/>
                </a:lnTo>
                <a:lnTo>
                  <a:pt x="1593916" y="956221"/>
                </a:lnTo>
                <a:lnTo>
                  <a:pt x="0" y="956221"/>
                </a:lnTo>
                <a:lnTo>
                  <a:pt x="0" y="833763"/>
                </a:lnTo>
                <a:close/>
              </a:path>
            </a:pathLst>
          </a:custGeom>
          <a:solidFill>
            <a:srgbClr val="66667E"/>
          </a:solidFill>
          <a:ln>
            <a:noFill/>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endParaRPr lang="en-US" sz="2399" dirty="0">
              <a:solidFill>
                <a:srgbClr val="000000"/>
              </a:solidFill>
              <a:ea typeface="ヒラギノ角ゴ Pro W3" charset="0"/>
            </a:endParaRPr>
          </a:p>
        </p:txBody>
      </p:sp>
      <p:sp>
        <p:nvSpPr>
          <p:cNvPr id="18" name="Ellipse 17"/>
          <p:cNvSpPr/>
          <p:nvPr/>
        </p:nvSpPr>
        <p:spPr bwMode="gray">
          <a:xfrm>
            <a:off x="5306401" y="3898800"/>
            <a:ext cx="1584000" cy="1584000"/>
          </a:xfrm>
          <a:prstGeom prst="ellipse">
            <a:avLst/>
          </a:prstGeom>
          <a:solidFill>
            <a:srgbClr val="9999A9"/>
          </a:solid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2" algn="ctr">
              <a:tabLst>
                <a:tab pos="0" algn="l"/>
              </a:tabLst>
            </a:pPr>
            <a:r>
              <a:rPr lang="en-US" sz="1799" b="1" dirty="0">
                <a:solidFill>
                  <a:schemeClr val="bg1"/>
                </a:solidFill>
                <a:ea typeface="Arial Unicode MS"/>
              </a:rPr>
              <a:t>Cras ultricies mi eu</a:t>
            </a:r>
          </a:p>
        </p:txBody>
      </p:sp>
      <p:grpSp>
        <p:nvGrpSpPr>
          <p:cNvPr id="3" name="Group 2"/>
          <p:cNvGrpSpPr/>
          <p:nvPr/>
        </p:nvGrpSpPr>
        <p:grpSpPr>
          <a:xfrm>
            <a:off x="410401" y="4132800"/>
            <a:ext cx="3600000" cy="586681"/>
            <a:chOff x="1531110" y="4931335"/>
            <a:chExt cx="3601880" cy="586987"/>
          </a:xfrm>
          <a:solidFill>
            <a:srgbClr val="BECDD7"/>
          </a:solidFill>
        </p:grpSpPr>
        <p:cxnSp>
          <p:nvCxnSpPr>
            <p:cNvPr id="69" name="Gerade Verbindung mit Pfeil 32"/>
            <p:cNvCxnSpPr/>
            <p:nvPr/>
          </p:nvCxnSpPr>
          <p:spPr bwMode="auto">
            <a:xfrm flipV="1">
              <a:off x="3332050" y="5032452"/>
              <a:ext cx="0" cy="485870"/>
            </a:xfrm>
            <a:prstGeom prst="straightConnector1">
              <a:avLst/>
            </a:prstGeom>
            <a:grpFill/>
            <a:ln w="38100" cap="flat" cmpd="sng" algn="ctr">
              <a:solidFill>
                <a:srgbClr val="66667E"/>
              </a:solidFill>
              <a:prstDash val="solid"/>
              <a:round/>
              <a:headEnd type="oval" w="lg" len="lg"/>
              <a:tailEnd type="none" w="lg" len="lg"/>
            </a:ln>
            <a:effectLst/>
          </p:spPr>
        </p:cxnSp>
        <p:sp>
          <p:nvSpPr>
            <p:cNvPr id="26" name="Rechteck 25"/>
            <p:cNvSpPr/>
            <p:nvPr/>
          </p:nvSpPr>
          <p:spPr bwMode="gray">
            <a:xfrm>
              <a:off x="1531110" y="4931335"/>
              <a:ext cx="3601880" cy="216113"/>
            </a:xfrm>
            <a:prstGeom prst="rect">
              <a:avLst/>
            </a:prstGeom>
            <a:solidFill>
              <a:srgbClr val="00FFB9"/>
            </a:solidFill>
            <a:ln>
              <a:noFill/>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endParaRPr lang="en-US" sz="2399" dirty="0">
                <a:solidFill>
                  <a:srgbClr val="000000"/>
                </a:solidFill>
                <a:ea typeface="ヒラギノ角ゴ Pro W3" charset="0"/>
              </a:endParaRPr>
            </a:p>
          </p:txBody>
        </p:sp>
      </p:grpSp>
      <p:grpSp>
        <p:nvGrpSpPr>
          <p:cNvPr id="71" name="Group 70"/>
          <p:cNvGrpSpPr/>
          <p:nvPr/>
        </p:nvGrpSpPr>
        <p:grpSpPr>
          <a:xfrm>
            <a:off x="8186400" y="4129281"/>
            <a:ext cx="3600000" cy="590200"/>
            <a:chOff x="1531110" y="4927814"/>
            <a:chExt cx="2763356" cy="590508"/>
          </a:xfrm>
        </p:grpSpPr>
        <p:cxnSp>
          <p:nvCxnSpPr>
            <p:cNvPr id="72" name="Gerade Verbindung mit Pfeil 32"/>
            <p:cNvCxnSpPr/>
            <p:nvPr/>
          </p:nvCxnSpPr>
          <p:spPr bwMode="auto">
            <a:xfrm flipV="1">
              <a:off x="2912788" y="5032452"/>
              <a:ext cx="0" cy="485870"/>
            </a:xfrm>
            <a:prstGeom prst="straightConnector1">
              <a:avLst/>
            </a:prstGeom>
            <a:noFill/>
            <a:ln w="38100" cap="flat" cmpd="sng" algn="ctr">
              <a:solidFill>
                <a:srgbClr val="66667E"/>
              </a:solidFill>
              <a:prstDash val="solid"/>
              <a:round/>
              <a:headEnd type="oval" w="lg" len="lg"/>
              <a:tailEnd type="none" w="lg" len="lg"/>
            </a:ln>
            <a:effectLst/>
          </p:spPr>
        </p:cxnSp>
        <p:sp>
          <p:nvSpPr>
            <p:cNvPr id="73" name="Rechteck 25"/>
            <p:cNvSpPr/>
            <p:nvPr/>
          </p:nvSpPr>
          <p:spPr bwMode="gray">
            <a:xfrm>
              <a:off x="1531110" y="4927814"/>
              <a:ext cx="2763356" cy="216113"/>
            </a:xfrm>
            <a:prstGeom prst="rect">
              <a:avLst/>
            </a:prstGeom>
            <a:solidFill>
              <a:srgbClr val="00FFB9"/>
            </a:solidFill>
            <a:ln>
              <a:noFill/>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endParaRPr lang="en-US" sz="2399" dirty="0">
                <a:solidFill>
                  <a:srgbClr val="000000"/>
                </a:solidFill>
                <a:ea typeface="ヒラギノ角ゴ Pro W3" charset="0"/>
              </a:endParaRPr>
            </a:p>
          </p:txBody>
        </p:sp>
      </p:grpSp>
      <p:sp>
        <p:nvSpPr>
          <p:cNvPr id="75" name="Textfeld 30"/>
          <p:cNvSpPr txBox="1">
            <a:spLocks/>
          </p:cNvSpPr>
          <p:nvPr/>
        </p:nvSpPr>
        <p:spPr bwMode="gray">
          <a:xfrm>
            <a:off x="410401" y="1828800"/>
            <a:ext cx="3599621" cy="2304000"/>
          </a:xfrm>
          <a:prstGeom prst="rect">
            <a:avLst/>
          </a:prstGeom>
          <a:noFill/>
          <a:ln>
            <a:noFill/>
          </a:ln>
          <a:scene3d>
            <a:camera prst="orthographicFront">
              <a:rot lat="0" lon="0" rev="0"/>
            </a:camera>
            <a:lightRig rig="threePt" dir="t"/>
          </a:scene3d>
        </p:spPr>
        <p:txBody>
          <a:bodyPr wrap="square" lIns="0" tIns="0" rIns="0" bIns="143925" rtlCol="0" anchor="b" anchorCtr="0">
            <a:noAutofit/>
          </a:bodyPr>
          <a:lstStyle/>
          <a:p>
            <a:pPr algn="ctr">
              <a:tabLst>
                <a:tab pos="1255085" algn="r"/>
              </a:tabLst>
              <a:defRPr/>
            </a:pPr>
            <a:r>
              <a:rPr lang="pt-BR" altLang="de-DE" sz="2399" b="1" dirty="0">
                <a:solidFill>
                  <a:srgbClr val="00646E"/>
                </a:solidFill>
                <a:ea typeface="Arial Unicode MS"/>
              </a:rPr>
              <a:t>Phasellus sem</a:t>
            </a:r>
          </a:p>
          <a:p>
            <a:pPr algn="ctr">
              <a:tabLst>
                <a:tab pos="1255085" algn="r"/>
              </a:tabLst>
              <a:defRPr/>
            </a:pPr>
            <a:r>
              <a:rPr lang="pt-BR" altLang="de-DE" sz="2399" b="1" dirty="0">
                <a:solidFill>
                  <a:srgbClr val="00AF8E"/>
                </a:solidFill>
                <a:ea typeface="Arial Unicode MS"/>
              </a:rPr>
              <a:t>Maecenas nec</a:t>
            </a:r>
          </a:p>
          <a:p>
            <a:pPr algn="ctr">
              <a:tabLst>
                <a:tab pos="1255085" algn="r"/>
              </a:tabLst>
              <a:defRPr/>
            </a:pPr>
            <a:r>
              <a:rPr lang="pt-BR" altLang="de-DE" sz="2399" b="1" dirty="0">
                <a:solidFill>
                  <a:srgbClr val="00D7A0"/>
                </a:solidFill>
                <a:ea typeface="Arial Unicode MS"/>
              </a:rPr>
              <a:t>Cras ultricies</a:t>
            </a:r>
          </a:p>
          <a:p>
            <a:pPr algn="ctr">
              <a:tabLst>
                <a:tab pos="1255085" algn="r"/>
              </a:tabLst>
              <a:defRPr/>
            </a:pPr>
            <a:r>
              <a:rPr lang="pt-BR" altLang="de-DE" sz="2399" b="1" dirty="0">
                <a:solidFill>
                  <a:srgbClr val="00FFB9"/>
                </a:solidFill>
                <a:ea typeface="Arial Unicode MS"/>
              </a:rPr>
              <a:t>Duis arcu tortor</a:t>
            </a:r>
          </a:p>
        </p:txBody>
      </p:sp>
      <p:sp>
        <p:nvSpPr>
          <p:cNvPr id="76" name="Textfeld 30"/>
          <p:cNvSpPr txBox="1">
            <a:spLocks/>
          </p:cNvSpPr>
          <p:nvPr/>
        </p:nvSpPr>
        <p:spPr bwMode="gray">
          <a:xfrm>
            <a:off x="8186400" y="1828800"/>
            <a:ext cx="3600000" cy="2304000"/>
          </a:xfrm>
          <a:prstGeom prst="rect">
            <a:avLst/>
          </a:prstGeom>
          <a:noFill/>
          <a:ln>
            <a:noFill/>
          </a:ln>
          <a:scene3d>
            <a:camera prst="orthographicFront">
              <a:rot lat="0" lon="0" rev="0"/>
            </a:camera>
            <a:lightRig rig="threePt" dir="t"/>
          </a:scene3d>
        </p:spPr>
        <p:txBody>
          <a:bodyPr wrap="square" lIns="0" tIns="0" rIns="0" bIns="143925" rtlCol="0" anchor="b" anchorCtr="0">
            <a:noAutofit/>
          </a:bodyPr>
          <a:lstStyle/>
          <a:p>
            <a:pPr algn="ctr">
              <a:tabLst>
                <a:tab pos="1255085" algn="r"/>
              </a:tabLst>
              <a:defRPr/>
            </a:pPr>
            <a:r>
              <a:rPr lang="pt-BR" altLang="de-DE" sz="2399" b="1" dirty="0">
                <a:solidFill>
                  <a:srgbClr val="00646E"/>
                </a:solidFill>
                <a:ea typeface="Arial Unicode MS"/>
              </a:rPr>
              <a:t>Phasellus sem</a:t>
            </a:r>
          </a:p>
          <a:p>
            <a:pPr algn="ctr">
              <a:tabLst>
                <a:tab pos="1255085" algn="r"/>
              </a:tabLst>
              <a:defRPr/>
            </a:pPr>
            <a:r>
              <a:rPr lang="pt-BR" altLang="de-DE" sz="2399" b="1" dirty="0">
                <a:solidFill>
                  <a:srgbClr val="00AF8E"/>
                </a:solidFill>
                <a:ea typeface="Arial Unicode MS"/>
              </a:rPr>
              <a:t>Maecenas nec</a:t>
            </a:r>
          </a:p>
          <a:p>
            <a:pPr algn="ctr">
              <a:tabLst>
                <a:tab pos="1255085" algn="r"/>
              </a:tabLst>
              <a:defRPr/>
            </a:pPr>
            <a:r>
              <a:rPr lang="pt-BR" altLang="de-DE" sz="2399" b="1" dirty="0">
                <a:solidFill>
                  <a:srgbClr val="00D7A0"/>
                </a:solidFill>
                <a:ea typeface="Arial Unicode MS"/>
              </a:rPr>
              <a:t>Cras ultricies</a:t>
            </a:r>
          </a:p>
          <a:p>
            <a:pPr algn="ctr">
              <a:tabLst>
                <a:tab pos="1255085" algn="r"/>
              </a:tabLst>
              <a:defRPr/>
            </a:pPr>
            <a:r>
              <a:rPr lang="pt-BR" altLang="de-DE" sz="2399" b="1" dirty="0">
                <a:solidFill>
                  <a:srgbClr val="00FFB9"/>
                </a:solidFill>
                <a:ea typeface="Arial Unicode MS"/>
              </a:rPr>
              <a:t>Duis arcu tortor</a:t>
            </a:r>
          </a:p>
        </p:txBody>
      </p:sp>
      <p:sp>
        <p:nvSpPr>
          <p:cNvPr id="2" name="Footer Placeholder 1">
            <a:extLst>
              <a:ext uri="{FF2B5EF4-FFF2-40B4-BE49-F238E27FC236}">
                <a16:creationId xmlns:a16="http://schemas.microsoft.com/office/drawing/2014/main" id="{4BACD3A5-AE66-42D4-9AD2-71688A82AD6D}"/>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173B977A-9752-42EC-A9EE-1A733A5811CE}"/>
              </a:ext>
            </a:extLst>
          </p:cNvPr>
          <p:cNvSpPr>
            <a:spLocks noGrp="1"/>
          </p:cNvSpPr>
          <p:nvPr>
            <p:ph type="sldNum" sz="quarter" idx="11"/>
          </p:nvPr>
        </p:nvSpPr>
        <p:spPr/>
        <p:txBody>
          <a:bodyPr/>
          <a:lstStyle/>
          <a:p>
            <a:r>
              <a:rPr lang="en-US" dirty="0"/>
              <a:t>Page </a:t>
            </a:r>
            <a:fld id="{15EBE321-CBB1-4E91-BD14-37C8D44326FB}" type="slidenum">
              <a:rPr lang="en-US" smtClean="0"/>
              <a:pPr/>
              <a:t>141</a:t>
            </a:fld>
            <a:endParaRPr lang="en-US" dirty="0"/>
          </a:p>
        </p:txBody>
      </p:sp>
    </p:spTree>
    <p:extLst>
      <p:ext uri="{BB962C8B-B14F-4D97-AF65-F5344CB8AC3E}">
        <p14:creationId xmlns:p14="http://schemas.microsoft.com/office/powerpoint/2010/main" val="4166054936"/>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10400" y="478800"/>
            <a:ext cx="9863997" cy="576000"/>
          </a:xfrm>
        </p:spPr>
        <p:txBody>
          <a:bodyPr/>
          <a:lstStyle/>
          <a:p>
            <a:r>
              <a:rPr lang="en-US" dirty="0"/>
              <a:t>Matrix – eight boxes, with text and icons</a:t>
            </a:r>
          </a:p>
        </p:txBody>
      </p:sp>
      <p:sp>
        <p:nvSpPr>
          <p:cNvPr id="21" name="Rechteck 20"/>
          <p:cNvSpPr>
            <a:spLocks/>
          </p:cNvSpPr>
          <p:nvPr/>
        </p:nvSpPr>
        <p:spPr bwMode="gray">
          <a:xfrm>
            <a:off x="410400" y="3863061"/>
            <a:ext cx="2736000" cy="2303286"/>
          </a:xfrm>
          <a:prstGeom prst="rect">
            <a:avLst/>
          </a:prstGeom>
          <a:solidFill>
            <a:srgbClr val="009999"/>
          </a:solidFill>
          <a:ln w="19050">
            <a:noFill/>
            <a:miter lim="800000"/>
          </a:ln>
          <a:effectLst/>
        </p:spPr>
        <p:txBody>
          <a:bodyPr lIns="143925" tIns="143925" rIns="143925" bIns="143925" rtlCol="0" anchor="t"/>
          <a:lstStyle/>
          <a:p>
            <a:pPr marL="0" lvl="1" eaLnBrk="0" hangingPunct="0">
              <a:lnSpc>
                <a:spcPct val="90000"/>
              </a:lnSpc>
            </a:pPr>
            <a:r>
              <a:rPr lang="en-US" sz="1799" b="1" dirty="0">
                <a:solidFill>
                  <a:schemeClr val="bg1"/>
                </a:solidFill>
              </a:rPr>
              <a:t>Consetetur sadipscing elitr, seddiam nonumy</a:t>
            </a:r>
          </a:p>
        </p:txBody>
      </p:sp>
      <p:sp>
        <p:nvSpPr>
          <p:cNvPr id="22" name="Rechteck 21"/>
          <p:cNvSpPr>
            <a:spLocks/>
          </p:cNvSpPr>
          <p:nvPr/>
        </p:nvSpPr>
        <p:spPr bwMode="gray">
          <a:xfrm>
            <a:off x="3289222" y="3863061"/>
            <a:ext cx="2736000" cy="2303286"/>
          </a:xfrm>
          <a:prstGeom prst="rect">
            <a:avLst/>
          </a:prstGeom>
          <a:solidFill>
            <a:srgbClr val="E5E5E9"/>
          </a:solidFill>
          <a:ln w="19050">
            <a:noFill/>
            <a:miter lim="800000"/>
          </a:ln>
          <a:effectLst/>
        </p:spPr>
        <p:txBody>
          <a:bodyPr lIns="143925" tIns="143925" rIns="143925" bIns="143925" rtlCol="0" anchor="t"/>
          <a:lstStyle/>
          <a:p>
            <a:pPr marL="0" lvl="1" eaLnBrk="0" hangingPunct="0">
              <a:lnSpc>
                <a:spcPct val="90000"/>
              </a:lnSpc>
            </a:pPr>
            <a:r>
              <a:rPr lang="en-US" sz="1799" dirty="0">
                <a:solidFill>
                  <a:srgbClr val="66667E"/>
                </a:solidFill>
              </a:rPr>
              <a:t>Stet clita kasd gubergren</a:t>
            </a:r>
          </a:p>
        </p:txBody>
      </p:sp>
      <p:sp>
        <p:nvSpPr>
          <p:cNvPr id="23" name="Rechteck 22"/>
          <p:cNvSpPr>
            <a:spLocks/>
          </p:cNvSpPr>
          <p:nvPr/>
        </p:nvSpPr>
        <p:spPr bwMode="gray">
          <a:xfrm>
            <a:off x="6168044" y="3863061"/>
            <a:ext cx="2736000" cy="2303286"/>
          </a:xfrm>
          <a:prstGeom prst="rect">
            <a:avLst/>
          </a:prstGeom>
          <a:solidFill>
            <a:srgbClr val="009999"/>
          </a:solidFill>
          <a:ln w="19050">
            <a:noFill/>
            <a:miter lim="800000"/>
          </a:ln>
          <a:effectLst/>
        </p:spPr>
        <p:txBody>
          <a:bodyPr lIns="143925" tIns="143925" rIns="143925" bIns="143925" rtlCol="0" anchor="t"/>
          <a:lstStyle/>
          <a:p>
            <a:pPr marL="0" lvl="1" eaLnBrk="0" hangingPunct="0">
              <a:lnSpc>
                <a:spcPct val="90000"/>
              </a:lnSpc>
            </a:pPr>
            <a:r>
              <a:rPr lang="en-US" sz="1799" b="1" dirty="0">
                <a:solidFill>
                  <a:schemeClr val="bg1"/>
                </a:solidFill>
              </a:rPr>
              <a:t>Stet clita kasd gubergren, no sea</a:t>
            </a:r>
          </a:p>
        </p:txBody>
      </p:sp>
      <p:sp>
        <p:nvSpPr>
          <p:cNvPr id="24" name="Rechteck 23"/>
          <p:cNvSpPr>
            <a:spLocks/>
          </p:cNvSpPr>
          <p:nvPr/>
        </p:nvSpPr>
        <p:spPr bwMode="gray">
          <a:xfrm>
            <a:off x="9046867" y="3863061"/>
            <a:ext cx="2736000" cy="2303286"/>
          </a:xfrm>
          <a:prstGeom prst="rect">
            <a:avLst/>
          </a:prstGeom>
          <a:solidFill>
            <a:srgbClr val="E5E5E9"/>
          </a:solidFill>
          <a:ln w="19050">
            <a:noFill/>
            <a:miter lim="800000"/>
          </a:ln>
          <a:effectLst/>
        </p:spPr>
        <p:txBody>
          <a:bodyPr lIns="143925" tIns="143925" rIns="143925" bIns="143925" rtlCol="0" anchor="t"/>
          <a:lstStyle/>
          <a:p>
            <a:pPr marL="0" lvl="1" eaLnBrk="0" hangingPunct="0">
              <a:lnSpc>
                <a:spcPct val="90000"/>
              </a:lnSpc>
            </a:pPr>
            <a:r>
              <a:rPr lang="en-US" sz="1799" dirty="0">
                <a:solidFill>
                  <a:srgbClr val="66667E"/>
                </a:solidFill>
              </a:rPr>
              <a:t>At vero eos et accusam</a:t>
            </a:r>
          </a:p>
        </p:txBody>
      </p:sp>
      <p:sp>
        <p:nvSpPr>
          <p:cNvPr id="17" name="Rechteck 16"/>
          <p:cNvSpPr>
            <a:spLocks/>
          </p:cNvSpPr>
          <p:nvPr/>
        </p:nvSpPr>
        <p:spPr bwMode="gray">
          <a:xfrm>
            <a:off x="410400" y="1415849"/>
            <a:ext cx="2736000" cy="2295604"/>
          </a:xfrm>
          <a:prstGeom prst="rect">
            <a:avLst/>
          </a:prstGeom>
          <a:solidFill>
            <a:srgbClr val="E5E5E9"/>
          </a:solidFill>
          <a:ln w="19050">
            <a:noFill/>
            <a:miter lim="800000"/>
          </a:ln>
          <a:effectLst/>
        </p:spPr>
        <p:txBody>
          <a:bodyPr lIns="143925" tIns="143925" rIns="143925" bIns="143925" rtlCol="0" anchor="t"/>
          <a:lstStyle/>
          <a:p>
            <a:pPr marL="0" lvl="1" eaLnBrk="0" hangingPunct="0">
              <a:lnSpc>
                <a:spcPct val="90000"/>
              </a:lnSpc>
            </a:pPr>
            <a:r>
              <a:rPr lang="en-US" sz="1799" dirty="0">
                <a:solidFill>
                  <a:srgbClr val="66667E"/>
                </a:solidFill>
              </a:rPr>
              <a:t>At vero eos et accusam</a:t>
            </a:r>
          </a:p>
        </p:txBody>
      </p:sp>
      <p:sp>
        <p:nvSpPr>
          <p:cNvPr id="18" name="Rechteck 17"/>
          <p:cNvSpPr>
            <a:spLocks/>
          </p:cNvSpPr>
          <p:nvPr/>
        </p:nvSpPr>
        <p:spPr bwMode="gray">
          <a:xfrm>
            <a:off x="3289222" y="1415849"/>
            <a:ext cx="2736000" cy="2295604"/>
          </a:xfrm>
          <a:prstGeom prst="rect">
            <a:avLst/>
          </a:prstGeom>
          <a:solidFill>
            <a:srgbClr val="009999"/>
          </a:solidFill>
          <a:ln w="19050">
            <a:noFill/>
            <a:miter lim="800000"/>
          </a:ln>
          <a:effectLst/>
        </p:spPr>
        <p:txBody>
          <a:bodyPr lIns="143925" tIns="143925" rIns="143925" bIns="143925" rtlCol="0" anchor="t"/>
          <a:lstStyle/>
          <a:p>
            <a:pPr marL="0" lvl="1" eaLnBrk="0" hangingPunct="0">
              <a:lnSpc>
                <a:spcPct val="90000"/>
              </a:lnSpc>
            </a:pPr>
            <a:r>
              <a:rPr lang="en-US" sz="1799" b="1" dirty="0">
                <a:solidFill>
                  <a:schemeClr val="bg1"/>
                </a:solidFill>
              </a:rPr>
              <a:t>Sanctus est lorem ipsum dolor sit amet</a:t>
            </a:r>
          </a:p>
        </p:txBody>
      </p:sp>
      <p:sp>
        <p:nvSpPr>
          <p:cNvPr id="19" name="Rechteck 18"/>
          <p:cNvSpPr>
            <a:spLocks/>
          </p:cNvSpPr>
          <p:nvPr/>
        </p:nvSpPr>
        <p:spPr bwMode="gray">
          <a:xfrm>
            <a:off x="6168044" y="1415849"/>
            <a:ext cx="2736000" cy="2295604"/>
          </a:xfrm>
          <a:prstGeom prst="rect">
            <a:avLst/>
          </a:prstGeom>
          <a:solidFill>
            <a:srgbClr val="E5E5E9"/>
          </a:solidFill>
          <a:ln w="19050">
            <a:noFill/>
            <a:miter lim="800000"/>
          </a:ln>
          <a:effectLst/>
        </p:spPr>
        <p:txBody>
          <a:bodyPr lIns="143925" tIns="143925" rIns="143925" bIns="143925" rtlCol="0" anchor="t"/>
          <a:lstStyle/>
          <a:p>
            <a:pPr marL="0" lvl="1" eaLnBrk="0" hangingPunct="0">
              <a:lnSpc>
                <a:spcPct val="90000"/>
              </a:lnSpc>
            </a:pPr>
            <a:r>
              <a:rPr lang="en-US" sz="1799" dirty="0">
                <a:solidFill>
                  <a:srgbClr val="66667E"/>
                </a:solidFill>
              </a:rPr>
              <a:t>Consetetur sadipscing elitr, seddiam nonumy</a:t>
            </a:r>
          </a:p>
        </p:txBody>
      </p:sp>
      <p:sp>
        <p:nvSpPr>
          <p:cNvPr id="20" name="Rechteck 19"/>
          <p:cNvSpPr>
            <a:spLocks/>
          </p:cNvSpPr>
          <p:nvPr/>
        </p:nvSpPr>
        <p:spPr bwMode="gray">
          <a:xfrm>
            <a:off x="9046867" y="1415849"/>
            <a:ext cx="2736000" cy="2295604"/>
          </a:xfrm>
          <a:prstGeom prst="rect">
            <a:avLst/>
          </a:prstGeom>
          <a:solidFill>
            <a:srgbClr val="009999"/>
          </a:solidFill>
          <a:ln w="19050">
            <a:noFill/>
            <a:miter lim="800000"/>
          </a:ln>
          <a:effectLst/>
        </p:spPr>
        <p:txBody>
          <a:bodyPr lIns="143925" tIns="143925" rIns="143925" bIns="143925" rtlCol="0" anchor="t"/>
          <a:lstStyle/>
          <a:p>
            <a:pPr marL="0" lvl="1" eaLnBrk="0" hangingPunct="0">
              <a:lnSpc>
                <a:spcPct val="90000"/>
              </a:lnSpc>
            </a:pPr>
            <a:r>
              <a:rPr lang="en-US" sz="1799" b="1" dirty="0">
                <a:solidFill>
                  <a:schemeClr val="bg1"/>
                </a:solidFill>
              </a:rPr>
              <a:t>Cras ultricies mi eu</a:t>
            </a:r>
          </a:p>
        </p:txBody>
      </p:sp>
      <p:grpSp>
        <p:nvGrpSpPr>
          <p:cNvPr id="74" name="Group 73">
            <a:extLst>
              <a:ext uri="{FF2B5EF4-FFF2-40B4-BE49-F238E27FC236}">
                <a16:creationId xmlns:a16="http://schemas.microsoft.com/office/drawing/2014/main" id="{48A8DC14-3B31-410F-8763-E54A6DB24E96}"/>
              </a:ext>
            </a:extLst>
          </p:cNvPr>
          <p:cNvGrpSpPr>
            <a:grpSpLocks noChangeAspect="1"/>
          </p:cNvGrpSpPr>
          <p:nvPr/>
        </p:nvGrpSpPr>
        <p:grpSpPr>
          <a:xfrm>
            <a:off x="1238681" y="2487631"/>
            <a:ext cx="1079438" cy="683449"/>
            <a:chOff x="1289120" y="741343"/>
            <a:chExt cx="1620202" cy="1025842"/>
          </a:xfrm>
        </p:grpSpPr>
        <p:sp>
          <p:nvSpPr>
            <p:cNvPr id="75" name="Freeform: Shape 74">
              <a:extLst>
                <a:ext uri="{FF2B5EF4-FFF2-40B4-BE49-F238E27FC236}">
                  <a16:creationId xmlns:a16="http://schemas.microsoft.com/office/drawing/2014/main" id="{DD73D5F0-C21F-4A5E-B69B-DD42020E3185}"/>
                </a:ext>
              </a:extLst>
            </p:cNvPr>
            <p:cNvSpPr/>
            <p:nvPr/>
          </p:nvSpPr>
          <p:spPr>
            <a:xfrm>
              <a:off x="1289120" y="741343"/>
              <a:ext cx="1620202" cy="1025842"/>
            </a:xfrm>
            <a:custGeom>
              <a:avLst/>
              <a:gdLst>
                <a:gd name="connsiteX0" fmla="*/ 287655 w 1620202"/>
                <a:gd name="connsiteY0" fmla="*/ 610552 h 1025842"/>
                <a:gd name="connsiteX1" fmla="*/ 136207 w 1620202"/>
                <a:gd name="connsiteY1" fmla="*/ 763905 h 1025842"/>
                <a:gd name="connsiteX2" fmla="*/ 287655 w 1620202"/>
                <a:gd name="connsiteY2" fmla="*/ 917257 h 1025842"/>
                <a:gd name="connsiteX3" fmla="*/ 438150 w 1620202"/>
                <a:gd name="connsiteY3" fmla="*/ 781050 h 1025842"/>
                <a:gd name="connsiteX4" fmla="*/ 323850 w 1620202"/>
                <a:gd name="connsiteY4" fmla="*/ 637222 h 1025842"/>
                <a:gd name="connsiteX5" fmla="*/ 325755 w 1620202"/>
                <a:gd name="connsiteY5" fmla="*/ 615315 h 1025842"/>
                <a:gd name="connsiteX6" fmla="*/ 287655 w 1620202"/>
                <a:gd name="connsiteY6" fmla="*/ 610552 h 1025842"/>
                <a:gd name="connsiteX7" fmla="*/ 1355407 w 1620202"/>
                <a:gd name="connsiteY7" fmla="*/ 595312 h 1025842"/>
                <a:gd name="connsiteX8" fmla="*/ 1221105 w 1620202"/>
                <a:gd name="connsiteY8" fmla="*/ 709612 h 1025842"/>
                <a:gd name="connsiteX9" fmla="*/ 1187767 w 1620202"/>
                <a:gd name="connsiteY9" fmla="*/ 709612 h 1025842"/>
                <a:gd name="connsiteX10" fmla="*/ 1176337 w 1620202"/>
                <a:gd name="connsiteY10" fmla="*/ 741045 h 1025842"/>
                <a:gd name="connsiteX11" fmla="*/ 1217295 w 1620202"/>
                <a:gd name="connsiteY11" fmla="*/ 741045 h 1025842"/>
                <a:gd name="connsiteX12" fmla="*/ 1217295 w 1620202"/>
                <a:gd name="connsiteY12" fmla="*/ 756285 h 1025842"/>
                <a:gd name="connsiteX13" fmla="*/ 1218247 w 1620202"/>
                <a:gd name="connsiteY13" fmla="*/ 765810 h 1025842"/>
                <a:gd name="connsiteX14" fmla="*/ 1188720 w 1620202"/>
                <a:gd name="connsiteY14" fmla="*/ 765810 h 1025842"/>
                <a:gd name="connsiteX15" fmla="*/ 1177290 w 1620202"/>
                <a:gd name="connsiteY15" fmla="*/ 797242 h 1025842"/>
                <a:gd name="connsiteX16" fmla="*/ 1222057 w 1620202"/>
                <a:gd name="connsiteY16" fmla="*/ 797242 h 1025842"/>
                <a:gd name="connsiteX17" fmla="*/ 1359217 w 1620202"/>
                <a:gd name="connsiteY17" fmla="*/ 903922 h 1025842"/>
                <a:gd name="connsiteX18" fmla="*/ 1446847 w 1620202"/>
                <a:gd name="connsiteY18" fmla="*/ 887730 h 1025842"/>
                <a:gd name="connsiteX19" fmla="*/ 1432560 w 1620202"/>
                <a:gd name="connsiteY19" fmla="*/ 836295 h 1025842"/>
                <a:gd name="connsiteX20" fmla="*/ 1369695 w 1620202"/>
                <a:gd name="connsiteY20" fmla="*/ 853440 h 1025842"/>
                <a:gd name="connsiteX21" fmla="*/ 1292542 w 1620202"/>
                <a:gd name="connsiteY21" fmla="*/ 797242 h 1025842"/>
                <a:gd name="connsiteX22" fmla="*/ 1382077 w 1620202"/>
                <a:gd name="connsiteY22" fmla="*/ 797242 h 1025842"/>
                <a:gd name="connsiteX23" fmla="*/ 1393507 w 1620202"/>
                <a:gd name="connsiteY23" fmla="*/ 765810 h 1025842"/>
                <a:gd name="connsiteX24" fmla="*/ 1286827 w 1620202"/>
                <a:gd name="connsiteY24" fmla="*/ 765810 h 1025842"/>
                <a:gd name="connsiteX25" fmla="*/ 1285875 w 1620202"/>
                <a:gd name="connsiteY25" fmla="*/ 749617 h 1025842"/>
                <a:gd name="connsiteX26" fmla="*/ 1285875 w 1620202"/>
                <a:gd name="connsiteY26" fmla="*/ 743902 h 1025842"/>
                <a:gd name="connsiteX27" fmla="*/ 1285875 w 1620202"/>
                <a:gd name="connsiteY27" fmla="*/ 740092 h 1025842"/>
                <a:gd name="connsiteX28" fmla="*/ 1401127 w 1620202"/>
                <a:gd name="connsiteY28" fmla="*/ 740092 h 1025842"/>
                <a:gd name="connsiteX29" fmla="*/ 1411605 w 1620202"/>
                <a:gd name="connsiteY29" fmla="*/ 708660 h 1025842"/>
                <a:gd name="connsiteX30" fmla="*/ 1286827 w 1620202"/>
                <a:gd name="connsiteY30" fmla="*/ 708660 h 1025842"/>
                <a:gd name="connsiteX31" fmla="*/ 1363980 w 1620202"/>
                <a:gd name="connsiteY31" fmla="*/ 645795 h 1025842"/>
                <a:gd name="connsiteX32" fmla="*/ 1428750 w 1620202"/>
                <a:gd name="connsiteY32" fmla="*/ 663892 h 1025842"/>
                <a:gd name="connsiteX33" fmla="*/ 1446847 w 1620202"/>
                <a:gd name="connsiteY33" fmla="*/ 614362 h 1025842"/>
                <a:gd name="connsiteX34" fmla="*/ 1355407 w 1620202"/>
                <a:gd name="connsiteY34" fmla="*/ 595312 h 1025842"/>
                <a:gd name="connsiteX35" fmla="*/ 472440 w 1620202"/>
                <a:gd name="connsiteY35" fmla="*/ 516255 h 1025842"/>
                <a:gd name="connsiteX36" fmla="*/ 350520 w 1620202"/>
                <a:gd name="connsiteY36" fmla="*/ 638175 h 1025842"/>
                <a:gd name="connsiteX37" fmla="*/ 472440 w 1620202"/>
                <a:gd name="connsiteY37" fmla="*/ 760095 h 1025842"/>
                <a:gd name="connsiteX38" fmla="*/ 594360 w 1620202"/>
                <a:gd name="connsiteY38" fmla="*/ 638175 h 1025842"/>
                <a:gd name="connsiteX39" fmla="*/ 589512 w 1620202"/>
                <a:gd name="connsiteY39" fmla="*/ 614331 h 1025842"/>
                <a:gd name="connsiteX40" fmla="*/ 574441 w 1620202"/>
                <a:gd name="connsiteY40" fmla="*/ 614331 h 1025842"/>
                <a:gd name="connsiteX41" fmla="*/ 574441 w 1620202"/>
                <a:gd name="connsiteY41" fmla="*/ 575494 h 1025842"/>
                <a:gd name="connsiteX42" fmla="*/ 558403 w 1620202"/>
                <a:gd name="connsiteY42" fmla="*/ 551855 h 1025842"/>
                <a:gd name="connsiteX43" fmla="*/ 472440 w 1620202"/>
                <a:gd name="connsiteY43" fmla="*/ 516255 h 1025842"/>
                <a:gd name="connsiteX44" fmla="*/ 107632 w 1620202"/>
                <a:gd name="connsiteY44" fmla="*/ 0 h 1025842"/>
                <a:gd name="connsiteX45" fmla="*/ 1511617 w 1620202"/>
                <a:gd name="connsiteY45" fmla="*/ 0 h 1025842"/>
                <a:gd name="connsiteX46" fmla="*/ 1620202 w 1620202"/>
                <a:gd name="connsiteY46" fmla="*/ 107632 h 1025842"/>
                <a:gd name="connsiteX47" fmla="*/ 1620202 w 1620202"/>
                <a:gd name="connsiteY47" fmla="*/ 134302 h 1025842"/>
                <a:gd name="connsiteX48" fmla="*/ 1005853 w 1620202"/>
                <a:gd name="connsiteY48" fmla="*/ 134302 h 1025842"/>
                <a:gd name="connsiteX49" fmla="*/ 1005853 w 1620202"/>
                <a:gd name="connsiteY49" fmla="*/ 350520 h 1025842"/>
                <a:gd name="connsiteX50" fmla="*/ 1619250 w 1620202"/>
                <a:gd name="connsiteY50" fmla="*/ 350520 h 1025842"/>
                <a:gd name="connsiteX51" fmla="*/ 1619250 w 1620202"/>
                <a:gd name="connsiteY51" fmla="*/ 918210 h 1025842"/>
                <a:gd name="connsiteX52" fmla="*/ 1511617 w 1620202"/>
                <a:gd name="connsiteY52" fmla="*/ 1025842 h 1025842"/>
                <a:gd name="connsiteX53" fmla="*/ 107632 w 1620202"/>
                <a:gd name="connsiteY53" fmla="*/ 1025842 h 1025842"/>
                <a:gd name="connsiteX54" fmla="*/ 0 w 1620202"/>
                <a:gd name="connsiteY54" fmla="*/ 918210 h 1025842"/>
                <a:gd name="connsiteX55" fmla="*/ 0 w 1620202"/>
                <a:gd name="connsiteY55" fmla="*/ 350520 h 1025842"/>
                <a:gd name="connsiteX56" fmla="*/ 574441 w 1620202"/>
                <a:gd name="connsiteY56" fmla="*/ 350520 h 1025842"/>
                <a:gd name="connsiteX57" fmla="*/ 574441 w 1620202"/>
                <a:gd name="connsiteY57" fmla="*/ 134302 h 1025842"/>
                <a:gd name="connsiteX58" fmla="*/ 0 w 1620202"/>
                <a:gd name="connsiteY58" fmla="*/ 134302 h 1025842"/>
                <a:gd name="connsiteX59" fmla="*/ 0 w 1620202"/>
                <a:gd name="connsiteY59" fmla="*/ 107632 h 1025842"/>
                <a:gd name="connsiteX60" fmla="*/ 107632 w 1620202"/>
                <a:gd name="connsiteY60" fmla="*/ 0 h 1025842"/>
                <a:gd name="connsiteX0" fmla="*/ 287655 w 1620202"/>
                <a:gd name="connsiteY0" fmla="*/ 610552 h 1025842"/>
                <a:gd name="connsiteX1" fmla="*/ 136207 w 1620202"/>
                <a:gd name="connsiteY1" fmla="*/ 763905 h 1025842"/>
                <a:gd name="connsiteX2" fmla="*/ 287655 w 1620202"/>
                <a:gd name="connsiteY2" fmla="*/ 917257 h 1025842"/>
                <a:gd name="connsiteX3" fmla="*/ 438150 w 1620202"/>
                <a:gd name="connsiteY3" fmla="*/ 781050 h 1025842"/>
                <a:gd name="connsiteX4" fmla="*/ 323850 w 1620202"/>
                <a:gd name="connsiteY4" fmla="*/ 637222 h 1025842"/>
                <a:gd name="connsiteX5" fmla="*/ 325755 w 1620202"/>
                <a:gd name="connsiteY5" fmla="*/ 615315 h 1025842"/>
                <a:gd name="connsiteX6" fmla="*/ 287655 w 1620202"/>
                <a:gd name="connsiteY6" fmla="*/ 610552 h 1025842"/>
                <a:gd name="connsiteX7" fmla="*/ 1355407 w 1620202"/>
                <a:gd name="connsiteY7" fmla="*/ 595312 h 1025842"/>
                <a:gd name="connsiteX8" fmla="*/ 1221105 w 1620202"/>
                <a:gd name="connsiteY8" fmla="*/ 709612 h 1025842"/>
                <a:gd name="connsiteX9" fmla="*/ 1187767 w 1620202"/>
                <a:gd name="connsiteY9" fmla="*/ 709612 h 1025842"/>
                <a:gd name="connsiteX10" fmla="*/ 1176337 w 1620202"/>
                <a:gd name="connsiteY10" fmla="*/ 741045 h 1025842"/>
                <a:gd name="connsiteX11" fmla="*/ 1217295 w 1620202"/>
                <a:gd name="connsiteY11" fmla="*/ 741045 h 1025842"/>
                <a:gd name="connsiteX12" fmla="*/ 1217295 w 1620202"/>
                <a:gd name="connsiteY12" fmla="*/ 756285 h 1025842"/>
                <a:gd name="connsiteX13" fmla="*/ 1218247 w 1620202"/>
                <a:gd name="connsiteY13" fmla="*/ 765810 h 1025842"/>
                <a:gd name="connsiteX14" fmla="*/ 1188720 w 1620202"/>
                <a:gd name="connsiteY14" fmla="*/ 765810 h 1025842"/>
                <a:gd name="connsiteX15" fmla="*/ 1177290 w 1620202"/>
                <a:gd name="connsiteY15" fmla="*/ 797242 h 1025842"/>
                <a:gd name="connsiteX16" fmla="*/ 1222057 w 1620202"/>
                <a:gd name="connsiteY16" fmla="*/ 797242 h 1025842"/>
                <a:gd name="connsiteX17" fmla="*/ 1359217 w 1620202"/>
                <a:gd name="connsiteY17" fmla="*/ 903922 h 1025842"/>
                <a:gd name="connsiteX18" fmla="*/ 1446847 w 1620202"/>
                <a:gd name="connsiteY18" fmla="*/ 887730 h 1025842"/>
                <a:gd name="connsiteX19" fmla="*/ 1432560 w 1620202"/>
                <a:gd name="connsiteY19" fmla="*/ 836295 h 1025842"/>
                <a:gd name="connsiteX20" fmla="*/ 1369695 w 1620202"/>
                <a:gd name="connsiteY20" fmla="*/ 853440 h 1025842"/>
                <a:gd name="connsiteX21" fmla="*/ 1292542 w 1620202"/>
                <a:gd name="connsiteY21" fmla="*/ 797242 h 1025842"/>
                <a:gd name="connsiteX22" fmla="*/ 1382077 w 1620202"/>
                <a:gd name="connsiteY22" fmla="*/ 797242 h 1025842"/>
                <a:gd name="connsiteX23" fmla="*/ 1393507 w 1620202"/>
                <a:gd name="connsiteY23" fmla="*/ 765810 h 1025842"/>
                <a:gd name="connsiteX24" fmla="*/ 1286827 w 1620202"/>
                <a:gd name="connsiteY24" fmla="*/ 765810 h 1025842"/>
                <a:gd name="connsiteX25" fmla="*/ 1285875 w 1620202"/>
                <a:gd name="connsiteY25" fmla="*/ 749617 h 1025842"/>
                <a:gd name="connsiteX26" fmla="*/ 1285875 w 1620202"/>
                <a:gd name="connsiteY26" fmla="*/ 743902 h 1025842"/>
                <a:gd name="connsiteX27" fmla="*/ 1285875 w 1620202"/>
                <a:gd name="connsiteY27" fmla="*/ 740092 h 1025842"/>
                <a:gd name="connsiteX28" fmla="*/ 1401127 w 1620202"/>
                <a:gd name="connsiteY28" fmla="*/ 740092 h 1025842"/>
                <a:gd name="connsiteX29" fmla="*/ 1411605 w 1620202"/>
                <a:gd name="connsiteY29" fmla="*/ 708660 h 1025842"/>
                <a:gd name="connsiteX30" fmla="*/ 1286827 w 1620202"/>
                <a:gd name="connsiteY30" fmla="*/ 708660 h 1025842"/>
                <a:gd name="connsiteX31" fmla="*/ 1363980 w 1620202"/>
                <a:gd name="connsiteY31" fmla="*/ 645795 h 1025842"/>
                <a:gd name="connsiteX32" fmla="*/ 1428750 w 1620202"/>
                <a:gd name="connsiteY32" fmla="*/ 663892 h 1025842"/>
                <a:gd name="connsiteX33" fmla="*/ 1446847 w 1620202"/>
                <a:gd name="connsiteY33" fmla="*/ 614362 h 1025842"/>
                <a:gd name="connsiteX34" fmla="*/ 1355407 w 1620202"/>
                <a:gd name="connsiteY34" fmla="*/ 595312 h 1025842"/>
                <a:gd name="connsiteX35" fmla="*/ 472440 w 1620202"/>
                <a:gd name="connsiteY35" fmla="*/ 516255 h 1025842"/>
                <a:gd name="connsiteX36" fmla="*/ 350520 w 1620202"/>
                <a:gd name="connsiteY36" fmla="*/ 638175 h 1025842"/>
                <a:gd name="connsiteX37" fmla="*/ 472440 w 1620202"/>
                <a:gd name="connsiteY37" fmla="*/ 760095 h 1025842"/>
                <a:gd name="connsiteX38" fmla="*/ 594360 w 1620202"/>
                <a:gd name="connsiteY38" fmla="*/ 638175 h 1025842"/>
                <a:gd name="connsiteX39" fmla="*/ 589512 w 1620202"/>
                <a:gd name="connsiteY39" fmla="*/ 614331 h 1025842"/>
                <a:gd name="connsiteX40" fmla="*/ 574441 w 1620202"/>
                <a:gd name="connsiteY40" fmla="*/ 614331 h 1025842"/>
                <a:gd name="connsiteX41" fmla="*/ 574441 w 1620202"/>
                <a:gd name="connsiteY41" fmla="*/ 575494 h 1025842"/>
                <a:gd name="connsiteX42" fmla="*/ 472440 w 1620202"/>
                <a:gd name="connsiteY42" fmla="*/ 516255 h 1025842"/>
                <a:gd name="connsiteX43" fmla="*/ 107632 w 1620202"/>
                <a:gd name="connsiteY43" fmla="*/ 0 h 1025842"/>
                <a:gd name="connsiteX44" fmla="*/ 1511617 w 1620202"/>
                <a:gd name="connsiteY44" fmla="*/ 0 h 1025842"/>
                <a:gd name="connsiteX45" fmla="*/ 1620202 w 1620202"/>
                <a:gd name="connsiteY45" fmla="*/ 107632 h 1025842"/>
                <a:gd name="connsiteX46" fmla="*/ 1620202 w 1620202"/>
                <a:gd name="connsiteY46" fmla="*/ 134302 h 1025842"/>
                <a:gd name="connsiteX47" fmla="*/ 1005853 w 1620202"/>
                <a:gd name="connsiteY47" fmla="*/ 134302 h 1025842"/>
                <a:gd name="connsiteX48" fmla="*/ 1005853 w 1620202"/>
                <a:gd name="connsiteY48" fmla="*/ 350520 h 1025842"/>
                <a:gd name="connsiteX49" fmla="*/ 1619250 w 1620202"/>
                <a:gd name="connsiteY49" fmla="*/ 350520 h 1025842"/>
                <a:gd name="connsiteX50" fmla="*/ 1619250 w 1620202"/>
                <a:gd name="connsiteY50" fmla="*/ 918210 h 1025842"/>
                <a:gd name="connsiteX51" fmla="*/ 1511617 w 1620202"/>
                <a:gd name="connsiteY51" fmla="*/ 1025842 h 1025842"/>
                <a:gd name="connsiteX52" fmla="*/ 107632 w 1620202"/>
                <a:gd name="connsiteY52" fmla="*/ 1025842 h 1025842"/>
                <a:gd name="connsiteX53" fmla="*/ 0 w 1620202"/>
                <a:gd name="connsiteY53" fmla="*/ 918210 h 1025842"/>
                <a:gd name="connsiteX54" fmla="*/ 0 w 1620202"/>
                <a:gd name="connsiteY54" fmla="*/ 350520 h 1025842"/>
                <a:gd name="connsiteX55" fmla="*/ 574441 w 1620202"/>
                <a:gd name="connsiteY55" fmla="*/ 350520 h 1025842"/>
                <a:gd name="connsiteX56" fmla="*/ 574441 w 1620202"/>
                <a:gd name="connsiteY56" fmla="*/ 134302 h 1025842"/>
                <a:gd name="connsiteX57" fmla="*/ 0 w 1620202"/>
                <a:gd name="connsiteY57" fmla="*/ 134302 h 1025842"/>
                <a:gd name="connsiteX58" fmla="*/ 0 w 1620202"/>
                <a:gd name="connsiteY58" fmla="*/ 107632 h 1025842"/>
                <a:gd name="connsiteX59" fmla="*/ 107632 w 1620202"/>
                <a:gd name="connsiteY59" fmla="*/ 0 h 1025842"/>
                <a:gd name="connsiteX0" fmla="*/ 287655 w 1620202"/>
                <a:gd name="connsiteY0" fmla="*/ 610552 h 1025842"/>
                <a:gd name="connsiteX1" fmla="*/ 136207 w 1620202"/>
                <a:gd name="connsiteY1" fmla="*/ 763905 h 1025842"/>
                <a:gd name="connsiteX2" fmla="*/ 287655 w 1620202"/>
                <a:gd name="connsiteY2" fmla="*/ 917257 h 1025842"/>
                <a:gd name="connsiteX3" fmla="*/ 438150 w 1620202"/>
                <a:gd name="connsiteY3" fmla="*/ 781050 h 1025842"/>
                <a:gd name="connsiteX4" fmla="*/ 323850 w 1620202"/>
                <a:gd name="connsiteY4" fmla="*/ 637222 h 1025842"/>
                <a:gd name="connsiteX5" fmla="*/ 325755 w 1620202"/>
                <a:gd name="connsiteY5" fmla="*/ 615315 h 1025842"/>
                <a:gd name="connsiteX6" fmla="*/ 287655 w 1620202"/>
                <a:gd name="connsiteY6" fmla="*/ 610552 h 1025842"/>
                <a:gd name="connsiteX7" fmla="*/ 1355407 w 1620202"/>
                <a:gd name="connsiteY7" fmla="*/ 595312 h 1025842"/>
                <a:gd name="connsiteX8" fmla="*/ 1221105 w 1620202"/>
                <a:gd name="connsiteY8" fmla="*/ 709612 h 1025842"/>
                <a:gd name="connsiteX9" fmla="*/ 1187767 w 1620202"/>
                <a:gd name="connsiteY9" fmla="*/ 709612 h 1025842"/>
                <a:gd name="connsiteX10" fmla="*/ 1176337 w 1620202"/>
                <a:gd name="connsiteY10" fmla="*/ 741045 h 1025842"/>
                <a:gd name="connsiteX11" fmla="*/ 1217295 w 1620202"/>
                <a:gd name="connsiteY11" fmla="*/ 741045 h 1025842"/>
                <a:gd name="connsiteX12" fmla="*/ 1217295 w 1620202"/>
                <a:gd name="connsiteY12" fmla="*/ 756285 h 1025842"/>
                <a:gd name="connsiteX13" fmla="*/ 1218247 w 1620202"/>
                <a:gd name="connsiteY13" fmla="*/ 765810 h 1025842"/>
                <a:gd name="connsiteX14" fmla="*/ 1188720 w 1620202"/>
                <a:gd name="connsiteY14" fmla="*/ 765810 h 1025842"/>
                <a:gd name="connsiteX15" fmla="*/ 1177290 w 1620202"/>
                <a:gd name="connsiteY15" fmla="*/ 797242 h 1025842"/>
                <a:gd name="connsiteX16" fmla="*/ 1222057 w 1620202"/>
                <a:gd name="connsiteY16" fmla="*/ 797242 h 1025842"/>
                <a:gd name="connsiteX17" fmla="*/ 1359217 w 1620202"/>
                <a:gd name="connsiteY17" fmla="*/ 903922 h 1025842"/>
                <a:gd name="connsiteX18" fmla="*/ 1446847 w 1620202"/>
                <a:gd name="connsiteY18" fmla="*/ 887730 h 1025842"/>
                <a:gd name="connsiteX19" fmla="*/ 1432560 w 1620202"/>
                <a:gd name="connsiteY19" fmla="*/ 836295 h 1025842"/>
                <a:gd name="connsiteX20" fmla="*/ 1369695 w 1620202"/>
                <a:gd name="connsiteY20" fmla="*/ 853440 h 1025842"/>
                <a:gd name="connsiteX21" fmla="*/ 1292542 w 1620202"/>
                <a:gd name="connsiteY21" fmla="*/ 797242 h 1025842"/>
                <a:gd name="connsiteX22" fmla="*/ 1382077 w 1620202"/>
                <a:gd name="connsiteY22" fmla="*/ 797242 h 1025842"/>
                <a:gd name="connsiteX23" fmla="*/ 1393507 w 1620202"/>
                <a:gd name="connsiteY23" fmla="*/ 765810 h 1025842"/>
                <a:gd name="connsiteX24" fmla="*/ 1286827 w 1620202"/>
                <a:gd name="connsiteY24" fmla="*/ 765810 h 1025842"/>
                <a:gd name="connsiteX25" fmla="*/ 1285875 w 1620202"/>
                <a:gd name="connsiteY25" fmla="*/ 749617 h 1025842"/>
                <a:gd name="connsiteX26" fmla="*/ 1285875 w 1620202"/>
                <a:gd name="connsiteY26" fmla="*/ 743902 h 1025842"/>
                <a:gd name="connsiteX27" fmla="*/ 1285875 w 1620202"/>
                <a:gd name="connsiteY27" fmla="*/ 740092 h 1025842"/>
                <a:gd name="connsiteX28" fmla="*/ 1401127 w 1620202"/>
                <a:gd name="connsiteY28" fmla="*/ 740092 h 1025842"/>
                <a:gd name="connsiteX29" fmla="*/ 1411605 w 1620202"/>
                <a:gd name="connsiteY29" fmla="*/ 708660 h 1025842"/>
                <a:gd name="connsiteX30" fmla="*/ 1286827 w 1620202"/>
                <a:gd name="connsiteY30" fmla="*/ 708660 h 1025842"/>
                <a:gd name="connsiteX31" fmla="*/ 1363980 w 1620202"/>
                <a:gd name="connsiteY31" fmla="*/ 645795 h 1025842"/>
                <a:gd name="connsiteX32" fmla="*/ 1428750 w 1620202"/>
                <a:gd name="connsiteY32" fmla="*/ 663892 h 1025842"/>
                <a:gd name="connsiteX33" fmla="*/ 1446847 w 1620202"/>
                <a:gd name="connsiteY33" fmla="*/ 614362 h 1025842"/>
                <a:gd name="connsiteX34" fmla="*/ 1355407 w 1620202"/>
                <a:gd name="connsiteY34" fmla="*/ 595312 h 1025842"/>
                <a:gd name="connsiteX35" fmla="*/ 472440 w 1620202"/>
                <a:gd name="connsiteY35" fmla="*/ 516255 h 1025842"/>
                <a:gd name="connsiteX36" fmla="*/ 350520 w 1620202"/>
                <a:gd name="connsiteY36" fmla="*/ 638175 h 1025842"/>
                <a:gd name="connsiteX37" fmla="*/ 472440 w 1620202"/>
                <a:gd name="connsiteY37" fmla="*/ 760095 h 1025842"/>
                <a:gd name="connsiteX38" fmla="*/ 594360 w 1620202"/>
                <a:gd name="connsiteY38" fmla="*/ 638175 h 1025842"/>
                <a:gd name="connsiteX39" fmla="*/ 589512 w 1620202"/>
                <a:gd name="connsiteY39" fmla="*/ 614331 h 1025842"/>
                <a:gd name="connsiteX40" fmla="*/ 574441 w 1620202"/>
                <a:gd name="connsiteY40" fmla="*/ 614331 h 1025842"/>
                <a:gd name="connsiteX41" fmla="*/ 472440 w 1620202"/>
                <a:gd name="connsiteY41" fmla="*/ 516255 h 1025842"/>
                <a:gd name="connsiteX42" fmla="*/ 107632 w 1620202"/>
                <a:gd name="connsiteY42" fmla="*/ 0 h 1025842"/>
                <a:gd name="connsiteX43" fmla="*/ 1511617 w 1620202"/>
                <a:gd name="connsiteY43" fmla="*/ 0 h 1025842"/>
                <a:gd name="connsiteX44" fmla="*/ 1620202 w 1620202"/>
                <a:gd name="connsiteY44" fmla="*/ 107632 h 1025842"/>
                <a:gd name="connsiteX45" fmla="*/ 1620202 w 1620202"/>
                <a:gd name="connsiteY45" fmla="*/ 134302 h 1025842"/>
                <a:gd name="connsiteX46" fmla="*/ 1005853 w 1620202"/>
                <a:gd name="connsiteY46" fmla="*/ 134302 h 1025842"/>
                <a:gd name="connsiteX47" fmla="*/ 1005853 w 1620202"/>
                <a:gd name="connsiteY47" fmla="*/ 350520 h 1025842"/>
                <a:gd name="connsiteX48" fmla="*/ 1619250 w 1620202"/>
                <a:gd name="connsiteY48" fmla="*/ 350520 h 1025842"/>
                <a:gd name="connsiteX49" fmla="*/ 1619250 w 1620202"/>
                <a:gd name="connsiteY49" fmla="*/ 918210 h 1025842"/>
                <a:gd name="connsiteX50" fmla="*/ 1511617 w 1620202"/>
                <a:gd name="connsiteY50" fmla="*/ 1025842 h 1025842"/>
                <a:gd name="connsiteX51" fmla="*/ 107632 w 1620202"/>
                <a:gd name="connsiteY51" fmla="*/ 1025842 h 1025842"/>
                <a:gd name="connsiteX52" fmla="*/ 0 w 1620202"/>
                <a:gd name="connsiteY52" fmla="*/ 918210 h 1025842"/>
                <a:gd name="connsiteX53" fmla="*/ 0 w 1620202"/>
                <a:gd name="connsiteY53" fmla="*/ 350520 h 1025842"/>
                <a:gd name="connsiteX54" fmla="*/ 574441 w 1620202"/>
                <a:gd name="connsiteY54" fmla="*/ 350520 h 1025842"/>
                <a:gd name="connsiteX55" fmla="*/ 574441 w 1620202"/>
                <a:gd name="connsiteY55" fmla="*/ 134302 h 1025842"/>
                <a:gd name="connsiteX56" fmla="*/ 0 w 1620202"/>
                <a:gd name="connsiteY56" fmla="*/ 134302 h 1025842"/>
                <a:gd name="connsiteX57" fmla="*/ 0 w 1620202"/>
                <a:gd name="connsiteY57" fmla="*/ 107632 h 1025842"/>
                <a:gd name="connsiteX58" fmla="*/ 107632 w 1620202"/>
                <a:gd name="connsiteY58" fmla="*/ 0 h 1025842"/>
                <a:gd name="connsiteX0" fmla="*/ 287655 w 1620202"/>
                <a:gd name="connsiteY0" fmla="*/ 610552 h 1025842"/>
                <a:gd name="connsiteX1" fmla="*/ 136207 w 1620202"/>
                <a:gd name="connsiteY1" fmla="*/ 763905 h 1025842"/>
                <a:gd name="connsiteX2" fmla="*/ 287655 w 1620202"/>
                <a:gd name="connsiteY2" fmla="*/ 917257 h 1025842"/>
                <a:gd name="connsiteX3" fmla="*/ 438150 w 1620202"/>
                <a:gd name="connsiteY3" fmla="*/ 781050 h 1025842"/>
                <a:gd name="connsiteX4" fmla="*/ 323850 w 1620202"/>
                <a:gd name="connsiteY4" fmla="*/ 637222 h 1025842"/>
                <a:gd name="connsiteX5" fmla="*/ 325755 w 1620202"/>
                <a:gd name="connsiteY5" fmla="*/ 615315 h 1025842"/>
                <a:gd name="connsiteX6" fmla="*/ 287655 w 1620202"/>
                <a:gd name="connsiteY6" fmla="*/ 610552 h 1025842"/>
                <a:gd name="connsiteX7" fmla="*/ 1355407 w 1620202"/>
                <a:gd name="connsiteY7" fmla="*/ 595312 h 1025842"/>
                <a:gd name="connsiteX8" fmla="*/ 1221105 w 1620202"/>
                <a:gd name="connsiteY8" fmla="*/ 709612 h 1025842"/>
                <a:gd name="connsiteX9" fmla="*/ 1187767 w 1620202"/>
                <a:gd name="connsiteY9" fmla="*/ 709612 h 1025842"/>
                <a:gd name="connsiteX10" fmla="*/ 1176337 w 1620202"/>
                <a:gd name="connsiteY10" fmla="*/ 741045 h 1025842"/>
                <a:gd name="connsiteX11" fmla="*/ 1217295 w 1620202"/>
                <a:gd name="connsiteY11" fmla="*/ 741045 h 1025842"/>
                <a:gd name="connsiteX12" fmla="*/ 1217295 w 1620202"/>
                <a:gd name="connsiteY12" fmla="*/ 756285 h 1025842"/>
                <a:gd name="connsiteX13" fmla="*/ 1218247 w 1620202"/>
                <a:gd name="connsiteY13" fmla="*/ 765810 h 1025842"/>
                <a:gd name="connsiteX14" fmla="*/ 1188720 w 1620202"/>
                <a:gd name="connsiteY14" fmla="*/ 765810 h 1025842"/>
                <a:gd name="connsiteX15" fmla="*/ 1177290 w 1620202"/>
                <a:gd name="connsiteY15" fmla="*/ 797242 h 1025842"/>
                <a:gd name="connsiteX16" fmla="*/ 1222057 w 1620202"/>
                <a:gd name="connsiteY16" fmla="*/ 797242 h 1025842"/>
                <a:gd name="connsiteX17" fmla="*/ 1359217 w 1620202"/>
                <a:gd name="connsiteY17" fmla="*/ 903922 h 1025842"/>
                <a:gd name="connsiteX18" fmla="*/ 1446847 w 1620202"/>
                <a:gd name="connsiteY18" fmla="*/ 887730 h 1025842"/>
                <a:gd name="connsiteX19" fmla="*/ 1432560 w 1620202"/>
                <a:gd name="connsiteY19" fmla="*/ 836295 h 1025842"/>
                <a:gd name="connsiteX20" fmla="*/ 1369695 w 1620202"/>
                <a:gd name="connsiteY20" fmla="*/ 853440 h 1025842"/>
                <a:gd name="connsiteX21" fmla="*/ 1292542 w 1620202"/>
                <a:gd name="connsiteY21" fmla="*/ 797242 h 1025842"/>
                <a:gd name="connsiteX22" fmla="*/ 1382077 w 1620202"/>
                <a:gd name="connsiteY22" fmla="*/ 797242 h 1025842"/>
                <a:gd name="connsiteX23" fmla="*/ 1393507 w 1620202"/>
                <a:gd name="connsiteY23" fmla="*/ 765810 h 1025842"/>
                <a:gd name="connsiteX24" fmla="*/ 1286827 w 1620202"/>
                <a:gd name="connsiteY24" fmla="*/ 765810 h 1025842"/>
                <a:gd name="connsiteX25" fmla="*/ 1285875 w 1620202"/>
                <a:gd name="connsiteY25" fmla="*/ 749617 h 1025842"/>
                <a:gd name="connsiteX26" fmla="*/ 1285875 w 1620202"/>
                <a:gd name="connsiteY26" fmla="*/ 743902 h 1025842"/>
                <a:gd name="connsiteX27" fmla="*/ 1285875 w 1620202"/>
                <a:gd name="connsiteY27" fmla="*/ 740092 h 1025842"/>
                <a:gd name="connsiteX28" fmla="*/ 1401127 w 1620202"/>
                <a:gd name="connsiteY28" fmla="*/ 740092 h 1025842"/>
                <a:gd name="connsiteX29" fmla="*/ 1411605 w 1620202"/>
                <a:gd name="connsiteY29" fmla="*/ 708660 h 1025842"/>
                <a:gd name="connsiteX30" fmla="*/ 1286827 w 1620202"/>
                <a:gd name="connsiteY30" fmla="*/ 708660 h 1025842"/>
                <a:gd name="connsiteX31" fmla="*/ 1363980 w 1620202"/>
                <a:gd name="connsiteY31" fmla="*/ 645795 h 1025842"/>
                <a:gd name="connsiteX32" fmla="*/ 1428750 w 1620202"/>
                <a:gd name="connsiteY32" fmla="*/ 663892 h 1025842"/>
                <a:gd name="connsiteX33" fmla="*/ 1446847 w 1620202"/>
                <a:gd name="connsiteY33" fmla="*/ 614362 h 1025842"/>
                <a:gd name="connsiteX34" fmla="*/ 1355407 w 1620202"/>
                <a:gd name="connsiteY34" fmla="*/ 595312 h 1025842"/>
                <a:gd name="connsiteX35" fmla="*/ 472440 w 1620202"/>
                <a:gd name="connsiteY35" fmla="*/ 516255 h 1025842"/>
                <a:gd name="connsiteX36" fmla="*/ 350520 w 1620202"/>
                <a:gd name="connsiteY36" fmla="*/ 638175 h 1025842"/>
                <a:gd name="connsiteX37" fmla="*/ 472440 w 1620202"/>
                <a:gd name="connsiteY37" fmla="*/ 760095 h 1025842"/>
                <a:gd name="connsiteX38" fmla="*/ 594360 w 1620202"/>
                <a:gd name="connsiteY38" fmla="*/ 638175 h 1025842"/>
                <a:gd name="connsiteX39" fmla="*/ 589512 w 1620202"/>
                <a:gd name="connsiteY39" fmla="*/ 614331 h 1025842"/>
                <a:gd name="connsiteX40" fmla="*/ 472440 w 1620202"/>
                <a:gd name="connsiteY40" fmla="*/ 516255 h 1025842"/>
                <a:gd name="connsiteX41" fmla="*/ 107632 w 1620202"/>
                <a:gd name="connsiteY41" fmla="*/ 0 h 1025842"/>
                <a:gd name="connsiteX42" fmla="*/ 1511617 w 1620202"/>
                <a:gd name="connsiteY42" fmla="*/ 0 h 1025842"/>
                <a:gd name="connsiteX43" fmla="*/ 1620202 w 1620202"/>
                <a:gd name="connsiteY43" fmla="*/ 107632 h 1025842"/>
                <a:gd name="connsiteX44" fmla="*/ 1620202 w 1620202"/>
                <a:gd name="connsiteY44" fmla="*/ 134302 h 1025842"/>
                <a:gd name="connsiteX45" fmla="*/ 1005853 w 1620202"/>
                <a:gd name="connsiteY45" fmla="*/ 134302 h 1025842"/>
                <a:gd name="connsiteX46" fmla="*/ 1005853 w 1620202"/>
                <a:gd name="connsiteY46" fmla="*/ 350520 h 1025842"/>
                <a:gd name="connsiteX47" fmla="*/ 1619250 w 1620202"/>
                <a:gd name="connsiteY47" fmla="*/ 350520 h 1025842"/>
                <a:gd name="connsiteX48" fmla="*/ 1619250 w 1620202"/>
                <a:gd name="connsiteY48" fmla="*/ 918210 h 1025842"/>
                <a:gd name="connsiteX49" fmla="*/ 1511617 w 1620202"/>
                <a:gd name="connsiteY49" fmla="*/ 1025842 h 1025842"/>
                <a:gd name="connsiteX50" fmla="*/ 107632 w 1620202"/>
                <a:gd name="connsiteY50" fmla="*/ 1025842 h 1025842"/>
                <a:gd name="connsiteX51" fmla="*/ 0 w 1620202"/>
                <a:gd name="connsiteY51" fmla="*/ 918210 h 1025842"/>
                <a:gd name="connsiteX52" fmla="*/ 0 w 1620202"/>
                <a:gd name="connsiteY52" fmla="*/ 350520 h 1025842"/>
                <a:gd name="connsiteX53" fmla="*/ 574441 w 1620202"/>
                <a:gd name="connsiteY53" fmla="*/ 350520 h 1025842"/>
                <a:gd name="connsiteX54" fmla="*/ 574441 w 1620202"/>
                <a:gd name="connsiteY54" fmla="*/ 134302 h 1025842"/>
                <a:gd name="connsiteX55" fmla="*/ 0 w 1620202"/>
                <a:gd name="connsiteY55" fmla="*/ 134302 h 1025842"/>
                <a:gd name="connsiteX56" fmla="*/ 0 w 1620202"/>
                <a:gd name="connsiteY56" fmla="*/ 107632 h 1025842"/>
                <a:gd name="connsiteX57" fmla="*/ 107632 w 1620202"/>
                <a:gd name="connsiteY57" fmla="*/ 0 h 1025842"/>
                <a:gd name="connsiteX0" fmla="*/ 287655 w 1620202"/>
                <a:gd name="connsiteY0" fmla="*/ 610552 h 1025842"/>
                <a:gd name="connsiteX1" fmla="*/ 136207 w 1620202"/>
                <a:gd name="connsiteY1" fmla="*/ 763905 h 1025842"/>
                <a:gd name="connsiteX2" fmla="*/ 287655 w 1620202"/>
                <a:gd name="connsiteY2" fmla="*/ 917257 h 1025842"/>
                <a:gd name="connsiteX3" fmla="*/ 438150 w 1620202"/>
                <a:gd name="connsiteY3" fmla="*/ 781050 h 1025842"/>
                <a:gd name="connsiteX4" fmla="*/ 323850 w 1620202"/>
                <a:gd name="connsiteY4" fmla="*/ 637222 h 1025842"/>
                <a:gd name="connsiteX5" fmla="*/ 325755 w 1620202"/>
                <a:gd name="connsiteY5" fmla="*/ 615315 h 1025842"/>
                <a:gd name="connsiteX6" fmla="*/ 287655 w 1620202"/>
                <a:gd name="connsiteY6" fmla="*/ 610552 h 1025842"/>
                <a:gd name="connsiteX7" fmla="*/ 1355407 w 1620202"/>
                <a:gd name="connsiteY7" fmla="*/ 595312 h 1025842"/>
                <a:gd name="connsiteX8" fmla="*/ 1221105 w 1620202"/>
                <a:gd name="connsiteY8" fmla="*/ 709612 h 1025842"/>
                <a:gd name="connsiteX9" fmla="*/ 1187767 w 1620202"/>
                <a:gd name="connsiteY9" fmla="*/ 709612 h 1025842"/>
                <a:gd name="connsiteX10" fmla="*/ 1176337 w 1620202"/>
                <a:gd name="connsiteY10" fmla="*/ 741045 h 1025842"/>
                <a:gd name="connsiteX11" fmla="*/ 1217295 w 1620202"/>
                <a:gd name="connsiteY11" fmla="*/ 741045 h 1025842"/>
                <a:gd name="connsiteX12" fmla="*/ 1217295 w 1620202"/>
                <a:gd name="connsiteY12" fmla="*/ 756285 h 1025842"/>
                <a:gd name="connsiteX13" fmla="*/ 1218247 w 1620202"/>
                <a:gd name="connsiteY13" fmla="*/ 765810 h 1025842"/>
                <a:gd name="connsiteX14" fmla="*/ 1188720 w 1620202"/>
                <a:gd name="connsiteY14" fmla="*/ 765810 h 1025842"/>
                <a:gd name="connsiteX15" fmla="*/ 1177290 w 1620202"/>
                <a:gd name="connsiteY15" fmla="*/ 797242 h 1025842"/>
                <a:gd name="connsiteX16" fmla="*/ 1222057 w 1620202"/>
                <a:gd name="connsiteY16" fmla="*/ 797242 h 1025842"/>
                <a:gd name="connsiteX17" fmla="*/ 1359217 w 1620202"/>
                <a:gd name="connsiteY17" fmla="*/ 903922 h 1025842"/>
                <a:gd name="connsiteX18" fmla="*/ 1446847 w 1620202"/>
                <a:gd name="connsiteY18" fmla="*/ 887730 h 1025842"/>
                <a:gd name="connsiteX19" fmla="*/ 1432560 w 1620202"/>
                <a:gd name="connsiteY19" fmla="*/ 836295 h 1025842"/>
                <a:gd name="connsiteX20" fmla="*/ 1369695 w 1620202"/>
                <a:gd name="connsiteY20" fmla="*/ 853440 h 1025842"/>
                <a:gd name="connsiteX21" fmla="*/ 1292542 w 1620202"/>
                <a:gd name="connsiteY21" fmla="*/ 797242 h 1025842"/>
                <a:gd name="connsiteX22" fmla="*/ 1382077 w 1620202"/>
                <a:gd name="connsiteY22" fmla="*/ 797242 h 1025842"/>
                <a:gd name="connsiteX23" fmla="*/ 1393507 w 1620202"/>
                <a:gd name="connsiteY23" fmla="*/ 765810 h 1025842"/>
                <a:gd name="connsiteX24" fmla="*/ 1286827 w 1620202"/>
                <a:gd name="connsiteY24" fmla="*/ 765810 h 1025842"/>
                <a:gd name="connsiteX25" fmla="*/ 1285875 w 1620202"/>
                <a:gd name="connsiteY25" fmla="*/ 749617 h 1025842"/>
                <a:gd name="connsiteX26" fmla="*/ 1285875 w 1620202"/>
                <a:gd name="connsiteY26" fmla="*/ 743902 h 1025842"/>
                <a:gd name="connsiteX27" fmla="*/ 1285875 w 1620202"/>
                <a:gd name="connsiteY27" fmla="*/ 740092 h 1025842"/>
                <a:gd name="connsiteX28" fmla="*/ 1401127 w 1620202"/>
                <a:gd name="connsiteY28" fmla="*/ 740092 h 1025842"/>
                <a:gd name="connsiteX29" fmla="*/ 1411605 w 1620202"/>
                <a:gd name="connsiteY29" fmla="*/ 708660 h 1025842"/>
                <a:gd name="connsiteX30" fmla="*/ 1286827 w 1620202"/>
                <a:gd name="connsiteY30" fmla="*/ 708660 h 1025842"/>
                <a:gd name="connsiteX31" fmla="*/ 1363980 w 1620202"/>
                <a:gd name="connsiteY31" fmla="*/ 645795 h 1025842"/>
                <a:gd name="connsiteX32" fmla="*/ 1428750 w 1620202"/>
                <a:gd name="connsiteY32" fmla="*/ 663892 h 1025842"/>
                <a:gd name="connsiteX33" fmla="*/ 1446847 w 1620202"/>
                <a:gd name="connsiteY33" fmla="*/ 614362 h 1025842"/>
                <a:gd name="connsiteX34" fmla="*/ 1355407 w 1620202"/>
                <a:gd name="connsiteY34" fmla="*/ 595312 h 1025842"/>
                <a:gd name="connsiteX35" fmla="*/ 472440 w 1620202"/>
                <a:gd name="connsiteY35" fmla="*/ 516255 h 1025842"/>
                <a:gd name="connsiteX36" fmla="*/ 350520 w 1620202"/>
                <a:gd name="connsiteY36" fmla="*/ 638175 h 1025842"/>
                <a:gd name="connsiteX37" fmla="*/ 472440 w 1620202"/>
                <a:gd name="connsiteY37" fmla="*/ 760095 h 1025842"/>
                <a:gd name="connsiteX38" fmla="*/ 594360 w 1620202"/>
                <a:gd name="connsiteY38" fmla="*/ 638175 h 1025842"/>
                <a:gd name="connsiteX39" fmla="*/ 589512 w 1620202"/>
                <a:gd name="connsiteY39" fmla="*/ 614331 h 1025842"/>
                <a:gd name="connsiteX40" fmla="*/ 472440 w 1620202"/>
                <a:gd name="connsiteY40" fmla="*/ 516255 h 1025842"/>
                <a:gd name="connsiteX41" fmla="*/ 107632 w 1620202"/>
                <a:gd name="connsiteY41" fmla="*/ 0 h 1025842"/>
                <a:gd name="connsiteX42" fmla="*/ 1511617 w 1620202"/>
                <a:gd name="connsiteY42" fmla="*/ 0 h 1025842"/>
                <a:gd name="connsiteX43" fmla="*/ 1620202 w 1620202"/>
                <a:gd name="connsiteY43" fmla="*/ 107632 h 1025842"/>
                <a:gd name="connsiteX44" fmla="*/ 1620202 w 1620202"/>
                <a:gd name="connsiteY44" fmla="*/ 134302 h 1025842"/>
                <a:gd name="connsiteX45" fmla="*/ 1005853 w 1620202"/>
                <a:gd name="connsiteY45" fmla="*/ 134302 h 1025842"/>
                <a:gd name="connsiteX46" fmla="*/ 1005853 w 1620202"/>
                <a:gd name="connsiteY46" fmla="*/ 350520 h 1025842"/>
                <a:gd name="connsiteX47" fmla="*/ 1619250 w 1620202"/>
                <a:gd name="connsiteY47" fmla="*/ 350520 h 1025842"/>
                <a:gd name="connsiteX48" fmla="*/ 1619250 w 1620202"/>
                <a:gd name="connsiteY48" fmla="*/ 918210 h 1025842"/>
                <a:gd name="connsiteX49" fmla="*/ 1511617 w 1620202"/>
                <a:gd name="connsiteY49" fmla="*/ 1025842 h 1025842"/>
                <a:gd name="connsiteX50" fmla="*/ 107632 w 1620202"/>
                <a:gd name="connsiteY50" fmla="*/ 1025842 h 1025842"/>
                <a:gd name="connsiteX51" fmla="*/ 0 w 1620202"/>
                <a:gd name="connsiteY51" fmla="*/ 918210 h 1025842"/>
                <a:gd name="connsiteX52" fmla="*/ 0 w 1620202"/>
                <a:gd name="connsiteY52" fmla="*/ 350520 h 1025842"/>
                <a:gd name="connsiteX53" fmla="*/ 574441 w 1620202"/>
                <a:gd name="connsiteY53" fmla="*/ 134302 h 1025842"/>
                <a:gd name="connsiteX54" fmla="*/ 0 w 1620202"/>
                <a:gd name="connsiteY54" fmla="*/ 134302 h 1025842"/>
                <a:gd name="connsiteX55" fmla="*/ 0 w 1620202"/>
                <a:gd name="connsiteY55" fmla="*/ 107632 h 1025842"/>
                <a:gd name="connsiteX56" fmla="*/ 107632 w 1620202"/>
                <a:gd name="connsiteY56" fmla="*/ 0 h 1025842"/>
                <a:gd name="connsiteX0" fmla="*/ 287655 w 1620202"/>
                <a:gd name="connsiteY0" fmla="*/ 610552 h 1025842"/>
                <a:gd name="connsiteX1" fmla="*/ 136207 w 1620202"/>
                <a:gd name="connsiteY1" fmla="*/ 763905 h 1025842"/>
                <a:gd name="connsiteX2" fmla="*/ 287655 w 1620202"/>
                <a:gd name="connsiteY2" fmla="*/ 917257 h 1025842"/>
                <a:gd name="connsiteX3" fmla="*/ 438150 w 1620202"/>
                <a:gd name="connsiteY3" fmla="*/ 781050 h 1025842"/>
                <a:gd name="connsiteX4" fmla="*/ 323850 w 1620202"/>
                <a:gd name="connsiteY4" fmla="*/ 637222 h 1025842"/>
                <a:gd name="connsiteX5" fmla="*/ 325755 w 1620202"/>
                <a:gd name="connsiteY5" fmla="*/ 615315 h 1025842"/>
                <a:gd name="connsiteX6" fmla="*/ 287655 w 1620202"/>
                <a:gd name="connsiteY6" fmla="*/ 610552 h 1025842"/>
                <a:gd name="connsiteX7" fmla="*/ 1355407 w 1620202"/>
                <a:gd name="connsiteY7" fmla="*/ 595312 h 1025842"/>
                <a:gd name="connsiteX8" fmla="*/ 1221105 w 1620202"/>
                <a:gd name="connsiteY8" fmla="*/ 709612 h 1025842"/>
                <a:gd name="connsiteX9" fmla="*/ 1187767 w 1620202"/>
                <a:gd name="connsiteY9" fmla="*/ 709612 h 1025842"/>
                <a:gd name="connsiteX10" fmla="*/ 1176337 w 1620202"/>
                <a:gd name="connsiteY10" fmla="*/ 741045 h 1025842"/>
                <a:gd name="connsiteX11" fmla="*/ 1217295 w 1620202"/>
                <a:gd name="connsiteY11" fmla="*/ 741045 h 1025842"/>
                <a:gd name="connsiteX12" fmla="*/ 1217295 w 1620202"/>
                <a:gd name="connsiteY12" fmla="*/ 756285 h 1025842"/>
                <a:gd name="connsiteX13" fmla="*/ 1218247 w 1620202"/>
                <a:gd name="connsiteY13" fmla="*/ 765810 h 1025842"/>
                <a:gd name="connsiteX14" fmla="*/ 1188720 w 1620202"/>
                <a:gd name="connsiteY14" fmla="*/ 765810 h 1025842"/>
                <a:gd name="connsiteX15" fmla="*/ 1177290 w 1620202"/>
                <a:gd name="connsiteY15" fmla="*/ 797242 h 1025842"/>
                <a:gd name="connsiteX16" fmla="*/ 1222057 w 1620202"/>
                <a:gd name="connsiteY16" fmla="*/ 797242 h 1025842"/>
                <a:gd name="connsiteX17" fmla="*/ 1359217 w 1620202"/>
                <a:gd name="connsiteY17" fmla="*/ 903922 h 1025842"/>
                <a:gd name="connsiteX18" fmla="*/ 1446847 w 1620202"/>
                <a:gd name="connsiteY18" fmla="*/ 887730 h 1025842"/>
                <a:gd name="connsiteX19" fmla="*/ 1432560 w 1620202"/>
                <a:gd name="connsiteY19" fmla="*/ 836295 h 1025842"/>
                <a:gd name="connsiteX20" fmla="*/ 1369695 w 1620202"/>
                <a:gd name="connsiteY20" fmla="*/ 853440 h 1025842"/>
                <a:gd name="connsiteX21" fmla="*/ 1292542 w 1620202"/>
                <a:gd name="connsiteY21" fmla="*/ 797242 h 1025842"/>
                <a:gd name="connsiteX22" fmla="*/ 1382077 w 1620202"/>
                <a:gd name="connsiteY22" fmla="*/ 797242 h 1025842"/>
                <a:gd name="connsiteX23" fmla="*/ 1393507 w 1620202"/>
                <a:gd name="connsiteY23" fmla="*/ 765810 h 1025842"/>
                <a:gd name="connsiteX24" fmla="*/ 1286827 w 1620202"/>
                <a:gd name="connsiteY24" fmla="*/ 765810 h 1025842"/>
                <a:gd name="connsiteX25" fmla="*/ 1285875 w 1620202"/>
                <a:gd name="connsiteY25" fmla="*/ 749617 h 1025842"/>
                <a:gd name="connsiteX26" fmla="*/ 1285875 w 1620202"/>
                <a:gd name="connsiteY26" fmla="*/ 743902 h 1025842"/>
                <a:gd name="connsiteX27" fmla="*/ 1285875 w 1620202"/>
                <a:gd name="connsiteY27" fmla="*/ 740092 h 1025842"/>
                <a:gd name="connsiteX28" fmla="*/ 1401127 w 1620202"/>
                <a:gd name="connsiteY28" fmla="*/ 740092 h 1025842"/>
                <a:gd name="connsiteX29" fmla="*/ 1411605 w 1620202"/>
                <a:gd name="connsiteY29" fmla="*/ 708660 h 1025842"/>
                <a:gd name="connsiteX30" fmla="*/ 1286827 w 1620202"/>
                <a:gd name="connsiteY30" fmla="*/ 708660 h 1025842"/>
                <a:gd name="connsiteX31" fmla="*/ 1363980 w 1620202"/>
                <a:gd name="connsiteY31" fmla="*/ 645795 h 1025842"/>
                <a:gd name="connsiteX32" fmla="*/ 1428750 w 1620202"/>
                <a:gd name="connsiteY32" fmla="*/ 663892 h 1025842"/>
                <a:gd name="connsiteX33" fmla="*/ 1446847 w 1620202"/>
                <a:gd name="connsiteY33" fmla="*/ 614362 h 1025842"/>
                <a:gd name="connsiteX34" fmla="*/ 1355407 w 1620202"/>
                <a:gd name="connsiteY34" fmla="*/ 595312 h 1025842"/>
                <a:gd name="connsiteX35" fmla="*/ 472440 w 1620202"/>
                <a:gd name="connsiteY35" fmla="*/ 516255 h 1025842"/>
                <a:gd name="connsiteX36" fmla="*/ 350520 w 1620202"/>
                <a:gd name="connsiteY36" fmla="*/ 638175 h 1025842"/>
                <a:gd name="connsiteX37" fmla="*/ 472440 w 1620202"/>
                <a:gd name="connsiteY37" fmla="*/ 760095 h 1025842"/>
                <a:gd name="connsiteX38" fmla="*/ 594360 w 1620202"/>
                <a:gd name="connsiteY38" fmla="*/ 638175 h 1025842"/>
                <a:gd name="connsiteX39" fmla="*/ 589512 w 1620202"/>
                <a:gd name="connsiteY39" fmla="*/ 614331 h 1025842"/>
                <a:gd name="connsiteX40" fmla="*/ 472440 w 1620202"/>
                <a:gd name="connsiteY40" fmla="*/ 516255 h 1025842"/>
                <a:gd name="connsiteX41" fmla="*/ 107632 w 1620202"/>
                <a:gd name="connsiteY41" fmla="*/ 0 h 1025842"/>
                <a:gd name="connsiteX42" fmla="*/ 1511617 w 1620202"/>
                <a:gd name="connsiteY42" fmla="*/ 0 h 1025842"/>
                <a:gd name="connsiteX43" fmla="*/ 1620202 w 1620202"/>
                <a:gd name="connsiteY43" fmla="*/ 107632 h 1025842"/>
                <a:gd name="connsiteX44" fmla="*/ 1620202 w 1620202"/>
                <a:gd name="connsiteY44" fmla="*/ 134302 h 1025842"/>
                <a:gd name="connsiteX45" fmla="*/ 1005853 w 1620202"/>
                <a:gd name="connsiteY45" fmla="*/ 134302 h 1025842"/>
                <a:gd name="connsiteX46" fmla="*/ 1005853 w 1620202"/>
                <a:gd name="connsiteY46" fmla="*/ 350520 h 1025842"/>
                <a:gd name="connsiteX47" fmla="*/ 1619250 w 1620202"/>
                <a:gd name="connsiteY47" fmla="*/ 350520 h 1025842"/>
                <a:gd name="connsiteX48" fmla="*/ 1619250 w 1620202"/>
                <a:gd name="connsiteY48" fmla="*/ 918210 h 1025842"/>
                <a:gd name="connsiteX49" fmla="*/ 1511617 w 1620202"/>
                <a:gd name="connsiteY49" fmla="*/ 1025842 h 1025842"/>
                <a:gd name="connsiteX50" fmla="*/ 107632 w 1620202"/>
                <a:gd name="connsiteY50" fmla="*/ 1025842 h 1025842"/>
                <a:gd name="connsiteX51" fmla="*/ 0 w 1620202"/>
                <a:gd name="connsiteY51" fmla="*/ 918210 h 1025842"/>
                <a:gd name="connsiteX52" fmla="*/ 0 w 1620202"/>
                <a:gd name="connsiteY52" fmla="*/ 350520 h 1025842"/>
                <a:gd name="connsiteX53" fmla="*/ 0 w 1620202"/>
                <a:gd name="connsiteY53" fmla="*/ 134302 h 1025842"/>
                <a:gd name="connsiteX54" fmla="*/ 0 w 1620202"/>
                <a:gd name="connsiteY54" fmla="*/ 107632 h 1025842"/>
                <a:gd name="connsiteX55" fmla="*/ 107632 w 1620202"/>
                <a:gd name="connsiteY55" fmla="*/ 0 h 1025842"/>
                <a:gd name="connsiteX0" fmla="*/ 287655 w 1620202"/>
                <a:gd name="connsiteY0" fmla="*/ 610552 h 1025842"/>
                <a:gd name="connsiteX1" fmla="*/ 136207 w 1620202"/>
                <a:gd name="connsiteY1" fmla="*/ 763905 h 1025842"/>
                <a:gd name="connsiteX2" fmla="*/ 287655 w 1620202"/>
                <a:gd name="connsiteY2" fmla="*/ 917257 h 1025842"/>
                <a:gd name="connsiteX3" fmla="*/ 438150 w 1620202"/>
                <a:gd name="connsiteY3" fmla="*/ 781050 h 1025842"/>
                <a:gd name="connsiteX4" fmla="*/ 323850 w 1620202"/>
                <a:gd name="connsiteY4" fmla="*/ 637222 h 1025842"/>
                <a:gd name="connsiteX5" fmla="*/ 325755 w 1620202"/>
                <a:gd name="connsiteY5" fmla="*/ 615315 h 1025842"/>
                <a:gd name="connsiteX6" fmla="*/ 287655 w 1620202"/>
                <a:gd name="connsiteY6" fmla="*/ 610552 h 1025842"/>
                <a:gd name="connsiteX7" fmla="*/ 1355407 w 1620202"/>
                <a:gd name="connsiteY7" fmla="*/ 595312 h 1025842"/>
                <a:gd name="connsiteX8" fmla="*/ 1221105 w 1620202"/>
                <a:gd name="connsiteY8" fmla="*/ 709612 h 1025842"/>
                <a:gd name="connsiteX9" fmla="*/ 1187767 w 1620202"/>
                <a:gd name="connsiteY9" fmla="*/ 709612 h 1025842"/>
                <a:gd name="connsiteX10" fmla="*/ 1176337 w 1620202"/>
                <a:gd name="connsiteY10" fmla="*/ 741045 h 1025842"/>
                <a:gd name="connsiteX11" fmla="*/ 1217295 w 1620202"/>
                <a:gd name="connsiteY11" fmla="*/ 741045 h 1025842"/>
                <a:gd name="connsiteX12" fmla="*/ 1217295 w 1620202"/>
                <a:gd name="connsiteY12" fmla="*/ 756285 h 1025842"/>
                <a:gd name="connsiteX13" fmla="*/ 1218247 w 1620202"/>
                <a:gd name="connsiteY13" fmla="*/ 765810 h 1025842"/>
                <a:gd name="connsiteX14" fmla="*/ 1188720 w 1620202"/>
                <a:gd name="connsiteY14" fmla="*/ 765810 h 1025842"/>
                <a:gd name="connsiteX15" fmla="*/ 1177290 w 1620202"/>
                <a:gd name="connsiteY15" fmla="*/ 797242 h 1025842"/>
                <a:gd name="connsiteX16" fmla="*/ 1222057 w 1620202"/>
                <a:gd name="connsiteY16" fmla="*/ 797242 h 1025842"/>
                <a:gd name="connsiteX17" fmla="*/ 1359217 w 1620202"/>
                <a:gd name="connsiteY17" fmla="*/ 903922 h 1025842"/>
                <a:gd name="connsiteX18" fmla="*/ 1446847 w 1620202"/>
                <a:gd name="connsiteY18" fmla="*/ 887730 h 1025842"/>
                <a:gd name="connsiteX19" fmla="*/ 1432560 w 1620202"/>
                <a:gd name="connsiteY19" fmla="*/ 836295 h 1025842"/>
                <a:gd name="connsiteX20" fmla="*/ 1369695 w 1620202"/>
                <a:gd name="connsiteY20" fmla="*/ 853440 h 1025842"/>
                <a:gd name="connsiteX21" fmla="*/ 1292542 w 1620202"/>
                <a:gd name="connsiteY21" fmla="*/ 797242 h 1025842"/>
                <a:gd name="connsiteX22" fmla="*/ 1382077 w 1620202"/>
                <a:gd name="connsiteY22" fmla="*/ 797242 h 1025842"/>
                <a:gd name="connsiteX23" fmla="*/ 1393507 w 1620202"/>
                <a:gd name="connsiteY23" fmla="*/ 765810 h 1025842"/>
                <a:gd name="connsiteX24" fmla="*/ 1286827 w 1620202"/>
                <a:gd name="connsiteY24" fmla="*/ 765810 h 1025842"/>
                <a:gd name="connsiteX25" fmla="*/ 1285875 w 1620202"/>
                <a:gd name="connsiteY25" fmla="*/ 749617 h 1025842"/>
                <a:gd name="connsiteX26" fmla="*/ 1285875 w 1620202"/>
                <a:gd name="connsiteY26" fmla="*/ 743902 h 1025842"/>
                <a:gd name="connsiteX27" fmla="*/ 1285875 w 1620202"/>
                <a:gd name="connsiteY27" fmla="*/ 740092 h 1025842"/>
                <a:gd name="connsiteX28" fmla="*/ 1401127 w 1620202"/>
                <a:gd name="connsiteY28" fmla="*/ 740092 h 1025842"/>
                <a:gd name="connsiteX29" fmla="*/ 1411605 w 1620202"/>
                <a:gd name="connsiteY29" fmla="*/ 708660 h 1025842"/>
                <a:gd name="connsiteX30" fmla="*/ 1286827 w 1620202"/>
                <a:gd name="connsiteY30" fmla="*/ 708660 h 1025842"/>
                <a:gd name="connsiteX31" fmla="*/ 1363980 w 1620202"/>
                <a:gd name="connsiteY31" fmla="*/ 645795 h 1025842"/>
                <a:gd name="connsiteX32" fmla="*/ 1428750 w 1620202"/>
                <a:gd name="connsiteY32" fmla="*/ 663892 h 1025842"/>
                <a:gd name="connsiteX33" fmla="*/ 1446847 w 1620202"/>
                <a:gd name="connsiteY33" fmla="*/ 614362 h 1025842"/>
                <a:gd name="connsiteX34" fmla="*/ 1355407 w 1620202"/>
                <a:gd name="connsiteY34" fmla="*/ 595312 h 1025842"/>
                <a:gd name="connsiteX35" fmla="*/ 472440 w 1620202"/>
                <a:gd name="connsiteY35" fmla="*/ 516255 h 1025842"/>
                <a:gd name="connsiteX36" fmla="*/ 350520 w 1620202"/>
                <a:gd name="connsiteY36" fmla="*/ 638175 h 1025842"/>
                <a:gd name="connsiteX37" fmla="*/ 472440 w 1620202"/>
                <a:gd name="connsiteY37" fmla="*/ 760095 h 1025842"/>
                <a:gd name="connsiteX38" fmla="*/ 594360 w 1620202"/>
                <a:gd name="connsiteY38" fmla="*/ 638175 h 1025842"/>
                <a:gd name="connsiteX39" fmla="*/ 589512 w 1620202"/>
                <a:gd name="connsiteY39" fmla="*/ 614331 h 1025842"/>
                <a:gd name="connsiteX40" fmla="*/ 472440 w 1620202"/>
                <a:gd name="connsiteY40" fmla="*/ 516255 h 1025842"/>
                <a:gd name="connsiteX41" fmla="*/ 107632 w 1620202"/>
                <a:gd name="connsiteY41" fmla="*/ 0 h 1025842"/>
                <a:gd name="connsiteX42" fmla="*/ 1511617 w 1620202"/>
                <a:gd name="connsiteY42" fmla="*/ 0 h 1025842"/>
                <a:gd name="connsiteX43" fmla="*/ 1620202 w 1620202"/>
                <a:gd name="connsiteY43" fmla="*/ 107632 h 1025842"/>
                <a:gd name="connsiteX44" fmla="*/ 1620202 w 1620202"/>
                <a:gd name="connsiteY44" fmla="*/ 134302 h 1025842"/>
                <a:gd name="connsiteX45" fmla="*/ 1005853 w 1620202"/>
                <a:gd name="connsiteY45" fmla="*/ 134302 h 1025842"/>
                <a:gd name="connsiteX46" fmla="*/ 1005853 w 1620202"/>
                <a:gd name="connsiteY46" fmla="*/ 350520 h 1025842"/>
                <a:gd name="connsiteX47" fmla="*/ 1619250 w 1620202"/>
                <a:gd name="connsiteY47" fmla="*/ 350520 h 1025842"/>
                <a:gd name="connsiteX48" fmla="*/ 1619250 w 1620202"/>
                <a:gd name="connsiteY48" fmla="*/ 918210 h 1025842"/>
                <a:gd name="connsiteX49" fmla="*/ 1511617 w 1620202"/>
                <a:gd name="connsiteY49" fmla="*/ 1025842 h 1025842"/>
                <a:gd name="connsiteX50" fmla="*/ 107632 w 1620202"/>
                <a:gd name="connsiteY50" fmla="*/ 1025842 h 1025842"/>
                <a:gd name="connsiteX51" fmla="*/ 0 w 1620202"/>
                <a:gd name="connsiteY51" fmla="*/ 918210 h 1025842"/>
                <a:gd name="connsiteX52" fmla="*/ 0 w 1620202"/>
                <a:gd name="connsiteY52" fmla="*/ 350520 h 1025842"/>
                <a:gd name="connsiteX53" fmla="*/ 0 w 1620202"/>
                <a:gd name="connsiteY53" fmla="*/ 134302 h 1025842"/>
                <a:gd name="connsiteX54" fmla="*/ 0 w 1620202"/>
                <a:gd name="connsiteY54" fmla="*/ 107632 h 1025842"/>
                <a:gd name="connsiteX55" fmla="*/ 107632 w 1620202"/>
                <a:gd name="connsiteY55" fmla="*/ 0 h 1025842"/>
                <a:gd name="connsiteX0" fmla="*/ 287655 w 1620202"/>
                <a:gd name="connsiteY0" fmla="*/ 610552 h 1025842"/>
                <a:gd name="connsiteX1" fmla="*/ 136207 w 1620202"/>
                <a:gd name="connsiteY1" fmla="*/ 763905 h 1025842"/>
                <a:gd name="connsiteX2" fmla="*/ 287655 w 1620202"/>
                <a:gd name="connsiteY2" fmla="*/ 917257 h 1025842"/>
                <a:gd name="connsiteX3" fmla="*/ 438150 w 1620202"/>
                <a:gd name="connsiteY3" fmla="*/ 781050 h 1025842"/>
                <a:gd name="connsiteX4" fmla="*/ 323850 w 1620202"/>
                <a:gd name="connsiteY4" fmla="*/ 637222 h 1025842"/>
                <a:gd name="connsiteX5" fmla="*/ 325755 w 1620202"/>
                <a:gd name="connsiteY5" fmla="*/ 615315 h 1025842"/>
                <a:gd name="connsiteX6" fmla="*/ 287655 w 1620202"/>
                <a:gd name="connsiteY6" fmla="*/ 610552 h 1025842"/>
                <a:gd name="connsiteX7" fmla="*/ 1355407 w 1620202"/>
                <a:gd name="connsiteY7" fmla="*/ 595312 h 1025842"/>
                <a:gd name="connsiteX8" fmla="*/ 1221105 w 1620202"/>
                <a:gd name="connsiteY8" fmla="*/ 709612 h 1025842"/>
                <a:gd name="connsiteX9" fmla="*/ 1187767 w 1620202"/>
                <a:gd name="connsiteY9" fmla="*/ 709612 h 1025842"/>
                <a:gd name="connsiteX10" fmla="*/ 1176337 w 1620202"/>
                <a:gd name="connsiteY10" fmla="*/ 741045 h 1025842"/>
                <a:gd name="connsiteX11" fmla="*/ 1217295 w 1620202"/>
                <a:gd name="connsiteY11" fmla="*/ 741045 h 1025842"/>
                <a:gd name="connsiteX12" fmla="*/ 1217295 w 1620202"/>
                <a:gd name="connsiteY12" fmla="*/ 756285 h 1025842"/>
                <a:gd name="connsiteX13" fmla="*/ 1218247 w 1620202"/>
                <a:gd name="connsiteY13" fmla="*/ 765810 h 1025842"/>
                <a:gd name="connsiteX14" fmla="*/ 1188720 w 1620202"/>
                <a:gd name="connsiteY14" fmla="*/ 765810 h 1025842"/>
                <a:gd name="connsiteX15" fmla="*/ 1177290 w 1620202"/>
                <a:gd name="connsiteY15" fmla="*/ 797242 h 1025842"/>
                <a:gd name="connsiteX16" fmla="*/ 1222057 w 1620202"/>
                <a:gd name="connsiteY16" fmla="*/ 797242 h 1025842"/>
                <a:gd name="connsiteX17" fmla="*/ 1359217 w 1620202"/>
                <a:gd name="connsiteY17" fmla="*/ 903922 h 1025842"/>
                <a:gd name="connsiteX18" fmla="*/ 1446847 w 1620202"/>
                <a:gd name="connsiteY18" fmla="*/ 887730 h 1025842"/>
                <a:gd name="connsiteX19" fmla="*/ 1432560 w 1620202"/>
                <a:gd name="connsiteY19" fmla="*/ 836295 h 1025842"/>
                <a:gd name="connsiteX20" fmla="*/ 1369695 w 1620202"/>
                <a:gd name="connsiteY20" fmla="*/ 853440 h 1025842"/>
                <a:gd name="connsiteX21" fmla="*/ 1292542 w 1620202"/>
                <a:gd name="connsiteY21" fmla="*/ 797242 h 1025842"/>
                <a:gd name="connsiteX22" fmla="*/ 1382077 w 1620202"/>
                <a:gd name="connsiteY22" fmla="*/ 797242 h 1025842"/>
                <a:gd name="connsiteX23" fmla="*/ 1393507 w 1620202"/>
                <a:gd name="connsiteY23" fmla="*/ 765810 h 1025842"/>
                <a:gd name="connsiteX24" fmla="*/ 1286827 w 1620202"/>
                <a:gd name="connsiteY24" fmla="*/ 765810 h 1025842"/>
                <a:gd name="connsiteX25" fmla="*/ 1285875 w 1620202"/>
                <a:gd name="connsiteY25" fmla="*/ 749617 h 1025842"/>
                <a:gd name="connsiteX26" fmla="*/ 1285875 w 1620202"/>
                <a:gd name="connsiteY26" fmla="*/ 743902 h 1025842"/>
                <a:gd name="connsiteX27" fmla="*/ 1285875 w 1620202"/>
                <a:gd name="connsiteY27" fmla="*/ 740092 h 1025842"/>
                <a:gd name="connsiteX28" fmla="*/ 1401127 w 1620202"/>
                <a:gd name="connsiteY28" fmla="*/ 740092 h 1025842"/>
                <a:gd name="connsiteX29" fmla="*/ 1411605 w 1620202"/>
                <a:gd name="connsiteY29" fmla="*/ 708660 h 1025842"/>
                <a:gd name="connsiteX30" fmla="*/ 1286827 w 1620202"/>
                <a:gd name="connsiteY30" fmla="*/ 708660 h 1025842"/>
                <a:gd name="connsiteX31" fmla="*/ 1363980 w 1620202"/>
                <a:gd name="connsiteY31" fmla="*/ 645795 h 1025842"/>
                <a:gd name="connsiteX32" fmla="*/ 1428750 w 1620202"/>
                <a:gd name="connsiteY32" fmla="*/ 663892 h 1025842"/>
                <a:gd name="connsiteX33" fmla="*/ 1446847 w 1620202"/>
                <a:gd name="connsiteY33" fmla="*/ 614362 h 1025842"/>
                <a:gd name="connsiteX34" fmla="*/ 1355407 w 1620202"/>
                <a:gd name="connsiteY34" fmla="*/ 595312 h 1025842"/>
                <a:gd name="connsiteX35" fmla="*/ 472440 w 1620202"/>
                <a:gd name="connsiteY35" fmla="*/ 516255 h 1025842"/>
                <a:gd name="connsiteX36" fmla="*/ 350520 w 1620202"/>
                <a:gd name="connsiteY36" fmla="*/ 638175 h 1025842"/>
                <a:gd name="connsiteX37" fmla="*/ 472440 w 1620202"/>
                <a:gd name="connsiteY37" fmla="*/ 760095 h 1025842"/>
                <a:gd name="connsiteX38" fmla="*/ 594360 w 1620202"/>
                <a:gd name="connsiteY38" fmla="*/ 638175 h 1025842"/>
                <a:gd name="connsiteX39" fmla="*/ 589512 w 1620202"/>
                <a:gd name="connsiteY39" fmla="*/ 614331 h 1025842"/>
                <a:gd name="connsiteX40" fmla="*/ 472440 w 1620202"/>
                <a:gd name="connsiteY40" fmla="*/ 516255 h 1025842"/>
                <a:gd name="connsiteX41" fmla="*/ 107632 w 1620202"/>
                <a:gd name="connsiteY41" fmla="*/ 0 h 1025842"/>
                <a:gd name="connsiteX42" fmla="*/ 1511617 w 1620202"/>
                <a:gd name="connsiteY42" fmla="*/ 0 h 1025842"/>
                <a:gd name="connsiteX43" fmla="*/ 1620202 w 1620202"/>
                <a:gd name="connsiteY43" fmla="*/ 107632 h 1025842"/>
                <a:gd name="connsiteX44" fmla="*/ 1620202 w 1620202"/>
                <a:gd name="connsiteY44" fmla="*/ 134302 h 1025842"/>
                <a:gd name="connsiteX45" fmla="*/ 1005853 w 1620202"/>
                <a:gd name="connsiteY45" fmla="*/ 134302 h 1025842"/>
                <a:gd name="connsiteX46" fmla="*/ 1005853 w 1620202"/>
                <a:gd name="connsiteY46" fmla="*/ 350520 h 1025842"/>
                <a:gd name="connsiteX47" fmla="*/ 1619250 w 1620202"/>
                <a:gd name="connsiteY47" fmla="*/ 350520 h 1025842"/>
                <a:gd name="connsiteX48" fmla="*/ 1619250 w 1620202"/>
                <a:gd name="connsiteY48" fmla="*/ 918210 h 1025842"/>
                <a:gd name="connsiteX49" fmla="*/ 1511617 w 1620202"/>
                <a:gd name="connsiteY49" fmla="*/ 1025842 h 1025842"/>
                <a:gd name="connsiteX50" fmla="*/ 107632 w 1620202"/>
                <a:gd name="connsiteY50" fmla="*/ 1025842 h 1025842"/>
                <a:gd name="connsiteX51" fmla="*/ 0 w 1620202"/>
                <a:gd name="connsiteY51" fmla="*/ 918210 h 1025842"/>
                <a:gd name="connsiteX52" fmla="*/ 0 w 1620202"/>
                <a:gd name="connsiteY52" fmla="*/ 350520 h 1025842"/>
                <a:gd name="connsiteX53" fmla="*/ 0 w 1620202"/>
                <a:gd name="connsiteY53" fmla="*/ 107632 h 1025842"/>
                <a:gd name="connsiteX54" fmla="*/ 107632 w 1620202"/>
                <a:gd name="connsiteY54" fmla="*/ 0 h 1025842"/>
                <a:gd name="connsiteX0" fmla="*/ 287655 w 1620202"/>
                <a:gd name="connsiteY0" fmla="*/ 610552 h 1025842"/>
                <a:gd name="connsiteX1" fmla="*/ 136207 w 1620202"/>
                <a:gd name="connsiteY1" fmla="*/ 763905 h 1025842"/>
                <a:gd name="connsiteX2" fmla="*/ 287655 w 1620202"/>
                <a:gd name="connsiteY2" fmla="*/ 917257 h 1025842"/>
                <a:gd name="connsiteX3" fmla="*/ 438150 w 1620202"/>
                <a:gd name="connsiteY3" fmla="*/ 781050 h 1025842"/>
                <a:gd name="connsiteX4" fmla="*/ 323850 w 1620202"/>
                <a:gd name="connsiteY4" fmla="*/ 637222 h 1025842"/>
                <a:gd name="connsiteX5" fmla="*/ 325755 w 1620202"/>
                <a:gd name="connsiteY5" fmla="*/ 615315 h 1025842"/>
                <a:gd name="connsiteX6" fmla="*/ 287655 w 1620202"/>
                <a:gd name="connsiteY6" fmla="*/ 610552 h 1025842"/>
                <a:gd name="connsiteX7" fmla="*/ 1355407 w 1620202"/>
                <a:gd name="connsiteY7" fmla="*/ 595312 h 1025842"/>
                <a:gd name="connsiteX8" fmla="*/ 1221105 w 1620202"/>
                <a:gd name="connsiteY8" fmla="*/ 709612 h 1025842"/>
                <a:gd name="connsiteX9" fmla="*/ 1187767 w 1620202"/>
                <a:gd name="connsiteY9" fmla="*/ 709612 h 1025842"/>
                <a:gd name="connsiteX10" fmla="*/ 1176337 w 1620202"/>
                <a:gd name="connsiteY10" fmla="*/ 741045 h 1025842"/>
                <a:gd name="connsiteX11" fmla="*/ 1217295 w 1620202"/>
                <a:gd name="connsiteY11" fmla="*/ 741045 h 1025842"/>
                <a:gd name="connsiteX12" fmla="*/ 1217295 w 1620202"/>
                <a:gd name="connsiteY12" fmla="*/ 756285 h 1025842"/>
                <a:gd name="connsiteX13" fmla="*/ 1218247 w 1620202"/>
                <a:gd name="connsiteY13" fmla="*/ 765810 h 1025842"/>
                <a:gd name="connsiteX14" fmla="*/ 1188720 w 1620202"/>
                <a:gd name="connsiteY14" fmla="*/ 765810 h 1025842"/>
                <a:gd name="connsiteX15" fmla="*/ 1177290 w 1620202"/>
                <a:gd name="connsiteY15" fmla="*/ 797242 h 1025842"/>
                <a:gd name="connsiteX16" fmla="*/ 1222057 w 1620202"/>
                <a:gd name="connsiteY16" fmla="*/ 797242 h 1025842"/>
                <a:gd name="connsiteX17" fmla="*/ 1359217 w 1620202"/>
                <a:gd name="connsiteY17" fmla="*/ 903922 h 1025842"/>
                <a:gd name="connsiteX18" fmla="*/ 1446847 w 1620202"/>
                <a:gd name="connsiteY18" fmla="*/ 887730 h 1025842"/>
                <a:gd name="connsiteX19" fmla="*/ 1432560 w 1620202"/>
                <a:gd name="connsiteY19" fmla="*/ 836295 h 1025842"/>
                <a:gd name="connsiteX20" fmla="*/ 1369695 w 1620202"/>
                <a:gd name="connsiteY20" fmla="*/ 853440 h 1025842"/>
                <a:gd name="connsiteX21" fmla="*/ 1292542 w 1620202"/>
                <a:gd name="connsiteY21" fmla="*/ 797242 h 1025842"/>
                <a:gd name="connsiteX22" fmla="*/ 1382077 w 1620202"/>
                <a:gd name="connsiteY22" fmla="*/ 797242 h 1025842"/>
                <a:gd name="connsiteX23" fmla="*/ 1393507 w 1620202"/>
                <a:gd name="connsiteY23" fmla="*/ 765810 h 1025842"/>
                <a:gd name="connsiteX24" fmla="*/ 1286827 w 1620202"/>
                <a:gd name="connsiteY24" fmla="*/ 765810 h 1025842"/>
                <a:gd name="connsiteX25" fmla="*/ 1285875 w 1620202"/>
                <a:gd name="connsiteY25" fmla="*/ 749617 h 1025842"/>
                <a:gd name="connsiteX26" fmla="*/ 1285875 w 1620202"/>
                <a:gd name="connsiteY26" fmla="*/ 743902 h 1025842"/>
                <a:gd name="connsiteX27" fmla="*/ 1285875 w 1620202"/>
                <a:gd name="connsiteY27" fmla="*/ 740092 h 1025842"/>
                <a:gd name="connsiteX28" fmla="*/ 1401127 w 1620202"/>
                <a:gd name="connsiteY28" fmla="*/ 740092 h 1025842"/>
                <a:gd name="connsiteX29" fmla="*/ 1411605 w 1620202"/>
                <a:gd name="connsiteY29" fmla="*/ 708660 h 1025842"/>
                <a:gd name="connsiteX30" fmla="*/ 1286827 w 1620202"/>
                <a:gd name="connsiteY30" fmla="*/ 708660 h 1025842"/>
                <a:gd name="connsiteX31" fmla="*/ 1363980 w 1620202"/>
                <a:gd name="connsiteY31" fmla="*/ 645795 h 1025842"/>
                <a:gd name="connsiteX32" fmla="*/ 1428750 w 1620202"/>
                <a:gd name="connsiteY32" fmla="*/ 663892 h 1025842"/>
                <a:gd name="connsiteX33" fmla="*/ 1446847 w 1620202"/>
                <a:gd name="connsiteY33" fmla="*/ 614362 h 1025842"/>
                <a:gd name="connsiteX34" fmla="*/ 1355407 w 1620202"/>
                <a:gd name="connsiteY34" fmla="*/ 595312 h 1025842"/>
                <a:gd name="connsiteX35" fmla="*/ 472440 w 1620202"/>
                <a:gd name="connsiteY35" fmla="*/ 516255 h 1025842"/>
                <a:gd name="connsiteX36" fmla="*/ 350520 w 1620202"/>
                <a:gd name="connsiteY36" fmla="*/ 638175 h 1025842"/>
                <a:gd name="connsiteX37" fmla="*/ 472440 w 1620202"/>
                <a:gd name="connsiteY37" fmla="*/ 760095 h 1025842"/>
                <a:gd name="connsiteX38" fmla="*/ 594360 w 1620202"/>
                <a:gd name="connsiteY38" fmla="*/ 638175 h 1025842"/>
                <a:gd name="connsiteX39" fmla="*/ 589512 w 1620202"/>
                <a:gd name="connsiteY39" fmla="*/ 614331 h 1025842"/>
                <a:gd name="connsiteX40" fmla="*/ 472440 w 1620202"/>
                <a:gd name="connsiteY40" fmla="*/ 516255 h 1025842"/>
                <a:gd name="connsiteX41" fmla="*/ 107632 w 1620202"/>
                <a:gd name="connsiteY41" fmla="*/ 0 h 1025842"/>
                <a:gd name="connsiteX42" fmla="*/ 1511617 w 1620202"/>
                <a:gd name="connsiteY42" fmla="*/ 0 h 1025842"/>
                <a:gd name="connsiteX43" fmla="*/ 1620202 w 1620202"/>
                <a:gd name="connsiteY43" fmla="*/ 107632 h 1025842"/>
                <a:gd name="connsiteX44" fmla="*/ 1620202 w 1620202"/>
                <a:gd name="connsiteY44" fmla="*/ 134302 h 1025842"/>
                <a:gd name="connsiteX45" fmla="*/ 1005853 w 1620202"/>
                <a:gd name="connsiteY45" fmla="*/ 134302 h 1025842"/>
                <a:gd name="connsiteX46" fmla="*/ 1005853 w 1620202"/>
                <a:gd name="connsiteY46" fmla="*/ 350520 h 1025842"/>
                <a:gd name="connsiteX47" fmla="*/ 1619250 w 1620202"/>
                <a:gd name="connsiteY47" fmla="*/ 350520 h 1025842"/>
                <a:gd name="connsiteX48" fmla="*/ 1619250 w 1620202"/>
                <a:gd name="connsiteY48" fmla="*/ 918210 h 1025842"/>
                <a:gd name="connsiteX49" fmla="*/ 1511617 w 1620202"/>
                <a:gd name="connsiteY49" fmla="*/ 1025842 h 1025842"/>
                <a:gd name="connsiteX50" fmla="*/ 107632 w 1620202"/>
                <a:gd name="connsiteY50" fmla="*/ 1025842 h 1025842"/>
                <a:gd name="connsiteX51" fmla="*/ 0 w 1620202"/>
                <a:gd name="connsiteY51" fmla="*/ 918210 h 1025842"/>
                <a:gd name="connsiteX52" fmla="*/ 0 w 1620202"/>
                <a:gd name="connsiteY52" fmla="*/ 107632 h 1025842"/>
                <a:gd name="connsiteX53" fmla="*/ 107632 w 1620202"/>
                <a:gd name="connsiteY53" fmla="*/ 0 h 1025842"/>
                <a:gd name="connsiteX0" fmla="*/ 287655 w 1620202"/>
                <a:gd name="connsiteY0" fmla="*/ 610552 h 1025842"/>
                <a:gd name="connsiteX1" fmla="*/ 136207 w 1620202"/>
                <a:gd name="connsiteY1" fmla="*/ 763905 h 1025842"/>
                <a:gd name="connsiteX2" fmla="*/ 287655 w 1620202"/>
                <a:gd name="connsiteY2" fmla="*/ 917257 h 1025842"/>
                <a:gd name="connsiteX3" fmla="*/ 438150 w 1620202"/>
                <a:gd name="connsiteY3" fmla="*/ 781050 h 1025842"/>
                <a:gd name="connsiteX4" fmla="*/ 323850 w 1620202"/>
                <a:gd name="connsiteY4" fmla="*/ 637222 h 1025842"/>
                <a:gd name="connsiteX5" fmla="*/ 325755 w 1620202"/>
                <a:gd name="connsiteY5" fmla="*/ 615315 h 1025842"/>
                <a:gd name="connsiteX6" fmla="*/ 287655 w 1620202"/>
                <a:gd name="connsiteY6" fmla="*/ 610552 h 1025842"/>
                <a:gd name="connsiteX7" fmla="*/ 1355407 w 1620202"/>
                <a:gd name="connsiteY7" fmla="*/ 595312 h 1025842"/>
                <a:gd name="connsiteX8" fmla="*/ 1221105 w 1620202"/>
                <a:gd name="connsiteY8" fmla="*/ 709612 h 1025842"/>
                <a:gd name="connsiteX9" fmla="*/ 1187767 w 1620202"/>
                <a:gd name="connsiteY9" fmla="*/ 709612 h 1025842"/>
                <a:gd name="connsiteX10" fmla="*/ 1176337 w 1620202"/>
                <a:gd name="connsiteY10" fmla="*/ 741045 h 1025842"/>
                <a:gd name="connsiteX11" fmla="*/ 1217295 w 1620202"/>
                <a:gd name="connsiteY11" fmla="*/ 741045 h 1025842"/>
                <a:gd name="connsiteX12" fmla="*/ 1217295 w 1620202"/>
                <a:gd name="connsiteY12" fmla="*/ 756285 h 1025842"/>
                <a:gd name="connsiteX13" fmla="*/ 1218247 w 1620202"/>
                <a:gd name="connsiteY13" fmla="*/ 765810 h 1025842"/>
                <a:gd name="connsiteX14" fmla="*/ 1188720 w 1620202"/>
                <a:gd name="connsiteY14" fmla="*/ 765810 h 1025842"/>
                <a:gd name="connsiteX15" fmla="*/ 1177290 w 1620202"/>
                <a:gd name="connsiteY15" fmla="*/ 797242 h 1025842"/>
                <a:gd name="connsiteX16" fmla="*/ 1222057 w 1620202"/>
                <a:gd name="connsiteY16" fmla="*/ 797242 h 1025842"/>
                <a:gd name="connsiteX17" fmla="*/ 1359217 w 1620202"/>
                <a:gd name="connsiteY17" fmla="*/ 903922 h 1025842"/>
                <a:gd name="connsiteX18" fmla="*/ 1446847 w 1620202"/>
                <a:gd name="connsiteY18" fmla="*/ 887730 h 1025842"/>
                <a:gd name="connsiteX19" fmla="*/ 1432560 w 1620202"/>
                <a:gd name="connsiteY19" fmla="*/ 836295 h 1025842"/>
                <a:gd name="connsiteX20" fmla="*/ 1369695 w 1620202"/>
                <a:gd name="connsiteY20" fmla="*/ 853440 h 1025842"/>
                <a:gd name="connsiteX21" fmla="*/ 1292542 w 1620202"/>
                <a:gd name="connsiteY21" fmla="*/ 797242 h 1025842"/>
                <a:gd name="connsiteX22" fmla="*/ 1382077 w 1620202"/>
                <a:gd name="connsiteY22" fmla="*/ 797242 h 1025842"/>
                <a:gd name="connsiteX23" fmla="*/ 1393507 w 1620202"/>
                <a:gd name="connsiteY23" fmla="*/ 765810 h 1025842"/>
                <a:gd name="connsiteX24" fmla="*/ 1286827 w 1620202"/>
                <a:gd name="connsiteY24" fmla="*/ 765810 h 1025842"/>
                <a:gd name="connsiteX25" fmla="*/ 1285875 w 1620202"/>
                <a:gd name="connsiteY25" fmla="*/ 749617 h 1025842"/>
                <a:gd name="connsiteX26" fmla="*/ 1285875 w 1620202"/>
                <a:gd name="connsiteY26" fmla="*/ 743902 h 1025842"/>
                <a:gd name="connsiteX27" fmla="*/ 1285875 w 1620202"/>
                <a:gd name="connsiteY27" fmla="*/ 740092 h 1025842"/>
                <a:gd name="connsiteX28" fmla="*/ 1401127 w 1620202"/>
                <a:gd name="connsiteY28" fmla="*/ 740092 h 1025842"/>
                <a:gd name="connsiteX29" fmla="*/ 1411605 w 1620202"/>
                <a:gd name="connsiteY29" fmla="*/ 708660 h 1025842"/>
                <a:gd name="connsiteX30" fmla="*/ 1286827 w 1620202"/>
                <a:gd name="connsiteY30" fmla="*/ 708660 h 1025842"/>
                <a:gd name="connsiteX31" fmla="*/ 1363980 w 1620202"/>
                <a:gd name="connsiteY31" fmla="*/ 645795 h 1025842"/>
                <a:gd name="connsiteX32" fmla="*/ 1428750 w 1620202"/>
                <a:gd name="connsiteY32" fmla="*/ 663892 h 1025842"/>
                <a:gd name="connsiteX33" fmla="*/ 1446847 w 1620202"/>
                <a:gd name="connsiteY33" fmla="*/ 614362 h 1025842"/>
                <a:gd name="connsiteX34" fmla="*/ 1355407 w 1620202"/>
                <a:gd name="connsiteY34" fmla="*/ 595312 h 1025842"/>
                <a:gd name="connsiteX35" fmla="*/ 472440 w 1620202"/>
                <a:gd name="connsiteY35" fmla="*/ 516255 h 1025842"/>
                <a:gd name="connsiteX36" fmla="*/ 350520 w 1620202"/>
                <a:gd name="connsiteY36" fmla="*/ 638175 h 1025842"/>
                <a:gd name="connsiteX37" fmla="*/ 472440 w 1620202"/>
                <a:gd name="connsiteY37" fmla="*/ 760095 h 1025842"/>
                <a:gd name="connsiteX38" fmla="*/ 594360 w 1620202"/>
                <a:gd name="connsiteY38" fmla="*/ 638175 h 1025842"/>
                <a:gd name="connsiteX39" fmla="*/ 589512 w 1620202"/>
                <a:gd name="connsiteY39" fmla="*/ 614331 h 1025842"/>
                <a:gd name="connsiteX40" fmla="*/ 472440 w 1620202"/>
                <a:gd name="connsiteY40" fmla="*/ 516255 h 1025842"/>
                <a:gd name="connsiteX41" fmla="*/ 107632 w 1620202"/>
                <a:gd name="connsiteY41" fmla="*/ 0 h 1025842"/>
                <a:gd name="connsiteX42" fmla="*/ 1511617 w 1620202"/>
                <a:gd name="connsiteY42" fmla="*/ 0 h 1025842"/>
                <a:gd name="connsiteX43" fmla="*/ 1620202 w 1620202"/>
                <a:gd name="connsiteY43" fmla="*/ 107632 h 1025842"/>
                <a:gd name="connsiteX44" fmla="*/ 1620202 w 1620202"/>
                <a:gd name="connsiteY44" fmla="*/ 134302 h 1025842"/>
                <a:gd name="connsiteX45" fmla="*/ 1005853 w 1620202"/>
                <a:gd name="connsiteY45" fmla="*/ 134302 h 1025842"/>
                <a:gd name="connsiteX46" fmla="*/ 1005853 w 1620202"/>
                <a:gd name="connsiteY46" fmla="*/ 350520 h 1025842"/>
                <a:gd name="connsiteX47" fmla="*/ 1619250 w 1620202"/>
                <a:gd name="connsiteY47" fmla="*/ 918210 h 1025842"/>
                <a:gd name="connsiteX48" fmla="*/ 1511617 w 1620202"/>
                <a:gd name="connsiteY48" fmla="*/ 1025842 h 1025842"/>
                <a:gd name="connsiteX49" fmla="*/ 107632 w 1620202"/>
                <a:gd name="connsiteY49" fmla="*/ 1025842 h 1025842"/>
                <a:gd name="connsiteX50" fmla="*/ 0 w 1620202"/>
                <a:gd name="connsiteY50" fmla="*/ 918210 h 1025842"/>
                <a:gd name="connsiteX51" fmla="*/ 0 w 1620202"/>
                <a:gd name="connsiteY51" fmla="*/ 107632 h 1025842"/>
                <a:gd name="connsiteX52" fmla="*/ 107632 w 1620202"/>
                <a:gd name="connsiteY52" fmla="*/ 0 h 1025842"/>
                <a:gd name="connsiteX0" fmla="*/ 287655 w 1620202"/>
                <a:gd name="connsiteY0" fmla="*/ 610552 h 1025842"/>
                <a:gd name="connsiteX1" fmla="*/ 136207 w 1620202"/>
                <a:gd name="connsiteY1" fmla="*/ 763905 h 1025842"/>
                <a:gd name="connsiteX2" fmla="*/ 287655 w 1620202"/>
                <a:gd name="connsiteY2" fmla="*/ 917257 h 1025842"/>
                <a:gd name="connsiteX3" fmla="*/ 438150 w 1620202"/>
                <a:gd name="connsiteY3" fmla="*/ 781050 h 1025842"/>
                <a:gd name="connsiteX4" fmla="*/ 323850 w 1620202"/>
                <a:gd name="connsiteY4" fmla="*/ 637222 h 1025842"/>
                <a:gd name="connsiteX5" fmla="*/ 325755 w 1620202"/>
                <a:gd name="connsiteY5" fmla="*/ 615315 h 1025842"/>
                <a:gd name="connsiteX6" fmla="*/ 287655 w 1620202"/>
                <a:gd name="connsiteY6" fmla="*/ 610552 h 1025842"/>
                <a:gd name="connsiteX7" fmla="*/ 1355407 w 1620202"/>
                <a:gd name="connsiteY7" fmla="*/ 595312 h 1025842"/>
                <a:gd name="connsiteX8" fmla="*/ 1221105 w 1620202"/>
                <a:gd name="connsiteY8" fmla="*/ 709612 h 1025842"/>
                <a:gd name="connsiteX9" fmla="*/ 1187767 w 1620202"/>
                <a:gd name="connsiteY9" fmla="*/ 709612 h 1025842"/>
                <a:gd name="connsiteX10" fmla="*/ 1176337 w 1620202"/>
                <a:gd name="connsiteY10" fmla="*/ 741045 h 1025842"/>
                <a:gd name="connsiteX11" fmla="*/ 1217295 w 1620202"/>
                <a:gd name="connsiteY11" fmla="*/ 741045 h 1025842"/>
                <a:gd name="connsiteX12" fmla="*/ 1217295 w 1620202"/>
                <a:gd name="connsiteY12" fmla="*/ 756285 h 1025842"/>
                <a:gd name="connsiteX13" fmla="*/ 1218247 w 1620202"/>
                <a:gd name="connsiteY13" fmla="*/ 765810 h 1025842"/>
                <a:gd name="connsiteX14" fmla="*/ 1188720 w 1620202"/>
                <a:gd name="connsiteY14" fmla="*/ 765810 h 1025842"/>
                <a:gd name="connsiteX15" fmla="*/ 1177290 w 1620202"/>
                <a:gd name="connsiteY15" fmla="*/ 797242 h 1025842"/>
                <a:gd name="connsiteX16" fmla="*/ 1222057 w 1620202"/>
                <a:gd name="connsiteY16" fmla="*/ 797242 h 1025842"/>
                <a:gd name="connsiteX17" fmla="*/ 1359217 w 1620202"/>
                <a:gd name="connsiteY17" fmla="*/ 903922 h 1025842"/>
                <a:gd name="connsiteX18" fmla="*/ 1446847 w 1620202"/>
                <a:gd name="connsiteY18" fmla="*/ 887730 h 1025842"/>
                <a:gd name="connsiteX19" fmla="*/ 1432560 w 1620202"/>
                <a:gd name="connsiteY19" fmla="*/ 836295 h 1025842"/>
                <a:gd name="connsiteX20" fmla="*/ 1369695 w 1620202"/>
                <a:gd name="connsiteY20" fmla="*/ 853440 h 1025842"/>
                <a:gd name="connsiteX21" fmla="*/ 1292542 w 1620202"/>
                <a:gd name="connsiteY21" fmla="*/ 797242 h 1025842"/>
                <a:gd name="connsiteX22" fmla="*/ 1382077 w 1620202"/>
                <a:gd name="connsiteY22" fmla="*/ 797242 h 1025842"/>
                <a:gd name="connsiteX23" fmla="*/ 1393507 w 1620202"/>
                <a:gd name="connsiteY23" fmla="*/ 765810 h 1025842"/>
                <a:gd name="connsiteX24" fmla="*/ 1286827 w 1620202"/>
                <a:gd name="connsiteY24" fmla="*/ 765810 h 1025842"/>
                <a:gd name="connsiteX25" fmla="*/ 1285875 w 1620202"/>
                <a:gd name="connsiteY25" fmla="*/ 749617 h 1025842"/>
                <a:gd name="connsiteX26" fmla="*/ 1285875 w 1620202"/>
                <a:gd name="connsiteY26" fmla="*/ 743902 h 1025842"/>
                <a:gd name="connsiteX27" fmla="*/ 1285875 w 1620202"/>
                <a:gd name="connsiteY27" fmla="*/ 740092 h 1025842"/>
                <a:gd name="connsiteX28" fmla="*/ 1401127 w 1620202"/>
                <a:gd name="connsiteY28" fmla="*/ 740092 h 1025842"/>
                <a:gd name="connsiteX29" fmla="*/ 1411605 w 1620202"/>
                <a:gd name="connsiteY29" fmla="*/ 708660 h 1025842"/>
                <a:gd name="connsiteX30" fmla="*/ 1286827 w 1620202"/>
                <a:gd name="connsiteY30" fmla="*/ 708660 h 1025842"/>
                <a:gd name="connsiteX31" fmla="*/ 1363980 w 1620202"/>
                <a:gd name="connsiteY31" fmla="*/ 645795 h 1025842"/>
                <a:gd name="connsiteX32" fmla="*/ 1428750 w 1620202"/>
                <a:gd name="connsiteY32" fmla="*/ 663892 h 1025842"/>
                <a:gd name="connsiteX33" fmla="*/ 1446847 w 1620202"/>
                <a:gd name="connsiteY33" fmla="*/ 614362 h 1025842"/>
                <a:gd name="connsiteX34" fmla="*/ 1355407 w 1620202"/>
                <a:gd name="connsiteY34" fmla="*/ 595312 h 1025842"/>
                <a:gd name="connsiteX35" fmla="*/ 472440 w 1620202"/>
                <a:gd name="connsiteY35" fmla="*/ 516255 h 1025842"/>
                <a:gd name="connsiteX36" fmla="*/ 350520 w 1620202"/>
                <a:gd name="connsiteY36" fmla="*/ 638175 h 1025842"/>
                <a:gd name="connsiteX37" fmla="*/ 472440 w 1620202"/>
                <a:gd name="connsiteY37" fmla="*/ 760095 h 1025842"/>
                <a:gd name="connsiteX38" fmla="*/ 594360 w 1620202"/>
                <a:gd name="connsiteY38" fmla="*/ 638175 h 1025842"/>
                <a:gd name="connsiteX39" fmla="*/ 589512 w 1620202"/>
                <a:gd name="connsiteY39" fmla="*/ 614331 h 1025842"/>
                <a:gd name="connsiteX40" fmla="*/ 472440 w 1620202"/>
                <a:gd name="connsiteY40" fmla="*/ 516255 h 1025842"/>
                <a:gd name="connsiteX41" fmla="*/ 107632 w 1620202"/>
                <a:gd name="connsiteY41" fmla="*/ 0 h 1025842"/>
                <a:gd name="connsiteX42" fmla="*/ 1511617 w 1620202"/>
                <a:gd name="connsiteY42" fmla="*/ 0 h 1025842"/>
                <a:gd name="connsiteX43" fmla="*/ 1620202 w 1620202"/>
                <a:gd name="connsiteY43" fmla="*/ 107632 h 1025842"/>
                <a:gd name="connsiteX44" fmla="*/ 1005853 w 1620202"/>
                <a:gd name="connsiteY44" fmla="*/ 134302 h 1025842"/>
                <a:gd name="connsiteX45" fmla="*/ 1005853 w 1620202"/>
                <a:gd name="connsiteY45" fmla="*/ 350520 h 1025842"/>
                <a:gd name="connsiteX46" fmla="*/ 1619250 w 1620202"/>
                <a:gd name="connsiteY46" fmla="*/ 918210 h 1025842"/>
                <a:gd name="connsiteX47" fmla="*/ 1511617 w 1620202"/>
                <a:gd name="connsiteY47" fmla="*/ 1025842 h 1025842"/>
                <a:gd name="connsiteX48" fmla="*/ 107632 w 1620202"/>
                <a:gd name="connsiteY48" fmla="*/ 1025842 h 1025842"/>
                <a:gd name="connsiteX49" fmla="*/ 0 w 1620202"/>
                <a:gd name="connsiteY49" fmla="*/ 918210 h 1025842"/>
                <a:gd name="connsiteX50" fmla="*/ 0 w 1620202"/>
                <a:gd name="connsiteY50" fmla="*/ 107632 h 1025842"/>
                <a:gd name="connsiteX51" fmla="*/ 107632 w 1620202"/>
                <a:gd name="connsiteY51" fmla="*/ 0 h 1025842"/>
                <a:gd name="connsiteX0" fmla="*/ 287655 w 1620202"/>
                <a:gd name="connsiteY0" fmla="*/ 610552 h 1025842"/>
                <a:gd name="connsiteX1" fmla="*/ 136207 w 1620202"/>
                <a:gd name="connsiteY1" fmla="*/ 763905 h 1025842"/>
                <a:gd name="connsiteX2" fmla="*/ 287655 w 1620202"/>
                <a:gd name="connsiteY2" fmla="*/ 917257 h 1025842"/>
                <a:gd name="connsiteX3" fmla="*/ 438150 w 1620202"/>
                <a:gd name="connsiteY3" fmla="*/ 781050 h 1025842"/>
                <a:gd name="connsiteX4" fmla="*/ 323850 w 1620202"/>
                <a:gd name="connsiteY4" fmla="*/ 637222 h 1025842"/>
                <a:gd name="connsiteX5" fmla="*/ 325755 w 1620202"/>
                <a:gd name="connsiteY5" fmla="*/ 615315 h 1025842"/>
                <a:gd name="connsiteX6" fmla="*/ 287655 w 1620202"/>
                <a:gd name="connsiteY6" fmla="*/ 610552 h 1025842"/>
                <a:gd name="connsiteX7" fmla="*/ 1355407 w 1620202"/>
                <a:gd name="connsiteY7" fmla="*/ 595312 h 1025842"/>
                <a:gd name="connsiteX8" fmla="*/ 1221105 w 1620202"/>
                <a:gd name="connsiteY8" fmla="*/ 709612 h 1025842"/>
                <a:gd name="connsiteX9" fmla="*/ 1187767 w 1620202"/>
                <a:gd name="connsiteY9" fmla="*/ 709612 h 1025842"/>
                <a:gd name="connsiteX10" fmla="*/ 1176337 w 1620202"/>
                <a:gd name="connsiteY10" fmla="*/ 741045 h 1025842"/>
                <a:gd name="connsiteX11" fmla="*/ 1217295 w 1620202"/>
                <a:gd name="connsiteY11" fmla="*/ 741045 h 1025842"/>
                <a:gd name="connsiteX12" fmla="*/ 1217295 w 1620202"/>
                <a:gd name="connsiteY12" fmla="*/ 756285 h 1025842"/>
                <a:gd name="connsiteX13" fmla="*/ 1218247 w 1620202"/>
                <a:gd name="connsiteY13" fmla="*/ 765810 h 1025842"/>
                <a:gd name="connsiteX14" fmla="*/ 1188720 w 1620202"/>
                <a:gd name="connsiteY14" fmla="*/ 765810 h 1025842"/>
                <a:gd name="connsiteX15" fmla="*/ 1177290 w 1620202"/>
                <a:gd name="connsiteY15" fmla="*/ 797242 h 1025842"/>
                <a:gd name="connsiteX16" fmla="*/ 1222057 w 1620202"/>
                <a:gd name="connsiteY16" fmla="*/ 797242 h 1025842"/>
                <a:gd name="connsiteX17" fmla="*/ 1359217 w 1620202"/>
                <a:gd name="connsiteY17" fmla="*/ 903922 h 1025842"/>
                <a:gd name="connsiteX18" fmla="*/ 1446847 w 1620202"/>
                <a:gd name="connsiteY18" fmla="*/ 887730 h 1025842"/>
                <a:gd name="connsiteX19" fmla="*/ 1432560 w 1620202"/>
                <a:gd name="connsiteY19" fmla="*/ 836295 h 1025842"/>
                <a:gd name="connsiteX20" fmla="*/ 1369695 w 1620202"/>
                <a:gd name="connsiteY20" fmla="*/ 853440 h 1025842"/>
                <a:gd name="connsiteX21" fmla="*/ 1292542 w 1620202"/>
                <a:gd name="connsiteY21" fmla="*/ 797242 h 1025842"/>
                <a:gd name="connsiteX22" fmla="*/ 1382077 w 1620202"/>
                <a:gd name="connsiteY22" fmla="*/ 797242 h 1025842"/>
                <a:gd name="connsiteX23" fmla="*/ 1393507 w 1620202"/>
                <a:gd name="connsiteY23" fmla="*/ 765810 h 1025842"/>
                <a:gd name="connsiteX24" fmla="*/ 1286827 w 1620202"/>
                <a:gd name="connsiteY24" fmla="*/ 765810 h 1025842"/>
                <a:gd name="connsiteX25" fmla="*/ 1285875 w 1620202"/>
                <a:gd name="connsiteY25" fmla="*/ 749617 h 1025842"/>
                <a:gd name="connsiteX26" fmla="*/ 1285875 w 1620202"/>
                <a:gd name="connsiteY26" fmla="*/ 743902 h 1025842"/>
                <a:gd name="connsiteX27" fmla="*/ 1285875 w 1620202"/>
                <a:gd name="connsiteY27" fmla="*/ 740092 h 1025842"/>
                <a:gd name="connsiteX28" fmla="*/ 1401127 w 1620202"/>
                <a:gd name="connsiteY28" fmla="*/ 740092 h 1025842"/>
                <a:gd name="connsiteX29" fmla="*/ 1411605 w 1620202"/>
                <a:gd name="connsiteY29" fmla="*/ 708660 h 1025842"/>
                <a:gd name="connsiteX30" fmla="*/ 1286827 w 1620202"/>
                <a:gd name="connsiteY30" fmla="*/ 708660 h 1025842"/>
                <a:gd name="connsiteX31" fmla="*/ 1363980 w 1620202"/>
                <a:gd name="connsiteY31" fmla="*/ 645795 h 1025842"/>
                <a:gd name="connsiteX32" fmla="*/ 1428750 w 1620202"/>
                <a:gd name="connsiteY32" fmla="*/ 663892 h 1025842"/>
                <a:gd name="connsiteX33" fmla="*/ 1446847 w 1620202"/>
                <a:gd name="connsiteY33" fmla="*/ 614362 h 1025842"/>
                <a:gd name="connsiteX34" fmla="*/ 1355407 w 1620202"/>
                <a:gd name="connsiteY34" fmla="*/ 595312 h 1025842"/>
                <a:gd name="connsiteX35" fmla="*/ 472440 w 1620202"/>
                <a:gd name="connsiteY35" fmla="*/ 516255 h 1025842"/>
                <a:gd name="connsiteX36" fmla="*/ 350520 w 1620202"/>
                <a:gd name="connsiteY36" fmla="*/ 638175 h 1025842"/>
                <a:gd name="connsiteX37" fmla="*/ 472440 w 1620202"/>
                <a:gd name="connsiteY37" fmla="*/ 760095 h 1025842"/>
                <a:gd name="connsiteX38" fmla="*/ 594360 w 1620202"/>
                <a:gd name="connsiteY38" fmla="*/ 638175 h 1025842"/>
                <a:gd name="connsiteX39" fmla="*/ 589512 w 1620202"/>
                <a:gd name="connsiteY39" fmla="*/ 614331 h 1025842"/>
                <a:gd name="connsiteX40" fmla="*/ 472440 w 1620202"/>
                <a:gd name="connsiteY40" fmla="*/ 516255 h 1025842"/>
                <a:gd name="connsiteX41" fmla="*/ 107632 w 1620202"/>
                <a:gd name="connsiteY41" fmla="*/ 0 h 1025842"/>
                <a:gd name="connsiteX42" fmla="*/ 1511617 w 1620202"/>
                <a:gd name="connsiteY42" fmla="*/ 0 h 1025842"/>
                <a:gd name="connsiteX43" fmla="*/ 1620202 w 1620202"/>
                <a:gd name="connsiteY43" fmla="*/ 107632 h 1025842"/>
                <a:gd name="connsiteX44" fmla="*/ 1005853 w 1620202"/>
                <a:gd name="connsiteY44" fmla="*/ 350520 h 1025842"/>
                <a:gd name="connsiteX45" fmla="*/ 1619250 w 1620202"/>
                <a:gd name="connsiteY45" fmla="*/ 918210 h 1025842"/>
                <a:gd name="connsiteX46" fmla="*/ 1511617 w 1620202"/>
                <a:gd name="connsiteY46" fmla="*/ 1025842 h 1025842"/>
                <a:gd name="connsiteX47" fmla="*/ 107632 w 1620202"/>
                <a:gd name="connsiteY47" fmla="*/ 1025842 h 1025842"/>
                <a:gd name="connsiteX48" fmla="*/ 0 w 1620202"/>
                <a:gd name="connsiteY48" fmla="*/ 918210 h 1025842"/>
                <a:gd name="connsiteX49" fmla="*/ 0 w 1620202"/>
                <a:gd name="connsiteY49" fmla="*/ 107632 h 1025842"/>
                <a:gd name="connsiteX50" fmla="*/ 107632 w 1620202"/>
                <a:gd name="connsiteY50" fmla="*/ 0 h 1025842"/>
                <a:gd name="connsiteX0" fmla="*/ 287655 w 1620202"/>
                <a:gd name="connsiteY0" fmla="*/ 610552 h 1025842"/>
                <a:gd name="connsiteX1" fmla="*/ 136207 w 1620202"/>
                <a:gd name="connsiteY1" fmla="*/ 763905 h 1025842"/>
                <a:gd name="connsiteX2" fmla="*/ 287655 w 1620202"/>
                <a:gd name="connsiteY2" fmla="*/ 917257 h 1025842"/>
                <a:gd name="connsiteX3" fmla="*/ 438150 w 1620202"/>
                <a:gd name="connsiteY3" fmla="*/ 781050 h 1025842"/>
                <a:gd name="connsiteX4" fmla="*/ 323850 w 1620202"/>
                <a:gd name="connsiteY4" fmla="*/ 637222 h 1025842"/>
                <a:gd name="connsiteX5" fmla="*/ 325755 w 1620202"/>
                <a:gd name="connsiteY5" fmla="*/ 615315 h 1025842"/>
                <a:gd name="connsiteX6" fmla="*/ 287655 w 1620202"/>
                <a:gd name="connsiteY6" fmla="*/ 610552 h 1025842"/>
                <a:gd name="connsiteX7" fmla="*/ 1355407 w 1620202"/>
                <a:gd name="connsiteY7" fmla="*/ 595312 h 1025842"/>
                <a:gd name="connsiteX8" fmla="*/ 1221105 w 1620202"/>
                <a:gd name="connsiteY8" fmla="*/ 709612 h 1025842"/>
                <a:gd name="connsiteX9" fmla="*/ 1187767 w 1620202"/>
                <a:gd name="connsiteY9" fmla="*/ 709612 h 1025842"/>
                <a:gd name="connsiteX10" fmla="*/ 1176337 w 1620202"/>
                <a:gd name="connsiteY10" fmla="*/ 741045 h 1025842"/>
                <a:gd name="connsiteX11" fmla="*/ 1217295 w 1620202"/>
                <a:gd name="connsiteY11" fmla="*/ 741045 h 1025842"/>
                <a:gd name="connsiteX12" fmla="*/ 1217295 w 1620202"/>
                <a:gd name="connsiteY12" fmla="*/ 756285 h 1025842"/>
                <a:gd name="connsiteX13" fmla="*/ 1218247 w 1620202"/>
                <a:gd name="connsiteY13" fmla="*/ 765810 h 1025842"/>
                <a:gd name="connsiteX14" fmla="*/ 1188720 w 1620202"/>
                <a:gd name="connsiteY14" fmla="*/ 765810 h 1025842"/>
                <a:gd name="connsiteX15" fmla="*/ 1177290 w 1620202"/>
                <a:gd name="connsiteY15" fmla="*/ 797242 h 1025842"/>
                <a:gd name="connsiteX16" fmla="*/ 1222057 w 1620202"/>
                <a:gd name="connsiteY16" fmla="*/ 797242 h 1025842"/>
                <a:gd name="connsiteX17" fmla="*/ 1359217 w 1620202"/>
                <a:gd name="connsiteY17" fmla="*/ 903922 h 1025842"/>
                <a:gd name="connsiteX18" fmla="*/ 1446847 w 1620202"/>
                <a:gd name="connsiteY18" fmla="*/ 887730 h 1025842"/>
                <a:gd name="connsiteX19" fmla="*/ 1432560 w 1620202"/>
                <a:gd name="connsiteY19" fmla="*/ 836295 h 1025842"/>
                <a:gd name="connsiteX20" fmla="*/ 1369695 w 1620202"/>
                <a:gd name="connsiteY20" fmla="*/ 853440 h 1025842"/>
                <a:gd name="connsiteX21" fmla="*/ 1292542 w 1620202"/>
                <a:gd name="connsiteY21" fmla="*/ 797242 h 1025842"/>
                <a:gd name="connsiteX22" fmla="*/ 1382077 w 1620202"/>
                <a:gd name="connsiteY22" fmla="*/ 797242 h 1025842"/>
                <a:gd name="connsiteX23" fmla="*/ 1393507 w 1620202"/>
                <a:gd name="connsiteY23" fmla="*/ 765810 h 1025842"/>
                <a:gd name="connsiteX24" fmla="*/ 1286827 w 1620202"/>
                <a:gd name="connsiteY24" fmla="*/ 765810 h 1025842"/>
                <a:gd name="connsiteX25" fmla="*/ 1285875 w 1620202"/>
                <a:gd name="connsiteY25" fmla="*/ 749617 h 1025842"/>
                <a:gd name="connsiteX26" fmla="*/ 1285875 w 1620202"/>
                <a:gd name="connsiteY26" fmla="*/ 743902 h 1025842"/>
                <a:gd name="connsiteX27" fmla="*/ 1285875 w 1620202"/>
                <a:gd name="connsiteY27" fmla="*/ 740092 h 1025842"/>
                <a:gd name="connsiteX28" fmla="*/ 1401127 w 1620202"/>
                <a:gd name="connsiteY28" fmla="*/ 740092 h 1025842"/>
                <a:gd name="connsiteX29" fmla="*/ 1411605 w 1620202"/>
                <a:gd name="connsiteY29" fmla="*/ 708660 h 1025842"/>
                <a:gd name="connsiteX30" fmla="*/ 1286827 w 1620202"/>
                <a:gd name="connsiteY30" fmla="*/ 708660 h 1025842"/>
                <a:gd name="connsiteX31" fmla="*/ 1363980 w 1620202"/>
                <a:gd name="connsiteY31" fmla="*/ 645795 h 1025842"/>
                <a:gd name="connsiteX32" fmla="*/ 1428750 w 1620202"/>
                <a:gd name="connsiteY32" fmla="*/ 663892 h 1025842"/>
                <a:gd name="connsiteX33" fmla="*/ 1446847 w 1620202"/>
                <a:gd name="connsiteY33" fmla="*/ 614362 h 1025842"/>
                <a:gd name="connsiteX34" fmla="*/ 1355407 w 1620202"/>
                <a:gd name="connsiteY34" fmla="*/ 595312 h 1025842"/>
                <a:gd name="connsiteX35" fmla="*/ 472440 w 1620202"/>
                <a:gd name="connsiteY35" fmla="*/ 516255 h 1025842"/>
                <a:gd name="connsiteX36" fmla="*/ 350520 w 1620202"/>
                <a:gd name="connsiteY36" fmla="*/ 638175 h 1025842"/>
                <a:gd name="connsiteX37" fmla="*/ 472440 w 1620202"/>
                <a:gd name="connsiteY37" fmla="*/ 760095 h 1025842"/>
                <a:gd name="connsiteX38" fmla="*/ 594360 w 1620202"/>
                <a:gd name="connsiteY38" fmla="*/ 638175 h 1025842"/>
                <a:gd name="connsiteX39" fmla="*/ 589512 w 1620202"/>
                <a:gd name="connsiteY39" fmla="*/ 614331 h 1025842"/>
                <a:gd name="connsiteX40" fmla="*/ 472440 w 1620202"/>
                <a:gd name="connsiteY40" fmla="*/ 516255 h 1025842"/>
                <a:gd name="connsiteX41" fmla="*/ 107632 w 1620202"/>
                <a:gd name="connsiteY41" fmla="*/ 0 h 1025842"/>
                <a:gd name="connsiteX42" fmla="*/ 1511617 w 1620202"/>
                <a:gd name="connsiteY42" fmla="*/ 0 h 1025842"/>
                <a:gd name="connsiteX43" fmla="*/ 1620202 w 1620202"/>
                <a:gd name="connsiteY43" fmla="*/ 107632 h 1025842"/>
                <a:gd name="connsiteX44" fmla="*/ 1619250 w 1620202"/>
                <a:gd name="connsiteY44" fmla="*/ 918210 h 1025842"/>
                <a:gd name="connsiteX45" fmla="*/ 1511617 w 1620202"/>
                <a:gd name="connsiteY45" fmla="*/ 1025842 h 1025842"/>
                <a:gd name="connsiteX46" fmla="*/ 107632 w 1620202"/>
                <a:gd name="connsiteY46" fmla="*/ 1025842 h 1025842"/>
                <a:gd name="connsiteX47" fmla="*/ 0 w 1620202"/>
                <a:gd name="connsiteY47" fmla="*/ 918210 h 1025842"/>
                <a:gd name="connsiteX48" fmla="*/ 0 w 1620202"/>
                <a:gd name="connsiteY48" fmla="*/ 107632 h 1025842"/>
                <a:gd name="connsiteX49" fmla="*/ 107632 w 1620202"/>
                <a:gd name="connsiteY49" fmla="*/ 0 h 1025842"/>
                <a:gd name="connsiteX0" fmla="*/ 325755 w 1620202"/>
                <a:gd name="connsiteY0" fmla="*/ 615315 h 1025842"/>
                <a:gd name="connsiteX1" fmla="*/ 136207 w 1620202"/>
                <a:gd name="connsiteY1" fmla="*/ 763905 h 1025842"/>
                <a:gd name="connsiteX2" fmla="*/ 287655 w 1620202"/>
                <a:gd name="connsiteY2" fmla="*/ 917257 h 1025842"/>
                <a:gd name="connsiteX3" fmla="*/ 438150 w 1620202"/>
                <a:gd name="connsiteY3" fmla="*/ 781050 h 1025842"/>
                <a:gd name="connsiteX4" fmla="*/ 323850 w 1620202"/>
                <a:gd name="connsiteY4" fmla="*/ 637222 h 1025842"/>
                <a:gd name="connsiteX5" fmla="*/ 325755 w 1620202"/>
                <a:gd name="connsiteY5" fmla="*/ 615315 h 1025842"/>
                <a:gd name="connsiteX6" fmla="*/ 1355407 w 1620202"/>
                <a:gd name="connsiteY6" fmla="*/ 595312 h 1025842"/>
                <a:gd name="connsiteX7" fmla="*/ 1221105 w 1620202"/>
                <a:gd name="connsiteY7" fmla="*/ 709612 h 1025842"/>
                <a:gd name="connsiteX8" fmla="*/ 1187767 w 1620202"/>
                <a:gd name="connsiteY8" fmla="*/ 709612 h 1025842"/>
                <a:gd name="connsiteX9" fmla="*/ 1176337 w 1620202"/>
                <a:gd name="connsiteY9" fmla="*/ 741045 h 1025842"/>
                <a:gd name="connsiteX10" fmla="*/ 1217295 w 1620202"/>
                <a:gd name="connsiteY10" fmla="*/ 741045 h 1025842"/>
                <a:gd name="connsiteX11" fmla="*/ 1217295 w 1620202"/>
                <a:gd name="connsiteY11" fmla="*/ 756285 h 1025842"/>
                <a:gd name="connsiteX12" fmla="*/ 1218247 w 1620202"/>
                <a:gd name="connsiteY12" fmla="*/ 765810 h 1025842"/>
                <a:gd name="connsiteX13" fmla="*/ 1188720 w 1620202"/>
                <a:gd name="connsiteY13" fmla="*/ 765810 h 1025842"/>
                <a:gd name="connsiteX14" fmla="*/ 1177290 w 1620202"/>
                <a:gd name="connsiteY14" fmla="*/ 797242 h 1025842"/>
                <a:gd name="connsiteX15" fmla="*/ 1222057 w 1620202"/>
                <a:gd name="connsiteY15" fmla="*/ 797242 h 1025842"/>
                <a:gd name="connsiteX16" fmla="*/ 1359217 w 1620202"/>
                <a:gd name="connsiteY16" fmla="*/ 903922 h 1025842"/>
                <a:gd name="connsiteX17" fmla="*/ 1446847 w 1620202"/>
                <a:gd name="connsiteY17" fmla="*/ 887730 h 1025842"/>
                <a:gd name="connsiteX18" fmla="*/ 1432560 w 1620202"/>
                <a:gd name="connsiteY18" fmla="*/ 836295 h 1025842"/>
                <a:gd name="connsiteX19" fmla="*/ 1369695 w 1620202"/>
                <a:gd name="connsiteY19" fmla="*/ 853440 h 1025842"/>
                <a:gd name="connsiteX20" fmla="*/ 1292542 w 1620202"/>
                <a:gd name="connsiteY20" fmla="*/ 797242 h 1025842"/>
                <a:gd name="connsiteX21" fmla="*/ 1382077 w 1620202"/>
                <a:gd name="connsiteY21" fmla="*/ 797242 h 1025842"/>
                <a:gd name="connsiteX22" fmla="*/ 1393507 w 1620202"/>
                <a:gd name="connsiteY22" fmla="*/ 765810 h 1025842"/>
                <a:gd name="connsiteX23" fmla="*/ 1286827 w 1620202"/>
                <a:gd name="connsiteY23" fmla="*/ 765810 h 1025842"/>
                <a:gd name="connsiteX24" fmla="*/ 1285875 w 1620202"/>
                <a:gd name="connsiteY24" fmla="*/ 749617 h 1025842"/>
                <a:gd name="connsiteX25" fmla="*/ 1285875 w 1620202"/>
                <a:gd name="connsiteY25" fmla="*/ 743902 h 1025842"/>
                <a:gd name="connsiteX26" fmla="*/ 1285875 w 1620202"/>
                <a:gd name="connsiteY26" fmla="*/ 740092 h 1025842"/>
                <a:gd name="connsiteX27" fmla="*/ 1401127 w 1620202"/>
                <a:gd name="connsiteY27" fmla="*/ 740092 h 1025842"/>
                <a:gd name="connsiteX28" fmla="*/ 1411605 w 1620202"/>
                <a:gd name="connsiteY28" fmla="*/ 708660 h 1025842"/>
                <a:gd name="connsiteX29" fmla="*/ 1286827 w 1620202"/>
                <a:gd name="connsiteY29" fmla="*/ 708660 h 1025842"/>
                <a:gd name="connsiteX30" fmla="*/ 1363980 w 1620202"/>
                <a:gd name="connsiteY30" fmla="*/ 645795 h 1025842"/>
                <a:gd name="connsiteX31" fmla="*/ 1428750 w 1620202"/>
                <a:gd name="connsiteY31" fmla="*/ 663892 h 1025842"/>
                <a:gd name="connsiteX32" fmla="*/ 1446847 w 1620202"/>
                <a:gd name="connsiteY32" fmla="*/ 614362 h 1025842"/>
                <a:gd name="connsiteX33" fmla="*/ 1355407 w 1620202"/>
                <a:gd name="connsiteY33" fmla="*/ 595312 h 1025842"/>
                <a:gd name="connsiteX34" fmla="*/ 472440 w 1620202"/>
                <a:gd name="connsiteY34" fmla="*/ 516255 h 1025842"/>
                <a:gd name="connsiteX35" fmla="*/ 350520 w 1620202"/>
                <a:gd name="connsiteY35" fmla="*/ 638175 h 1025842"/>
                <a:gd name="connsiteX36" fmla="*/ 472440 w 1620202"/>
                <a:gd name="connsiteY36" fmla="*/ 760095 h 1025842"/>
                <a:gd name="connsiteX37" fmla="*/ 594360 w 1620202"/>
                <a:gd name="connsiteY37" fmla="*/ 638175 h 1025842"/>
                <a:gd name="connsiteX38" fmla="*/ 589512 w 1620202"/>
                <a:gd name="connsiteY38" fmla="*/ 614331 h 1025842"/>
                <a:gd name="connsiteX39" fmla="*/ 472440 w 1620202"/>
                <a:gd name="connsiteY39" fmla="*/ 516255 h 1025842"/>
                <a:gd name="connsiteX40" fmla="*/ 107632 w 1620202"/>
                <a:gd name="connsiteY40" fmla="*/ 0 h 1025842"/>
                <a:gd name="connsiteX41" fmla="*/ 1511617 w 1620202"/>
                <a:gd name="connsiteY41" fmla="*/ 0 h 1025842"/>
                <a:gd name="connsiteX42" fmla="*/ 1620202 w 1620202"/>
                <a:gd name="connsiteY42" fmla="*/ 107632 h 1025842"/>
                <a:gd name="connsiteX43" fmla="*/ 1619250 w 1620202"/>
                <a:gd name="connsiteY43" fmla="*/ 918210 h 1025842"/>
                <a:gd name="connsiteX44" fmla="*/ 1511617 w 1620202"/>
                <a:gd name="connsiteY44" fmla="*/ 1025842 h 1025842"/>
                <a:gd name="connsiteX45" fmla="*/ 107632 w 1620202"/>
                <a:gd name="connsiteY45" fmla="*/ 1025842 h 1025842"/>
                <a:gd name="connsiteX46" fmla="*/ 0 w 1620202"/>
                <a:gd name="connsiteY46" fmla="*/ 918210 h 1025842"/>
                <a:gd name="connsiteX47" fmla="*/ 0 w 1620202"/>
                <a:gd name="connsiteY47" fmla="*/ 107632 h 1025842"/>
                <a:gd name="connsiteX48" fmla="*/ 107632 w 1620202"/>
                <a:gd name="connsiteY48" fmla="*/ 0 h 1025842"/>
                <a:gd name="connsiteX0" fmla="*/ 325755 w 1620202"/>
                <a:gd name="connsiteY0" fmla="*/ 615315 h 1025842"/>
                <a:gd name="connsiteX1" fmla="*/ 136207 w 1620202"/>
                <a:gd name="connsiteY1" fmla="*/ 763905 h 1025842"/>
                <a:gd name="connsiteX2" fmla="*/ 287655 w 1620202"/>
                <a:gd name="connsiteY2" fmla="*/ 917257 h 1025842"/>
                <a:gd name="connsiteX3" fmla="*/ 438150 w 1620202"/>
                <a:gd name="connsiteY3" fmla="*/ 781050 h 1025842"/>
                <a:gd name="connsiteX4" fmla="*/ 323850 w 1620202"/>
                <a:gd name="connsiteY4" fmla="*/ 637222 h 1025842"/>
                <a:gd name="connsiteX5" fmla="*/ 325755 w 1620202"/>
                <a:gd name="connsiteY5" fmla="*/ 615315 h 1025842"/>
                <a:gd name="connsiteX6" fmla="*/ 1355407 w 1620202"/>
                <a:gd name="connsiteY6" fmla="*/ 595312 h 1025842"/>
                <a:gd name="connsiteX7" fmla="*/ 1221105 w 1620202"/>
                <a:gd name="connsiteY7" fmla="*/ 709612 h 1025842"/>
                <a:gd name="connsiteX8" fmla="*/ 1187767 w 1620202"/>
                <a:gd name="connsiteY8" fmla="*/ 709612 h 1025842"/>
                <a:gd name="connsiteX9" fmla="*/ 1176337 w 1620202"/>
                <a:gd name="connsiteY9" fmla="*/ 741045 h 1025842"/>
                <a:gd name="connsiteX10" fmla="*/ 1217295 w 1620202"/>
                <a:gd name="connsiteY10" fmla="*/ 741045 h 1025842"/>
                <a:gd name="connsiteX11" fmla="*/ 1217295 w 1620202"/>
                <a:gd name="connsiteY11" fmla="*/ 756285 h 1025842"/>
                <a:gd name="connsiteX12" fmla="*/ 1218247 w 1620202"/>
                <a:gd name="connsiteY12" fmla="*/ 765810 h 1025842"/>
                <a:gd name="connsiteX13" fmla="*/ 1188720 w 1620202"/>
                <a:gd name="connsiteY13" fmla="*/ 765810 h 1025842"/>
                <a:gd name="connsiteX14" fmla="*/ 1177290 w 1620202"/>
                <a:gd name="connsiteY14" fmla="*/ 797242 h 1025842"/>
                <a:gd name="connsiteX15" fmla="*/ 1222057 w 1620202"/>
                <a:gd name="connsiteY15" fmla="*/ 797242 h 1025842"/>
                <a:gd name="connsiteX16" fmla="*/ 1359217 w 1620202"/>
                <a:gd name="connsiteY16" fmla="*/ 903922 h 1025842"/>
                <a:gd name="connsiteX17" fmla="*/ 1446847 w 1620202"/>
                <a:gd name="connsiteY17" fmla="*/ 887730 h 1025842"/>
                <a:gd name="connsiteX18" fmla="*/ 1432560 w 1620202"/>
                <a:gd name="connsiteY18" fmla="*/ 836295 h 1025842"/>
                <a:gd name="connsiteX19" fmla="*/ 1369695 w 1620202"/>
                <a:gd name="connsiteY19" fmla="*/ 853440 h 1025842"/>
                <a:gd name="connsiteX20" fmla="*/ 1292542 w 1620202"/>
                <a:gd name="connsiteY20" fmla="*/ 797242 h 1025842"/>
                <a:gd name="connsiteX21" fmla="*/ 1382077 w 1620202"/>
                <a:gd name="connsiteY21" fmla="*/ 797242 h 1025842"/>
                <a:gd name="connsiteX22" fmla="*/ 1393507 w 1620202"/>
                <a:gd name="connsiteY22" fmla="*/ 765810 h 1025842"/>
                <a:gd name="connsiteX23" fmla="*/ 1286827 w 1620202"/>
                <a:gd name="connsiteY23" fmla="*/ 765810 h 1025842"/>
                <a:gd name="connsiteX24" fmla="*/ 1285875 w 1620202"/>
                <a:gd name="connsiteY24" fmla="*/ 749617 h 1025842"/>
                <a:gd name="connsiteX25" fmla="*/ 1285875 w 1620202"/>
                <a:gd name="connsiteY25" fmla="*/ 743902 h 1025842"/>
                <a:gd name="connsiteX26" fmla="*/ 1285875 w 1620202"/>
                <a:gd name="connsiteY26" fmla="*/ 740092 h 1025842"/>
                <a:gd name="connsiteX27" fmla="*/ 1401127 w 1620202"/>
                <a:gd name="connsiteY27" fmla="*/ 740092 h 1025842"/>
                <a:gd name="connsiteX28" fmla="*/ 1411605 w 1620202"/>
                <a:gd name="connsiteY28" fmla="*/ 708660 h 1025842"/>
                <a:gd name="connsiteX29" fmla="*/ 1286827 w 1620202"/>
                <a:gd name="connsiteY29" fmla="*/ 708660 h 1025842"/>
                <a:gd name="connsiteX30" fmla="*/ 1363980 w 1620202"/>
                <a:gd name="connsiteY30" fmla="*/ 645795 h 1025842"/>
                <a:gd name="connsiteX31" fmla="*/ 1428750 w 1620202"/>
                <a:gd name="connsiteY31" fmla="*/ 663892 h 1025842"/>
                <a:gd name="connsiteX32" fmla="*/ 1446847 w 1620202"/>
                <a:gd name="connsiteY32" fmla="*/ 614362 h 1025842"/>
                <a:gd name="connsiteX33" fmla="*/ 1355407 w 1620202"/>
                <a:gd name="connsiteY33" fmla="*/ 595312 h 1025842"/>
                <a:gd name="connsiteX34" fmla="*/ 472440 w 1620202"/>
                <a:gd name="connsiteY34" fmla="*/ 516255 h 1025842"/>
                <a:gd name="connsiteX35" fmla="*/ 472440 w 1620202"/>
                <a:gd name="connsiteY35" fmla="*/ 760095 h 1025842"/>
                <a:gd name="connsiteX36" fmla="*/ 594360 w 1620202"/>
                <a:gd name="connsiteY36" fmla="*/ 638175 h 1025842"/>
                <a:gd name="connsiteX37" fmla="*/ 589512 w 1620202"/>
                <a:gd name="connsiteY37" fmla="*/ 614331 h 1025842"/>
                <a:gd name="connsiteX38" fmla="*/ 472440 w 1620202"/>
                <a:gd name="connsiteY38" fmla="*/ 516255 h 1025842"/>
                <a:gd name="connsiteX39" fmla="*/ 107632 w 1620202"/>
                <a:gd name="connsiteY39" fmla="*/ 0 h 1025842"/>
                <a:gd name="connsiteX40" fmla="*/ 1511617 w 1620202"/>
                <a:gd name="connsiteY40" fmla="*/ 0 h 1025842"/>
                <a:gd name="connsiteX41" fmla="*/ 1620202 w 1620202"/>
                <a:gd name="connsiteY41" fmla="*/ 107632 h 1025842"/>
                <a:gd name="connsiteX42" fmla="*/ 1619250 w 1620202"/>
                <a:gd name="connsiteY42" fmla="*/ 918210 h 1025842"/>
                <a:gd name="connsiteX43" fmla="*/ 1511617 w 1620202"/>
                <a:gd name="connsiteY43" fmla="*/ 1025842 h 1025842"/>
                <a:gd name="connsiteX44" fmla="*/ 107632 w 1620202"/>
                <a:gd name="connsiteY44" fmla="*/ 1025842 h 1025842"/>
                <a:gd name="connsiteX45" fmla="*/ 0 w 1620202"/>
                <a:gd name="connsiteY45" fmla="*/ 918210 h 1025842"/>
                <a:gd name="connsiteX46" fmla="*/ 0 w 1620202"/>
                <a:gd name="connsiteY46" fmla="*/ 107632 h 1025842"/>
                <a:gd name="connsiteX47" fmla="*/ 107632 w 1620202"/>
                <a:gd name="connsiteY47" fmla="*/ 0 h 1025842"/>
                <a:gd name="connsiteX0" fmla="*/ 323850 w 1620202"/>
                <a:gd name="connsiteY0" fmla="*/ 637222 h 1025842"/>
                <a:gd name="connsiteX1" fmla="*/ 136207 w 1620202"/>
                <a:gd name="connsiteY1" fmla="*/ 763905 h 1025842"/>
                <a:gd name="connsiteX2" fmla="*/ 287655 w 1620202"/>
                <a:gd name="connsiteY2" fmla="*/ 917257 h 1025842"/>
                <a:gd name="connsiteX3" fmla="*/ 438150 w 1620202"/>
                <a:gd name="connsiteY3" fmla="*/ 781050 h 1025842"/>
                <a:gd name="connsiteX4" fmla="*/ 323850 w 1620202"/>
                <a:gd name="connsiteY4" fmla="*/ 637222 h 1025842"/>
                <a:gd name="connsiteX5" fmla="*/ 1355407 w 1620202"/>
                <a:gd name="connsiteY5" fmla="*/ 595312 h 1025842"/>
                <a:gd name="connsiteX6" fmla="*/ 1221105 w 1620202"/>
                <a:gd name="connsiteY6" fmla="*/ 709612 h 1025842"/>
                <a:gd name="connsiteX7" fmla="*/ 1187767 w 1620202"/>
                <a:gd name="connsiteY7" fmla="*/ 709612 h 1025842"/>
                <a:gd name="connsiteX8" fmla="*/ 1176337 w 1620202"/>
                <a:gd name="connsiteY8" fmla="*/ 741045 h 1025842"/>
                <a:gd name="connsiteX9" fmla="*/ 1217295 w 1620202"/>
                <a:gd name="connsiteY9" fmla="*/ 741045 h 1025842"/>
                <a:gd name="connsiteX10" fmla="*/ 1217295 w 1620202"/>
                <a:gd name="connsiteY10" fmla="*/ 756285 h 1025842"/>
                <a:gd name="connsiteX11" fmla="*/ 1218247 w 1620202"/>
                <a:gd name="connsiteY11" fmla="*/ 765810 h 1025842"/>
                <a:gd name="connsiteX12" fmla="*/ 1188720 w 1620202"/>
                <a:gd name="connsiteY12" fmla="*/ 765810 h 1025842"/>
                <a:gd name="connsiteX13" fmla="*/ 1177290 w 1620202"/>
                <a:gd name="connsiteY13" fmla="*/ 797242 h 1025842"/>
                <a:gd name="connsiteX14" fmla="*/ 1222057 w 1620202"/>
                <a:gd name="connsiteY14" fmla="*/ 797242 h 1025842"/>
                <a:gd name="connsiteX15" fmla="*/ 1359217 w 1620202"/>
                <a:gd name="connsiteY15" fmla="*/ 903922 h 1025842"/>
                <a:gd name="connsiteX16" fmla="*/ 1446847 w 1620202"/>
                <a:gd name="connsiteY16" fmla="*/ 887730 h 1025842"/>
                <a:gd name="connsiteX17" fmla="*/ 1432560 w 1620202"/>
                <a:gd name="connsiteY17" fmla="*/ 836295 h 1025842"/>
                <a:gd name="connsiteX18" fmla="*/ 1369695 w 1620202"/>
                <a:gd name="connsiteY18" fmla="*/ 853440 h 1025842"/>
                <a:gd name="connsiteX19" fmla="*/ 1292542 w 1620202"/>
                <a:gd name="connsiteY19" fmla="*/ 797242 h 1025842"/>
                <a:gd name="connsiteX20" fmla="*/ 1382077 w 1620202"/>
                <a:gd name="connsiteY20" fmla="*/ 797242 h 1025842"/>
                <a:gd name="connsiteX21" fmla="*/ 1393507 w 1620202"/>
                <a:gd name="connsiteY21" fmla="*/ 765810 h 1025842"/>
                <a:gd name="connsiteX22" fmla="*/ 1286827 w 1620202"/>
                <a:gd name="connsiteY22" fmla="*/ 765810 h 1025842"/>
                <a:gd name="connsiteX23" fmla="*/ 1285875 w 1620202"/>
                <a:gd name="connsiteY23" fmla="*/ 749617 h 1025842"/>
                <a:gd name="connsiteX24" fmla="*/ 1285875 w 1620202"/>
                <a:gd name="connsiteY24" fmla="*/ 743902 h 1025842"/>
                <a:gd name="connsiteX25" fmla="*/ 1285875 w 1620202"/>
                <a:gd name="connsiteY25" fmla="*/ 740092 h 1025842"/>
                <a:gd name="connsiteX26" fmla="*/ 1401127 w 1620202"/>
                <a:gd name="connsiteY26" fmla="*/ 740092 h 1025842"/>
                <a:gd name="connsiteX27" fmla="*/ 1411605 w 1620202"/>
                <a:gd name="connsiteY27" fmla="*/ 708660 h 1025842"/>
                <a:gd name="connsiteX28" fmla="*/ 1286827 w 1620202"/>
                <a:gd name="connsiteY28" fmla="*/ 708660 h 1025842"/>
                <a:gd name="connsiteX29" fmla="*/ 1363980 w 1620202"/>
                <a:gd name="connsiteY29" fmla="*/ 645795 h 1025842"/>
                <a:gd name="connsiteX30" fmla="*/ 1428750 w 1620202"/>
                <a:gd name="connsiteY30" fmla="*/ 663892 h 1025842"/>
                <a:gd name="connsiteX31" fmla="*/ 1446847 w 1620202"/>
                <a:gd name="connsiteY31" fmla="*/ 614362 h 1025842"/>
                <a:gd name="connsiteX32" fmla="*/ 1355407 w 1620202"/>
                <a:gd name="connsiteY32" fmla="*/ 595312 h 1025842"/>
                <a:gd name="connsiteX33" fmla="*/ 472440 w 1620202"/>
                <a:gd name="connsiteY33" fmla="*/ 516255 h 1025842"/>
                <a:gd name="connsiteX34" fmla="*/ 472440 w 1620202"/>
                <a:gd name="connsiteY34" fmla="*/ 760095 h 1025842"/>
                <a:gd name="connsiteX35" fmla="*/ 594360 w 1620202"/>
                <a:gd name="connsiteY35" fmla="*/ 638175 h 1025842"/>
                <a:gd name="connsiteX36" fmla="*/ 589512 w 1620202"/>
                <a:gd name="connsiteY36" fmla="*/ 614331 h 1025842"/>
                <a:gd name="connsiteX37" fmla="*/ 472440 w 1620202"/>
                <a:gd name="connsiteY37" fmla="*/ 516255 h 1025842"/>
                <a:gd name="connsiteX38" fmla="*/ 107632 w 1620202"/>
                <a:gd name="connsiteY38" fmla="*/ 0 h 1025842"/>
                <a:gd name="connsiteX39" fmla="*/ 1511617 w 1620202"/>
                <a:gd name="connsiteY39" fmla="*/ 0 h 1025842"/>
                <a:gd name="connsiteX40" fmla="*/ 1620202 w 1620202"/>
                <a:gd name="connsiteY40" fmla="*/ 107632 h 1025842"/>
                <a:gd name="connsiteX41" fmla="*/ 1619250 w 1620202"/>
                <a:gd name="connsiteY41" fmla="*/ 918210 h 1025842"/>
                <a:gd name="connsiteX42" fmla="*/ 1511617 w 1620202"/>
                <a:gd name="connsiteY42" fmla="*/ 1025842 h 1025842"/>
                <a:gd name="connsiteX43" fmla="*/ 107632 w 1620202"/>
                <a:gd name="connsiteY43" fmla="*/ 1025842 h 1025842"/>
                <a:gd name="connsiteX44" fmla="*/ 0 w 1620202"/>
                <a:gd name="connsiteY44" fmla="*/ 918210 h 1025842"/>
                <a:gd name="connsiteX45" fmla="*/ 0 w 1620202"/>
                <a:gd name="connsiteY45" fmla="*/ 107632 h 1025842"/>
                <a:gd name="connsiteX46" fmla="*/ 107632 w 1620202"/>
                <a:gd name="connsiteY46" fmla="*/ 0 h 1025842"/>
                <a:gd name="connsiteX0" fmla="*/ 438150 w 1620202"/>
                <a:gd name="connsiteY0" fmla="*/ 781050 h 1025842"/>
                <a:gd name="connsiteX1" fmla="*/ 136207 w 1620202"/>
                <a:gd name="connsiteY1" fmla="*/ 763905 h 1025842"/>
                <a:gd name="connsiteX2" fmla="*/ 287655 w 1620202"/>
                <a:gd name="connsiteY2" fmla="*/ 917257 h 1025842"/>
                <a:gd name="connsiteX3" fmla="*/ 438150 w 1620202"/>
                <a:gd name="connsiteY3" fmla="*/ 781050 h 1025842"/>
                <a:gd name="connsiteX4" fmla="*/ 1355407 w 1620202"/>
                <a:gd name="connsiteY4" fmla="*/ 595312 h 1025842"/>
                <a:gd name="connsiteX5" fmla="*/ 1221105 w 1620202"/>
                <a:gd name="connsiteY5" fmla="*/ 709612 h 1025842"/>
                <a:gd name="connsiteX6" fmla="*/ 1187767 w 1620202"/>
                <a:gd name="connsiteY6" fmla="*/ 709612 h 1025842"/>
                <a:gd name="connsiteX7" fmla="*/ 1176337 w 1620202"/>
                <a:gd name="connsiteY7" fmla="*/ 741045 h 1025842"/>
                <a:gd name="connsiteX8" fmla="*/ 1217295 w 1620202"/>
                <a:gd name="connsiteY8" fmla="*/ 741045 h 1025842"/>
                <a:gd name="connsiteX9" fmla="*/ 1217295 w 1620202"/>
                <a:gd name="connsiteY9" fmla="*/ 756285 h 1025842"/>
                <a:gd name="connsiteX10" fmla="*/ 1218247 w 1620202"/>
                <a:gd name="connsiteY10" fmla="*/ 765810 h 1025842"/>
                <a:gd name="connsiteX11" fmla="*/ 1188720 w 1620202"/>
                <a:gd name="connsiteY11" fmla="*/ 765810 h 1025842"/>
                <a:gd name="connsiteX12" fmla="*/ 1177290 w 1620202"/>
                <a:gd name="connsiteY12" fmla="*/ 797242 h 1025842"/>
                <a:gd name="connsiteX13" fmla="*/ 1222057 w 1620202"/>
                <a:gd name="connsiteY13" fmla="*/ 797242 h 1025842"/>
                <a:gd name="connsiteX14" fmla="*/ 1359217 w 1620202"/>
                <a:gd name="connsiteY14" fmla="*/ 903922 h 1025842"/>
                <a:gd name="connsiteX15" fmla="*/ 1446847 w 1620202"/>
                <a:gd name="connsiteY15" fmla="*/ 887730 h 1025842"/>
                <a:gd name="connsiteX16" fmla="*/ 1432560 w 1620202"/>
                <a:gd name="connsiteY16" fmla="*/ 836295 h 1025842"/>
                <a:gd name="connsiteX17" fmla="*/ 1369695 w 1620202"/>
                <a:gd name="connsiteY17" fmla="*/ 853440 h 1025842"/>
                <a:gd name="connsiteX18" fmla="*/ 1292542 w 1620202"/>
                <a:gd name="connsiteY18" fmla="*/ 797242 h 1025842"/>
                <a:gd name="connsiteX19" fmla="*/ 1382077 w 1620202"/>
                <a:gd name="connsiteY19" fmla="*/ 797242 h 1025842"/>
                <a:gd name="connsiteX20" fmla="*/ 1393507 w 1620202"/>
                <a:gd name="connsiteY20" fmla="*/ 765810 h 1025842"/>
                <a:gd name="connsiteX21" fmla="*/ 1286827 w 1620202"/>
                <a:gd name="connsiteY21" fmla="*/ 765810 h 1025842"/>
                <a:gd name="connsiteX22" fmla="*/ 1285875 w 1620202"/>
                <a:gd name="connsiteY22" fmla="*/ 749617 h 1025842"/>
                <a:gd name="connsiteX23" fmla="*/ 1285875 w 1620202"/>
                <a:gd name="connsiteY23" fmla="*/ 743902 h 1025842"/>
                <a:gd name="connsiteX24" fmla="*/ 1285875 w 1620202"/>
                <a:gd name="connsiteY24" fmla="*/ 740092 h 1025842"/>
                <a:gd name="connsiteX25" fmla="*/ 1401127 w 1620202"/>
                <a:gd name="connsiteY25" fmla="*/ 740092 h 1025842"/>
                <a:gd name="connsiteX26" fmla="*/ 1411605 w 1620202"/>
                <a:gd name="connsiteY26" fmla="*/ 708660 h 1025842"/>
                <a:gd name="connsiteX27" fmla="*/ 1286827 w 1620202"/>
                <a:gd name="connsiteY27" fmla="*/ 708660 h 1025842"/>
                <a:gd name="connsiteX28" fmla="*/ 1363980 w 1620202"/>
                <a:gd name="connsiteY28" fmla="*/ 645795 h 1025842"/>
                <a:gd name="connsiteX29" fmla="*/ 1428750 w 1620202"/>
                <a:gd name="connsiteY29" fmla="*/ 663892 h 1025842"/>
                <a:gd name="connsiteX30" fmla="*/ 1446847 w 1620202"/>
                <a:gd name="connsiteY30" fmla="*/ 614362 h 1025842"/>
                <a:gd name="connsiteX31" fmla="*/ 1355407 w 1620202"/>
                <a:gd name="connsiteY31" fmla="*/ 595312 h 1025842"/>
                <a:gd name="connsiteX32" fmla="*/ 472440 w 1620202"/>
                <a:gd name="connsiteY32" fmla="*/ 516255 h 1025842"/>
                <a:gd name="connsiteX33" fmla="*/ 472440 w 1620202"/>
                <a:gd name="connsiteY33" fmla="*/ 760095 h 1025842"/>
                <a:gd name="connsiteX34" fmla="*/ 594360 w 1620202"/>
                <a:gd name="connsiteY34" fmla="*/ 638175 h 1025842"/>
                <a:gd name="connsiteX35" fmla="*/ 589512 w 1620202"/>
                <a:gd name="connsiteY35" fmla="*/ 614331 h 1025842"/>
                <a:gd name="connsiteX36" fmla="*/ 472440 w 1620202"/>
                <a:gd name="connsiteY36" fmla="*/ 516255 h 1025842"/>
                <a:gd name="connsiteX37" fmla="*/ 107632 w 1620202"/>
                <a:gd name="connsiteY37" fmla="*/ 0 h 1025842"/>
                <a:gd name="connsiteX38" fmla="*/ 1511617 w 1620202"/>
                <a:gd name="connsiteY38" fmla="*/ 0 h 1025842"/>
                <a:gd name="connsiteX39" fmla="*/ 1620202 w 1620202"/>
                <a:gd name="connsiteY39" fmla="*/ 107632 h 1025842"/>
                <a:gd name="connsiteX40" fmla="*/ 1619250 w 1620202"/>
                <a:gd name="connsiteY40" fmla="*/ 918210 h 1025842"/>
                <a:gd name="connsiteX41" fmla="*/ 1511617 w 1620202"/>
                <a:gd name="connsiteY41" fmla="*/ 1025842 h 1025842"/>
                <a:gd name="connsiteX42" fmla="*/ 107632 w 1620202"/>
                <a:gd name="connsiteY42" fmla="*/ 1025842 h 1025842"/>
                <a:gd name="connsiteX43" fmla="*/ 0 w 1620202"/>
                <a:gd name="connsiteY43" fmla="*/ 918210 h 1025842"/>
                <a:gd name="connsiteX44" fmla="*/ 0 w 1620202"/>
                <a:gd name="connsiteY44" fmla="*/ 107632 h 1025842"/>
                <a:gd name="connsiteX45" fmla="*/ 107632 w 1620202"/>
                <a:gd name="connsiteY45" fmla="*/ 0 h 1025842"/>
                <a:gd name="connsiteX0" fmla="*/ 438150 w 1620202"/>
                <a:gd name="connsiteY0" fmla="*/ 781050 h 1025842"/>
                <a:gd name="connsiteX1" fmla="*/ 136207 w 1620202"/>
                <a:gd name="connsiteY1" fmla="*/ 763905 h 1025842"/>
                <a:gd name="connsiteX2" fmla="*/ 287655 w 1620202"/>
                <a:gd name="connsiteY2" fmla="*/ 917257 h 1025842"/>
                <a:gd name="connsiteX3" fmla="*/ 438150 w 1620202"/>
                <a:gd name="connsiteY3" fmla="*/ 781050 h 1025842"/>
                <a:gd name="connsiteX4" fmla="*/ 1355407 w 1620202"/>
                <a:gd name="connsiteY4" fmla="*/ 595312 h 1025842"/>
                <a:gd name="connsiteX5" fmla="*/ 1221105 w 1620202"/>
                <a:gd name="connsiteY5" fmla="*/ 709612 h 1025842"/>
                <a:gd name="connsiteX6" fmla="*/ 1187767 w 1620202"/>
                <a:gd name="connsiteY6" fmla="*/ 709612 h 1025842"/>
                <a:gd name="connsiteX7" fmla="*/ 1176337 w 1620202"/>
                <a:gd name="connsiteY7" fmla="*/ 741045 h 1025842"/>
                <a:gd name="connsiteX8" fmla="*/ 1217295 w 1620202"/>
                <a:gd name="connsiteY8" fmla="*/ 741045 h 1025842"/>
                <a:gd name="connsiteX9" fmla="*/ 1217295 w 1620202"/>
                <a:gd name="connsiteY9" fmla="*/ 756285 h 1025842"/>
                <a:gd name="connsiteX10" fmla="*/ 1218247 w 1620202"/>
                <a:gd name="connsiteY10" fmla="*/ 765810 h 1025842"/>
                <a:gd name="connsiteX11" fmla="*/ 1188720 w 1620202"/>
                <a:gd name="connsiteY11" fmla="*/ 765810 h 1025842"/>
                <a:gd name="connsiteX12" fmla="*/ 1177290 w 1620202"/>
                <a:gd name="connsiteY12" fmla="*/ 797242 h 1025842"/>
                <a:gd name="connsiteX13" fmla="*/ 1222057 w 1620202"/>
                <a:gd name="connsiteY13" fmla="*/ 797242 h 1025842"/>
                <a:gd name="connsiteX14" fmla="*/ 1359217 w 1620202"/>
                <a:gd name="connsiteY14" fmla="*/ 903922 h 1025842"/>
                <a:gd name="connsiteX15" fmla="*/ 1446847 w 1620202"/>
                <a:gd name="connsiteY15" fmla="*/ 887730 h 1025842"/>
                <a:gd name="connsiteX16" fmla="*/ 1432560 w 1620202"/>
                <a:gd name="connsiteY16" fmla="*/ 836295 h 1025842"/>
                <a:gd name="connsiteX17" fmla="*/ 1369695 w 1620202"/>
                <a:gd name="connsiteY17" fmla="*/ 853440 h 1025842"/>
                <a:gd name="connsiteX18" fmla="*/ 1292542 w 1620202"/>
                <a:gd name="connsiteY18" fmla="*/ 797242 h 1025842"/>
                <a:gd name="connsiteX19" fmla="*/ 1382077 w 1620202"/>
                <a:gd name="connsiteY19" fmla="*/ 797242 h 1025842"/>
                <a:gd name="connsiteX20" fmla="*/ 1393507 w 1620202"/>
                <a:gd name="connsiteY20" fmla="*/ 765810 h 1025842"/>
                <a:gd name="connsiteX21" fmla="*/ 1286827 w 1620202"/>
                <a:gd name="connsiteY21" fmla="*/ 765810 h 1025842"/>
                <a:gd name="connsiteX22" fmla="*/ 1285875 w 1620202"/>
                <a:gd name="connsiteY22" fmla="*/ 749617 h 1025842"/>
                <a:gd name="connsiteX23" fmla="*/ 1285875 w 1620202"/>
                <a:gd name="connsiteY23" fmla="*/ 743902 h 1025842"/>
                <a:gd name="connsiteX24" fmla="*/ 1285875 w 1620202"/>
                <a:gd name="connsiteY24" fmla="*/ 740092 h 1025842"/>
                <a:gd name="connsiteX25" fmla="*/ 1401127 w 1620202"/>
                <a:gd name="connsiteY25" fmla="*/ 740092 h 1025842"/>
                <a:gd name="connsiteX26" fmla="*/ 1411605 w 1620202"/>
                <a:gd name="connsiteY26" fmla="*/ 708660 h 1025842"/>
                <a:gd name="connsiteX27" fmla="*/ 1286827 w 1620202"/>
                <a:gd name="connsiteY27" fmla="*/ 708660 h 1025842"/>
                <a:gd name="connsiteX28" fmla="*/ 1363980 w 1620202"/>
                <a:gd name="connsiteY28" fmla="*/ 645795 h 1025842"/>
                <a:gd name="connsiteX29" fmla="*/ 1428750 w 1620202"/>
                <a:gd name="connsiteY29" fmla="*/ 663892 h 1025842"/>
                <a:gd name="connsiteX30" fmla="*/ 1446847 w 1620202"/>
                <a:gd name="connsiteY30" fmla="*/ 614362 h 1025842"/>
                <a:gd name="connsiteX31" fmla="*/ 1355407 w 1620202"/>
                <a:gd name="connsiteY31" fmla="*/ 595312 h 1025842"/>
                <a:gd name="connsiteX32" fmla="*/ 589512 w 1620202"/>
                <a:gd name="connsiteY32" fmla="*/ 614331 h 1025842"/>
                <a:gd name="connsiteX33" fmla="*/ 472440 w 1620202"/>
                <a:gd name="connsiteY33" fmla="*/ 760095 h 1025842"/>
                <a:gd name="connsiteX34" fmla="*/ 594360 w 1620202"/>
                <a:gd name="connsiteY34" fmla="*/ 638175 h 1025842"/>
                <a:gd name="connsiteX35" fmla="*/ 589512 w 1620202"/>
                <a:gd name="connsiteY35" fmla="*/ 614331 h 1025842"/>
                <a:gd name="connsiteX36" fmla="*/ 107632 w 1620202"/>
                <a:gd name="connsiteY36" fmla="*/ 0 h 1025842"/>
                <a:gd name="connsiteX37" fmla="*/ 1511617 w 1620202"/>
                <a:gd name="connsiteY37" fmla="*/ 0 h 1025842"/>
                <a:gd name="connsiteX38" fmla="*/ 1620202 w 1620202"/>
                <a:gd name="connsiteY38" fmla="*/ 107632 h 1025842"/>
                <a:gd name="connsiteX39" fmla="*/ 1619250 w 1620202"/>
                <a:gd name="connsiteY39" fmla="*/ 918210 h 1025842"/>
                <a:gd name="connsiteX40" fmla="*/ 1511617 w 1620202"/>
                <a:gd name="connsiteY40" fmla="*/ 1025842 h 1025842"/>
                <a:gd name="connsiteX41" fmla="*/ 107632 w 1620202"/>
                <a:gd name="connsiteY41" fmla="*/ 1025842 h 1025842"/>
                <a:gd name="connsiteX42" fmla="*/ 0 w 1620202"/>
                <a:gd name="connsiteY42" fmla="*/ 918210 h 1025842"/>
                <a:gd name="connsiteX43" fmla="*/ 0 w 1620202"/>
                <a:gd name="connsiteY43" fmla="*/ 107632 h 1025842"/>
                <a:gd name="connsiteX44" fmla="*/ 107632 w 1620202"/>
                <a:gd name="connsiteY44" fmla="*/ 0 h 1025842"/>
                <a:gd name="connsiteX0" fmla="*/ 438150 w 1620202"/>
                <a:gd name="connsiteY0" fmla="*/ 781050 h 1025842"/>
                <a:gd name="connsiteX1" fmla="*/ 136207 w 1620202"/>
                <a:gd name="connsiteY1" fmla="*/ 763905 h 1025842"/>
                <a:gd name="connsiteX2" fmla="*/ 287655 w 1620202"/>
                <a:gd name="connsiteY2" fmla="*/ 917257 h 1025842"/>
                <a:gd name="connsiteX3" fmla="*/ 438150 w 1620202"/>
                <a:gd name="connsiteY3" fmla="*/ 781050 h 1025842"/>
                <a:gd name="connsiteX4" fmla="*/ 1355407 w 1620202"/>
                <a:gd name="connsiteY4" fmla="*/ 595312 h 1025842"/>
                <a:gd name="connsiteX5" fmla="*/ 1221105 w 1620202"/>
                <a:gd name="connsiteY5" fmla="*/ 709612 h 1025842"/>
                <a:gd name="connsiteX6" fmla="*/ 1187767 w 1620202"/>
                <a:gd name="connsiteY6" fmla="*/ 709612 h 1025842"/>
                <a:gd name="connsiteX7" fmla="*/ 1176337 w 1620202"/>
                <a:gd name="connsiteY7" fmla="*/ 741045 h 1025842"/>
                <a:gd name="connsiteX8" fmla="*/ 1217295 w 1620202"/>
                <a:gd name="connsiteY8" fmla="*/ 741045 h 1025842"/>
                <a:gd name="connsiteX9" fmla="*/ 1217295 w 1620202"/>
                <a:gd name="connsiteY9" fmla="*/ 756285 h 1025842"/>
                <a:gd name="connsiteX10" fmla="*/ 1218247 w 1620202"/>
                <a:gd name="connsiteY10" fmla="*/ 765810 h 1025842"/>
                <a:gd name="connsiteX11" fmla="*/ 1188720 w 1620202"/>
                <a:gd name="connsiteY11" fmla="*/ 765810 h 1025842"/>
                <a:gd name="connsiteX12" fmla="*/ 1177290 w 1620202"/>
                <a:gd name="connsiteY12" fmla="*/ 797242 h 1025842"/>
                <a:gd name="connsiteX13" fmla="*/ 1222057 w 1620202"/>
                <a:gd name="connsiteY13" fmla="*/ 797242 h 1025842"/>
                <a:gd name="connsiteX14" fmla="*/ 1359217 w 1620202"/>
                <a:gd name="connsiteY14" fmla="*/ 903922 h 1025842"/>
                <a:gd name="connsiteX15" fmla="*/ 1446847 w 1620202"/>
                <a:gd name="connsiteY15" fmla="*/ 887730 h 1025842"/>
                <a:gd name="connsiteX16" fmla="*/ 1432560 w 1620202"/>
                <a:gd name="connsiteY16" fmla="*/ 836295 h 1025842"/>
                <a:gd name="connsiteX17" fmla="*/ 1369695 w 1620202"/>
                <a:gd name="connsiteY17" fmla="*/ 853440 h 1025842"/>
                <a:gd name="connsiteX18" fmla="*/ 1292542 w 1620202"/>
                <a:gd name="connsiteY18" fmla="*/ 797242 h 1025842"/>
                <a:gd name="connsiteX19" fmla="*/ 1382077 w 1620202"/>
                <a:gd name="connsiteY19" fmla="*/ 797242 h 1025842"/>
                <a:gd name="connsiteX20" fmla="*/ 1393507 w 1620202"/>
                <a:gd name="connsiteY20" fmla="*/ 765810 h 1025842"/>
                <a:gd name="connsiteX21" fmla="*/ 1286827 w 1620202"/>
                <a:gd name="connsiteY21" fmla="*/ 765810 h 1025842"/>
                <a:gd name="connsiteX22" fmla="*/ 1285875 w 1620202"/>
                <a:gd name="connsiteY22" fmla="*/ 749617 h 1025842"/>
                <a:gd name="connsiteX23" fmla="*/ 1285875 w 1620202"/>
                <a:gd name="connsiteY23" fmla="*/ 743902 h 1025842"/>
                <a:gd name="connsiteX24" fmla="*/ 1285875 w 1620202"/>
                <a:gd name="connsiteY24" fmla="*/ 740092 h 1025842"/>
                <a:gd name="connsiteX25" fmla="*/ 1401127 w 1620202"/>
                <a:gd name="connsiteY25" fmla="*/ 740092 h 1025842"/>
                <a:gd name="connsiteX26" fmla="*/ 1411605 w 1620202"/>
                <a:gd name="connsiteY26" fmla="*/ 708660 h 1025842"/>
                <a:gd name="connsiteX27" fmla="*/ 1286827 w 1620202"/>
                <a:gd name="connsiteY27" fmla="*/ 708660 h 1025842"/>
                <a:gd name="connsiteX28" fmla="*/ 1363980 w 1620202"/>
                <a:gd name="connsiteY28" fmla="*/ 645795 h 1025842"/>
                <a:gd name="connsiteX29" fmla="*/ 1428750 w 1620202"/>
                <a:gd name="connsiteY29" fmla="*/ 663892 h 1025842"/>
                <a:gd name="connsiteX30" fmla="*/ 1446847 w 1620202"/>
                <a:gd name="connsiteY30" fmla="*/ 614362 h 1025842"/>
                <a:gd name="connsiteX31" fmla="*/ 1355407 w 1620202"/>
                <a:gd name="connsiteY31" fmla="*/ 595312 h 1025842"/>
                <a:gd name="connsiteX32" fmla="*/ 594360 w 1620202"/>
                <a:gd name="connsiteY32" fmla="*/ 638175 h 1025842"/>
                <a:gd name="connsiteX33" fmla="*/ 472440 w 1620202"/>
                <a:gd name="connsiteY33" fmla="*/ 760095 h 1025842"/>
                <a:gd name="connsiteX34" fmla="*/ 594360 w 1620202"/>
                <a:gd name="connsiteY34" fmla="*/ 638175 h 1025842"/>
                <a:gd name="connsiteX35" fmla="*/ 107632 w 1620202"/>
                <a:gd name="connsiteY35" fmla="*/ 0 h 1025842"/>
                <a:gd name="connsiteX36" fmla="*/ 1511617 w 1620202"/>
                <a:gd name="connsiteY36" fmla="*/ 0 h 1025842"/>
                <a:gd name="connsiteX37" fmla="*/ 1620202 w 1620202"/>
                <a:gd name="connsiteY37" fmla="*/ 107632 h 1025842"/>
                <a:gd name="connsiteX38" fmla="*/ 1619250 w 1620202"/>
                <a:gd name="connsiteY38" fmla="*/ 918210 h 1025842"/>
                <a:gd name="connsiteX39" fmla="*/ 1511617 w 1620202"/>
                <a:gd name="connsiteY39" fmla="*/ 1025842 h 1025842"/>
                <a:gd name="connsiteX40" fmla="*/ 107632 w 1620202"/>
                <a:gd name="connsiteY40" fmla="*/ 1025842 h 1025842"/>
                <a:gd name="connsiteX41" fmla="*/ 0 w 1620202"/>
                <a:gd name="connsiteY41" fmla="*/ 918210 h 1025842"/>
                <a:gd name="connsiteX42" fmla="*/ 0 w 1620202"/>
                <a:gd name="connsiteY42" fmla="*/ 107632 h 1025842"/>
                <a:gd name="connsiteX43" fmla="*/ 107632 w 1620202"/>
                <a:gd name="connsiteY43" fmla="*/ 0 h 1025842"/>
                <a:gd name="connsiteX0" fmla="*/ 438150 w 1620202"/>
                <a:gd name="connsiteY0" fmla="*/ 781050 h 1025842"/>
                <a:gd name="connsiteX1" fmla="*/ 136207 w 1620202"/>
                <a:gd name="connsiteY1" fmla="*/ 763905 h 1025842"/>
                <a:gd name="connsiteX2" fmla="*/ 287655 w 1620202"/>
                <a:gd name="connsiteY2" fmla="*/ 917257 h 1025842"/>
                <a:gd name="connsiteX3" fmla="*/ 438150 w 1620202"/>
                <a:gd name="connsiteY3" fmla="*/ 781050 h 1025842"/>
                <a:gd name="connsiteX4" fmla="*/ 1355407 w 1620202"/>
                <a:gd name="connsiteY4" fmla="*/ 595312 h 1025842"/>
                <a:gd name="connsiteX5" fmla="*/ 1221105 w 1620202"/>
                <a:gd name="connsiteY5" fmla="*/ 709612 h 1025842"/>
                <a:gd name="connsiteX6" fmla="*/ 1187767 w 1620202"/>
                <a:gd name="connsiteY6" fmla="*/ 709612 h 1025842"/>
                <a:gd name="connsiteX7" fmla="*/ 1176337 w 1620202"/>
                <a:gd name="connsiteY7" fmla="*/ 741045 h 1025842"/>
                <a:gd name="connsiteX8" fmla="*/ 1217295 w 1620202"/>
                <a:gd name="connsiteY8" fmla="*/ 741045 h 1025842"/>
                <a:gd name="connsiteX9" fmla="*/ 1217295 w 1620202"/>
                <a:gd name="connsiteY9" fmla="*/ 756285 h 1025842"/>
                <a:gd name="connsiteX10" fmla="*/ 1218247 w 1620202"/>
                <a:gd name="connsiteY10" fmla="*/ 765810 h 1025842"/>
                <a:gd name="connsiteX11" fmla="*/ 1188720 w 1620202"/>
                <a:gd name="connsiteY11" fmla="*/ 765810 h 1025842"/>
                <a:gd name="connsiteX12" fmla="*/ 1177290 w 1620202"/>
                <a:gd name="connsiteY12" fmla="*/ 797242 h 1025842"/>
                <a:gd name="connsiteX13" fmla="*/ 1222057 w 1620202"/>
                <a:gd name="connsiteY13" fmla="*/ 797242 h 1025842"/>
                <a:gd name="connsiteX14" fmla="*/ 1359217 w 1620202"/>
                <a:gd name="connsiteY14" fmla="*/ 903922 h 1025842"/>
                <a:gd name="connsiteX15" fmla="*/ 1446847 w 1620202"/>
                <a:gd name="connsiteY15" fmla="*/ 887730 h 1025842"/>
                <a:gd name="connsiteX16" fmla="*/ 1432560 w 1620202"/>
                <a:gd name="connsiteY16" fmla="*/ 836295 h 1025842"/>
                <a:gd name="connsiteX17" fmla="*/ 1369695 w 1620202"/>
                <a:gd name="connsiteY17" fmla="*/ 853440 h 1025842"/>
                <a:gd name="connsiteX18" fmla="*/ 1292542 w 1620202"/>
                <a:gd name="connsiteY18" fmla="*/ 797242 h 1025842"/>
                <a:gd name="connsiteX19" fmla="*/ 1382077 w 1620202"/>
                <a:gd name="connsiteY19" fmla="*/ 797242 h 1025842"/>
                <a:gd name="connsiteX20" fmla="*/ 1393507 w 1620202"/>
                <a:gd name="connsiteY20" fmla="*/ 765810 h 1025842"/>
                <a:gd name="connsiteX21" fmla="*/ 1286827 w 1620202"/>
                <a:gd name="connsiteY21" fmla="*/ 765810 h 1025842"/>
                <a:gd name="connsiteX22" fmla="*/ 1285875 w 1620202"/>
                <a:gd name="connsiteY22" fmla="*/ 749617 h 1025842"/>
                <a:gd name="connsiteX23" fmla="*/ 1285875 w 1620202"/>
                <a:gd name="connsiteY23" fmla="*/ 743902 h 1025842"/>
                <a:gd name="connsiteX24" fmla="*/ 1285875 w 1620202"/>
                <a:gd name="connsiteY24" fmla="*/ 740092 h 1025842"/>
                <a:gd name="connsiteX25" fmla="*/ 1401127 w 1620202"/>
                <a:gd name="connsiteY25" fmla="*/ 740092 h 1025842"/>
                <a:gd name="connsiteX26" fmla="*/ 1411605 w 1620202"/>
                <a:gd name="connsiteY26" fmla="*/ 708660 h 1025842"/>
                <a:gd name="connsiteX27" fmla="*/ 1286827 w 1620202"/>
                <a:gd name="connsiteY27" fmla="*/ 708660 h 1025842"/>
                <a:gd name="connsiteX28" fmla="*/ 1363980 w 1620202"/>
                <a:gd name="connsiteY28" fmla="*/ 645795 h 1025842"/>
                <a:gd name="connsiteX29" fmla="*/ 1428750 w 1620202"/>
                <a:gd name="connsiteY29" fmla="*/ 663892 h 1025842"/>
                <a:gd name="connsiteX30" fmla="*/ 1446847 w 1620202"/>
                <a:gd name="connsiteY30" fmla="*/ 614362 h 1025842"/>
                <a:gd name="connsiteX31" fmla="*/ 1355407 w 1620202"/>
                <a:gd name="connsiteY31" fmla="*/ 595312 h 1025842"/>
                <a:gd name="connsiteX32" fmla="*/ 107632 w 1620202"/>
                <a:gd name="connsiteY32" fmla="*/ 0 h 1025842"/>
                <a:gd name="connsiteX33" fmla="*/ 1511617 w 1620202"/>
                <a:gd name="connsiteY33" fmla="*/ 0 h 1025842"/>
                <a:gd name="connsiteX34" fmla="*/ 1620202 w 1620202"/>
                <a:gd name="connsiteY34" fmla="*/ 107632 h 1025842"/>
                <a:gd name="connsiteX35" fmla="*/ 1619250 w 1620202"/>
                <a:gd name="connsiteY35" fmla="*/ 918210 h 1025842"/>
                <a:gd name="connsiteX36" fmla="*/ 1511617 w 1620202"/>
                <a:gd name="connsiteY36" fmla="*/ 1025842 h 1025842"/>
                <a:gd name="connsiteX37" fmla="*/ 107632 w 1620202"/>
                <a:gd name="connsiteY37" fmla="*/ 1025842 h 1025842"/>
                <a:gd name="connsiteX38" fmla="*/ 0 w 1620202"/>
                <a:gd name="connsiteY38" fmla="*/ 918210 h 1025842"/>
                <a:gd name="connsiteX39" fmla="*/ 0 w 1620202"/>
                <a:gd name="connsiteY39" fmla="*/ 107632 h 1025842"/>
                <a:gd name="connsiteX40" fmla="*/ 107632 w 1620202"/>
                <a:gd name="connsiteY40" fmla="*/ 0 h 1025842"/>
                <a:gd name="connsiteX0" fmla="*/ 287655 w 1620202"/>
                <a:gd name="connsiteY0" fmla="*/ 917257 h 1025842"/>
                <a:gd name="connsiteX1" fmla="*/ 136207 w 1620202"/>
                <a:gd name="connsiteY1" fmla="*/ 763905 h 1025842"/>
                <a:gd name="connsiteX2" fmla="*/ 287655 w 1620202"/>
                <a:gd name="connsiteY2" fmla="*/ 917257 h 1025842"/>
                <a:gd name="connsiteX3" fmla="*/ 1355407 w 1620202"/>
                <a:gd name="connsiteY3" fmla="*/ 595312 h 1025842"/>
                <a:gd name="connsiteX4" fmla="*/ 1221105 w 1620202"/>
                <a:gd name="connsiteY4" fmla="*/ 709612 h 1025842"/>
                <a:gd name="connsiteX5" fmla="*/ 1187767 w 1620202"/>
                <a:gd name="connsiteY5" fmla="*/ 709612 h 1025842"/>
                <a:gd name="connsiteX6" fmla="*/ 1176337 w 1620202"/>
                <a:gd name="connsiteY6" fmla="*/ 741045 h 1025842"/>
                <a:gd name="connsiteX7" fmla="*/ 1217295 w 1620202"/>
                <a:gd name="connsiteY7" fmla="*/ 741045 h 1025842"/>
                <a:gd name="connsiteX8" fmla="*/ 1217295 w 1620202"/>
                <a:gd name="connsiteY8" fmla="*/ 756285 h 1025842"/>
                <a:gd name="connsiteX9" fmla="*/ 1218247 w 1620202"/>
                <a:gd name="connsiteY9" fmla="*/ 765810 h 1025842"/>
                <a:gd name="connsiteX10" fmla="*/ 1188720 w 1620202"/>
                <a:gd name="connsiteY10" fmla="*/ 765810 h 1025842"/>
                <a:gd name="connsiteX11" fmla="*/ 1177290 w 1620202"/>
                <a:gd name="connsiteY11" fmla="*/ 797242 h 1025842"/>
                <a:gd name="connsiteX12" fmla="*/ 1222057 w 1620202"/>
                <a:gd name="connsiteY12" fmla="*/ 797242 h 1025842"/>
                <a:gd name="connsiteX13" fmla="*/ 1359217 w 1620202"/>
                <a:gd name="connsiteY13" fmla="*/ 903922 h 1025842"/>
                <a:gd name="connsiteX14" fmla="*/ 1446847 w 1620202"/>
                <a:gd name="connsiteY14" fmla="*/ 887730 h 1025842"/>
                <a:gd name="connsiteX15" fmla="*/ 1432560 w 1620202"/>
                <a:gd name="connsiteY15" fmla="*/ 836295 h 1025842"/>
                <a:gd name="connsiteX16" fmla="*/ 1369695 w 1620202"/>
                <a:gd name="connsiteY16" fmla="*/ 853440 h 1025842"/>
                <a:gd name="connsiteX17" fmla="*/ 1292542 w 1620202"/>
                <a:gd name="connsiteY17" fmla="*/ 797242 h 1025842"/>
                <a:gd name="connsiteX18" fmla="*/ 1382077 w 1620202"/>
                <a:gd name="connsiteY18" fmla="*/ 797242 h 1025842"/>
                <a:gd name="connsiteX19" fmla="*/ 1393507 w 1620202"/>
                <a:gd name="connsiteY19" fmla="*/ 765810 h 1025842"/>
                <a:gd name="connsiteX20" fmla="*/ 1286827 w 1620202"/>
                <a:gd name="connsiteY20" fmla="*/ 765810 h 1025842"/>
                <a:gd name="connsiteX21" fmla="*/ 1285875 w 1620202"/>
                <a:gd name="connsiteY21" fmla="*/ 749617 h 1025842"/>
                <a:gd name="connsiteX22" fmla="*/ 1285875 w 1620202"/>
                <a:gd name="connsiteY22" fmla="*/ 743902 h 1025842"/>
                <a:gd name="connsiteX23" fmla="*/ 1285875 w 1620202"/>
                <a:gd name="connsiteY23" fmla="*/ 740092 h 1025842"/>
                <a:gd name="connsiteX24" fmla="*/ 1401127 w 1620202"/>
                <a:gd name="connsiteY24" fmla="*/ 740092 h 1025842"/>
                <a:gd name="connsiteX25" fmla="*/ 1411605 w 1620202"/>
                <a:gd name="connsiteY25" fmla="*/ 708660 h 1025842"/>
                <a:gd name="connsiteX26" fmla="*/ 1286827 w 1620202"/>
                <a:gd name="connsiteY26" fmla="*/ 708660 h 1025842"/>
                <a:gd name="connsiteX27" fmla="*/ 1363980 w 1620202"/>
                <a:gd name="connsiteY27" fmla="*/ 645795 h 1025842"/>
                <a:gd name="connsiteX28" fmla="*/ 1428750 w 1620202"/>
                <a:gd name="connsiteY28" fmla="*/ 663892 h 1025842"/>
                <a:gd name="connsiteX29" fmla="*/ 1446847 w 1620202"/>
                <a:gd name="connsiteY29" fmla="*/ 614362 h 1025842"/>
                <a:gd name="connsiteX30" fmla="*/ 1355407 w 1620202"/>
                <a:gd name="connsiteY30" fmla="*/ 595312 h 1025842"/>
                <a:gd name="connsiteX31" fmla="*/ 107632 w 1620202"/>
                <a:gd name="connsiteY31" fmla="*/ 0 h 1025842"/>
                <a:gd name="connsiteX32" fmla="*/ 1511617 w 1620202"/>
                <a:gd name="connsiteY32" fmla="*/ 0 h 1025842"/>
                <a:gd name="connsiteX33" fmla="*/ 1620202 w 1620202"/>
                <a:gd name="connsiteY33" fmla="*/ 107632 h 1025842"/>
                <a:gd name="connsiteX34" fmla="*/ 1619250 w 1620202"/>
                <a:gd name="connsiteY34" fmla="*/ 918210 h 1025842"/>
                <a:gd name="connsiteX35" fmla="*/ 1511617 w 1620202"/>
                <a:gd name="connsiteY35" fmla="*/ 1025842 h 1025842"/>
                <a:gd name="connsiteX36" fmla="*/ 107632 w 1620202"/>
                <a:gd name="connsiteY36" fmla="*/ 1025842 h 1025842"/>
                <a:gd name="connsiteX37" fmla="*/ 0 w 1620202"/>
                <a:gd name="connsiteY37" fmla="*/ 918210 h 1025842"/>
                <a:gd name="connsiteX38" fmla="*/ 0 w 1620202"/>
                <a:gd name="connsiteY38" fmla="*/ 107632 h 1025842"/>
                <a:gd name="connsiteX39" fmla="*/ 107632 w 1620202"/>
                <a:gd name="connsiteY39" fmla="*/ 0 h 1025842"/>
                <a:gd name="connsiteX0" fmla="*/ 1355407 w 1620202"/>
                <a:gd name="connsiteY0" fmla="*/ 595312 h 1025842"/>
                <a:gd name="connsiteX1" fmla="*/ 1221105 w 1620202"/>
                <a:gd name="connsiteY1" fmla="*/ 709612 h 1025842"/>
                <a:gd name="connsiteX2" fmla="*/ 1187767 w 1620202"/>
                <a:gd name="connsiteY2" fmla="*/ 709612 h 1025842"/>
                <a:gd name="connsiteX3" fmla="*/ 1176337 w 1620202"/>
                <a:gd name="connsiteY3" fmla="*/ 741045 h 1025842"/>
                <a:gd name="connsiteX4" fmla="*/ 1217295 w 1620202"/>
                <a:gd name="connsiteY4" fmla="*/ 741045 h 1025842"/>
                <a:gd name="connsiteX5" fmla="*/ 1217295 w 1620202"/>
                <a:gd name="connsiteY5" fmla="*/ 756285 h 1025842"/>
                <a:gd name="connsiteX6" fmla="*/ 1218247 w 1620202"/>
                <a:gd name="connsiteY6" fmla="*/ 765810 h 1025842"/>
                <a:gd name="connsiteX7" fmla="*/ 1188720 w 1620202"/>
                <a:gd name="connsiteY7" fmla="*/ 765810 h 1025842"/>
                <a:gd name="connsiteX8" fmla="*/ 1177290 w 1620202"/>
                <a:gd name="connsiteY8" fmla="*/ 797242 h 1025842"/>
                <a:gd name="connsiteX9" fmla="*/ 1222057 w 1620202"/>
                <a:gd name="connsiteY9" fmla="*/ 797242 h 1025842"/>
                <a:gd name="connsiteX10" fmla="*/ 1359217 w 1620202"/>
                <a:gd name="connsiteY10" fmla="*/ 903922 h 1025842"/>
                <a:gd name="connsiteX11" fmla="*/ 1446847 w 1620202"/>
                <a:gd name="connsiteY11" fmla="*/ 887730 h 1025842"/>
                <a:gd name="connsiteX12" fmla="*/ 1432560 w 1620202"/>
                <a:gd name="connsiteY12" fmla="*/ 836295 h 1025842"/>
                <a:gd name="connsiteX13" fmla="*/ 1369695 w 1620202"/>
                <a:gd name="connsiteY13" fmla="*/ 853440 h 1025842"/>
                <a:gd name="connsiteX14" fmla="*/ 1292542 w 1620202"/>
                <a:gd name="connsiteY14" fmla="*/ 797242 h 1025842"/>
                <a:gd name="connsiteX15" fmla="*/ 1382077 w 1620202"/>
                <a:gd name="connsiteY15" fmla="*/ 797242 h 1025842"/>
                <a:gd name="connsiteX16" fmla="*/ 1393507 w 1620202"/>
                <a:gd name="connsiteY16" fmla="*/ 765810 h 1025842"/>
                <a:gd name="connsiteX17" fmla="*/ 1286827 w 1620202"/>
                <a:gd name="connsiteY17" fmla="*/ 765810 h 1025842"/>
                <a:gd name="connsiteX18" fmla="*/ 1285875 w 1620202"/>
                <a:gd name="connsiteY18" fmla="*/ 749617 h 1025842"/>
                <a:gd name="connsiteX19" fmla="*/ 1285875 w 1620202"/>
                <a:gd name="connsiteY19" fmla="*/ 743902 h 1025842"/>
                <a:gd name="connsiteX20" fmla="*/ 1285875 w 1620202"/>
                <a:gd name="connsiteY20" fmla="*/ 740092 h 1025842"/>
                <a:gd name="connsiteX21" fmla="*/ 1401127 w 1620202"/>
                <a:gd name="connsiteY21" fmla="*/ 740092 h 1025842"/>
                <a:gd name="connsiteX22" fmla="*/ 1411605 w 1620202"/>
                <a:gd name="connsiteY22" fmla="*/ 708660 h 1025842"/>
                <a:gd name="connsiteX23" fmla="*/ 1286827 w 1620202"/>
                <a:gd name="connsiteY23" fmla="*/ 708660 h 1025842"/>
                <a:gd name="connsiteX24" fmla="*/ 1363980 w 1620202"/>
                <a:gd name="connsiteY24" fmla="*/ 645795 h 1025842"/>
                <a:gd name="connsiteX25" fmla="*/ 1428750 w 1620202"/>
                <a:gd name="connsiteY25" fmla="*/ 663892 h 1025842"/>
                <a:gd name="connsiteX26" fmla="*/ 1446847 w 1620202"/>
                <a:gd name="connsiteY26" fmla="*/ 614362 h 1025842"/>
                <a:gd name="connsiteX27" fmla="*/ 1355407 w 1620202"/>
                <a:gd name="connsiteY27" fmla="*/ 595312 h 1025842"/>
                <a:gd name="connsiteX28" fmla="*/ 107632 w 1620202"/>
                <a:gd name="connsiteY28" fmla="*/ 0 h 1025842"/>
                <a:gd name="connsiteX29" fmla="*/ 1511617 w 1620202"/>
                <a:gd name="connsiteY29" fmla="*/ 0 h 1025842"/>
                <a:gd name="connsiteX30" fmla="*/ 1620202 w 1620202"/>
                <a:gd name="connsiteY30" fmla="*/ 107632 h 1025842"/>
                <a:gd name="connsiteX31" fmla="*/ 1619250 w 1620202"/>
                <a:gd name="connsiteY31" fmla="*/ 918210 h 1025842"/>
                <a:gd name="connsiteX32" fmla="*/ 1511617 w 1620202"/>
                <a:gd name="connsiteY32" fmla="*/ 1025842 h 1025842"/>
                <a:gd name="connsiteX33" fmla="*/ 107632 w 1620202"/>
                <a:gd name="connsiteY33" fmla="*/ 1025842 h 1025842"/>
                <a:gd name="connsiteX34" fmla="*/ 0 w 1620202"/>
                <a:gd name="connsiteY34" fmla="*/ 918210 h 1025842"/>
                <a:gd name="connsiteX35" fmla="*/ 0 w 1620202"/>
                <a:gd name="connsiteY35" fmla="*/ 107632 h 1025842"/>
                <a:gd name="connsiteX36" fmla="*/ 107632 w 1620202"/>
                <a:gd name="connsiteY36" fmla="*/ 0 h 1025842"/>
                <a:gd name="connsiteX0" fmla="*/ 1446847 w 1620202"/>
                <a:gd name="connsiteY0" fmla="*/ 614362 h 1025842"/>
                <a:gd name="connsiteX1" fmla="*/ 1221105 w 1620202"/>
                <a:gd name="connsiteY1" fmla="*/ 709612 h 1025842"/>
                <a:gd name="connsiteX2" fmla="*/ 1187767 w 1620202"/>
                <a:gd name="connsiteY2" fmla="*/ 709612 h 1025842"/>
                <a:gd name="connsiteX3" fmla="*/ 1176337 w 1620202"/>
                <a:gd name="connsiteY3" fmla="*/ 741045 h 1025842"/>
                <a:gd name="connsiteX4" fmla="*/ 1217295 w 1620202"/>
                <a:gd name="connsiteY4" fmla="*/ 741045 h 1025842"/>
                <a:gd name="connsiteX5" fmla="*/ 1217295 w 1620202"/>
                <a:gd name="connsiteY5" fmla="*/ 756285 h 1025842"/>
                <a:gd name="connsiteX6" fmla="*/ 1218247 w 1620202"/>
                <a:gd name="connsiteY6" fmla="*/ 765810 h 1025842"/>
                <a:gd name="connsiteX7" fmla="*/ 1188720 w 1620202"/>
                <a:gd name="connsiteY7" fmla="*/ 765810 h 1025842"/>
                <a:gd name="connsiteX8" fmla="*/ 1177290 w 1620202"/>
                <a:gd name="connsiteY8" fmla="*/ 797242 h 1025842"/>
                <a:gd name="connsiteX9" fmla="*/ 1222057 w 1620202"/>
                <a:gd name="connsiteY9" fmla="*/ 797242 h 1025842"/>
                <a:gd name="connsiteX10" fmla="*/ 1359217 w 1620202"/>
                <a:gd name="connsiteY10" fmla="*/ 903922 h 1025842"/>
                <a:gd name="connsiteX11" fmla="*/ 1446847 w 1620202"/>
                <a:gd name="connsiteY11" fmla="*/ 887730 h 1025842"/>
                <a:gd name="connsiteX12" fmla="*/ 1432560 w 1620202"/>
                <a:gd name="connsiteY12" fmla="*/ 836295 h 1025842"/>
                <a:gd name="connsiteX13" fmla="*/ 1369695 w 1620202"/>
                <a:gd name="connsiteY13" fmla="*/ 853440 h 1025842"/>
                <a:gd name="connsiteX14" fmla="*/ 1292542 w 1620202"/>
                <a:gd name="connsiteY14" fmla="*/ 797242 h 1025842"/>
                <a:gd name="connsiteX15" fmla="*/ 1382077 w 1620202"/>
                <a:gd name="connsiteY15" fmla="*/ 797242 h 1025842"/>
                <a:gd name="connsiteX16" fmla="*/ 1393507 w 1620202"/>
                <a:gd name="connsiteY16" fmla="*/ 765810 h 1025842"/>
                <a:gd name="connsiteX17" fmla="*/ 1286827 w 1620202"/>
                <a:gd name="connsiteY17" fmla="*/ 765810 h 1025842"/>
                <a:gd name="connsiteX18" fmla="*/ 1285875 w 1620202"/>
                <a:gd name="connsiteY18" fmla="*/ 749617 h 1025842"/>
                <a:gd name="connsiteX19" fmla="*/ 1285875 w 1620202"/>
                <a:gd name="connsiteY19" fmla="*/ 743902 h 1025842"/>
                <a:gd name="connsiteX20" fmla="*/ 1285875 w 1620202"/>
                <a:gd name="connsiteY20" fmla="*/ 740092 h 1025842"/>
                <a:gd name="connsiteX21" fmla="*/ 1401127 w 1620202"/>
                <a:gd name="connsiteY21" fmla="*/ 740092 h 1025842"/>
                <a:gd name="connsiteX22" fmla="*/ 1411605 w 1620202"/>
                <a:gd name="connsiteY22" fmla="*/ 708660 h 1025842"/>
                <a:gd name="connsiteX23" fmla="*/ 1286827 w 1620202"/>
                <a:gd name="connsiteY23" fmla="*/ 708660 h 1025842"/>
                <a:gd name="connsiteX24" fmla="*/ 1363980 w 1620202"/>
                <a:gd name="connsiteY24" fmla="*/ 645795 h 1025842"/>
                <a:gd name="connsiteX25" fmla="*/ 1428750 w 1620202"/>
                <a:gd name="connsiteY25" fmla="*/ 663892 h 1025842"/>
                <a:gd name="connsiteX26" fmla="*/ 1446847 w 1620202"/>
                <a:gd name="connsiteY26" fmla="*/ 614362 h 1025842"/>
                <a:gd name="connsiteX27" fmla="*/ 107632 w 1620202"/>
                <a:gd name="connsiteY27" fmla="*/ 0 h 1025842"/>
                <a:gd name="connsiteX28" fmla="*/ 1511617 w 1620202"/>
                <a:gd name="connsiteY28" fmla="*/ 0 h 1025842"/>
                <a:gd name="connsiteX29" fmla="*/ 1620202 w 1620202"/>
                <a:gd name="connsiteY29" fmla="*/ 107632 h 1025842"/>
                <a:gd name="connsiteX30" fmla="*/ 1619250 w 1620202"/>
                <a:gd name="connsiteY30" fmla="*/ 918210 h 1025842"/>
                <a:gd name="connsiteX31" fmla="*/ 1511617 w 1620202"/>
                <a:gd name="connsiteY31" fmla="*/ 1025842 h 1025842"/>
                <a:gd name="connsiteX32" fmla="*/ 107632 w 1620202"/>
                <a:gd name="connsiteY32" fmla="*/ 1025842 h 1025842"/>
                <a:gd name="connsiteX33" fmla="*/ 0 w 1620202"/>
                <a:gd name="connsiteY33" fmla="*/ 918210 h 1025842"/>
                <a:gd name="connsiteX34" fmla="*/ 0 w 1620202"/>
                <a:gd name="connsiteY34" fmla="*/ 107632 h 1025842"/>
                <a:gd name="connsiteX35" fmla="*/ 107632 w 1620202"/>
                <a:gd name="connsiteY35" fmla="*/ 0 h 1025842"/>
                <a:gd name="connsiteX0" fmla="*/ 1446847 w 1620202"/>
                <a:gd name="connsiteY0" fmla="*/ 614362 h 1025842"/>
                <a:gd name="connsiteX1" fmla="*/ 1221105 w 1620202"/>
                <a:gd name="connsiteY1" fmla="*/ 709612 h 1025842"/>
                <a:gd name="connsiteX2" fmla="*/ 1176337 w 1620202"/>
                <a:gd name="connsiteY2" fmla="*/ 741045 h 1025842"/>
                <a:gd name="connsiteX3" fmla="*/ 1217295 w 1620202"/>
                <a:gd name="connsiteY3" fmla="*/ 741045 h 1025842"/>
                <a:gd name="connsiteX4" fmla="*/ 1217295 w 1620202"/>
                <a:gd name="connsiteY4" fmla="*/ 756285 h 1025842"/>
                <a:gd name="connsiteX5" fmla="*/ 1218247 w 1620202"/>
                <a:gd name="connsiteY5" fmla="*/ 765810 h 1025842"/>
                <a:gd name="connsiteX6" fmla="*/ 1188720 w 1620202"/>
                <a:gd name="connsiteY6" fmla="*/ 765810 h 1025842"/>
                <a:gd name="connsiteX7" fmla="*/ 1177290 w 1620202"/>
                <a:gd name="connsiteY7" fmla="*/ 797242 h 1025842"/>
                <a:gd name="connsiteX8" fmla="*/ 1222057 w 1620202"/>
                <a:gd name="connsiteY8" fmla="*/ 797242 h 1025842"/>
                <a:gd name="connsiteX9" fmla="*/ 1359217 w 1620202"/>
                <a:gd name="connsiteY9" fmla="*/ 903922 h 1025842"/>
                <a:gd name="connsiteX10" fmla="*/ 1446847 w 1620202"/>
                <a:gd name="connsiteY10" fmla="*/ 887730 h 1025842"/>
                <a:gd name="connsiteX11" fmla="*/ 1432560 w 1620202"/>
                <a:gd name="connsiteY11" fmla="*/ 836295 h 1025842"/>
                <a:gd name="connsiteX12" fmla="*/ 1369695 w 1620202"/>
                <a:gd name="connsiteY12" fmla="*/ 853440 h 1025842"/>
                <a:gd name="connsiteX13" fmla="*/ 1292542 w 1620202"/>
                <a:gd name="connsiteY13" fmla="*/ 797242 h 1025842"/>
                <a:gd name="connsiteX14" fmla="*/ 1382077 w 1620202"/>
                <a:gd name="connsiteY14" fmla="*/ 797242 h 1025842"/>
                <a:gd name="connsiteX15" fmla="*/ 1393507 w 1620202"/>
                <a:gd name="connsiteY15" fmla="*/ 765810 h 1025842"/>
                <a:gd name="connsiteX16" fmla="*/ 1286827 w 1620202"/>
                <a:gd name="connsiteY16" fmla="*/ 765810 h 1025842"/>
                <a:gd name="connsiteX17" fmla="*/ 1285875 w 1620202"/>
                <a:gd name="connsiteY17" fmla="*/ 749617 h 1025842"/>
                <a:gd name="connsiteX18" fmla="*/ 1285875 w 1620202"/>
                <a:gd name="connsiteY18" fmla="*/ 743902 h 1025842"/>
                <a:gd name="connsiteX19" fmla="*/ 1285875 w 1620202"/>
                <a:gd name="connsiteY19" fmla="*/ 740092 h 1025842"/>
                <a:gd name="connsiteX20" fmla="*/ 1401127 w 1620202"/>
                <a:gd name="connsiteY20" fmla="*/ 740092 h 1025842"/>
                <a:gd name="connsiteX21" fmla="*/ 1411605 w 1620202"/>
                <a:gd name="connsiteY21" fmla="*/ 708660 h 1025842"/>
                <a:gd name="connsiteX22" fmla="*/ 1286827 w 1620202"/>
                <a:gd name="connsiteY22" fmla="*/ 708660 h 1025842"/>
                <a:gd name="connsiteX23" fmla="*/ 1363980 w 1620202"/>
                <a:gd name="connsiteY23" fmla="*/ 645795 h 1025842"/>
                <a:gd name="connsiteX24" fmla="*/ 1428750 w 1620202"/>
                <a:gd name="connsiteY24" fmla="*/ 663892 h 1025842"/>
                <a:gd name="connsiteX25" fmla="*/ 1446847 w 1620202"/>
                <a:gd name="connsiteY25" fmla="*/ 614362 h 1025842"/>
                <a:gd name="connsiteX26" fmla="*/ 107632 w 1620202"/>
                <a:gd name="connsiteY26" fmla="*/ 0 h 1025842"/>
                <a:gd name="connsiteX27" fmla="*/ 1511617 w 1620202"/>
                <a:gd name="connsiteY27" fmla="*/ 0 h 1025842"/>
                <a:gd name="connsiteX28" fmla="*/ 1620202 w 1620202"/>
                <a:gd name="connsiteY28" fmla="*/ 107632 h 1025842"/>
                <a:gd name="connsiteX29" fmla="*/ 1619250 w 1620202"/>
                <a:gd name="connsiteY29" fmla="*/ 918210 h 1025842"/>
                <a:gd name="connsiteX30" fmla="*/ 1511617 w 1620202"/>
                <a:gd name="connsiteY30" fmla="*/ 1025842 h 1025842"/>
                <a:gd name="connsiteX31" fmla="*/ 107632 w 1620202"/>
                <a:gd name="connsiteY31" fmla="*/ 1025842 h 1025842"/>
                <a:gd name="connsiteX32" fmla="*/ 0 w 1620202"/>
                <a:gd name="connsiteY32" fmla="*/ 918210 h 1025842"/>
                <a:gd name="connsiteX33" fmla="*/ 0 w 1620202"/>
                <a:gd name="connsiteY33" fmla="*/ 107632 h 1025842"/>
                <a:gd name="connsiteX34" fmla="*/ 107632 w 1620202"/>
                <a:gd name="connsiteY34" fmla="*/ 0 h 1025842"/>
                <a:gd name="connsiteX0" fmla="*/ 1446847 w 1620202"/>
                <a:gd name="connsiteY0" fmla="*/ 614362 h 1025842"/>
                <a:gd name="connsiteX1" fmla="*/ 1221105 w 1620202"/>
                <a:gd name="connsiteY1" fmla="*/ 709612 h 1025842"/>
                <a:gd name="connsiteX2" fmla="*/ 1176337 w 1620202"/>
                <a:gd name="connsiteY2" fmla="*/ 741045 h 1025842"/>
                <a:gd name="connsiteX3" fmla="*/ 1217295 w 1620202"/>
                <a:gd name="connsiteY3" fmla="*/ 741045 h 1025842"/>
                <a:gd name="connsiteX4" fmla="*/ 1217295 w 1620202"/>
                <a:gd name="connsiteY4" fmla="*/ 756285 h 1025842"/>
                <a:gd name="connsiteX5" fmla="*/ 1218247 w 1620202"/>
                <a:gd name="connsiteY5" fmla="*/ 765810 h 1025842"/>
                <a:gd name="connsiteX6" fmla="*/ 1177290 w 1620202"/>
                <a:gd name="connsiteY6" fmla="*/ 797242 h 1025842"/>
                <a:gd name="connsiteX7" fmla="*/ 1222057 w 1620202"/>
                <a:gd name="connsiteY7" fmla="*/ 797242 h 1025842"/>
                <a:gd name="connsiteX8" fmla="*/ 1359217 w 1620202"/>
                <a:gd name="connsiteY8" fmla="*/ 903922 h 1025842"/>
                <a:gd name="connsiteX9" fmla="*/ 1446847 w 1620202"/>
                <a:gd name="connsiteY9" fmla="*/ 887730 h 1025842"/>
                <a:gd name="connsiteX10" fmla="*/ 1432560 w 1620202"/>
                <a:gd name="connsiteY10" fmla="*/ 836295 h 1025842"/>
                <a:gd name="connsiteX11" fmla="*/ 1369695 w 1620202"/>
                <a:gd name="connsiteY11" fmla="*/ 853440 h 1025842"/>
                <a:gd name="connsiteX12" fmla="*/ 1292542 w 1620202"/>
                <a:gd name="connsiteY12" fmla="*/ 797242 h 1025842"/>
                <a:gd name="connsiteX13" fmla="*/ 1382077 w 1620202"/>
                <a:gd name="connsiteY13" fmla="*/ 797242 h 1025842"/>
                <a:gd name="connsiteX14" fmla="*/ 1393507 w 1620202"/>
                <a:gd name="connsiteY14" fmla="*/ 765810 h 1025842"/>
                <a:gd name="connsiteX15" fmla="*/ 1286827 w 1620202"/>
                <a:gd name="connsiteY15" fmla="*/ 765810 h 1025842"/>
                <a:gd name="connsiteX16" fmla="*/ 1285875 w 1620202"/>
                <a:gd name="connsiteY16" fmla="*/ 749617 h 1025842"/>
                <a:gd name="connsiteX17" fmla="*/ 1285875 w 1620202"/>
                <a:gd name="connsiteY17" fmla="*/ 743902 h 1025842"/>
                <a:gd name="connsiteX18" fmla="*/ 1285875 w 1620202"/>
                <a:gd name="connsiteY18" fmla="*/ 740092 h 1025842"/>
                <a:gd name="connsiteX19" fmla="*/ 1401127 w 1620202"/>
                <a:gd name="connsiteY19" fmla="*/ 740092 h 1025842"/>
                <a:gd name="connsiteX20" fmla="*/ 1411605 w 1620202"/>
                <a:gd name="connsiteY20" fmla="*/ 708660 h 1025842"/>
                <a:gd name="connsiteX21" fmla="*/ 1286827 w 1620202"/>
                <a:gd name="connsiteY21" fmla="*/ 708660 h 1025842"/>
                <a:gd name="connsiteX22" fmla="*/ 1363980 w 1620202"/>
                <a:gd name="connsiteY22" fmla="*/ 645795 h 1025842"/>
                <a:gd name="connsiteX23" fmla="*/ 1428750 w 1620202"/>
                <a:gd name="connsiteY23" fmla="*/ 663892 h 1025842"/>
                <a:gd name="connsiteX24" fmla="*/ 1446847 w 1620202"/>
                <a:gd name="connsiteY24" fmla="*/ 614362 h 1025842"/>
                <a:gd name="connsiteX25" fmla="*/ 107632 w 1620202"/>
                <a:gd name="connsiteY25" fmla="*/ 0 h 1025842"/>
                <a:gd name="connsiteX26" fmla="*/ 1511617 w 1620202"/>
                <a:gd name="connsiteY26" fmla="*/ 0 h 1025842"/>
                <a:gd name="connsiteX27" fmla="*/ 1620202 w 1620202"/>
                <a:gd name="connsiteY27" fmla="*/ 107632 h 1025842"/>
                <a:gd name="connsiteX28" fmla="*/ 1619250 w 1620202"/>
                <a:gd name="connsiteY28" fmla="*/ 918210 h 1025842"/>
                <a:gd name="connsiteX29" fmla="*/ 1511617 w 1620202"/>
                <a:gd name="connsiteY29" fmla="*/ 1025842 h 1025842"/>
                <a:gd name="connsiteX30" fmla="*/ 107632 w 1620202"/>
                <a:gd name="connsiteY30" fmla="*/ 1025842 h 1025842"/>
                <a:gd name="connsiteX31" fmla="*/ 0 w 1620202"/>
                <a:gd name="connsiteY31" fmla="*/ 918210 h 1025842"/>
                <a:gd name="connsiteX32" fmla="*/ 0 w 1620202"/>
                <a:gd name="connsiteY32" fmla="*/ 107632 h 1025842"/>
                <a:gd name="connsiteX33" fmla="*/ 107632 w 1620202"/>
                <a:gd name="connsiteY33" fmla="*/ 0 h 1025842"/>
                <a:gd name="connsiteX0" fmla="*/ 1446847 w 1620202"/>
                <a:gd name="connsiteY0" fmla="*/ 614362 h 1025842"/>
                <a:gd name="connsiteX1" fmla="*/ 1221105 w 1620202"/>
                <a:gd name="connsiteY1" fmla="*/ 709612 h 1025842"/>
                <a:gd name="connsiteX2" fmla="*/ 1176337 w 1620202"/>
                <a:gd name="connsiteY2" fmla="*/ 741045 h 1025842"/>
                <a:gd name="connsiteX3" fmla="*/ 1217295 w 1620202"/>
                <a:gd name="connsiteY3" fmla="*/ 741045 h 1025842"/>
                <a:gd name="connsiteX4" fmla="*/ 1218247 w 1620202"/>
                <a:gd name="connsiteY4" fmla="*/ 765810 h 1025842"/>
                <a:gd name="connsiteX5" fmla="*/ 1177290 w 1620202"/>
                <a:gd name="connsiteY5" fmla="*/ 797242 h 1025842"/>
                <a:gd name="connsiteX6" fmla="*/ 1222057 w 1620202"/>
                <a:gd name="connsiteY6" fmla="*/ 797242 h 1025842"/>
                <a:gd name="connsiteX7" fmla="*/ 1359217 w 1620202"/>
                <a:gd name="connsiteY7" fmla="*/ 903922 h 1025842"/>
                <a:gd name="connsiteX8" fmla="*/ 1446847 w 1620202"/>
                <a:gd name="connsiteY8" fmla="*/ 887730 h 1025842"/>
                <a:gd name="connsiteX9" fmla="*/ 1432560 w 1620202"/>
                <a:gd name="connsiteY9" fmla="*/ 836295 h 1025842"/>
                <a:gd name="connsiteX10" fmla="*/ 1369695 w 1620202"/>
                <a:gd name="connsiteY10" fmla="*/ 853440 h 1025842"/>
                <a:gd name="connsiteX11" fmla="*/ 1292542 w 1620202"/>
                <a:gd name="connsiteY11" fmla="*/ 797242 h 1025842"/>
                <a:gd name="connsiteX12" fmla="*/ 1382077 w 1620202"/>
                <a:gd name="connsiteY12" fmla="*/ 797242 h 1025842"/>
                <a:gd name="connsiteX13" fmla="*/ 1393507 w 1620202"/>
                <a:gd name="connsiteY13" fmla="*/ 765810 h 1025842"/>
                <a:gd name="connsiteX14" fmla="*/ 1286827 w 1620202"/>
                <a:gd name="connsiteY14" fmla="*/ 765810 h 1025842"/>
                <a:gd name="connsiteX15" fmla="*/ 1285875 w 1620202"/>
                <a:gd name="connsiteY15" fmla="*/ 749617 h 1025842"/>
                <a:gd name="connsiteX16" fmla="*/ 1285875 w 1620202"/>
                <a:gd name="connsiteY16" fmla="*/ 743902 h 1025842"/>
                <a:gd name="connsiteX17" fmla="*/ 1285875 w 1620202"/>
                <a:gd name="connsiteY17" fmla="*/ 740092 h 1025842"/>
                <a:gd name="connsiteX18" fmla="*/ 1401127 w 1620202"/>
                <a:gd name="connsiteY18" fmla="*/ 740092 h 1025842"/>
                <a:gd name="connsiteX19" fmla="*/ 1411605 w 1620202"/>
                <a:gd name="connsiteY19" fmla="*/ 708660 h 1025842"/>
                <a:gd name="connsiteX20" fmla="*/ 1286827 w 1620202"/>
                <a:gd name="connsiteY20" fmla="*/ 708660 h 1025842"/>
                <a:gd name="connsiteX21" fmla="*/ 1363980 w 1620202"/>
                <a:gd name="connsiteY21" fmla="*/ 645795 h 1025842"/>
                <a:gd name="connsiteX22" fmla="*/ 1428750 w 1620202"/>
                <a:gd name="connsiteY22" fmla="*/ 663892 h 1025842"/>
                <a:gd name="connsiteX23" fmla="*/ 1446847 w 1620202"/>
                <a:gd name="connsiteY23" fmla="*/ 614362 h 1025842"/>
                <a:gd name="connsiteX24" fmla="*/ 107632 w 1620202"/>
                <a:gd name="connsiteY24" fmla="*/ 0 h 1025842"/>
                <a:gd name="connsiteX25" fmla="*/ 1511617 w 1620202"/>
                <a:gd name="connsiteY25" fmla="*/ 0 h 1025842"/>
                <a:gd name="connsiteX26" fmla="*/ 1620202 w 1620202"/>
                <a:gd name="connsiteY26" fmla="*/ 107632 h 1025842"/>
                <a:gd name="connsiteX27" fmla="*/ 1619250 w 1620202"/>
                <a:gd name="connsiteY27" fmla="*/ 918210 h 1025842"/>
                <a:gd name="connsiteX28" fmla="*/ 1511617 w 1620202"/>
                <a:gd name="connsiteY28" fmla="*/ 1025842 h 1025842"/>
                <a:gd name="connsiteX29" fmla="*/ 107632 w 1620202"/>
                <a:gd name="connsiteY29" fmla="*/ 1025842 h 1025842"/>
                <a:gd name="connsiteX30" fmla="*/ 0 w 1620202"/>
                <a:gd name="connsiteY30" fmla="*/ 918210 h 1025842"/>
                <a:gd name="connsiteX31" fmla="*/ 0 w 1620202"/>
                <a:gd name="connsiteY31" fmla="*/ 107632 h 1025842"/>
                <a:gd name="connsiteX32" fmla="*/ 107632 w 1620202"/>
                <a:gd name="connsiteY32" fmla="*/ 0 h 1025842"/>
                <a:gd name="connsiteX0" fmla="*/ 1446847 w 1620202"/>
                <a:gd name="connsiteY0" fmla="*/ 614362 h 1025842"/>
                <a:gd name="connsiteX1" fmla="*/ 1176337 w 1620202"/>
                <a:gd name="connsiteY1" fmla="*/ 741045 h 1025842"/>
                <a:gd name="connsiteX2" fmla="*/ 1217295 w 1620202"/>
                <a:gd name="connsiteY2" fmla="*/ 741045 h 1025842"/>
                <a:gd name="connsiteX3" fmla="*/ 1218247 w 1620202"/>
                <a:gd name="connsiteY3" fmla="*/ 765810 h 1025842"/>
                <a:gd name="connsiteX4" fmla="*/ 1177290 w 1620202"/>
                <a:gd name="connsiteY4" fmla="*/ 797242 h 1025842"/>
                <a:gd name="connsiteX5" fmla="*/ 1222057 w 1620202"/>
                <a:gd name="connsiteY5" fmla="*/ 797242 h 1025842"/>
                <a:gd name="connsiteX6" fmla="*/ 1359217 w 1620202"/>
                <a:gd name="connsiteY6" fmla="*/ 903922 h 1025842"/>
                <a:gd name="connsiteX7" fmla="*/ 1446847 w 1620202"/>
                <a:gd name="connsiteY7" fmla="*/ 887730 h 1025842"/>
                <a:gd name="connsiteX8" fmla="*/ 1432560 w 1620202"/>
                <a:gd name="connsiteY8" fmla="*/ 836295 h 1025842"/>
                <a:gd name="connsiteX9" fmla="*/ 1369695 w 1620202"/>
                <a:gd name="connsiteY9" fmla="*/ 853440 h 1025842"/>
                <a:gd name="connsiteX10" fmla="*/ 1292542 w 1620202"/>
                <a:gd name="connsiteY10" fmla="*/ 797242 h 1025842"/>
                <a:gd name="connsiteX11" fmla="*/ 1382077 w 1620202"/>
                <a:gd name="connsiteY11" fmla="*/ 797242 h 1025842"/>
                <a:gd name="connsiteX12" fmla="*/ 1393507 w 1620202"/>
                <a:gd name="connsiteY12" fmla="*/ 765810 h 1025842"/>
                <a:gd name="connsiteX13" fmla="*/ 1286827 w 1620202"/>
                <a:gd name="connsiteY13" fmla="*/ 765810 h 1025842"/>
                <a:gd name="connsiteX14" fmla="*/ 1285875 w 1620202"/>
                <a:gd name="connsiteY14" fmla="*/ 749617 h 1025842"/>
                <a:gd name="connsiteX15" fmla="*/ 1285875 w 1620202"/>
                <a:gd name="connsiteY15" fmla="*/ 743902 h 1025842"/>
                <a:gd name="connsiteX16" fmla="*/ 1285875 w 1620202"/>
                <a:gd name="connsiteY16" fmla="*/ 740092 h 1025842"/>
                <a:gd name="connsiteX17" fmla="*/ 1401127 w 1620202"/>
                <a:gd name="connsiteY17" fmla="*/ 740092 h 1025842"/>
                <a:gd name="connsiteX18" fmla="*/ 1411605 w 1620202"/>
                <a:gd name="connsiteY18" fmla="*/ 708660 h 1025842"/>
                <a:gd name="connsiteX19" fmla="*/ 1286827 w 1620202"/>
                <a:gd name="connsiteY19" fmla="*/ 708660 h 1025842"/>
                <a:gd name="connsiteX20" fmla="*/ 1363980 w 1620202"/>
                <a:gd name="connsiteY20" fmla="*/ 645795 h 1025842"/>
                <a:gd name="connsiteX21" fmla="*/ 1428750 w 1620202"/>
                <a:gd name="connsiteY21" fmla="*/ 663892 h 1025842"/>
                <a:gd name="connsiteX22" fmla="*/ 1446847 w 1620202"/>
                <a:gd name="connsiteY22" fmla="*/ 614362 h 1025842"/>
                <a:gd name="connsiteX23" fmla="*/ 107632 w 1620202"/>
                <a:gd name="connsiteY23" fmla="*/ 0 h 1025842"/>
                <a:gd name="connsiteX24" fmla="*/ 1511617 w 1620202"/>
                <a:gd name="connsiteY24" fmla="*/ 0 h 1025842"/>
                <a:gd name="connsiteX25" fmla="*/ 1620202 w 1620202"/>
                <a:gd name="connsiteY25" fmla="*/ 107632 h 1025842"/>
                <a:gd name="connsiteX26" fmla="*/ 1619250 w 1620202"/>
                <a:gd name="connsiteY26" fmla="*/ 918210 h 1025842"/>
                <a:gd name="connsiteX27" fmla="*/ 1511617 w 1620202"/>
                <a:gd name="connsiteY27" fmla="*/ 1025842 h 1025842"/>
                <a:gd name="connsiteX28" fmla="*/ 107632 w 1620202"/>
                <a:gd name="connsiteY28" fmla="*/ 1025842 h 1025842"/>
                <a:gd name="connsiteX29" fmla="*/ 0 w 1620202"/>
                <a:gd name="connsiteY29" fmla="*/ 918210 h 1025842"/>
                <a:gd name="connsiteX30" fmla="*/ 0 w 1620202"/>
                <a:gd name="connsiteY30" fmla="*/ 107632 h 1025842"/>
                <a:gd name="connsiteX31" fmla="*/ 107632 w 1620202"/>
                <a:gd name="connsiteY31" fmla="*/ 0 h 1025842"/>
                <a:gd name="connsiteX0" fmla="*/ 1446847 w 1620202"/>
                <a:gd name="connsiteY0" fmla="*/ 614362 h 1025842"/>
                <a:gd name="connsiteX1" fmla="*/ 1217295 w 1620202"/>
                <a:gd name="connsiteY1" fmla="*/ 741045 h 1025842"/>
                <a:gd name="connsiteX2" fmla="*/ 1218247 w 1620202"/>
                <a:gd name="connsiteY2" fmla="*/ 765810 h 1025842"/>
                <a:gd name="connsiteX3" fmla="*/ 1177290 w 1620202"/>
                <a:gd name="connsiteY3" fmla="*/ 797242 h 1025842"/>
                <a:gd name="connsiteX4" fmla="*/ 1222057 w 1620202"/>
                <a:gd name="connsiteY4" fmla="*/ 797242 h 1025842"/>
                <a:gd name="connsiteX5" fmla="*/ 1359217 w 1620202"/>
                <a:gd name="connsiteY5" fmla="*/ 903922 h 1025842"/>
                <a:gd name="connsiteX6" fmla="*/ 1446847 w 1620202"/>
                <a:gd name="connsiteY6" fmla="*/ 887730 h 1025842"/>
                <a:gd name="connsiteX7" fmla="*/ 1432560 w 1620202"/>
                <a:gd name="connsiteY7" fmla="*/ 836295 h 1025842"/>
                <a:gd name="connsiteX8" fmla="*/ 1369695 w 1620202"/>
                <a:gd name="connsiteY8" fmla="*/ 853440 h 1025842"/>
                <a:gd name="connsiteX9" fmla="*/ 1292542 w 1620202"/>
                <a:gd name="connsiteY9" fmla="*/ 797242 h 1025842"/>
                <a:gd name="connsiteX10" fmla="*/ 1382077 w 1620202"/>
                <a:gd name="connsiteY10" fmla="*/ 797242 h 1025842"/>
                <a:gd name="connsiteX11" fmla="*/ 1393507 w 1620202"/>
                <a:gd name="connsiteY11" fmla="*/ 765810 h 1025842"/>
                <a:gd name="connsiteX12" fmla="*/ 1286827 w 1620202"/>
                <a:gd name="connsiteY12" fmla="*/ 765810 h 1025842"/>
                <a:gd name="connsiteX13" fmla="*/ 1285875 w 1620202"/>
                <a:gd name="connsiteY13" fmla="*/ 749617 h 1025842"/>
                <a:gd name="connsiteX14" fmla="*/ 1285875 w 1620202"/>
                <a:gd name="connsiteY14" fmla="*/ 743902 h 1025842"/>
                <a:gd name="connsiteX15" fmla="*/ 1285875 w 1620202"/>
                <a:gd name="connsiteY15" fmla="*/ 740092 h 1025842"/>
                <a:gd name="connsiteX16" fmla="*/ 1401127 w 1620202"/>
                <a:gd name="connsiteY16" fmla="*/ 740092 h 1025842"/>
                <a:gd name="connsiteX17" fmla="*/ 1411605 w 1620202"/>
                <a:gd name="connsiteY17" fmla="*/ 708660 h 1025842"/>
                <a:gd name="connsiteX18" fmla="*/ 1286827 w 1620202"/>
                <a:gd name="connsiteY18" fmla="*/ 708660 h 1025842"/>
                <a:gd name="connsiteX19" fmla="*/ 1363980 w 1620202"/>
                <a:gd name="connsiteY19" fmla="*/ 645795 h 1025842"/>
                <a:gd name="connsiteX20" fmla="*/ 1428750 w 1620202"/>
                <a:gd name="connsiteY20" fmla="*/ 663892 h 1025842"/>
                <a:gd name="connsiteX21" fmla="*/ 1446847 w 1620202"/>
                <a:gd name="connsiteY21" fmla="*/ 614362 h 1025842"/>
                <a:gd name="connsiteX22" fmla="*/ 107632 w 1620202"/>
                <a:gd name="connsiteY22" fmla="*/ 0 h 1025842"/>
                <a:gd name="connsiteX23" fmla="*/ 1511617 w 1620202"/>
                <a:gd name="connsiteY23" fmla="*/ 0 h 1025842"/>
                <a:gd name="connsiteX24" fmla="*/ 1620202 w 1620202"/>
                <a:gd name="connsiteY24" fmla="*/ 107632 h 1025842"/>
                <a:gd name="connsiteX25" fmla="*/ 1619250 w 1620202"/>
                <a:gd name="connsiteY25" fmla="*/ 918210 h 1025842"/>
                <a:gd name="connsiteX26" fmla="*/ 1511617 w 1620202"/>
                <a:gd name="connsiteY26" fmla="*/ 1025842 h 1025842"/>
                <a:gd name="connsiteX27" fmla="*/ 107632 w 1620202"/>
                <a:gd name="connsiteY27" fmla="*/ 1025842 h 1025842"/>
                <a:gd name="connsiteX28" fmla="*/ 0 w 1620202"/>
                <a:gd name="connsiteY28" fmla="*/ 918210 h 1025842"/>
                <a:gd name="connsiteX29" fmla="*/ 0 w 1620202"/>
                <a:gd name="connsiteY29" fmla="*/ 107632 h 1025842"/>
                <a:gd name="connsiteX30" fmla="*/ 107632 w 1620202"/>
                <a:gd name="connsiteY30" fmla="*/ 0 h 1025842"/>
                <a:gd name="connsiteX0" fmla="*/ 1446847 w 1620202"/>
                <a:gd name="connsiteY0" fmla="*/ 614362 h 1025842"/>
                <a:gd name="connsiteX1" fmla="*/ 1217295 w 1620202"/>
                <a:gd name="connsiteY1" fmla="*/ 741045 h 1025842"/>
                <a:gd name="connsiteX2" fmla="*/ 1177290 w 1620202"/>
                <a:gd name="connsiteY2" fmla="*/ 797242 h 1025842"/>
                <a:gd name="connsiteX3" fmla="*/ 1222057 w 1620202"/>
                <a:gd name="connsiteY3" fmla="*/ 797242 h 1025842"/>
                <a:gd name="connsiteX4" fmla="*/ 1359217 w 1620202"/>
                <a:gd name="connsiteY4" fmla="*/ 903922 h 1025842"/>
                <a:gd name="connsiteX5" fmla="*/ 1446847 w 1620202"/>
                <a:gd name="connsiteY5" fmla="*/ 887730 h 1025842"/>
                <a:gd name="connsiteX6" fmla="*/ 1432560 w 1620202"/>
                <a:gd name="connsiteY6" fmla="*/ 836295 h 1025842"/>
                <a:gd name="connsiteX7" fmla="*/ 1369695 w 1620202"/>
                <a:gd name="connsiteY7" fmla="*/ 853440 h 1025842"/>
                <a:gd name="connsiteX8" fmla="*/ 1292542 w 1620202"/>
                <a:gd name="connsiteY8" fmla="*/ 797242 h 1025842"/>
                <a:gd name="connsiteX9" fmla="*/ 1382077 w 1620202"/>
                <a:gd name="connsiteY9" fmla="*/ 797242 h 1025842"/>
                <a:gd name="connsiteX10" fmla="*/ 1393507 w 1620202"/>
                <a:gd name="connsiteY10" fmla="*/ 765810 h 1025842"/>
                <a:gd name="connsiteX11" fmla="*/ 1286827 w 1620202"/>
                <a:gd name="connsiteY11" fmla="*/ 765810 h 1025842"/>
                <a:gd name="connsiteX12" fmla="*/ 1285875 w 1620202"/>
                <a:gd name="connsiteY12" fmla="*/ 749617 h 1025842"/>
                <a:gd name="connsiteX13" fmla="*/ 1285875 w 1620202"/>
                <a:gd name="connsiteY13" fmla="*/ 743902 h 1025842"/>
                <a:gd name="connsiteX14" fmla="*/ 1285875 w 1620202"/>
                <a:gd name="connsiteY14" fmla="*/ 740092 h 1025842"/>
                <a:gd name="connsiteX15" fmla="*/ 1401127 w 1620202"/>
                <a:gd name="connsiteY15" fmla="*/ 740092 h 1025842"/>
                <a:gd name="connsiteX16" fmla="*/ 1411605 w 1620202"/>
                <a:gd name="connsiteY16" fmla="*/ 708660 h 1025842"/>
                <a:gd name="connsiteX17" fmla="*/ 1286827 w 1620202"/>
                <a:gd name="connsiteY17" fmla="*/ 708660 h 1025842"/>
                <a:gd name="connsiteX18" fmla="*/ 1363980 w 1620202"/>
                <a:gd name="connsiteY18" fmla="*/ 645795 h 1025842"/>
                <a:gd name="connsiteX19" fmla="*/ 1428750 w 1620202"/>
                <a:gd name="connsiteY19" fmla="*/ 663892 h 1025842"/>
                <a:gd name="connsiteX20" fmla="*/ 1446847 w 1620202"/>
                <a:gd name="connsiteY20" fmla="*/ 614362 h 1025842"/>
                <a:gd name="connsiteX21" fmla="*/ 107632 w 1620202"/>
                <a:gd name="connsiteY21" fmla="*/ 0 h 1025842"/>
                <a:gd name="connsiteX22" fmla="*/ 1511617 w 1620202"/>
                <a:gd name="connsiteY22" fmla="*/ 0 h 1025842"/>
                <a:gd name="connsiteX23" fmla="*/ 1620202 w 1620202"/>
                <a:gd name="connsiteY23" fmla="*/ 107632 h 1025842"/>
                <a:gd name="connsiteX24" fmla="*/ 1619250 w 1620202"/>
                <a:gd name="connsiteY24" fmla="*/ 918210 h 1025842"/>
                <a:gd name="connsiteX25" fmla="*/ 1511617 w 1620202"/>
                <a:gd name="connsiteY25" fmla="*/ 1025842 h 1025842"/>
                <a:gd name="connsiteX26" fmla="*/ 107632 w 1620202"/>
                <a:gd name="connsiteY26" fmla="*/ 1025842 h 1025842"/>
                <a:gd name="connsiteX27" fmla="*/ 0 w 1620202"/>
                <a:gd name="connsiteY27" fmla="*/ 918210 h 1025842"/>
                <a:gd name="connsiteX28" fmla="*/ 0 w 1620202"/>
                <a:gd name="connsiteY28" fmla="*/ 107632 h 1025842"/>
                <a:gd name="connsiteX29" fmla="*/ 107632 w 1620202"/>
                <a:gd name="connsiteY29" fmla="*/ 0 h 1025842"/>
                <a:gd name="connsiteX0" fmla="*/ 1446847 w 1620202"/>
                <a:gd name="connsiteY0" fmla="*/ 614362 h 1025842"/>
                <a:gd name="connsiteX1" fmla="*/ 1217295 w 1620202"/>
                <a:gd name="connsiteY1" fmla="*/ 741045 h 1025842"/>
                <a:gd name="connsiteX2" fmla="*/ 1222057 w 1620202"/>
                <a:gd name="connsiteY2" fmla="*/ 797242 h 1025842"/>
                <a:gd name="connsiteX3" fmla="*/ 1359217 w 1620202"/>
                <a:gd name="connsiteY3" fmla="*/ 903922 h 1025842"/>
                <a:gd name="connsiteX4" fmla="*/ 1446847 w 1620202"/>
                <a:gd name="connsiteY4" fmla="*/ 887730 h 1025842"/>
                <a:gd name="connsiteX5" fmla="*/ 1432560 w 1620202"/>
                <a:gd name="connsiteY5" fmla="*/ 836295 h 1025842"/>
                <a:gd name="connsiteX6" fmla="*/ 1369695 w 1620202"/>
                <a:gd name="connsiteY6" fmla="*/ 853440 h 1025842"/>
                <a:gd name="connsiteX7" fmla="*/ 1292542 w 1620202"/>
                <a:gd name="connsiteY7" fmla="*/ 797242 h 1025842"/>
                <a:gd name="connsiteX8" fmla="*/ 1382077 w 1620202"/>
                <a:gd name="connsiteY8" fmla="*/ 797242 h 1025842"/>
                <a:gd name="connsiteX9" fmla="*/ 1393507 w 1620202"/>
                <a:gd name="connsiteY9" fmla="*/ 765810 h 1025842"/>
                <a:gd name="connsiteX10" fmla="*/ 1286827 w 1620202"/>
                <a:gd name="connsiteY10" fmla="*/ 765810 h 1025842"/>
                <a:gd name="connsiteX11" fmla="*/ 1285875 w 1620202"/>
                <a:gd name="connsiteY11" fmla="*/ 749617 h 1025842"/>
                <a:gd name="connsiteX12" fmla="*/ 1285875 w 1620202"/>
                <a:gd name="connsiteY12" fmla="*/ 743902 h 1025842"/>
                <a:gd name="connsiteX13" fmla="*/ 1285875 w 1620202"/>
                <a:gd name="connsiteY13" fmla="*/ 740092 h 1025842"/>
                <a:gd name="connsiteX14" fmla="*/ 1401127 w 1620202"/>
                <a:gd name="connsiteY14" fmla="*/ 740092 h 1025842"/>
                <a:gd name="connsiteX15" fmla="*/ 1411605 w 1620202"/>
                <a:gd name="connsiteY15" fmla="*/ 708660 h 1025842"/>
                <a:gd name="connsiteX16" fmla="*/ 1286827 w 1620202"/>
                <a:gd name="connsiteY16" fmla="*/ 708660 h 1025842"/>
                <a:gd name="connsiteX17" fmla="*/ 1363980 w 1620202"/>
                <a:gd name="connsiteY17" fmla="*/ 645795 h 1025842"/>
                <a:gd name="connsiteX18" fmla="*/ 1428750 w 1620202"/>
                <a:gd name="connsiteY18" fmla="*/ 663892 h 1025842"/>
                <a:gd name="connsiteX19" fmla="*/ 1446847 w 1620202"/>
                <a:gd name="connsiteY19" fmla="*/ 614362 h 1025842"/>
                <a:gd name="connsiteX20" fmla="*/ 107632 w 1620202"/>
                <a:gd name="connsiteY20" fmla="*/ 0 h 1025842"/>
                <a:gd name="connsiteX21" fmla="*/ 1511617 w 1620202"/>
                <a:gd name="connsiteY21" fmla="*/ 0 h 1025842"/>
                <a:gd name="connsiteX22" fmla="*/ 1620202 w 1620202"/>
                <a:gd name="connsiteY22" fmla="*/ 107632 h 1025842"/>
                <a:gd name="connsiteX23" fmla="*/ 1619250 w 1620202"/>
                <a:gd name="connsiteY23" fmla="*/ 918210 h 1025842"/>
                <a:gd name="connsiteX24" fmla="*/ 1511617 w 1620202"/>
                <a:gd name="connsiteY24" fmla="*/ 1025842 h 1025842"/>
                <a:gd name="connsiteX25" fmla="*/ 107632 w 1620202"/>
                <a:gd name="connsiteY25" fmla="*/ 1025842 h 1025842"/>
                <a:gd name="connsiteX26" fmla="*/ 0 w 1620202"/>
                <a:gd name="connsiteY26" fmla="*/ 918210 h 1025842"/>
                <a:gd name="connsiteX27" fmla="*/ 0 w 1620202"/>
                <a:gd name="connsiteY27" fmla="*/ 107632 h 1025842"/>
                <a:gd name="connsiteX28" fmla="*/ 107632 w 1620202"/>
                <a:gd name="connsiteY28" fmla="*/ 0 h 1025842"/>
                <a:gd name="connsiteX0" fmla="*/ 1446847 w 1620202"/>
                <a:gd name="connsiteY0" fmla="*/ 614362 h 1025842"/>
                <a:gd name="connsiteX1" fmla="*/ 1217295 w 1620202"/>
                <a:gd name="connsiteY1" fmla="*/ 741045 h 1025842"/>
                <a:gd name="connsiteX2" fmla="*/ 1359217 w 1620202"/>
                <a:gd name="connsiteY2" fmla="*/ 903922 h 1025842"/>
                <a:gd name="connsiteX3" fmla="*/ 1446847 w 1620202"/>
                <a:gd name="connsiteY3" fmla="*/ 887730 h 1025842"/>
                <a:gd name="connsiteX4" fmla="*/ 1432560 w 1620202"/>
                <a:gd name="connsiteY4" fmla="*/ 836295 h 1025842"/>
                <a:gd name="connsiteX5" fmla="*/ 1369695 w 1620202"/>
                <a:gd name="connsiteY5" fmla="*/ 853440 h 1025842"/>
                <a:gd name="connsiteX6" fmla="*/ 1292542 w 1620202"/>
                <a:gd name="connsiteY6" fmla="*/ 797242 h 1025842"/>
                <a:gd name="connsiteX7" fmla="*/ 1382077 w 1620202"/>
                <a:gd name="connsiteY7" fmla="*/ 797242 h 1025842"/>
                <a:gd name="connsiteX8" fmla="*/ 1393507 w 1620202"/>
                <a:gd name="connsiteY8" fmla="*/ 765810 h 1025842"/>
                <a:gd name="connsiteX9" fmla="*/ 1286827 w 1620202"/>
                <a:gd name="connsiteY9" fmla="*/ 765810 h 1025842"/>
                <a:gd name="connsiteX10" fmla="*/ 1285875 w 1620202"/>
                <a:gd name="connsiteY10" fmla="*/ 749617 h 1025842"/>
                <a:gd name="connsiteX11" fmla="*/ 1285875 w 1620202"/>
                <a:gd name="connsiteY11" fmla="*/ 743902 h 1025842"/>
                <a:gd name="connsiteX12" fmla="*/ 1285875 w 1620202"/>
                <a:gd name="connsiteY12" fmla="*/ 740092 h 1025842"/>
                <a:gd name="connsiteX13" fmla="*/ 1401127 w 1620202"/>
                <a:gd name="connsiteY13" fmla="*/ 740092 h 1025842"/>
                <a:gd name="connsiteX14" fmla="*/ 1411605 w 1620202"/>
                <a:gd name="connsiteY14" fmla="*/ 708660 h 1025842"/>
                <a:gd name="connsiteX15" fmla="*/ 1286827 w 1620202"/>
                <a:gd name="connsiteY15" fmla="*/ 708660 h 1025842"/>
                <a:gd name="connsiteX16" fmla="*/ 1363980 w 1620202"/>
                <a:gd name="connsiteY16" fmla="*/ 645795 h 1025842"/>
                <a:gd name="connsiteX17" fmla="*/ 1428750 w 1620202"/>
                <a:gd name="connsiteY17" fmla="*/ 663892 h 1025842"/>
                <a:gd name="connsiteX18" fmla="*/ 1446847 w 1620202"/>
                <a:gd name="connsiteY18" fmla="*/ 614362 h 1025842"/>
                <a:gd name="connsiteX19" fmla="*/ 107632 w 1620202"/>
                <a:gd name="connsiteY19" fmla="*/ 0 h 1025842"/>
                <a:gd name="connsiteX20" fmla="*/ 1511617 w 1620202"/>
                <a:gd name="connsiteY20" fmla="*/ 0 h 1025842"/>
                <a:gd name="connsiteX21" fmla="*/ 1620202 w 1620202"/>
                <a:gd name="connsiteY21" fmla="*/ 107632 h 1025842"/>
                <a:gd name="connsiteX22" fmla="*/ 1619250 w 1620202"/>
                <a:gd name="connsiteY22" fmla="*/ 918210 h 1025842"/>
                <a:gd name="connsiteX23" fmla="*/ 1511617 w 1620202"/>
                <a:gd name="connsiteY23" fmla="*/ 1025842 h 1025842"/>
                <a:gd name="connsiteX24" fmla="*/ 107632 w 1620202"/>
                <a:gd name="connsiteY24" fmla="*/ 1025842 h 1025842"/>
                <a:gd name="connsiteX25" fmla="*/ 0 w 1620202"/>
                <a:gd name="connsiteY25" fmla="*/ 918210 h 1025842"/>
                <a:gd name="connsiteX26" fmla="*/ 0 w 1620202"/>
                <a:gd name="connsiteY26" fmla="*/ 107632 h 1025842"/>
                <a:gd name="connsiteX27" fmla="*/ 107632 w 1620202"/>
                <a:gd name="connsiteY27" fmla="*/ 0 h 1025842"/>
                <a:gd name="connsiteX0" fmla="*/ 1446847 w 1620202"/>
                <a:gd name="connsiteY0" fmla="*/ 614362 h 1025842"/>
                <a:gd name="connsiteX1" fmla="*/ 1359217 w 1620202"/>
                <a:gd name="connsiteY1" fmla="*/ 903922 h 1025842"/>
                <a:gd name="connsiteX2" fmla="*/ 1446847 w 1620202"/>
                <a:gd name="connsiteY2" fmla="*/ 887730 h 1025842"/>
                <a:gd name="connsiteX3" fmla="*/ 1432560 w 1620202"/>
                <a:gd name="connsiteY3" fmla="*/ 836295 h 1025842"/>
                <a:gd name="connsiteX4" fmla="*/ 1369695 w 1620202"/>
                <a:gd name="connsiteY4" fmla="*/ 853440 h 1025842"/>
                <a:gd name="connsiteX5" fmla="*/ 1292542 w 1620202"/>
                <a:gd name="connsiteY5" fmla="*/ 797242 h 1025842"/>
                <a:gd name="connsiteX6" fmla="*/ 1382077 w 1620202"/>
                <a:gd name="connsiteY6" fmla="*/ 797242 h 1025842"/>
                <a:gd name="connsiteX7" fmla="*/ 1393507 w 1620202"/>
                <a:gd name="connsiteY7" fmla="*/ 765810 h 1025842"/>
                <a:gd name="connsiteX8" fmla="*/ 1286827 w 1620202"/>
                <a:gd name="connsiteY8" fmla="*/ 765810 h 1025842"/>
                <a:gd name="connsiteX9" fmla="*/ 1285875 w 1620202"/>
                <a:gd name="connsiteY9" fmla="*/ 749617 h 1025842"/>
                <a:gd name="connsiteX10" fmla="*/ 1285875 w 1620202"/>
                <a:gd name="connsiteY10" fmla="*/ 743902 h 1025842"/>
                <a:gd name="connsiteX11" fmla="*/ 1285875 w 1620202"/>
                <a:gd name="connsiteY11" fmla="*/ 740092 h 1025842"/>
                <a:gd name="connsiteX12" fmla="*/ 1401127 w 1620202"/>
                <a:gd name="connsiteY12" fmla="*/ 740092 h 1025842"/>
                <a:gd name="connsiteX13" fmla="*/ 1411605 w 1620202"/>
                <a:gd name="connsiteY13" fmla="*/ 708660 h 1025842"/>
                <a:gd name="connsiteX14" fmla="*/ 1286827 w 1620202"/>
                <a:gd name="connsiteY14" fmla="*/ 708660 h 1025842"/>
                <a:gd name="connsiteX15" fmla="*/ 1363980 w 1620202"/>
                <a:gd name="connsiteY15" fmla="*/ 645795 h 1025842"/>
                <a:gd name="connsiteX16" fmla="*/ 1428750 w 1620202"/>
                <a:gd name="connsiteY16" fmla="*/ 663892 h 1025842"/>
                <a:gd name="connsiteX17" fmla="*/ 1446847 w 1620202"/>
                <a:gd name="connsiteY17" fmla="*/ 614362 h 1025842"/>
                <a:gd name="connsiteX18" fmla="*/ 107632 w 1620202"/>
                <a:gd name="connsiteY18" fmla="*/ 0 h 1025842"/>
                <a:gd name="connsiteX19" fmla="*/ 1511617 w 1620202"/>
                <a:gd name="connsiteY19" fmla="*/ 0 h 1025842"/>
                <a:gd name="connsiteX20" fmla="*/ 1620202 w 1620202"/>
                <a:gd name="connsiteY20" fmla="*/ 107632 h 1025842"/>
                <a:gd name="connsiteX21" fmla="*/ 1619250 w 1620202"/>
                <a:gd name="connsiteY21" fmla="*/ 918210 h 1025842"/>
                <a:gd name="connsiteX22" fmla="*/ 1511617 w 1620202"/>
                <a:gd name="connsiteY22" fmla="*/ 1025842 h 1025842"/>
                <a:gd name="connsiteX23" fmla="*/ 107632 w 1620202"/>
                <a:gd name="connsiteY23" fmla="*/ 1025842 h 1025842"/>
                <a:gd name="connsiteX24" fmla="*/ 0 w 1620202"/>
                <a:gd name="connsiteY24" fmla="*/ 918210 h 1025842"/>
                <a:gd name="connsiteX25" fmla="*/ 0 w 1620202"/>
                <a:gd name="connsiteY25" fmla="*/ 107632 h 1025842"/>
                <a:gd name="connsiteX26" fmla="*/ 107632 w 1620202"/>
                <a:gd name="connsiteY26" fmla="*/ 0 h 1025842"/>
                <a:gd name="connsiteX0" fmla="*/ 1446847 w 1620202"/>
                <a:gd name="connsiteY0" fmla="*/ 614362 h 1025842"/>
                <a:gd name="connsiteX1" fmla="*/ 1359217 w 1620202"/>
                <a:gd name="connsiteY1" fmla="*/ 903922 h 1025842"/>
                <a:gd name="connsiteX2" fmla="*/ 1446847 w 1620202"/>
                <a:gd name="connsiteY2" fmla="*/ 887730 h 1025842"/>
                <a:gd name="connsiteX3" fmla="*/ 1432560 w 1620202"/>
                <a:gd name="connsiteY3" fmla="*/ 836295 h 1025842"/>
                <a:gd name="connsiteX4" fmla="*/ 1369695 w 1620202"/>
                <a:gd name="connsiteY4" fmla="*/ 853440 h 1025842"/>
                <a:gd name="connsiteX5" fmla="*/ 1292542 w 1620202"/>
                <a:gd name="connsiteY5" fmla="*/ 797242 h 1025842"/>
                <a:gd name="connsiteX6" fmla="*/ 1382077 w 1620202"/>
                <a:gd name="connsiteY6" fmla="*/ 797242 h 1025842"/>
                <a:gd name="connsiteX7" fmla="*/ 1286827 w 1620202"/>
                <a:gd name="connsiteY7" fmla="*/ 765810 h 1025842"/>
                <a:gd name="connsiteX8" fmla="*/ 1285875 w 1620202"/>
                <a:gd name="connsiteY8" fmla="*/ 749617 h 1025842"/>
                <a:gd name="connsiteX9" fmla="*/ 1285875 w 1620202"/>
                <a:gd name="connsiteY9" fmla="*/ 743902 h 1025842"/>
                <a:gd name="connsiteX10" fmla="*/ 1285875 w 1620202"/>
                <a:gd name="connsiteY10" fmla="*/ 740092 h 1025842"/>
                <a:gd name="connsiteX11" fmla="*/ 1401127 w 1620202"/>
                <a:gd name="connsiteY11" fmla="*/ 740092 h 1025842"/>
                <a:gd name="connsiteX12" fmla="*/ 1411605 w 1620202"/>
                <a:gd name="connsiteY12" fmla="*/ 708660 h 1025842"/>
                <a:gd name="connsiteX13" fmla="*/ 1286827 w 1620202"/>
                <a:gd name="connsiteY13" fmla="*/ 708660 h 1025842"/>
                <a:gd name="connsiteX14" fmla="*/ 1363980 w 1620202"/>
                <a:gd name="connsiteY14" fmla="*/ 645795 h 1025842"/>
                <a:gd name="connsiteX15" fmla="*/ 1428750 w 1620202"/>
                <a:gd name="connsiteY15" fmla="*/ 663892 h 1025842"/>
                <a:gd name="connsiteX16" fmla="*/ 1446847 w 1620202"/>
                <a:gd name="connsiteY16" fmla="*/ 614362 h 1025842"/>
                <a:gd name="connsiteX17" fmla="*/ 107632 w 1620202"/>
                <a:gd name="connsiteY17" fmla="*/ 0 h 1025842"/>
                <a:gd name="connsiteX18" fmla="*/ 1511617 w 1620202"/>
                <a:gd name="connsiteY18" fmla="*/ 0 h 1025842"/>
                <a:gd name="connsiteX19" fmla="*/ 1620202 w 1620202"/>
                <a:gd name="connsiteY19" fmla="*/ 107632 h 1025842"/>
                <a:gd name="connsiteX20" fmla="*/ 1619250 w 1620202"/>
                <a:gd name="connsiteY20" fmla="*/ 918210 h 1025842"/>
                <a:gd name="connsiteX21" fmla="*/ 1511617 w 1620202"/>
                <a:gd name="connsiteY21" fmla="*/ 1025842 h 1025842"/>
                <a:gd name="connsiteX22" fmla="*/ 107632 w 1620202"/>
                <a:gd name="connsiteY22" fmla="*/ 1025842 h 1025842"/>
                <a:gd name="connsiteX23" fmla="*/ 0 w 1620202"/>
                <a:gd name="connsiteY23" fmla="*/ 918210 h 1025842"/>
                <a:gd name="connsiteX24" fmla="*/ 0 w 1620202"/>
                <a:gd name="connsiteY24" fmla="*/ 107632 h 1025842"/>
                <a:gd name="connsiteX25" fmla="*/ 107632 w 1620202"/>
                <a:gd name="connsiteY25" fmla="*/ 0 h 1025842"/>
                <a:gd name="connsiteX0" fmla="*/ 1446847 w 1620202"/>
                <a:gd name="connsiteY0" fmla="*/ 614362 h 1025842"/>
                <a:gd name="connsiteX1" fmla="*/ 1359217 w 1620202"/>
                <a:gd name="connsiteY1" fmla="*/ 903922 h 1025842"/>
                <a:gd name="connsiteX2" fmla="*/ 1446847 w 1620202"/>
                <a:gd name="connsiteY2" fmla="*/ 887730 h 1025842"/>
                <a:gd name="connsiteX3" fmla="*/ 1432560 w 1620202"/>
                <a:gd name="connsiteY3" fmla="*/ 836295 h 1025842"/>
                <a:gd name="connsiteX4" fmla="*/ 1369695 w 1620202"/>
                <a:gd name="connsiteY4" fmla="*/ 853440 h 1025842"/>
                <a:gd name="connsiteX5" fmla="*/ 1292542 w 1620202"/>
                <a:gd name="connsiteY5" fmla="*/ 797242 h 1025842"/>
                <a:gd name="connsiteX6" fmla="*/ 1382077 w 1620202"/>
                <a:gd name="connsiteY6" fmla="*/ 797242 h 1025842"/>
                <a:gd name="connsiteX7" fmla="*/ 1286827 w 1620202"/>
                <a:gd name="connsiteY7" fmla="*/ 765810 h 1025842"/>
                <a:gd name="connsiteX8" fmla="*/ 1285875 w 1620202"/>
                <a:gd name="connsiteY8" fmla="*/ 749617 h 1025842"/>
                <a:gd name="connsiteX9" fmla="*/ 1285875 w 1620202"/>
                <a:gd name="connsiteY9" fmla="*/ 743902 h 1025842"/>
                <a:gd name="connsiteX10" fmla="*/ 1285875 w 1620202"/>
                <a:gd name="connsiteY10" fmla="*/ 740092 h 1025842"/>
                <a:gd name="connsiteX11" fmla="*/ 1411605 w 1620202"/>
                <a:gd name="connsiteY11" fmla="*/ 708660 h 1025842"/>
                <a:gd name="connsiteX12" fmla="*/ 1286827 w 1620202"/>
                <a:gd name="connsiteY12" fmla="*/ 708660 h 1025842"/>
                <a:gd name="connsiteX13" fmla="*/ 1363980 w 1620202"/>
                <a:gd name="connsiteY13" fmla="*/ 645795 h 1025842"/>
                <a:gd name="connsiteX14" fmla="*/ 1428750 w 1620202"/>
                <a:gd name="connsiteY14" fmla="*/ 663892 h 1025842"/>
                <a:gd name="connsiteX15" fmla="*/ 1446847 w 1620202"/>
                <a:gd name="connsiteY15" fmla="*/ 614362 h 1025842"/>
                <a:gd name="connsiteX16" fmla="*/ 107632 w 1620202"/>
                <a:gd name="connsiteY16" fmla="*/ 0 h 1025842"/>
                <a:gd name="connsiteX17" fmla="*/ 1511617 w 1620202"/>
                <a:gd name="connsiteY17" fmla="*/ 0 h 1025842"/>
                <a:gd name="connsiteX18" fmla="*/ 1620202 w 1620202"/>
                <a:gd name="connsiteY18" fmla="*/ 107632 h 1025842"/>
                <a:gd name="connsiteX19" fmla="*/ 1619250 w 1620202"/>
                <a:gd name="connsiteY19" fmla="*/ 918210 h 1025842"/>
                <a:gd name="connsiteX20" fmla="*/ 1511617 w 1620202"/>
                <a:gd name="connsiteY20" fmla="*/ 1025842 h 1025842"/>
                <a:gd name="connsiteX21" fmla="*/ 107632 w 1620202"/>
                <a:gd name="connsiteY21" fmla="*/ 1025842 h 1025842"/>
                <a:gd name="connsiteX22" fmla="*/ 0 w 1620202"/>
                <a:gd name="connsiteY22" fmla="*/ 918210 h 1025842"/>
                <a:gd name="connsiteX23" fmla="*/ 0 w 1620202"/>
                <a:gd name="connsiteY23" fmla="*/ 107632 h 1025842"/>
                <a:gd name="connsiteX24" fmla="*/ 107632 w 1620202"/>
                <a:gd name="connsiteY24" fmla="*/ 0 h 1025842"/>
                <a:gd name="connsiteX0" fmla="*/ 1446847 w 1620202"/>
                <a:gd name="connsiteY0" fmla="*/ 614362 h 1025842"/>
                <a:gd name="connsiteX1" fmla="*/ 1359217 w 1620202"/>
                <a:gd name="connsiteY1" fmla="*/ 903922 h 1025842"/>
                <a:gd name="connsiteX2" fmla="*/ 1446847 w 1620202"/>
                <a:gd name="connsiteY2" fmla="*/ 887730 h 1025842"/>
                <a:gd name="connsiteX3" fmla="*/ 1432560 w 1620202"/>
                <a:gd name="connsiteY3" fmla="*/ 836295 h 1025842"/>
                <a:gd name="connsiteX4" fmla="*/ 1369695 w 1620202"/>
                <a:gd name="connsiteY4" fmla="*/ 853440 h 1025842"/>
                <a:gd name="connsiteX5" fmla="*/ 1292542 w 1620202"/>
                <a:gd name="connsiteY5" fmla="*/ 797242 h 1025842"/>
                <a:gd name="connsiteX6" fmla="*/ 1286827 w 1620202"/>
                <a:gd name="connsiteY6" fmla="*/ 765810 h 1025842"/>
                <a:gd name="connsiteX7" fmla="*/ 1285875 w 1620202"/>
                <a:gd name="connsiteY7" fmla="*/ 749617 h 1025842"/>
                <a:gd name="connsiteX8" fmla="*/ 1285875 w 1620202"/>
                <a:gd name="connsiteY8" fmla="*/ 743902 h 1025842"/>
                <a:gd name="connsiteX9" fmla="*/ 1285875 w 1620202"/>
                <a:gd name="connsiteY9" fmla="*/ 740092 h 1025842"/>
                <a:gd name="connsiteX10" fmla="*/ 1411605 w 1620202"/>
                <a:gd name="connsiteY10" fmla="*/ 708660 h 1025842"/>
                <a:gd name="connsiteX11" fmla="*/ 1286827 w 1620202"/>
                <a:gd name="connsiteY11" fmla="*/ 708660 h 1025842"/>
                <a:gd name="connsiteX12" fmla="*/ 1363980 w 1620202"/>
                <a:gd name="connsiteY12" fmla="*/ 645795 h 1025842"/>
                <a:gd name="connsiteX13" fmla="*/ 1428750 w 1620202"/>
                <a:gd name="connsiteY13" fmla="*/ 663892 h 1025842"/>
                <a:gd name="connsiteX14" fmla="*/ 1446847 w 1620202"/>
                <a:gd name="connsiteY14" fmla="*/ 614362 h 1025842"/>
                <a:gd name="connsiteX15" fmla="*/ 107632 w 1620202"/>
                <a:gd name="connsiteY15" fmla="*/ 0 h 1025842"/>
                <a:gd name="connsiteX16" fmla="*/ 1511617 w 1620202"/>
                <a:gd name="connsiteY16" fmla="*/ 0 h 1025842"/>
                <a:gd name="connsiteX17" fmla="*/ 1620202 w 1620202"/>
                <a:gd name="connsiteY17" fmla="*/ 107632 h 1025842"/>
                <a:gd name="connsiteX18" fmla="*/ 1619250 w 1620202"/>
                <a:gd name="connsiteY18" fmla="*/ 918210 h 1025842"/>
                <a:gd name="connsiteX19" fmla="*/ 1511617 w 1620202"/>
                <a:gd name="connsiteY19" fmla="*/ 1025842 h 1025842"/>
                <a:gd name="connsiteX20" fmla="*/ 107632 w 1620202"/>
                <a:gd name="connsiteY20" fmla="*/ 1025842 h 1025842"/>
                <a:gd name="connsiteX21" fmla="*/ 0 w 1620202"/>
                <a:gd name="connsiteY21" fmla="*/ 918210 h 1025842"/>
                <a:gd name="connsiteX22" fmla="*/ 0 w 1620202"/>
                <a:gd name="connsiteY22" fmla="*/ 107632 h 1025842"/>
                <a:gd name="connsiteX23" fmla="*/ 107632 w 1620202"/>
                <a:gd name="connsiteY23" fmla="*/ 0 h 1025842"/>
                <a:gd name="connsiteX0" fmla="*/ 1446847 w 1620202"/>
                <a:gd name="connsiteY0" fmla="*/ 614362 h 1025842"/>
                <a:gd name="connsiteX1" fmla="*/ 1359217 w 1620202"/>
                <a:gd name="connsiteY1" fmla="*/ 903922 h 1025842"/>
                <a:gd name="connsiteX2" fmla="*/ 1446847 w 1620202"/>
                <a:gd name="connsiteY2" fmla="*/ 887730 h 1025842"/>
                <a:gd name="connsiteX3" fmla="*/ 1432560 w 1620202"/>
                <a:gd name="connsiteY3" fmla="*/ 836295 h 1025842"/>
                <a:gd name="connsiteX4" fmla="*/ 1369695 w 1620202"/>
                <a:gd name="connsiteY4" fmla="*/ 853440 h 1025842"/>
                <a:gd name="connsiteX5" fmla="*/ 1286827 w 1620202"/>
                <a:gd name="connsiteY5" fmla="*/ 765810 h 1025842"/>
                <a:gd name="connsiteX6" fmla="*/ 1285875 w 1620202"/>
                <a:gd name="connsiteY6" fmla="*/ 749617 h 1025842"/>
                <a:gd name="connsiteX7" fmla="*/ 1285875 w 1620202"/>
                <a:gd name="connsiteY7" fmla="*/ 743902 h 1025842"/>
                <a:gd name="connsiteX8" fmla="*/ 1285875 w 1620202"/>
                <a:gd name="connsiteY8" fmla="*/ 740092 h 1025842"/>
                <a:gd name="connsiteX9" fmla="*/ 1411605 w 1620202"/>
                <a:gd name="connsiteY9" fmla="*/ 708660 h 1025842"/>
                <a:gd name="connsiteX10" fmla="*/ 1286827 w 1620202"/>
                <a:gd name="connsiteY10" fmla="*/ 708660 h 1025842"/>
                <a:gd name="connsiteX11" fmla="*/ 1363980 w 1620202"/>
                <a:gd name="connsiteY11" fmla="*/ 645795 h 1025842"/>
                <a:gd name="connsiteX12" fmla="*/ 1428750 w 1620202"/>
                <a:gd name="connsiteY12" fmla="*/ 663892 h 1025842"/>
                <a:gd name="connsiteX13" fmla="*/ 1446847 w 1620202"/>
                <a:gd name="connsiteY13" fmla="*/ 614362 h 1025842"/>
                <a:gd name="connsiteX14" fmla="*/ 107632 w 1620202"/>
                <a:gd name="connsiteY14" fmla="*/ 0 h 1025842"/>
                <a:gd name="connsiteX15" fmla="*/ 1511617 w 1620202"/>
                <a:gd name="connsiteY15" fmla="*/ 0 h 1025842"/>
                <a:gd name="connsiteX16" fmla="*/ 1620202 w 1620202"/>
                <a:gd name="connsiteY16" fmla="*/ 107632 h 1025842"/>
                <a:gd name="connsiteX17" fmla="*/ 1619250 w 1620202"/>
                <a:gd name="connsiteY17" fmla="*/ 918210 h 1025842"/>
                <a:gd name="connsiteX18" fmla="*/ 1511617 w 1620202"/>
                <a:gd name="connsiteY18" fmla="*/ 1025842 h 1025842"/>
                <a:gd name="connsiteX19" fmla="*/ 107632 w 1620202"/>
                <a:gd name="connsiteY19" fmla="*/ 1025842 h 1025842"/>
                <a:gd name="connsiteX20" fmla="*/ 0 w 1620202"/>
                <a:gd name="connsiteY20" fmla="*/ 918210 h 1025842"/>
                <a:gd name="connsiteX21" fmla="*/ 0 w 1620202"/>
                <a:gd name="connsiteY21" fmla="*/ 107632 h 1025842"/>
                <a:gd name="connsiteX22" fmla="*/ 107632 w 1620202"/>
                <a:gd name="connsiteY22" fmla="*/ 0 h 1025842"/>
                <a:gd name="connsiteX0" fmla="*/ 1446847 w 1620202"/>
                <a:gd name="connsiteY0" fmla="*/ 614362 h 1025842"/>
                <a:gd name="connsiteX1" fmla="*/ 1359217 w 1620202"/>
                <a:gd name="connsiteY1" fmla="*/ 903922 h 1025842"/>
                <a:gd name="connsiteX2" fmla="*/ 1446847 w 1620202"/>
                <a:gd name="connsiteY2" fmla="*/ 887730 h 1025842"/>
                <a:gd name="connsiteX3" fmla="*/ 1432560 w 1620202"/>
                <a:gd name="connsiteY3" fmla="*/ 836295 h 1025842"/>
                <a:gd name="connsiteX4" fmla="*/ 1369695 w 1620202"/>
                <a:gd name="connsiteY4" fmla="*/ 853440 h 1025842"/>
                <a:gd name="connsiteX5" fmla="*/ 1286827 w 1620202"/>
                <a:gd name="connsiteY5" fmla="*/ 765810 h 1025842"/>
                <a:gd name="connsiteX6" fmla="*/ 1285875 w 1620202"/>
                <a:gd name="connsiteY6" fmla="*/ 743902 h 1025842"/>
                <a:gd name="connsiteX7" fmla="*/ 1285875 w 1620202"/>
                <a:gd name="connsiteY7" fmla="*/ 740092 h 1025842"/>
                <a:gd name="connsiteX8" fmla="*/ 1411605 w 1620202"/>
                <a:gd name="connsiteY8" fmla="*/ 708660 h 1025842"/>
                <a:gd name="connsiteX9" fmla="*/ 1286827 w 1620202"/>
                <a:gd name="connsiteY9" fmla="*/ 708660 h 1025842"/>
                <a:gd name="connsiteX10" fmla="*/ 1363980 w 1620202"/>
                <a:gd name="connsiteY10" fmla="*/ 645795 h 1025842"/>
                <a:gd name="connsiteX11" fmla="*/ 1428750 w 1620202"/>
                <a:gd name="connsiteY11" fmla="*/ 663892 h 1025842"/>
                <a:gd name="connsiteX12" fmla="*/ 1446847 w 1620202"/>
                <a:gd name="connsiteY12" fmla="*/ 614362 h 1025842"/>
                <a:gd name="connsiteX13" fmla="*/ 107632 w 1620202"/>
                <a:gd name="connsiteY13" fmla="*/ 0 h 1025842"/>
                <a:gd name="connsiteX14" fmla="*/ 1511617 w 1620202"/>
                <a:gd name="connsiteY14" fmla="*/ 0 h 1025842"/>
                <a:gd name="connsiteX15" fmla="*/ 1620202 w 1620202"/>
                <a:gd name="connsiteY15" fmla="*/ 107632 h 1025842"/>
                <a:gd name="connsiteX16" fmla="*/ 1619250 w 1620202"/>
                <a:gd name="connsiteY16" fmla="*/ 918210 h 1025842"/>
                <a:gd name="connsiteX17" fmla="*/ 1511617 w 1620202"/>
                <a:gd name="connsiteY17" fmla="*/ 1025842 h 1025842"/>
                <a:gd name="connsiteX18" fmla="*/ 107632 w 1620202"/>
                <a:gd name="connsiteY18" fmla="*/ 1025842 h 1025842"/>
                <a:gd name="connsiteX19" fmla="*/ 0 w 1620202"/>
                <a:gd name="connsiteY19" fmla="*/ 918210 h 1025842"/>
                <a:gd name="connsiteX20" fmla="*/ 0 w 1620202"/>
                <a:gd name="connsiteY20" fmla="*/ 107632 h 1025842"/>
                <a:gd name="connsiteX21" fmla="*/ 107632 w 1620202"/>
                <a:gd name="connsiteY21" fmla="*/ 0 h 1025842"/>
                <a:gd name="connsiteX0" fmla="*/ 1446847 w 1620202"/>
                <a:gd name="connsiteY0" fmla="*/ 614362 h 1025842"/>
                <a:gd name="connsiteX1" fmla="*/ 1359217 w 1620202"/>
                <a:gd name="connsiteY1" fmla="*/ 903922 h 1025842"/>
                <a:gd name="connsiteX2" fmla="*/ 1446847 w 1620202"/>
                <a:gd name="connsiteY2" fmla="*/ 887730 h 1025842"/>
                <a:gd name="connsiteX3" fmla="*/ 1432560 w 1620202"/>
                <a:gd name="connsiteY3" fmla="*/ 836295 h 1025842"/>
                <a:gd name="connsiteX4" fmla="*/ 1369695 w 1620202"/>
                <a:gd name="connsiteY4" fmla="*/ 853440 h 1025842"/>
                <a:gd name="connsiteX5" fmla="*/ 1285875 w 1620202"/>
                <a:gd name="connsiteY5" fmla="*/ 743902 h 1025842"/>
                <a:gd name="connsiteX6" fmla="*/ 1285875 w 1620202"/>
                <a:gd name="connsiteY6" fmla="*/ 740092 h 1025842"/>
                <a:gd name="connsiteX7" fmla="*/ 1411605 w 1620202"/>
                <a:gd name="connsiteY7" fmla="*/ 708660 h 1025842"/>
                <a:gd name="connsiteX8" fmla="*/ 1286827 w 1620202"/>
                <a:gd name="connsiteY8" fmla="*/ 708660 h 1025842"/>
                <a:gd name="connsiteX9" fmla="*/ 1363980 w 1620202"/>
                <a:gd name="connsiteY9" fmla="*/ 645795 h 1025842"/>
                <a:gd name="connsiteX10" fmla="*/ 1428750 w 1620202"/>
                <a:gd name="connsiteY10" fmla="*/ 663892 h 1025842"/>
                <a:gd name="connsiteX11" fmla="*/ 1446847 w 1620202"/>
                <a:gd name="connsiteY11" fmla="*/ 614362 h 1025842"/>
                <a:gd name="connsiteX12" fmla="*/ 107632 w 1620202"/>
                <a:gd name="connsiteY12" fmla="*/ 0 h 1025842"/>
                <a:gd name="connsiteX13" fmla="*/ 1511617 w 1620202"/>
                <a:gd name="connsiteY13" fmla="*/ 0 h 1025842"/>
                <a:gd name="connsiteX14" fmla="*/ 1620202 w 1620202"/>
                <a:gd name="connsiteY14" fmla="*/ 107632 h 1025842"/>
                <a:gd name="connsiteX15" fmla="*/ 1619250 w 1620202"/>
                <a:gd name="connsiteY15" fmla="*/ 918210 h 1025842"/>
                <a:gd name="connsiteX16" fmla="*/ 1511617 w 1620202"/>
                <a:gd name="connsiteY16" fmla="*/ 1025842 h 1025842"/>
                <a:gd name="connsiteX17" fmla="*/ 107632 w 1620202"/>
                <a:gd name="connsiteY17" fmla="*/ 1025842 h 1025842"/>
                <a:gd name="connsiteX18" fmla="*/ 0 w 1620202"/>
                <a:gd name="connsiteY18" fmla="*/ 918210 h 1025842"/>
                <a:gd name="connsiteX19" fmla="*/ 0 w 1620202"/>
                <a:gd name="connsiteY19" fmla="*/ 107632 h 1025842"/>
                <a:gd name="connsiteX20" fmla="*/ 107632 w 1620202"/>
                <a:gd name="connsiteY20" fmla="*/ 0 h 1025842"/>
                <a:gd name="connsiteX0" fmla="*/ 1446847 w 1620202"/>
                <a:gd name="connsiteY0" fmla="*/ 614362 h 1025842"/>
                <a:gd name="connsiteX1" fmla="*/ 1359217 w 1620202"/>
                <a:gd name="connsiteY1" fmla="*/ 903922 h 1025842"/>
                <a:gd name="connsiteX2" fmla="*/ 1446847 w 1620202"/>
                <a:gd name="connsiteY2" fmla="*/ 887730 h 1025842"/>
                <a:gd name="connsiteX3" fmla="*/ 1432560 w 1620202"/>
                <a:gd name="connsiteY3" fmla="*/ 836295 h 1025842"/>
                <a:gd name="connsiteX4" fmla="*/ 1369695 w 1620202"/>
                <a:gd name="connsiteY4" fmla="*/ 853440 h 1025842"/>
                <a:gd name="connsiteX5" fmla="*/ 1285875 w 1620202"/>
                <a:gd name="connsiteY5" fmla="*/ 743902 h 1025842"/>
                <a:gd name="connsiteX6" fmla="*/ 1411605 w 1620202"/>
                <a:gd name="connsiteY6" fmla="*/ 708660 h 1025842"/>
                <a:gd name="connsiteX7" fmla="*/ 1286827 w 1620202"/>
                <a:gd name="connsiteY7" fmla="*/ 708660 h 1025842"/>
                <a:gd name="connsiteX8" fmla="*/ 1363980 w 1620202"/>
                <a:gd name="connsiteY8" fmla="*/ 645795 h 1025842"/>
                <a:gd name="connsiteX9" fmla="*/ 1428750 w 1620202"/>
                <a:gd name="connsiteY9" fmla="*/ 663892 h 1025842"/>
                <a:gd name="connsiteX10" fmla="*/ 1446847 w 1620202"/>
                <a:gd name="connsiteY10" fmla="*/ 614362 h 1025842"/>
                <a:gd name="connsiteX11" fmla="*/ 107632 w 1620202"/>
                <a:gd name="connsiteY11" fmla="*/ 0 h 1025842"/>
                <a:gd name="connsiteX12" fmla="*/ 1511617 w 1620202"/>
                <a:gd name="connsiteY12" fmla="*/ 0 h 1025842"/>
                <a:gd name="connsiteX13" fmla="*/ 1620202 w 1620202"/>
                <a:gd name="connsiteY13" fmla="*/ 107632 h 1025842"/>
                <a:gd name="connsiteX14" fmla="*/ 1619250 w 1620202"/>
                <a:gd name="connsiteY14" fmla="*/ 918210 h 1025842"/>
                <a:gd name="connsiteX15" fmla="*/ 1511617 w 1620202"/>
                <a:gd name="connsiteY15" fmla="*/ 1025842 h 1025842"/>
                <a:gd name="connsiteX16" fmla="*/ 107632 w 1620202"/>
                <a:gd name="connsiteY16" fmla="*/ 1025842 h 1025842"/>
                <a:gd name="connsiteX17" fmla="*/ 0 w 1620202"/>
                <a:gd name="connsiteY17" fmla="*/ 918210 h 1025842"/>
                <a:gd name="connsiteX18" fmla="*/ 0 w 1620202"/>
                <a:gd name="connsiteY18" fmla="*/ 107632 h 1025842"/>
                <a:gd name="connsiteX19" fmla="*/ 107632 w 1620202"/>
                <a:gd name="connsiteY19" fmla="*/ 0 h 1025842"/>
                <a:gd name="connsiteX0" fmla="*/ 1446847 w 1620202"/>
                <a:gd name="connsiteY0" fmla="*/ 614362 h 1025842"/>
                <a:gd name="connsiteX1" fmla="*/ 1359217 w 1620202"/>
                <a:gd name="connsiteY1" fmla="*/ 903922 h 1025842"/>
                <a:gd name="connsiteX2" fmla="*/ 1446847 w 1620202"/>
                <a:gd name="connsiteY2" fmla="*/ 887730 h 1025842"/>
                <a:gd name="connsiteX3" fmla="*/ 1432560 w 1620202"/>
                <a:gd name="connsiteY3" fmla="*/ 836295 h 1025842"/>
                <a:gd name="connsiteX4" fmla="*/ 1369695 w 1620202"/>
                <a:gd name="connsiteY4" fmla="*/ 853440 h 1025842"/>
                <a:gd name="connsiteX5" fmla="*/ 1285875 w 1620202"/>
                <a:gd name="connsiteY5" fmla="*/ 743902 h 1025842"/>
                <a:gd name="connsiteX6" fmla="*/ 1411605 w 1620202"/>
                <a:gd name="connsiteY6" fmla="*/ 708660 h 1025842"/>
                <a:gd name="connsiteX7" fmla="*/ 1363980 w 1620202"/>
                <a:gd name="connsiteY7" fmla="*/ 645795 h 1025842"/>
                <a:gd name="connsiteX8" fmla="*/ 1428750 w 1620202"/>
                <a:gd name="connsiteY8" fmla="*/ 663892 h 1025842"/>
                <a:gd name="connsiteX9" fmla="*/ 1446847 w 1620202"/>
                <a:gd name="connsiteY9" fmla="*/ 614362 h 1025842"/>
                <a:gd name="connsiteX10" fmla="*/ 107632 w 1620202"/>
                <a:gd name="connsiteY10" fmla="*/ 0 h 1025842"/>
                <a:gd name="connsiteX11" fmla="*/ 1511617 w 1620202"/>
                <a:gd name="connsiteY11" fmla="*/ 0 h 1025842"/>
                <a:gd name="connsiteX12" fmla="*/ 1620202 w 1620202"/>
                <a:gd name="connsiteY12" fmla="*/ 107632 h 1025842"/>
                <a:gd name="connsiteX13" fmla="*/ 1619250 w 1620202"/>
                <a:gd name="connsiteY13" fmla="*/ 918210 h 1025842"/>
                <a:gd name="connsiteX14" fmla="*/ 1511617 w 1620202"/>
                <a:gd name="connsiteY14" fmla="*/ 1025842 h 1025842"/>
                <a:gd name="connsiteX15" fmla="*/ 107632 w 1620202"/>
                <a:gd name="connsiteY15" fmla="*/ 1025842 h 1025842"/>
                <a:gd name="connsiteX16" fmla="*/ 0 w 1620202"/>
                <a:gd name="connsiteY16" fmla="*/ 918210 h 1025842"/>
                <a:gd name="connsiteX17" fmla="*/ 0 w 1620202"/>
                <a:gd name="connsiteY17" fmla="*/ 107632 h 1025842"/>
                <a:gd name="connsiteX18" fmla="*/ 107632 w 1620202"/>
                <a:gd name="connsiteY18" fmla="*/ 0 h 1025842"/>
                <a:gd name="connsiteX0" fmla="*/ 1446847 w 1620202"/>
                <a:gd name="connsiteY0" fmla="*/ 614362 h 1025842"/>
                <a:gd name="connsiteX1" fmla="*/ 1359217 w 1620202"/>
                <a:gd name="connsiteY1" fmla="*/ 903922 h 1025842"/>
                <a:gd name="connsiteX2" fmla="*/ 1446847 w 1620202"/>
                <a:gd name="connsiteY2" fmla="*/ 887730 h 1025842"/>
                <a:gd name="connsiteX3" fmla="*/ 1432560 w 1620202"/>
                <a:gd name="connsiteY3" fmla="*/ 836295 h 1025842"/>
                <a:gd name="connsiteX4" fmla="*/ 1369695 w 1620202"/>
                <a:gd name="connsiteY4" fmla="*/ 853440 h 1025842"/>
                <a:gd name="connsiteX5" fmla="*/ 1285875 w 1620202"/>
                <a:gd name="connsiteY5" fmla="*/ 743902 h 1025842"/>
                <a:gd name="connsiteX6" fmla="*/ 1363980 w 1620202"/>
                <a:gd name="connsiteY6" fmla="*/ 645795 h 1025842"/>
                <a:gd name="connsiteX7" fmla="*/ 1428750 w 1620202"/>
                <a:gd name="connsiteY7" fmla="*/ 663892 h 1025842"/>
                <a:gd name="connsiteX8" fmla="*/ 1446847 w 1620202"/>
                <a:gd name="connsiteY8" fmla="*/ 614362 h 1025842"/>
                <a:gd name="connsiteX9" fmla="*/ 107632 w 1620202"/>
                <a:gd name="connsiteY9" fmla="*/ 0 h 1025842"/>
                <a:gd name="connsiteX10" fmla="*/ 1511617 w 1620202"/>
                <a:gd name="connsiteY10" fmla="*/ 0 h 1025842"/>
                <a:gd name="connsiteX11" fmla="*/ 1620202 w 1620202"/>
                <a:gd name="connsiteY11" fmla="*/ 107632 h 1025842"/>
                <a:gd name="connsiteX12" fmla="*/ 1619250 w 1620202"/>
                <a:gd name="connsiteY12" fmla="*/ 918210 h 1025842"/>
                <a:gd name="connsiteX13" fmla="*/ 1511617 w 1620202"/>
                <a:gd name="connsiteY13" fmla="*/ 1025842 h 1025842"/>
                <a:gd name="connsiteX14" fmla="*/ 107632 w 1620202"/>
                <a:gd name="connsiteY14" fmla="*/ 1025842 h 1025842"/>
                <a:gd name="connsiteX15" fmla="*/ 0 w 1620202"/>
                <a:gd name="connsiteY15" fmla="*/ 918210 h 1025842"/>
                <a:gd name="connsiteX16" fmla="*/ 0 w 1620202"/>
                <a:gd name="connsiteY16" fmla="*/ 107632 h 1025842"/>
                <a:gd name="connsiteX17" fmla="*/ 107632 w 1620202"/>
                <a:gd name="connsiteY17" fmla="*/ 0 h 1025842"/>
                <a:gd name="connsiteX0" fmla="*/ 1446847 w 1620202"/>
                <a:gd name="connsiteY0" fmla="*/ 614362 h 1025842"/>
                <a:gd name="connsiteX1" fmla="*/ 1359217 w 1620202"/>
                <a:gd name="connsiteY1" fmla="*/ 903922 h 1025842"/>
                <a:gd name="connsiteX2" fmla="*/ 1446847 w 1620202"/>
                <a:gd name="connsiteY2" fmla="*/ 887730 h 1025842"/>
                <a:gd name="connsiteX3" fmla="*/ 1432560 w 1620202"/>
                <a:gd name="connsiteY3" fmla="*/ 836295 h 1025842"/>
                <a:gd name="connsiteX4" fmla="*/ 1369695 w 1620202"/>
                <a:gd name="connsiteY4" fmla="*/ 853440 h 1025842"/>
                <a:gd name="connsiteX5" fmla="*/ 1285875 w 1620202"/>
                <a:gd name="connsiteY5" fmla="*/ 743902 h 1025842"/>
                <a:gd name="connsiteX6" fmla="*/ 1363980 w 1620202"/>
                <a:gd name="connsiteY6" fmla="*/ 645795 h 1025842"/>
                <a:gd name="connsiteX7" fmla="*/ 1446847 w 1620202"/>
                <a:gd name="connsiteY7" fmla="*/ 614362 h 1025842"/>
                <a:gd name="connsiteX8" fmla="*/ 107632 w 1620202"/>
                <a:gd name="connsiteY8" fmla="*/ 0 h 1025842"/>
                <a:gd name="connsiteX9" fmla="*/ 1511617 w 1620202"/>
                <a:gd name="connsiteY9" fmla="*/ 0 h 1025842"/>
                <a:gd name="connsiteX10" fmla="*/ 1620202 w 1620202"/>
                <a:gd name="connsiteY10" fmla="*/ 107632 h 1025842"/>
                <a:gd name="connsiteX11" fmla="*/ 1619250 w 1620202"/>
                <a:gd name="connsiteY11" fmla="*/ 918210 h 1025842"/>
                <a:gd name="connsiteX12" fmla="*/ 1511617 w 1620202"/>
                <a:gd name="connsiteY12" fmla="*/ 1025842 h 1025842"/>
                <a:gd name="connsiteX13" fmla="*/ 107632 w 1620202"/>
                <a:gd name="connsiteY13" fmla="*/ 1025842 h 1025842"/>
                <a:gd name="connsiteX14" fmla="*/ 0 w 1620202"/>
                <a:gd name="connsiteY14" fmla="*/ 918210 h 1025842"/>
                <a:gd name="connsiteX15" fmla="*/ 0 w 1620202"/>
                <a:gd name="connsiteY15" fmla="*/ 107632 h 1025842"/>
                <a:gd name="connsiteX16" fmla="*/ 107632 w 1620202"/>
                <a:gd name="connsiteY16" fmla="*/ 0 h 1025842"/>
                <a:gd name="connsiteX0" fmla="*/ 1363980 w 1620202"/>
                <a:gd name="connsiteY0" fmla="*/ 645795 h 1025842"/>
                <a:gd name="connsiteX1" fmla="*/ 1359217 w 1620202"/>
                <a:gd name="connsiteY1" fmla="*/ 903922 h 1025842"/>
                <a:gd name="connsiteX2" fmla="*/ 1446847 w 1620202"/>
                <a:gd name="connsiteY2" fmla="*/ 887730 h 1025842"/>
                <a:gd name="connsiteX3" fmla="*/ 1432560 w 1620202"/>
                <a:gd name="connsiteY3" fmla="*/ 836295 h 1025842"/>
                <a:gd name="connsiteX4" fmla="*/ 1369695 w 1620202"/>
                <a:gd name="connsiteY4" fmla="*/ 853440 h 1025842"/>
                <a:gd name="connsiteX5" fmla="*/ 1285875 w 1620202"/>
                <a:gd name="connsiteY5" fmla="*/ 743902 h 1025842"/>
                <a:gd name="connsiteX6" fmla="*/ 1363980 w 1620202"/>
                <a:gd name="connsiteY6" fmla="*/ 645795 h 1025842"/>
                <a:gd name="connsiteX7" fmla="*/ 107632 w 1620202"/>
                <a:gd name="connsiteY7" fmla="*/ 0 h 1025842"/>
                <a:gd name="connsiteX8" fmla="*/ 1511617 w 1620202"/>
                <a:gd name="connsiteY8" fmla="*/ 0 h 1025842"/>
                <a:gd name="connsiteX9" fmla="*/ 1620202 w 1620202"/>
                <a:gd name="connsiteY9" fmla="*/ 107632 h 1025842"/>
                <a:gd name="connsiteX10" fmla="*/ 1619250 w 1620202"/>
                <a:gd name="connsiteY10" fmla="*/ 918210 h 1025842"/>
                <a:gd name="connsiteX11" fmla="*/ 1511617 w 1620202"/>
                <a:gd name="connsiteY11" fmla="*/ 1025842 h 1025842"/>
                <a:gd name="connsiteX12" fmla="*/ 107632 w 1620202"/>
                <a:gd name="connsiteY12" fmla="*/ 1025842 h 1025842"/>
                <a:gd name="connsiteX13" fmla="*/ 0 w 1620202"/>
                <a:gd name="connsiteY13" fmla="*/ 918210 h 1025842"/>
                <a:gd name="connsiteX14" fmla="*/ 0 w 1620202"/>
                <a:gd name="connsiteY14" fmla="*/ 107632 h 1025842"/>
                <a:gd name="connsiteX15" fmla="*/ 107632 w 1620202"/>
                <a:gd name="connsiteY15" fmla="*/ 0 h 1025842"/>
                <a:gd name="connsiteX0" fmla="*/ 1285875 w 1620202"/>
                <a:gd name="connsiteY0" fmla="*/ 743902 h 1025842"/>
                <a:gd name="connsiteX1" fmla="*/ 1359217 w 1620202"/>
                <a:gd name="connsiteY1" fmla="*/ 903922 h 1025842"/>
                <a:gd name="connsiteX2" fmla="*/ 1446847 w 1620202"/>
                <a:gd name="connsiteY2" fmla="*/ 887730 h 1025842"/>
                <a:gd name="connsiteX3" fmla="*/ 1432560 w 1620202"/>
                <a:gd name="connsiteY3" fmla="*/ 836295 h 1025842"/>
                <a:gd name="connsiteX4" fmla="*/ 1369695 w 1620202"/>
                <a:gd name="connsiteY4" fmla="*/ 853440 h 1025842"/>
                <a:gd name="connsiteX5" fmla="*/ 1285875 w 1620202"/>
                <a:gd name="connsiteY5" fmla="*/ 743902 h 1025842"/>
                <a:gd name="connsiteX6" fmla="*/ 107632 w 1620202"/>
                <a:gd name="connsiteY6" fmla="*/ 0 h 1025842"/>
                <a:gd name="connsiteX7" fmla="*/ 1511617 w 1620202"/>
                <a:gd name="connsiteY7" fmla="*/ 0 h 1025842"/>
                <a:gd name="connsiteX8" fmla="*/ 1620202 w 1620202"/>
                <a:gd name="connsiteY8" fmla="*/ 107632 h 1025842"/>
                <a:gd name="connsiteX9" fmla="*/ 1619250 w 1620202"/>
                <a:gd name="connsiteY9" fmla="*/ 918210 h 1025842"/>
                <a:gd name="connsiteX10" fmla="*/ 1511617 w 1620202"/>
                <a:gd name="connsiteY10" fmla="*/ 1025842 h 1025842"/>
                <a:gd name="connsiteX11" fmla="*/ 107632 w 1620202"/>
                <a:gd name="connsiteY11" fmla="*/ 1025842 h 1025842"/>
                <a:gd name="connsiteX12" fmla="*/ 0 w 1620202"/>
                <a:gd name="connsiteY12" fmla="*/ 918210 h 1025842"/>
                <a:gd name="connsiteX13" fmla="*/ 0 w 1620202"/>
                <a:gd name="connsiteY13" fmla="*/ 107632 h 1025842"/>
                <a:gd name="connsiteX14" fmla="*/ 107632 w 1620202"/>
                <a:gd name="connsiteY14" fmla="*/ 0 h 1025842"/>
                <a:gd name="connsiteX0" fmla="*/ 1369695 w 1620202"/>
                <a:gd name="connsiteY0" fmla="*/ 853440 h 1025842"/>
                <a:gd name="connsiteX1" fmla="*/ 1359217 w 1620202"/>
                <a:gd name="connsiteY1" fmla="*/ 903922 h 1025842"/>
                <a:gd name="connsiteX2" fmla="*/ 1446847 w 1620202"/>
                <a:gd name="connsiteY2" fmla="*/ 887730 h 1025842"/>
                <a:gd name="connsiteX3" fmla="*/ 1432560 w 1620202"/>
                <a:gd name="connsiteY3" fmla="*/ 836295 h 1025842"/>
                <a:gd name="connsiteX4" fmla="*/ 1369695 w 1620202"/>
                <a:gd name="connsiteY4" fmla="*/ 853440 h 1025842"/>
                <a:gd name="connsiteX5" fmla="*/ 107632 w 1620202"/>
                <a:gd name="connsiteY5" fmla="*/ 0 h 1025842"/>
                <a:gd name="connsiteX6" fmla="*/ 1511617 w 1620202"/>
                <a:gd name="connsiteY6" fmla="*/ 0 h 1025842"/>
                <a:gd name="connsiteX7" fmla="*/ 1620202 w 1620202"/>
                <a:gd name="connsiteY7" fmla="*/ 107632 h 1025842"/>
                <a:gd name="connsiteX8" fmla="*/ 1619250 w 1620202"/>
                <a:gd name="connsiteY8" fmla="*/ 918210 h 1025842"/>
                <a:gd name="connsiteX9" fmla="*/ 1511617 w 1620202"/>
                <a:gd name="connsiteY9" fmla="*/ 1025842 h 1025842"/>
                <a:gd name="connsiteX10" fmla="*/ 107632 w 1620202"/>
                <a:gd name="connsiteY10" fmla="*/ 1025842 h 1025842"/>
                <a:gd name="connsiteX11" fmla="*/ 0 w 1620202"/>
                <a:gd name="connsiteY11" fmla="*/ 918210 h 1025842"/>
                <a:gd name="connsiteX12" fmla="*/ 0 w 1620202"/>
                <a:gd name="connsiteY12" fmla="*/ 107632 h 1025842"/>
                <a:gd name="connsiteX13" fmla="*/ 107632 w 1620202"/>
                <a:gd name="connsiteY13" fmla="*/ 0 h 1025842"/>
                <a:gd name="connsiteX0" fmla="*/ 1369695 w 1620202"/>
                <a:gd name="connsiteY0" fmla="*/ 853440 h 1025842"/>
                <a:gd name="connsiteX1" fmla="*/ 1359217 w 1620202"/>
                <a:gd name="connsiteY1" fmla="*/ 903922 h 1025842"/>
                <a:gd name="connsiteX2" fmla="*/ 1446847 w 1620202"/>
                <a:gd name="connsiteY2" fmla="*/ 887730 h 1025842"/>
                <a:gd name="connsiteX3" fmla="*/ 1369695 w 1620202"/>
                <a:gd name="connsiteY3" fmla="*/ 853440 h 1025842"/>
                <a:gd name="connsiteX4" fmla="*/ 107632 w 1620202"/>
                <a:gd name="connsiteY4" fmla="*/ 0 h 1025842"/>
                <a:gd name="connsiteX5" fmla="*/ 1511617 w 1620202"/>
                <a:gd name="connsiteY5" fmla="*/ 0 h 1025842"/>
                <a:gd name="connsiteX6" fmla="*/ 1620202 w 1620202"/>
                <a:gd name="connsiteY6" fmla="*/ 107632 h 1025842"/>
                <a:gd name="connsiteX7" fmla="*/ 1619250 w 1620202"/>
                <a:gd name="connsiteY7" fmla="*/ 918210 h 1025842"/>
                <a:gd name="connsiteX8" fmla="*/ 1511617 w 1620202"/>
                <a:gd name="connsiteY8" fmla="*/ 1025842 h 1025842"/>
                <a:gd name="connsiteX9" fmla="*/ 107632 w 1620202"/>
                <a:gd name="connsiteY9" fmla="*/ 1025842 h 1025842"/>
                <a:gd name="connsiteX10" fmla="*/ 0 w 1620202"/>
                <a:gd name="connsiteY10" fmla="*/ 918210 h 1025842"/>
                <a:gd name="connsiteX11" fmla="*/ 0 w 1620202"/>
                <a:gd name="connsiteY11" fmla="*/ 107632 h 1025842"/>
                <a:gd name="connsiteX12" fmla="*/ 107632 w 1620202"/>
                <a:gd name="connsiteY12" fmla="*/ 0 h 1025842"/>
                <a:gd name="connsiteX0" fmla="*/ 1369695 w 1620202"/>
                <a:gd name="connsiteY0" fmla="*/ 853440 h 1025842"/>
                <a:gd name="connsiteX1" fmla="*/ 1359217 w 1620202"/>
                <a:gd name="connsiteY1" fmla="*/ 903922 h 1025842"/>
                <a:gd name="connsiteX2" fmla="*/ 1369695 w 1620202"/>
                <a:gd name="connsiteY2" fmla="*/ 853440 h 1025842"/>
                <a:gd name="connsiteX3" fmla="*/ 107632 w 1620202"/>
                <a:gd name="connsiteY3" fmla="*/ 0 h 1025842"/>
                <a:gd name="connsiteX4" fmla="*/ 1511617 w 1620202"/>
                <a:gd name="connsiteY4" fmla="*/ 0 h 1025842"/>
                <a:gd name="connsiteX5" fmla="*/ 1620202 w 1620202"/>
                <a:gd name="connsiteY5" fmla="*/ 107632 h 1025842"/>
                <a:gd name="connsiteX6" fmla="*/ 1619250 w 1620202"/>
                <a:gd name="connsiteY6" fmla="*/ 918210 h 1025842"/>
                <a:gd name="connsiteX7" fmla="*/ 1511617 w 1620202"/>
                <a:gd name="connsiteY7" fmla="*/ 1025842 h 1025842"/>
                <a:gd name="connsiteX8" fmla="*/ 107632 w 1620202"/>
                <a:gd name="connsiteY8" fmla="*/ 1025842 h 1025842"/>
                <a:gd name="connsiteX9" fmla="*/ 0 w 1620202"/>
                <a:gd name="connsiteY9" fmla="*/ 918210 h 1025842"/>
                <a:gd name="connsiteX10" fmla="*/ 0 w 1620202"/>
                <a:gd name="connsiteY10" fmla="*/ 107632 h 1025842"/>
                <a:gd name="connsiteX11" fmla="*/ 107632 w 1620202"/>
                <a:gd name="connsiteY11" fmla="*/ 0 h 1025842"/>
                <a:gd name="connsiteX0" fmla="*/ 107632 w 1620202"/>
                <a:gd name="connsiteY0" fmla="*/ 0 h 1025842"/>
                <a:gd name="connsiteX1" fmla="*/ 1511617 w 1620202"/>
                <a:gd name="connsiteY1" fmla="*/ 0 h 1025842"/>
                <a:gd name="connsiteX2" fmla="*/ 1620202 w 1620202"/>
                <a:gd name="connsiteY2" fmla="*/ 107632 h 1025842"/>
                <a:gd name="connsiteX3" fmla="*/ 1619250 w 1620202"/>
                <a:gd name="connsiteY3" fmla="*/ 918210 h 1025842"/>
                <a:gd name="connsiteX4" fmla="*/ 1511617 w 1620202"/>
                <a:gd name="connsiteY4" fmla="*/ 1025842 h 1025842"/>
                <a:gd name="connsiteX5" fmla="*/ 107632 w 1620202"/>
                <a:gd name="connsiteY5" fmla="*/ 1025842 h 1025842"/>
                <a:gd name="connsiteX6" fmla="*/ 0 w 1620202"/>
                <a:gd name="connsiteY6" fmla="*/ 918210 h 1025842"/>
                <a:gd name="connsiteX7" fmla="*/ 0 w 1620202"/>
                <a:gd name="connsiteY7" fmla="*/ 107632 h 1025842"/>
                <a:gd name="connsiteX8" fmla="*/ 107632 w 1620202"/>
                <a:gd name="connsiteY8" fmla="*/ 0 h 1025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0202" h="1025842">
                  <a:moveTo>
                    <a:pt x="107632" y="0"/>
                  </a:moveTo>
                  <a:lnTo>
                    <a:pt x="1511617" y="0"/>
                  </a:lnTo>
                  <a:cubicBezTo>
                    <a:pt x="1571625" y="0"/>
                    <a:pt x="1620202" y="48577"/>
                    <a:pt x="1620202" y="107632"/>
                  </a:cubicBezTo>
                  <a:cubicBezTo>
                    <a:pt x="1619885" y="377825"/>
                    <a:pt x="1619567" y="648017"/>
                    <a:pt x="1619250" y="918210"/>
                  </a:cubicBezTo>
                  <a:cubicBezTo>
                    <a:pt x="1619250" y="977265"/>
                    <a:pt x="1571625" y="1025842"/>
                    <a:pt x="1511617" y="1025842"/>
                  </a:cubicBezTo>
                  <a:lnTo>
                    <a:pt x="107632" y="1025842"/>
                  </a:lnTo>
                  <a:cubicBezTo>
                    <a:pt x="48577" y="1025842"/>
                    <a:pt x="0" y="978217"/>
                    <a:pt x="0" y="918210"/>
                  </a:cubicBezTo>
                  <a:lnTo>
                    <a:pt x="0" y="107632"/>
                  </a:lnTo>
                  <a:cubicBezTo>
                    <a:pt x="0" y="48577"/>
                    <a:pt x="48577" y="0"/>
                    <a:pt x="107632" y="0"/>
                  </a:cubicBezTo>
                  <a:close/>
                </a:path>
              </a:pathLst>
            </a:custGeom>
            <a:solidFill>
              <a:srgbClr val="E5E5E9"/>
            </a:solidFill>
            <a:ln w="9525" cap="flat">
              <a:noFill/>
              <a:prstDash val="solid"/>
              <a:miter/>
            </a:ln>
          </p:spPr>
          <p:txBody>
            <a:bodyPr rtlCol="0" anchor="ctr"/>
            <a:lstStyle/>
            <a:p>
              <a:endParaRPr lang="en-US" sz="1799" dirty="0"/>
            </a:p>
          </p:txBody>
        </p:sp>
        <p:sp>
          <p:nvSpPr>
            <p:cNvPr id="76" name="Freeform: Shape 75">
              <a:extLst>
                <a:ext uri="{FF2B5EF4-FFF2-40B4-BE49-F238E27FC236}">
                  <a16:creationId xmlns:a16="http://schemas.microsoft.com/office/drawing/2014/main" id="{15C4A222-D009-4F8B-B20B-233F3A418C2A}"/>
                </a:ext>
              </a:extLst>
            </p:cNvPr>
            <p:cNvSpPr/>
            <p:nvPr/>
          </p:nvSpPr>
          <p:spPr>
            <a:xfrm>
              <a:off x="1289120" y="741343"/>
              <a:ext cx="1620202" cy="1025842"/>
            </a:xfrm>
            <a:custGeom>
              <a:avLst/>
              <a:gdLst>
                <a:gd name="connsiteX0" fmla="*/ 287655 w 1620202"/>
                <a:gd name="connsiteY0" fmla="*/ 610552 h 1025842"/>
                <a:gd name="connsiteX1" fmla="*/ 136207 w 1620202"/>
                <a:gd name="connsiteY1" fmla="*/ 763905 h 1025842"/>
                <a:gd name="connsiteX2" fmla="*/ 287655 w 1620202"/>
                <a:gd name="connsiteY2" fmla="*/ 917257 h 1025842"/>
                <a:gd name="connsiteX3" fmla="*/ 438150 w 1620202"/>
                <a:gd name="connsiteY3" fmla="*/ 781050 h 1025842"/>
                <a:gd name="connsiteX4" fmla="*/ 323850 w 1620202"/>
                <a:gd name="connsiteY4" fmla="*/ 637222 h 1025842"/>
                <a:gd name="connsiteX5" fmla="*/ 325755 w 1620202"/>
                <a:gd name="connsiteY5" fmla="*/ 615315 h 1025842"/>
                <a:gd name="connsiteX6" fmla="*/ 287655 w 1620202"/>
                <a:gd name="connsiteY6" fmla="*/ 610552 h 1025842"/>
                <a:gd name="connsiteX7" fmla="*/ 1355407 w 1620202"/>
                <a:gd name="connsiteY7" fmla="*/ 595312 h 1025842"/>
                <a:gd name="connsiteX8" fmla="*/ 1221105 w 1620202"/>
                <a:gd name="connsiteY8" fmla="*/ 709612 h 1025842"/>
                <a:gd name="connsiteX9" fmla="*/ 1187767 w 1620202"/>
                <a:gd name="connsiteY9" fmla="*/ 709612 h 1025842"/>
                <a:gd name="connsiteX10" fmla="*/ 1176337 w 1620202"/>
                <a:gd name="connsiteY10" fmla="*/ 741045 h 1025842"/>
                <a:gd name="connsiteX11" fmla="*/ 1217295 w 1620202"/>
                <a:gd name="connsiteY11" fmla="*/ 741045 h 1025842"/>
                <a:gd name="connsiteX12" fmla="*/ 1217295 w 1620202"/>
                <a:gd name="connsiteY12" fmla="*/ 756285 h 1025842"/>
                <a:gd name="connsiteX13" fmla="*/ 1218247 w 1620202"/>
                <a:gd name="connsiteY13" fmla="*/ 765810 h 1025842"/>
                <a:gd name="connsiteX14" fmla="*/ 1188720 w 1620202"/>
                <a:gd name="connsiteY14" fmla="*/ 765810 h 1025842"/>
                <a:gd name="connsiteX15" fmla="*/ 1177290 w 1620202"/>
                <a:gd name="connsiteY15" fmla="*/ 797242 h 1025842"/>
                <a:gd name="connsiteX16" fmla="*/ 1222057 w 1620202"/>
                <a:gd name="connsiteY16" fmla="*/ 797242 h 1025842"/>
                <a:gd name="connsiteX17" fmla="*/ 1359217 w 1620202"/>
                <a:gd name="connsiteY17" fmla="*/ 903922 h 1025842"/>
                <a:gd name="connsiteX18" fmla="*/ 1446847 w 1620202"/>
                <a:gd name="connsiteY18" fmla="*/ 887730 h 1025842"/>
                <a:gd name="connsiteX19" fmla="*/ 1432560 w 1620202"/>
                <a:gd name="connsiteY19" fmla="*/ 836295 h 1025842"/>
                <a:gd name="connsiteX20" fmla="*/ 1369695 w 1620202"/>
                <a:gd name="connsiteY20" fmla="*/ 853440 h 1025842"/>
                <a:gd name="connsiteX21" fmla="*/ 1292542 w 1620202"/>
                <a:gd name="connsiteY21" fmla="*/ 797242 h 1025842"/>
                <a:gd name="connsiteX22" fmla="*/ 1382077 w 1620202"/>
                <a:gd name="connsiteY22" fmla="*/ 797242 h 1025842"/>
                <a:gd name="connsiteX23" fmla="*/ 1393507 w 1620202"/>
                <a:gd name="connsiteY23" fmla="*/ 765810 h 1025842"/>
                <a:gd name="connsiteX24" fmla="*/ 1286827 w 1620202"/>
                <a:gd name="connsiteY24" fmla="*/ 765810 h 1025842"/>
                <a:gd name="connsiteX25" fmla="*/ 1285875 w 1620202"/>
                <a:gd name="connsiteY25" fmla="*/ 749617 h 1025842"/>
                <a:gd name="connsiteX26" fmla="*/ 1285875 w 1620202"/>
                <a:gd name="connsiteY26" fmla="*/ 743902 h 1025842"/>
                <a:gd name="connsiteX27" fmla="*/ 1285875 w 1620202"/>
                <a:gd name="connsiteY27" fmla="*/ 740092 h 1025842"/>
                <a:gd name="connsiteX28" fmla="*/ 1401127 w 1620202"/>
                <a:gd name="connsiteY28" fmla="*/ 740092 h 1025842"/>
                <a:gd name="connsiteX29" fmla="*/ 1411605 w 1620202"/>
                <a:gd name="connsiteY29" fmla="*/ 708660 h 1025842"/>
                <a:gd name="connsiteX30" fmla="*/ 1286827 w 1620202"/>
                <a:gd name="connsiteY30" fmla="*/ 708660 h 1025842"/>
                <a:gd name="connsiteX31" fmla="*/ 1363980 w 1620202"/>
                <a:gd name="connsiteY31" fmla="*/ 645795 h 1025842"/>
                <a:gd name="connsiteX32" fmla="*/ 1428750 w 1620202"/>
                <a:gd name="connsiteY32" fmla="*/ 663892 h 1025842"/>
                <a:gd name="connsiteX33" fmla="*/ 1446847 w 1620202"/>
                <a:gd name="connsiteY33" fmla="*/ 614362 h 1025842"/>
                <a:gd name="connsiteX34" fmla="*/ 1355407 w 1620202"/>
                <a:gd name="connsiteY34" fmla="*/ 595312 h 1025842"/>
                <a:gd name="connsiteX35" fmla="*/ 472440 w 1620202"/>
                <a:gd name="connsiteY35" fmla="*/ 516255 h 1025842"/>
                <a:gd name="connsiteX36" fmla="*/ 350520 w 1620202"/>
                <a:gd name="connsiteY36" fmla="*/ 638175 h 1025842"/>
                <a:gd name="connsiteX37" fmla="*/ 472440 w 1620202"/>
                <a:gd name="connsiteY37" fmla="*/ 760095 h 1025842"/>
                <a:gd name="connsiteX38" fmla="*/ 594360 w 1620202"/>
                <a:gd name="connsiteY38" fmla="*/ 638175 h 1025842"/>
                <a:gd name="connsiteX39" fmla="*/ 472440 w 1620202"/>
                <a:gd name="connsiteY39" fmla="*/ 516255 h 1025842"/>
                <a:gd name="connsiteX40" fmla="*/ 0 w 1620202"/>
                <a:gd name="connsiteY40" fmla="*/ 350520 h 1025842"/>
                <a:gd name="connsiteX41" fmla="*/ 1619250 w 1620202"/>
                <a:gd name="connsiteY41" fmla="*/ 350520 h 1025842"/>
                <a:gd name="connsiteX42" fmla="*/ 1619250 w 1620202"/>
                <a:gd name="connsiteY42" fmla="*/ 918210 h 1025842"/>
                <a:gd name="connsiteX43" fmla="*/ 1511617 w 1620202"/>
                <a:gd name="connsiteY43" fmla="*/ 1025842 h 1025842"/>
                <a:gd name="connsiteX44" fmla="*/ 107632 w 1620202"/>
                <a:gd name="connsiteY44" fmla="*/ 1025842 h 1025842"/>
                <a:gd name="connsiteX45" fmla="*/ 0 w 1620202"/>
                <a:gd name="connsiteY45" fmla="*/ 918210 h 1025842"/>
                <a:gd name="connsiteX46" fmla="*/ 107632 w 1620202"/>
                <a:gd name="connsiteY46" fmla="*/ 0 h 1025842"/>
                <a:gd name="connsiteX47" fmla="*/ 1511617 w 1620202"/>
                <a:gd name="connsiteY47" fmla="*/ 0 h 1025842"/>
                <a:gd name="connsiteX48" fmla="*/ 1620202 w 1620202"/>
                <a:gd name="connsiteY48" fmla="*/ 107632 h 1025842"/>
                <a:gd name="connsiteX49" fmla="*/ 1620202 w 1620202"/>
                <a:gd name="connsiteY49" fmla="*/ 134302 h 1025842"/>
                <a:gd name="connsiteX50" fmla="*/ 0 w 1620202"/>
                <a:gd name="connsiteY50" fmla="*/ 134302 h 1025842"/>
                <a:gd name="connsiteX51" fmla="*/ 0 w 1620202"/>
                <a:gd name="connsiteY51" fmla="*/ 107632 h 1025842"/>
                <a:gd name="connsiteX52" fmla="*/ 107632 w 1620202"/>
                <a:gd name="connsiteY52" fmla="*/ 0 h 1025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620202" h="1025842">
                  <a:moveTo>
                    <a:pt x="287655" y="610552"/>
                  </a:moveTo>
                  <a:cubicBezTo>
                    <a:pt x="203835" y="610552"/>
                    <a:pt x="136207" y="679132"/>
                    <a:pt x="136207" y="763905"/>
                  </a:cubicBezTo>
                  <a:cubicBezTo>
                    <a:pt x="136207" y="848677"/>
                    <a:pt x="203835" y="917257"/>
                    <a:pt x="287655" y="917257"/>
                  </a:cubicBezTo>
                  <a:cubicBezTo>
                    <a:pt x="365760" y="917257"/>
                    <a:pt x="429577" y="857250"/>
                    <a:pt x="438150" y="781050"/>
                  </a:cubicBezTo>
                  <a:cubicBezTo>
                    <a:pt x="372427" y="765810"/>
                    <a:pt x="323850" y="706755"/>
                    <a:pt x="323850" y="637222"/>
                  </a:cubicBezTo>
                  <a:cubicBezTo>
                    <a:pt x="323850" y="629602"/>
                    <a:pt x="324802" y="622935"/>
                    <a:pt x="325755" y="615315"/>
                  </a:cubicBezTo>
                  <a:cubicBezTo>
                    <a:pt x="313372" y="612457"/>
                    <a:pt x="300990" y="610552"/>
                    <a:pt x="287655" y="610552"/>
                  </a:cubicBezTo>
                  <a:close/>
                  <a:moveTo>
                    <a:pt x="1355407" y="595312"/>
                  </a:moveTo>
                  <a:cubicBezTo>
                    <a:pt x="1284922" y="595312"/>
                    <a:pt x="1236345" y="636270"/>
                    <a:pt x="1221105" y="709612"/>
                  </a:cubicBezTo>
                  <a:lnTo>
                    <a:pt x="1187767" y="709612"/>
                  </a:lnTo>
                  <a:lnTo>
                    <a:pt x="1176337" y="741045"/>
                  </a:lnTo>
                  <a:lnTo>
                    <a:pt x="1217295" y="741045"/>
                  </a:lnTo>
                  <a:cubicBezTo>
                    <a:pt x="1217295" y="746760"/>
                    <a:pt x="1217295" y="750570"/>
                    <a:pt x="1217295" y="756285"/>
                  </a:cubicBezTo>
                  <a:cubicBezTo>
                    <a:pt x="1217295" y="761047"/>
                    <a:pt x="1217295" y="762952"/>
                    <a:pt x="1218247" y="765810"/>
                  </a:cubicBezTo>
                  <a:lnTo>
                    <a:pt x="1188720" y="765810"/>
                  </a:lnTo>
                  <a:lnTo>
                    <a:pt x="1177290" y="797242"/>
                  </a:lnTo>
                  <a:lnTo>
                    <a:pt x="1222057" y="797242"/>
                  </a:lnTo>
                  <a:cubicBezTo>
                    <a:pt x="1236345" y="865822"/>
                    <a:pt x="1285875" y="903922"/>
                    <a:pt x="1359217" y="903922"/>
                  </a:cubicBezTo>
                  <a:cubicBezTo>
                    <a:pt x="1392555" y="903922"/>
                    <a:pt x="1420177" y="899160"/>
                    <a:pt x="1446847" y="887730"/>
                  </a:cubicBezTo>
                  <a:lnTo>
                    <a:pt x="1432560" y="836295"/>
                  </a:lnTo>
                  <a:cubicBezTo>
                    <a:pt x="1411605" y="848677"/>
                    <a:pt x="1391602" y="853440"/>
                    <a:pt x="1369695" y="853440"/>
                  </a:cubicBezTo>
                  <a:cubicBezTo>
                    <a:pt x="1327785" y="853440"/>
                    <a:pt x="1304925" y="836295"/>
                    <a:pt x="1292542" y="797242"/>
                  </a:cubicBezTo>
                  <a:lnTo>
                    <a:pt x="1382077" y="797242"/>
                  </a:lnTo>
                  <a:lnTo>
                    <a:pt x="1393507" y="765810"/>
                  </a:lnTo>
                  <a:lnTo>
                    <a:pt x="1286827" y="765810"/>
                  </a:lnTo>
                  <a:cubicBezTo>
                    <a:pt x="1285875" y="759142"/>
                    <a:pt x="1285875" y="754380"/>
                    <a:pt x="1285875" y="749617"/>
                  </a:cubicBezTo>
                  <a:lnTo>
                    <a:pt x="1285875" y="743902"/>
                  </a:lnTo>
                  <a:lnTo>
                    <a:pt x="1285875" y="740092"/>
                  </a:lnTo>
                  <a:lnTo>
                    <a:pt x="1401127" y="740092"/>
                  </a:lnTo>
                  <a:lnTo>
                    <a:pt x="1411605" y="708660"/>
                  </a:lnTo>
                  <a:lnTo>
                    <a:pt x="1286827" y="708660"/>
                  </a:lnTo>
                  <a:cubicBezTo>
                    <a:pt x="1296352" y="665797"/>
                    <a:pt x="1321117" y="645795"/>
                    <a:pt x="1363980" y="645795"/>
                  </a:cubicBezTo>
                  <a:cubicBezTo>
                    <a:pt x="1386840" y="645795"/>
                    <a:pt x="1404937" y="650557"/>
                    <a:pt x="1428750" y="663892"/>
                  </a:cubicBezTo>
                  <a:lnTo>
                    <a:pt x="1446847" y="614362"/>
                  </a:lnTo>
                  <a:cubicBezTo>
                    <a:pt x="1421130" y="601980"/>
                    <a:pt x="1389697" y="595312"/>
                    <a:pt x="1355407" y="595312"/>
                  </a:cubicBezTo>
                  <a:close/>
                  <a:moveTo>
                    <a:pt x="472440" y="516255"/>
                  </a:moveTo>
                  <a:cubicBezTo>
                    <a:pt x="405765" y="516255"/>
                    <a:pt x="350520" y="570547"/>
                    <a:pt x="350520" y="638175"/>
                  </a:cubicBezTo>
                  <a:cubicBezTo>
                    <a:pt x="350520" y="705802"/>
                    <a:pt x="405765" y="760095"/>
                    <a:pt x="472440" y="760095"/>
                  </a:cubicBezTo>
                  <a:cubicBezTo>
                    <a:pt x="540067" y="760095"/>
                    <a:pt x="594360" y="705802"/>
                    <a:pt x="594360" y="638175"/>
                  </a:cubicBezTo>
                  <a:cubicBezTo>
                    <a:pt x="594360" y="570547"/>
                    <a:pt x="539115" y="516255"/>
                    <a:pt x="472440" y="516255"/>
                  </a:cubicBezTo>
                  <a:close/>
                  <a:moveTo>
                    <a:pt x="0" y="350520"/>
                  </a:moveTo>
                  <a:lnTo>
                    <a:pt x="1619250" y="350520"/>
                  </a:lnTo>
                  <a:lnTo>
                    <a:pt x="1619250" y="918210"/>
                  </a:lnTo>
                  <a:cubicBezTo>
                    <a:pt x="1619250" y="977265"/>
                    <a:pt x="1571625" y="1025842"/>
                    <a:pt x="1511617" y="1025842"/>
                  </a:cubicBezTo>
                  <a:lnTo>
                    <a:pt x="107632" y="1025842"/>
                  </a:lnTo>
                  <a:cubicBezTo>
                    <a:pt x="48577" y="1025842"/>
                    <a:pt x="0" y="978217"/>
                    <a:pt x="0" y="918210"/>
                  </a:cubicBezTo>
                  <a:close/>
                  <a:moveTo>
                    <a:pt x="107632" y="0"/>
                  </a:moveTo>
                  <a:lnTo>
                    <a:pt x="1511617" y="0"/>
                  </a:lnTo>
                  <a:cubicBezTo>
                    <a:pt x="1571625" y="0"/>
                    <a:pt x="1620202" y="48577"/>
                    <a:pt x="1620202" y="107632"/>
                  </a:cubicBezTo>
                  <a:lnTo>
                    <a:pt x="1620202" y="134302"/>
                  </a:lnTo>
                  <a:lnTo>
                    <a:pt x="0" y="134302"/>
                  </a:lnTo>
                  <a:lnTo>
                    <a:pt x="0" y="107632"/>
                  </a:lnTo>
                  <a:cubicBezTo>
                    <a:pt x="0" y="48577"/>
                    <a:pt x="48577" y="0"/>
                    <a:pt x="107632" y="0"/>
                  </a:cubicBezTo>
                  <a:close/>
                </a:path>
              </a:pathLst>
            </a:custGeom>
            <a:solidFill>
              <a:srgbClr val="66667E"/>
            </a:solidFill>
            <a:ln w="9525" cap="flat">
              <a:noFill/>
              <a:prstDash val="solid"/>
              <a:miter/>
            </a:ln>
          </p:spPr>
          <p:txBody>
            <a:bodyPr rtlCol="0" anchor="ctr"/>
            <a:lstStyle/>
            <a:p>
              <a:endParaRPr lang="en-US" sz="1799" dirty="0"/>
            </a:p>
          </p:txBody>
        </p:sp>
      </p:grpSp>
      <p:sp>
        <p:nvSpPr>
          <p:cNvPr id="78" name="Freeform: Shape 77">
            <a:extLst>
              <a:ext uri="{FF2B5EF4-FFF2-40B4-BE49-F238E27FC236}">
                <a16:creationId xmlns:a16="http://schemas.microsoft.com/office/drawing/2014/main" id="{EF96D851-3F43-4C30-A9BD-484F6FC69882}"/>
              </a:ext>
            </a:extLst>
          </p:cNvPr>
          <p:cNvSpPr>
            <a:spLocks noChangeAspect="1"/>
          </p:cNvSpPr>
          <p:nvPr/>
        </p:nvSpPr>
        <p:spPr>
          <a:xfrm>
            <a:off x="6996325" y="4935079"/>
            <a:ext cx="1079438" cy="776417"/>
          </a:xfrm>
          <a:custGeom>
            <a:avLst/>
            <a:gdLst>
              <a:gd name="connsiteX0" fmla="*/ 1825943 w 4170045"/>
              <a:gd name="connsiteY0" fmla="*/ 2666048 h 2999423"/>
              <a:gd name="connsiteX1" fmla="*/ 2359343 w 4170045"/>
              <a:gd name="connsiteY1" fmla="*/ 2666048 h 2999423"/>
              <a:gd name="connsiteX2" fmla="*/ 2692718 w 4170045"/>
              <a:gd name="connsiteY2" fmla="*/ 2999423 h 2999423"/>
              <a:gd name="connsiteX3" fmla="*/ 1492568 w 4170045"/>
              <a:gd name="connsiteY3" fmla="*/ 2999423 h 2999423"/>
              <a:gd name="connsiteX4" fmla="*/ 1825943 w 4170045"/>
              <a:gd name="connsiteY4" fmla="*/ 2666048 h 2999423"/>
              <a:gd name="connsiteX5" fmla="*/ 3360420 w 4170045"/>
              <a:gd name="connsiteY5" fmla="*/ 840105 h 2999423"/>
              <a:gd name="connsiteX6" fmla="*/ 2774632 w 4170045"/>
              <a:gd name="connsiteY6" fmla="*/ 1778318 h 2999423"/>
              <a:gd name="connsiteX7" fmla="*/ 3946207 w 4170045"/>
              <a:gd name="connsiteY7" fmla="*/ 1778318 h 2999423"/>
              <a:gd name="connsiteX8" fmla="*/ 809625 w 4170045"/>
              <a:gd name="connsiteY8" fmla="*/ 423862 h 2999423"/>
              <a:gd name="connsiteX9" fmla="*/ 221932 w 4170045"/>
              <a:gd name="connsiteY9" fmla="*/ 1363980 h 2999423"/>
              <a:gd name="connsiteX10" fmla="*/ 1397317 w 4170045"/>
              <a:gd name="connsiteY10" fmla="*/ 1363980 h 2999423"/>
              <a:gd name="connsiteX11" fmla="*/ 3360420 w 4170045"/>
              <a:gd name="connsiteY11" fmla="*/ 416243 h 2999423"/>
              <a:gd name="connsiteX12" fmla="*/ 3515677 w 4170045"/>
              <a:gd name="connsiteY12" fmla="*/ 571500 h 2999423"/>
              <a:gd name="connsiteX13" fmla="*/ 3479482 w 4170045"/>
              <a:gd name="connsiteY13" fmla="*/ 671513 h 2999423"/>
              <a:gd name="connsiteX14" fmla="*/ 4170045 w 4170045"/>
              <a:gd name="connsiteY14" fmla="*/ 1778318 h 2999423"/>
              <a:gd name="connsiteX15" fmla="*/ 3360420 w 4170045"/>
              <a:gd name="connsiteY15" fmla="*/ 2636520 h 2999423"/>
              <a:gd name="connsiteX16" fmla="*/ 2550795 w 4170045"/>
              <a:gd name="connsiteY16" fmla="*/ 1779270 h 2999423"/>
              <a:gd name="connsiteX17" fmla="*/ 2551747 w 4170045"/>
              <a:gd name="connsiteY17" fmla="*/ 1779270 h 2999423"/>
              <a:gd name="connsiteX18" fmla="*/ 3242310 w 4170045"/>
              <a:gd name="connsiteY18" fmla="*/ 671513 h 2999423"/>
              <a:gd name="connsiteX19" fmla="*/ 3206115 w 4170045"/>
              <a:gd name="connsiteY19" fmla="*/ 571500 h 2999423"/>
              <a:gd name="connsiteX20" fmla="*/ 3360420 w 4170045"/>
              <a:gd name="connsiteY20" fmla="*/ 416243 h 2999423"/>
              <a:gd name="connsiteX21" fmla="*/ 1070610 w 4170045"/>
              <a:gd name="connsiteY21" fmla="*/ 11430 h 2999423"/>
              <a:gd name="connsiteX22" fmla="*/ 3147060 w 4170045"/>
              <a:gd name="connsiteY22" fmla="*/ 375285 h 2999423"/>
              <a:gd name="connsiteX23" fmla="*/ 3070860 w 4170045"/>
              <a:gd name="connsiteY23" fmla="*/ 518160 h 2999423"/>
              <a:gd name="connsiteX24" fmla="*/ 3092768 w 4170045"/>
              <a:gd name="connsiteY24" fmla="*/ 656272 h 2999423"/>
              <a:gd name="connsiteX25" fmla="*/ 2221230 w 4170045"/>
              <a:gd name="connsiteY25" fmla="*/ 502920 h 2999423"/>
              <a:gd name="connsiteX26" fmla="*/ 2221230 w 4170045"/>
              <a:gd name="connsiteY26" fmla="*/ 2470785 h 2999423"/>
              <a:gd name="connsiteX27" fmla="*/ 1935480 w 4170045"/>
              <a:gd name="connsiteY27" fmla="*/ 2470785 h 2999423"/>
              <a:gd name="connsiteX28" fmla="*/ 1935480 w 4170045"/>
              <a:gd name="connsiteY28" fmla="*/ 452437 h 2999423"/>
              <a:gd name="connsiteX29" fmla="*/ 1048703 w 4170045"/>
              <a:gd name="connsiteY29" fmla="*/ 296227 h 2999423"/>
              <a:gd name="connsiteX30" fmla="*/ 1105853 w 4170045"/>
              <a:gd name="connsiteY30" fmla="*/ 172402 h 2999423"/>
              <a:gd name="connsiteX31" fmla="*/ 1070610 w 4170045"/>
              <a:gd name="connsiteY31" fmla="*/ 11430 h 2999423"/>
              <a:gd name="connsiteX32" fmla="*/ 809625 w 4170045"/>
              <a:gd name="connsiteY32" fmla="*/ 0 h 2999423"/>
              <a:gd name="connsiteX33" fmla="*/ 963930 w 4170045"/>
              <a:gd name="connsiteY33" fmla="*/ 154305 h 2999423"/>
              <a:gd name="connsiteX34" fmla="*/ 927735 w 4170045"/>
              <a:gd name="connsiteY34" fmla="*/ 254317 h 2999423"/>
              <a:gd name="connsiteX35" fmla="*/ 1619250 w 4170045"/>
              <a:gd name="connsiteY35" fmla="*/ 1364932 h 2999423"/>
              <a:gd name="connsiteX36" fmla="*/ 809625 w 4170045"/>
              <a:gd name="connsiteY36" fmla="*/ 2221230 h 2999423"/>
              <a:gd name="connsiteX37" fmla="*/ 0 w 4170045"/>
              <a:gd name="connsiteY37" fmla="*/ 1368742 h 2999423"/>
              <a:gd name="connsiteX38" fmla="*/ 690562 w 4170045"/>
              <a:gd name="connsiteY38" fmla="*/ 255270 h 2999423"/>
              <a:gd name="connsiteX39" fmla="*/ 654367 w 4170045"/>
              <a:gd name="connsiteY39" fmla="*/ 155257 h 2999423"/>
              <a:gd name="connsiteX40" fmla="*/ 809625 w 4170045"/>
              <a:gd name="connsiteY40" fmla="*/ 0 h 2999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170045" h="2999423">
                <a:moveTo>
                  <a:pt x="1825943" y="2666048"/>
                </a:moveTo>
                <a:lnTo>
                  <a:pt x="2359343" y="2666048"/>
                </a:lnTo>
                <a:cubicBezTo>
                  <a:pt x="2544128" y="2666048"/>
                  <a:pt x="2692718" y="2815590"/>
                  <a:pt x="2692718" y="2999423"/>
                </a:cubicBezTo>
                <a:lnTo>
                  <a:pt x="1492568" y="2999423"/>
                </a:lnTo>
                <a:cubicBezTo>
                  <a:pt x="1492568" y="2815590"/>
                  <a:pt x="1642110" y="2666048"/>
                  <a:pt x="1825943" y="2666048"/>
                </a:cubicBezTo>
                <a:close/>
                <a:moveTo>
                  <a:pt x="3360420" y="840105"/>
                </a:moveTo>
                <a:lnTo>
                  <a:pt x="2774632" y="1778318"/>
                </a:lnTo>
                <a:lnTo>
                  <a:pt x="3946207" y="1778318"/>
                </a:lnTo>
                <a:close/>
                <a:moveTo>
                  <a:pt x="809625" y="423862"/>
                </a:moveTo>
                <a:lnTo>
                  <a:pt x="221932" y="1363980"/>
                </a:lnTo>
                <a:lnTo>
                  <a:pt x="1397317" y="1363980"/>
                </a:lnTo>
                <a:close/>
                <a:moveTo>
                  <a:pt x="3360420" y="416243"/>
                </a:moveTo>
                <a:cubicBezTo>
                  <a:pt x="3446145" y="416243"/>
                  <a:pt x="3515677" y="485775"/>
                  <a:pt x="3515677" y="571500"/>
                </a:cubicBezTo>
                <a:cubicBezTo>
                  <a:pt x="3515677" y="609600"/>
                  <a:pt x="3502343" y="644843"/>
                  <a:pt x="3479482" y="671513"/>
                </a:cubicBezTo>
                <a:lnTo>
                  <a:pt x="4170045" y="1778318"/>
                </a:lnTo>
                <a:cubicBezTo>
                  <a:pt x="4170045" y="2252663"/>
                  <a:pt x="3807143" y="2636520"/>
                  <a:pt x="3360420" y="2636520"/>
                </a:cubicBezTo>
                <a:cubicBezTo>
                  <a:pt x="2913697" y="2636520"/>
                  <a:pt x="2550795" y="2252663"/>
                  <a:pt x="2550795" y="1779270"/>
                </a:cubicBezTo>
                <a:lnTo>
                  <a:pt x="2551747" y="1779270"/>
                </a:lnTo>
                <a:lnTo>
                  <a:pt x="3242310" y="671513"/>
                </a:lnTo>
                <a:cubicBezTo>
                  <a:pt x="3219450" y="643890"/>
                  <a:pt x="3206115" y="609600"/>
                  <a:pt x="3206115" y="571500"/>
                </a:cubicBezTo>
                <a:cubicBezTo>
                  <a:pt x="3206115" y="485775"/>
                  <a:pt x="3274695" y="416243"/>
                  <a:pt x="3360420" y="416243"/>
                </a:cubicBezTo>
                <a:close/>
                <a:moveTo>
                  <a:pt x="1070610" y="11430"/>
                </a:moveTo>
                <a:lnTo>
                  <a:pt x="3147060" y="375285"/>
                </a:lnTo>
                <a:cubicBezTo>
                  <a:pt x="3107055" y="411480"/>
                  <a:pt x="3078480" y="461010"/>
                  <a:pt x="3070860" y="518160"/>
                </a:cubicBezTo>
                <a:cubicBezTo>
                  <a:pt x="3064193" y="567690"/>
                  <a:pt x="3072765" y="615315"/>
                  <a:pt x="3092768" y="656272"/>
                </a:cubicBezTo>
                <a:lnTo>
                  <a:pt x="2221230" y="502920"/>
                </a:lnTo>
                <a:lnTo>
                  <a:pt x="2221230" y="2470785"/>
                </a:lnTo>
                <a:lnTo>
                  <a:pt x="1935480" y="2470785"/>
                </a:lnTo>
                <a:lnTo>
                  <a:pt x="1935480" y="452437"/>
                </a:lnTo>
                <a:lnTo>
                  <a:pt x="1048703" y="296227"/>
                </a:lnTo>
                <a:cubicBezTo>
                  <a:pt x="1079183" y="262890"/>
                  <a:pt x="1099185" y="220027"/>
                  <a:pt x="1105853" y="172402"/>
                </a:cubicBezTo>
                <a:cubicBezTo>
                  <a:pt x="1114425" y="114300"/>
                  <a:pt x="1100138" y="57150"/>
                  <a:pt x="1070610" y="11430"/>
                </a:cubicBezTo>
                <a:close/>
                <a:moveTo>
                  <a:pt x="809625" y="0"/>
                </a:moveTo>
                <a:cubicBezTo>
                  <a:pt x="895350" y="0"/>
                  <a:pt x="963930" y="69532"/>
                  <a:pt x="963930" y="154305"/>
                </a:cubicBezTo>
                <a:cubicBezTo>
                  <a:pt x="963930" y="192405"/>
                  <a:pt x="950595" y="227647"/>
                  <a:pt x="927735" y="254317"/>
                </a:cubicBezTo>
                <a:lnTo>
                  <a:pt x="1619250" y="1364932"/>
                </a:lnTo>
                <a:cubicBezTo>
                  <a:pt x="1618297" y="1838325"/>
                  <a:pt x="1256347" y="2221230"/>
                  <a:pt x="809625" y="2221230"/>
                </a:cubicBezTo>
                <a:cubicBezTo>
                  <a:pt x="363855" y="2221230"/>
                  <a:pt x="2857" y="1840230"/>
                  <a:pt x="0" y="1368742"/>
                </a:cubicBezTo>
                <a:lnTo>
                  <a:pt x="690562" y="255270"/>
                </a:lnTo>
                <a:cubicBezTo>
                  <a:pt x="667702" y="227647"/>
                  <a:pt x="654367" y="193357"/>
                  <a:pt x="654367" y="155257"/>
                </a:cubicBezTo>
                <a:cubicBezTo>
                  <a:pt x="654367" y="69532"/>
                  <a:pt x="723900" y="0"/>
                  <a:pt x="809625" y="0"/>
                </a:cubicBezTo>
                <a:close/>
              </a:path>
            </a:pathLst>
          </a:custGeom>
          <a:solidFill>
            <a:schemeClr val="bg1"/>
          </a:solidFill>
          <a:ln w="9525" cap="flat">
            <a:noFill/>
            <a:prstDash val="solid"/>
            <a:miter/>
          </a:ln>
        </p:spPr>
        <p:txBody>
          <a:bodyPr rtlCol="0" anchor="ctr"/>
          <a:lstStyle/>
          <a:p>
            <a:endParaRPr lang="en-US" sz="1799" dirty="0"/>
          </a:p>
        </p:txBody>
      </p:sp>
      <p:sp>
        <p:nvSpPr>
          <p:cNvPr id="79" name="Graphic 15">
            <a:extLst>
              <a:ext uri="{FF2B5EF4-FFF2-40B4-BE49-F238E27FC236}">
                <a16:creationId xmlns:a16="http://schemas.microsoft.com/office/drawing/2014/main" id="{766B453A-69E5-4A5D-B096-D85319ED09F7}"/>
              </a:ext>
            </a:extLst>
          </p:cNvPr>
          <p:cNvSpPr>
            <a:spLocks noChangeAspect="1"/>
          </p:cNvSpPr>
          <p:nvPr/>
        </p:nvSpPr>
        <p:spPr>
          <a:xfrm>
            <a:off x="1238681" y="5169755"/>
            <a:ext cx="1079438" cy="541740"/>
          </a:xfrm>
          <a:custGeom>
            <a:avLst/>
            <a:gdLst>
              <a:gd name="connsiteX0" fmla="*/ 1599724 w 2543175"/>
              <a:gd name="connsiteY0" fmla="*/ 528161 h 1276350"/>
              <a:gd name="connsiteX1" fmla="*/ 1376839 w 2543175"/>
              <a:gd name="connsiteY1" fmla="*/ 1105376 h 1276350"/>
              <a:gd name="connsiteX2" fmla="*/ 1437799 w 2543175"/>
              <a:gd name="connsiteY2" fmla="*/ 1275874 h 1276350"/>
              <a:gd name="connsiteX3" fmla="*/ 897731 w 2543175"/>
              <a:gd name="connsiteY3" fmla="*/ 1275874 h 1276350"/>
              <a:gd name="connsiteX4" fmla="*/ 1167289 w 2543175"/>
              <a:gd name="connsiteY4" fmla="*/ 1006316 h 1276350"/>
              <a:gd name="connsiteX5" fmla="*/ 1211104 w 2543175"/>
              <a:gd name="connsiteY5" fmla="*/ 1010126 h 1276350"/>
              <a:gd name="connsiteX6" fmla="*/ 1599724 w 2543175"/>
              <a:gd name="connsiteY6" fmla="*/ 528161 h 1276350"/>
              <a:gd name="connsiteX7" fmla="*/ 1275874 w 2543175"/>
              <a:gd name="connsiteY7" fmla="*/ 7144 h 1276350"/>
              <a:gd name="connsiteX8" fmla="*/ 1221581 w 2543175"/>
              <a:gd name="connsiteY8" fmla="*/ 8096 h 1276350"/>
              <a:gd name="connsiteX9" fmla="*/ 1221581 w 2543175"/>
              <a:gd name="connsiteY9" fmla="*/ 278606 h 1276350"/>
              <a:gd name="connsiteX10" fmla="*/ 2005489 w 2543175"/>
              <a:gd name="connsiteY10" fmla="*/ 731044 h 1276350"/>
              <a:gd name="connsiteX11" fmla="*/ 2316956 w 2543175"/>
              <a:gd name="connsiteY11" fmla="*/ 550069 h 1276350"/>
              <a:gd name="connsiteX12" fmla="*/ 1275874 w 2543175"/>
              <a:gd name="connsiteY12" fmla="*/ 7144 h 1276350"/>
              <a:gd name="connsiteX13" fmla="*/ 2375059 w 2543175"/>
              <a:gd name="connsiteY13" fmla="*/ 641509 h 1276350"/>
              <a:gd name="connsiteX14" fmla="*/ 2058829 w 2543175"/>
              <a:gd name="connsiteY14" fmla="*/ 824389 h 1276350"/>
              <a:gd name="connsiteX15" fmla="*/ 2166461 w 2543175"/>
              <a:gd name="connsiteY15" fmla="*/ 1276826 h 1276350"/>
              <a:gd name="connsiteX16" fmla="*/ 2544604 w 2543175"/>
              <a:gd name="connsiteY16" fmla="*/ 1276826 h 1276350"/>
              <a:gd name="connsiteX17" fmla="*/ 2375059 w 2543175"/>
              <a:gd name="connsiteY17" fmla="*/ 641509 h 1276350"/>
              <a:gd name="connsiteX18" fmla="*/ 1113949 w 2543175"/>
              <a:gd name="connsiteY18" fmla="*/ 17621 h 1276350"/>
              <a:gd name="connsiteX19" fmla="*/ 7144 w 2543175"/>
              <a:gd name="connsiteY19" fmla="*/ 1275874 h 1276350"/>
              <a:gd name="connsiteX20" fmla="*/ 169069 w 2543175"/>
              <a:gd name="connsiteY20" fmla="*/ 1275874 h 1276350"/>
              <a:gd name="connsiteX21" fmla="*/ 1113949 w 2543175"/>
              <a:gd name="connsiteY21" fmla="*/ 278606 h 1276350"/>
              <a:gd name="connsiteX22" fmla="*/ 1113949 w 2543175"/>
              <a:gd name="connsiteY22" fmla="*/ 17621 h 1276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543175" h="1276350">
                <a:moveTo>
                  <a:pt x="1599724" y="528161"/>
                </a:moveTo>
                <a:lnTo>
                  <a:pt x="1376839" y="1105376"/>
                </a:lnTo>
                <a:cubicBezTo>
                  <a:pt x="1414939" y="1152049"/>
                  <a:pt x="1437799" y="1211104"/>
                  <a:pt x="1437799" y="1275874"/>
                </a:cubicBezTo>
                <a:lnTo>
                  <a:pt x="897731" y="1275874"/>
                </a:lnTo>
                <a:cubicBezTo>
                  <a:pt x="897731" y="1126331"/>
                  <a:pt x="1018699" y="1006316"/>
                  <a:pt x="1167289" y="1006316"/>
                </a:cubicBezTo>
                <a:cubicBezTo>
                  <a:pt x="1182529" y="1006316"/>
                  <a:pt x="1196816" y="1007269"/>
                  <a:pt x="1211104" y="1010126"/>
                </a:cubicBezTo>
                <a:lnTo>
                  <a:pt x="1599724" y="528161"/>
                </a:lnTo>
                <a:close/>
                <a:moveTo>
                  <a:pt x="1275874" y="7144"/>
                </a:moveTo>
                <a:cubicBezTo>
                  <a:pt x="1257776" y="7144"/>
                  <a:pt x="1239679" y="8096"/>
                  <a:pt x="1221581" y="8096"/>
                </a:cubicBezTo>
                <a:lnTo>
                  <a:pt x="1221581" y="278606"/>
                </a:lnTo>
                <a:cubicBezTo>
                  <a:pt x="1550194" y="295751"/>
                  <a:pt x="1835944" y="471964"/>
                  <a:pt x="2005489" y="731044"/>
                </a:cubicBezTo>
                <a:lnTo>
                  <a:pt x="2316956" y="550069"/>
                </a:lnTo>
                <a:cubicBezTo>
                  <a:pt x="2087404" y="222409"/>
                  <a:pt x="1707356" y="7144"/>
                  <a:pt x="1275874" y="7144"/>
                </a:cubicBezTo>
                <a:close/>
                <a:moveTo>
                  <a:pt x="2375059" y="641509"/>
                </a:moveTo>
                <a:lnTo>
                  <a:pt x="2058829" y="824389"/>
                </a:lnTo>
                <a:cubicBezTo>
                  <a:pt x="2127409" y="960596"/>
                  <a:pt x="2166461" y="1113949"/>
                  <a:pt x="2166461" y="1276826"/>
                </a:cubicBezTo>
                <a:lnTo>
                  <a:pt x="2544604" y="1276826"/>
                </a:lnTo>
                <a:cubicBezTo>
                  <a:pt x="2545556" y="1045369"/>
                  <a:pt x="2483644" y="828199"/>
                  <a:pt x="2375059" y="641509"/>
                </a:cubicBezTo>
                <a:close/>
                <a:moveTo>
                  <a:pt x="1113949" y="17621"/>
                </a:moveTo>
                <a:cubicBezTo>
                  <a:pt x="490061" y="96679"/>
                  <a:pt x="7144" y="630079"/>
                  <a:pt x="7144" y="1275874"/>
                </a:cubicBezTo>
                <a:lnTo>
                  <a:pt x="169069" y="1275874"/>
                </a:lnTo>
                <a:cubicBezTo>
                  <a:pt x="169069" y="742474"/>
                  <a:pt x="587216" y="306229"/>
                  <a:pt x="1113949" y="278606"/>
                </a:cubicBezTo>
                <a:lnTo>
                  <a:pt x="1113949" y="17621"/>
                </a:lnTo>
                <a:close/>
              </a:path>
            </a:pathLst>
          </a:custGeom>
          <a:solidFill>
            <a:schemeClr val="bg1"/>
          </a:solidFill>
          <a:ln w="9525" cap="flat">
            <a:noFill/>
            <a:prstDash val="solid"/>
            <a:miter/>
          </a:ln>
        </p:spPr>
        <p:txBody>
          <a:bodyPr rtlCol="0" anchor="ctr"/>
          <a:lstStyle/>
          <a:p>
            <a:endParaRPr lang="en-US" sz="1799" dirty="0"/>
          </a:p>
        </p:txBody>
      </p:sp>
      <p:sp>
        <p:nvSpPr>
          <p:cNvPr id="82" name="Graphic 79">
            <a:extLst>
              <a:ext uri="{FF2B5EF4-FFF2-40B4-BE49-F238E27FC236}">
                <a16:creationId xmlns:a16="http://schemas.microsoft.com/office/drawing/2014/main" id="{F80194E3-6D01-4220-8E30-7C6E14A39289}"/>
              </a:ext>
            </a:extLst>
          </p:cNvPr>
          <p:cNvSpPr>
            <a:spLocks noChangeAspect="1"/>
          </p:cNvSpPr>
          <p:nvPr/>
        </p:nvSpPr>
        <p:spPr>
          <a:xfrm>
            <a:off x="6996325" y="2528268"/>
            <a:ext cx="1079438" cy="642811"/>
          </a:xfrm>
          <a:custGeom>
            <a:avLst/>
            <a:gdLst>
              <a:gd name="connsiteX0" fmla="*/ 978694 w 2543175"/>
              <a:gd name="connsiteY0" fmla="*/ 1184434 h 1514475"/>
              <a:gd name="connsiteX1" fmla="*/ 1302544 w 2543175"/>
              <a:gd name="connsiteY1" fmla="*/ 1371124 h 1514475"/>
              <a:gd name="connsiteX2" fmla="*/ 1302544 w 2543175"/>
              <a:gd name="connsiteY2" fmla="*/ 1508284 h 1514475"/>
              <a:gd name="connsiteX3" fmla="*/ 1094899 w 2543175"/>
              <a:gd name="connsiteY3" fmla="*/ 1508284 h 1514475"/>
              <a:gd name="connsiteX4" fmla="*/ 706279 w 2543175"/>
              <a:gd name="connsiteY4" fmla="*/ 1283494 h 1514475"/>
              <a:gd name="connsiteX5" fmla="*/ 763429 w 2543175"/>
              <a:gd name="connsiteY5" fmla="*/ 1184434 h 1514475"/>
              <a:gd name="connsiteX6" fmla="*/ 978694 w 2543175"/>
              <a:gd name="connsiteY6" fmla="*/ 1184434 h 1514475"/>
              <a:gd name="connsiteX7" fmla="*/ 999649 w 2543175"/>
              <a:gd name="connsiteY7" fmla="*/ 925354 h 1514475"/>
              <a:gd name="connsiteX8" fmla="*/ 788194 w 2543175"/>
              <a:gd name="connsiteY8" fmla="*/ 714851 h 1514475"/>
              <a:gd name="connsiteX9" fmla="*/ 845344 w 2543175"/>
              <a:gd name="connsiteY9" fmla="*/ 615791 h 1514475"/>
              <a:gd name="connsiteX10" fmla="*/ 705326 w 2543175"/>
              <a:gd name="connsiteY10" fmla="*/ 534829 h 1514475"/>
              <a:gd name="connsiteX11" fmla="*/ 408146 w 2543175"/>
              <a:gd name="connsiteY11" fmla="*/ 1049179 h 1514475"/>
              <a:gd name="connsiteX12" fmla="*/ 639604 w 2543175"/>
              <a:gd name="connsiteY12" fmla="*/ 1182529 h 1514475"/>
              <a:gd name="connsiteX13" fmla="*/ 700564 w 2543175"/>
              <a:gd name="connsiteY13" fmla="*/ 1075849 h 1514475"/>
              <a:gd name="connsiteX14" fmla="*/ 1008221 w 2543175"/>
              <a:gd name="connsiteY14" fmla="*/ 1075849 h 1514475"/>
              <a:gd name="connsiteX15" fmla="*/ 1411129 w 2543175"/>
              <a:gd name="connsiteY15" fmla="*/ 1308259 h 1514475"/>
              <a:gd name="connsiteX16" fmla="*/ 1411129 w 2543175"/>
              <a:gd name="connsiteY16" fmla="*/ 1399699 h 1514475"/>
              <a:gd name="connsiteX17" fmla="*/ 1411129 w 2543175"/>
              <a:gd name="connsiteY17" fmla="*/ 1399699 h 1514475"/>
              <a:gd name="connsiteX18" fmla="*/ 1518761 w 2543175"/>
              <a:gd name="connsiteY18" fmla="*/ 1503521 h 1514475"/>
              <a:gd name="connsiteX19" fmla="*/ 1951196 w 2543175"/>
              <a:gd name="connsiteY19" fmla="*/ 1345406 h 1514475"/>
              <a:gd name="connsiteX20" fmla="*/ 1951196 w 2543175"/>
              <a:gd name="connsiteY20" fmla="*/ 1224439 h 1514475"/>
              <a:gd name="connsiteX21" fmla="*/ 1451134 w 2543175"/>
              <a:gd name="connsiteY21" fmla="*/ 813911 h 1514475"/>
              <a:gd name="connsiteX22" fmla="*/ 999649 w 2543175"/>
              <a:gd name="connsiteY22" fmla="*/ 925354 h 1514475"/>
              <a:gd name="connsiteX23" fmla="*/ 1847374 w 2543175"/>
              <a:gd name="connsiteY23" fmla="*/ 534829 h 1514475"/>
              <a:gd name="connsiteX24" fmla="*/ 1751171 w 2543175"/>
              <a:gd name="connsiteY24" fmla="*/ 590074 h 1514475"/>
              <a:gd name="connsiteX25" fmla="*/ 1411129 w 2543175"/>
              <a:gd name="connsiteY25" fmla="*/ 428149 h 1514475"/>
              <a:gd name="connsiteX26" fmla="*/ 925354 w 2543175"/>
              <a:gd name="connsiteY26" fmla="*/ 697706 h 1514475"/>
              <a:gd name="connsiteX27" fmla="*/ 1032986 w 2543175"/>
              <a:gd name="connsiteY27" fmla="*/ 805339 h 1514475"/>
              <a:gd name="connsiteX28" fmla="*/ 1477804 w 2543175"/>
              <a:gd name="connsiteY28" fmla="*/ 696754 h 1514475"/>
              <a:gd name="connsiteX29" fmla="*/ 2001679 w 2543175"/>
              <a:gd name="connsiteY29" fmla="*/ 1127284 h 1514475"/>
              <a:gd name="connsiteX30" fmla="*/ 2002631 w 2543175"/>
              <a:gd name="connsiteY30" fmla="*/ 1129189 h 1514475"/>
              <a:gd name="connsiteX31" fmla="*/ 2003584 w 2543175"/>
              <a:gd name="connsiteY31" fmla="*/ 1128236 h 1514475"/>
              <a:gd name="connsiteX32" fmla="*/ 2004536 w 2543175"/>
              <a:gd name="connsiteY32" fmla="*/ 1129189 h 1514475"/>
              <a:gd name="connsiteX33" fmla="*/ 2004536 w 2543175"/>
              <a:gd name="connsiteY33" fmla="*/ 1128236 h 1514475"/>
              <a:gd name="connsiteX34" fmla="*/ 2143601 w 2543175"/>
              <a:gd name="connsiteY34" fmla="*/ 1048226 h 1514475"/>
              <a:gd name="connsiteX35" fmla="*/ 1847374 w 2543175"/>
              <a:gd name="connsiteY35" fmla="*/ 534829 h 1514475"/>
              <a:gd name="connsiteX36" fmla="*/ 1886426 w 2543175"/>
              <a:gd name="connsiteY36" fmla="*/ 387191 h 1514475"/>
              <a:gd name="connsiteX37" fmla="*/ 2291239 w 2543175"/>
              <a:gd name="connsiteY37" fmla="*/ 1088231 h 1514475"/>
              <a:gd name="connsiteX38" fmla="*/ 2544604 w 2543175"/>
              <a:gd name="connsiteY38" fmla="*/ 941546 h 1514475"/>
              <a:gd name="connsiteX39" fmla="*/ 2544604 w 2543175"/>
              <a:gd name="connsiteY39" fmla="*/ 7144 h 1514475"/>
              <a:gd name="connsiteX40" fmla="*/ 1886426 w 2543175"/>
              <a:gd name="connsiteY40" fmla="*/ 387191 h 1514475"/>
              <a:gd name="connsiteX41" fmla="*/ 7144 w 2543175"/>
              <a:gd name="connsiteY41" fmla="*/ 7144 h 1514475"/>
              <a:gd name="connsiteX42" fmla="*/ 7144 w 2543175"/>
              <a:gd name="connsiteY42" fmla="*/ 942499 h 1514475"/>
              <a:gd name="connsiteX43" fmla="*/ 260509 w 2543175"/>
              <a:gd name="connsiteY43" fmla="*/ 1089184 h 1514475"/>
              <a:gd name="connsiteX44" fmla="*/ 665321 w 2543175"/>
              <a:gd name="connsiteY44" fmla="*/ 388144 h 1514475"/>
              <a:gd name="connsiteX45" fmla="*/ 7144 w 2543175"/>
              <a:gd name="connsiteY45" fmla="*/ 7144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543175" h="1514475">
                <a:moveTo>
                  <a:pt x="978694" y="1184434"/>
                </a:moveTo>
                <a:lnTo>
                  <a:pt x="1302544" y="1371124"/>
                </a:lnTo>
                <a:lnTo>
                  <a:pt x="1302544" y="1508284"/>
                </a:lnTo>
                <a:lnTo>
                  <a:pt x="1094899" y="1508284"/>
                </a:lnTo>
                <a:lnTo>
                  <a:pt x="706279" y="1283494"/>
                </a:lnTo>
                <a:lnTo>
                  <a:pt x="763429" y="1184434"/>
                </a:lnTo>
                <a:lnTo>
                  <a:pt x="978694" y="1184434"/>
                </a:lnTo>
                <a:close/>
                <a:moveTo>
                  <a:pt x="999649" y="925354"/>
                </a:moveTo>
                <a:lnTo>
                  <a:pt x="788194" y="714851"/>
                </a:lnTo>
                <a:lnTo>
                  <a:pt x="845344" y="615791"/>
                </a:lnTo>
                <a:lnTo>
                  <a:pt x="705326" y="534829"/>
                </a:lnTo>
                <a:lnTo>
                  <a:pt x="408146" y="1049179"/>
                </a:lnTo>
                <a:lnTo>
                  <a:pt x="639604" y="1182529"/>
                </a:lnTo>
                <a:lnTo>
                  <a:pt x="700564" y="1075849"/>
                </a:lnTo>
                <a:lnTo>
                  <a:pt x="1008221" y="1075849"/>
                </a:lnTo>
                <a:lnTo>
                  <a:pt x="1411129" y="1308259"/>
                </a:lnTo>
                <a:lnTo>
                  <a:pt x="1411129" y="1399699"/>
                </a:lnTo>
                <a:lnTo>
                  <a:pt x="1411129" y="1399699"/>
                </a:lnTo>
                <a:lnTo>
                  <a:pt x="1518761" y="1503521"/>
                </a:lnTo>
                <a:lnTo>
                  <a:pt x="1951196" y="1345406"/>
                </a:lnTo>
                <a:lnTo>
                  <a:pt x="1951196" y="1224439"/>
                </a:lnTo>
                <a:lnTo>
                  <a:pt x="1451134" y="813911"/>
                </a:lnTo>
                <a:lnTo>
                  <a:pt x="999649" y="925354"/>
                </a:lnTo>
                <a:close/>
                <a:moveTo>
                  <a:pt x="1847374" y="534829"/>
                </a:moveTo>
                <a:lnTo>
                  <a:pt x="1751171" y="590074"/>
                </a:lnTo>
                <a:lnTo>
                  <a:pt x="1411129" y="428149"/>
                </a:lnTo>
                <a:lnTo>
                  <a:pt x="925354" y="697706"/>
                </a:lnTo>
                <a:lnTo>
                  <a:pt x="1032986" y="805339"/>
                </a:lnTo>
                <a:lnTo>
                  <a:pt x="1477804" y="696754"/>
                </a:lnTo>
                <a:lnTo>
                  <a:pt x="2001679" y="1127284"/>
                </a:lnTo>
                <a:lnTo>
                  <a:pt x="2002631" y="1129189"/>
                </a:lnTo>
                <a:lnTo>
                  <a:pt x="2003584" y="1128236"/>
                </a:lnTo>
                <a:lnTo>
                  <a:pt x="2004536" y="1129189"/>
                </a:lnTo>
                <a:lnTo>
                  <a:pt x="2004536" y="1128236"/>
                </a:lnTo>
                <a:lnTo>
                  <a:pt x="2143601" y="1048226"/>
                </a:lnTo>
                <a:lnTo>
                  <a:pt x="1847374" y="534829"/>
                </a:lnTo>
                <a:close/>
                <a:moveTo>
                  <a:pt x="1886426" y="387191"/>
                </a:moveTo>
                <a:lnTo>
                  <a:pt x="2291239" y="1088231"/>
                </a:lnTo>
                <a:lnTo>
                  <a:pt x="2544604" y="941546"/>
                </a:lnTo>
                <a:lnTo>
                  <a:pt x="2544604" y="7144"/>
                </a:lnTo>
                <a:lnTo>
                  <a:pt x="1886426" y="387191"/>
                </a:lnTo>
                <a:close/>
                <a:moveTo>
                  <a:pt x="7144" y="7144"/>
                </a:moveTo>
                <a:lnTo>
                  <a:pt x="7144" y="942499"/>
                </a:lnTo>
                <a:lnTo>
                  <a:pt x="260509" y="1089184"/>
                </a:lnTo>
                <a:lnTo>
                  <a:pt x="665321" y="388144"/>
                </a:lnTo>
                <a:lnTo>
                  <a:pt x="7144" y="7144"/>
                </a:lnTo>
                <a:close/>
              </a:path>
            </a:pathLst>
          </a:custGeom>
          <a:solidFill>
            <a:srgbClr val="66667E"/>
          </a:solidFill>
          <a:ln w="9525" cap="flat">
            <a:noFill/>
            <a:prstDash val="solid"/>
            <a:miter/>
          </a:ln>
        </p:spPr>
        <p:txBody>
          <a:bodyPr rtlCol="0" anchor="ctr"/>
          <a:lstStyle/>
          <a:p>
            <a:endParaRPr lang="en-US" sz="1799" dirty="0"/>
          </a:p>
        </p:txBody>
      </p:sp>
      <p:pic>
        <p:nvPicPr>
          <p:cNvPr id="84" name="Graphic 83">
            <a:extLst>
              <a:ext uri="{FF2B5EF4-FFF2-40B4-BE49-F238E27FC236}">
                <a16:creationId xmlns:a16="http://schemas.microsoft.com/office/drawing/2014/main" id="{20C3AEFC-90D6-4EE6-8345-F5433490379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012450" y="2379491"/>
            <a:ext cx="804834" cy="791588"/>
          </a:xfrm>
          <a:prstGeom prst="rect">
            <a:avLst/>
          </a:prstGeom>
        </p:spPr>
      </p:pic>
      <p:sp>
        <p:nvSpPr>
          <p:cNvPr id="94" name="Freeform: Shape 93">
            <a:extLst>
              <a:ext uri="{FF2B5EF4-FFF2-40B4-BE49-F238E27FC236}">
                <a16:creationId xmlns:a16="http://schemas.microsoft.com/office/drawing/2014/main" id="{5CC7535D-E33F-4730-BB41-2235921DC485}"/>
              </a:ext>
            </a:extLst>
          </p:cNvPr>
          <p:cNvSpPr>
            <a:spLocks noChangeAspect="1"/>
          </p:cNvSpPr>
          <p:nvPr/>
        </p:nvSpPr>
        <p:spPr>
          <a:xfrm>
            <a:off x="9929120" y="4740373"/>
            <a:ext cx="971494" cy="971122"/>
          </a:xfrm>
          <a:custGeom>
            <a:avLst/>
            <a:gdLst>
              <a:gd name="connsiteX0" fmla="*/ 673872 w 1078769"/>
              <a:gd name="connsiteY0" fmla="*/ 357263 h 1078358"/>
              <a:gd name="connsiteX1" fmla="*/ 788442 w 1078769"/>
              <a:gd name="connsiteY1" fmla="*/ 357263 h 1078358"/>
              <a:gd name="connsiteX2" fmla="*/ 788442 w 1078769"/>
              <a:gd name="connsiteY2" fmla="*/ 885354 h 1078358"/>
              <a:gd name="connsiteX3" fmla="*/ 1013476 w 1078769"/>
              <a:gd name="connsiteY3" fmla="*/ 717810 h 1078358"/>
              <a:gd name="connsiteX4" fmla="*/ 1078769 w 1078769"/>
              <a:gd name="connsiteY4" fmla="*/ 804457 h 1078358"/>
              <a:gd name="connsiteX5" fmla="*/ 731362 w 1078769"/>
              <a:gd name="connsiteY5" fmla="*/ 1078358 h 1078358"/>
              <a:gd name="connsiteX6" fmla="*/ 383544 w 1078769"/>
              <a:gd name="connsiteY6" fmla="*/ 804457 h 1078358"/>
              <a:gd name="connsiteX7" fmla="*/ 448837 w 1078769"/>
              <a:gd name="connsiteY7" fmla="*/ 717810 h 1078358"/>
              <a:gd name="connsiteX8" fmla="*/ 673872 w 1078769"/>
              <a:gd name="connsiteY8" fmla="*/ 885354 h 1078358"/>
              <a:gd name="connsiteX9" fmla="*/ 367118 w 1078769"/>
              <a:gd name="connsiteY9" fmla="*/ 0 h 1078358"/>
              <a:gd name="connsiteX10" fmla="*/ 555194 w 1078769"/>
              <a:gd name="connsiteY10" fmla="*/ 39833 h 1078358"/>
              <a:gd name="connsiteX11" fmla="*/ 518646 w 1078769"/>
              <a:gd name="connsiteY11" fmla="*/ 142494 h 1078358"/>
              <a:gd name="connsiteX12" fmla="*/ 386007 w 1078769"/>
              <a:gd name="connsiteY12" fmla="*/ 105125 h 1078358"/>
              <a:gd name="connsiteX13" fmla="*/ 228319 w 1078769"/>
              <a:gd name="connsiteY13" fmla="*/ 235711 h 1078358"/>
              <a:gd name="connsiteX14" fmla="*/ 485384 w 1078769"/>
              <a:gd name="connsiteY14" fmla="*/ 235711 h 1078358"/>
              <a:gd name="connsiteX15" fmla="*/ 463209 w 1078769"/>
              <a:gd name="connsiteY15" fmla="*/ 299772 h 1078358"/>
              <a:gd name="connsiteX16" fmla="*/ 222570 w 1078769"/>
              <a:gd name="connsiteY16" fmla="*/ 299772 h 1078358"/>
              <a:gd name="connsiteX17" fmla="*/ 221749 w 1078769"/>
              <a:gd name="connsiteY17" fmla="*/ 307985 h 1078358"/>
              <a:gd name="connsiteX18" fmla="*/ 221749 w 1078769"/>
              <a:gd name="connsiteY18" fmla="*/ 320304 h 1078358"/>
              <a:gd name="connsiteX19" fmla="*/ 224623 w 1078769"/>
              <a:gd name="connsiteY19" fmla="*/ 353156 h 1078358"/>
              <a:gd name="connsiteX20" fmla="*/ 444319 w 1078769"/>
              <a:gd name="connsiteY20" fmla="*/ 353156 h 1078358"/>
              <a:gd name="connsiteX21" fmla="*/ 421323 w 1078769"/>
              <a:gd name="connsiteY21" fmla="*/ 418038 h 1078358"/>
              <a:gd name="connsiteX22" fmla="*/ 236943 w 1078769"/>
              <a:gd name="connsiteY22" fmla="*/ 418038 h 1078358"/>
              <a:gd name="connsiteX23" fmla="*/ 396684 w 1078769"/>
              <a:gd name="connsiteY23" fmla="*/ 533019 h 1078358"/>
              <a:gd name="connsiteX24" fmla="*/ 526859 w 1078769"/>
              <a:gd name="connsiteY24" fmla="*/ 498114 h 1078358"/>
              <a:gd name="connsiteX25" fmla="*/ 555604 w 1078769"/>
              <a:gd name="connsiteY25" fmla="*/ 604471 h 1078358"/>
              <a:gd name="connsiteX26" fmla="*/ 374509 w 1078769"/>
              <a:gd name="connsiteY26" fmla="*/ 638144 h 1078358"/>
              <a:gd name="connsiteX27" fmla="*/ 91985 w 1078769"/>
              <a:gd name="connsiteY27" fmla="*/ 418038 h 1078358"/>
              <a:gd name="connsiteX28" fmla="*/ 0 w 1078769"/>
              <a:gd name="connsiteY28" fmla="*/ 418038 h 1078358"/>
              <a:gd name="connsiteX29" fmla="*/ 22996 w 1078769"/>
              <a:gd name="connsiteY29" fmla="*/ 352745 h 1078358"/>
              <a:gd name="connsiteX30" fmla="*/ 83772 w 1078769"/>
              <a:gd name="connsiteY30" fmla="*/ 352745 h 1078358"/>
              <a:gd name="connsiteX31" fmla="*/ 82950 w 1078769"/>
              <a:gd name="connsiteY31" fmla="*/ 330570 h 1078358"/>
              <a:gd name="connsiteX32" fmla="*/ 83772 w 1078769"/>
              <a:gd name="connsiteY32" fmla="*/ 299361 h 1078358"/>
              <a:gd name="connsiteX33" fmla="*/ 0 w 1078769"/>
              <a:gd name="connsiteY33" fmla="*/ 299361 h 1078358"/>
              <a:gd name="connsiteX34" fmla="*/ 22996 w 1078769"/>
              <a:gd name="connsiteY34" fmla="*/ 235300 h 1078358"/>
              <a:gd name="connsiteX35" fmla="*/ 91985 w 1078769"/>
              <a:gd name="connsiteY35" fmla="*/ 235300 h 1078358"/>
              <a:gd name="connsiteX36" fmla="*/ 367118 w 1078769"/>
              <a:gd name="connsiteY36" fmla="*/ 0 h 1078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078769" h="1078358">
                <a:moveTo>
                  <a:pt x="673872" y="357263"/>
                </a:moveTo>
                <a:lnTo>
                  <a:pt x="788442" y="357263"/>
                </a:lnTo>
                <a:lnTo>
                  <a:pt x="788442" y="885354"/>
                </a:lnTo>
                <a:lnTo>
                  <a:pt x="1013476" y="717810"/>
                </a:lnTo>
                <a:lnTo>
                  <a:pt x="1078769" y="804457"/>
                </a:lnTo>
                <a:lnTo>
                  <a:pt x="731362" y="1078358"/>
                </a:lnTo>
                <a:lnTo>
                  <a:pt x="383544" y="804457"/>
                </a:lnTo>
                <a:lnTo>
                  <a:pt x="448837" y="717810"/>
                </a:lnTo>
                <a:lnTo>
                  <a:pt x="673872" y="885354"/>
                </a:lnTo>
                <a:close/>
                <a:moveTo>
                  <a:pt x="367118" y="0"/>
                </a:moveTo>
                <a:cubicBezTo>
                  <a:pt x="438570" y="0"/>
                  <a:pt x="501810" y="13551"/>
                  <a:pt x="555194" y="39833"/>
                </a:cubicBezTo>
                <a:lnTo>
                  <a:pt x="518646" y="142494"/>
                </a:lnTo>
                <a:cubicBezTo>
                  <a:pt x="469779" y="115802"/>
                  <a:pt x="432411" y="105125"/>
                  <a:pt x="386007" y="105125"/>
                </a:cubicBezTo>
                <a:cubicBezTo>
                  <a:pt x="297718" y="105125"/>
                  <a:pt x="246798" y="147011"/>
                  <a:pt x="228319" y="235711"/>
                </a:cubicBezTo>
                <a:lnTo>
                  <a:pt x="485384" y="235711"/>
                </a:lnTo>
                <a:lnTo>
                  <a:pt x="463209" y="299772"/>
                </a:lnTo>
                <a:lnTo>
                  <a:pt x="222570" y="299772"/>
                </a:lnTo>
                <a:lnTo>
                  <a:pt x="221749" y="307985"/>
                </a:lnTo>
                <a:lnTo>
                  <a:pt x="221749" y="320304"/>
                </a:lnTo>
                <a:cubicBezTo>
                  <a:pt x="221749" y="330981"/>
                  <a:pt x="222981" y="339604"/>
                  <a:pt x="224623" y="353156"/>
                </a:cubicBezTo>
                <a:lnTo>
                  <a:pt x="444319" y="353156"/>
                </a:lnTo>
                <a:lnTo>
                  <a:pt x="421323" y="418038"/>
                </a:lnTo>
                <a:lnTo>
                  <a:pt x="236943" y="418038"/>
                </a:lnTo>
                <a:cubicBezTo>
                  <a:pt x="262814" y="498114"/>
                  <a:pt x="310038" y="533019"/>
                  <a:pt x="396684" y="533019"/>
                </a:cubicBezTo>
                <a:cubicBezTo>
                  <a:pt x="442266" y="533019"/>
                  <a:pt x="482099" y="522342"/>
                  <a:pt x="526859" y="498114"/>
                </a:cubicBezTo>
                <a:lnTo>
                  <a:pt x="555604" y="604471"/>
                </a:lnTo>
                <a:cubicBezTo>
                  <a:pt x="500988" y="627468"/>
                  <a:pt x="443087" y="638144"/>
                  <a:pt x="374509" y="638144"/>
                </a:cubicBezTo>
                <a:cubicBezTo>
                  <a:pt x="223802" y="638144"/>
                  <a:pt x="121551" y="558890"/>
                  <a:pt x="91985" y="418038"/>
                </a:cubicBezTo>
                <a:lnTo>
                  <a:pt x="0" y="418038"/>
                </a:lnTo>
                <a:lnTo>
                  <a:pt x="22996" y="352745"/>
                </a:lnTo>
                <a:lnTo>
                  <a:pt x="83772" y="352745"/>
                </a:lnTo>
                <a:cubicBezTo>
                  <a:pt x="82950" y="344122"/>
                  <a:pt x="82950" y="339604"/>
                  <a:pt x="82950" y="330570"/>
                </a:cubicBezTo>
                <a:cubicBezTo>
                  <a:pt x="82950" y="318251"/>
                  <a:pt x="82950" y="311680"/>
                  <a:pt x="83772" y="299361"/>
                </a:cubicBezTo>
                <a:lnTo>
                  <a:pt x="0" y="299361"/>
                </a:lnTo>
                <a:lnTo>
                  <a:pt x="22996" y="235300"/>
                </a:lnTo>
                <a:lnTo>
                  <a:pt x="91985" y="235300"/>
                </a:lnTo>
                <a:cubicBezTo>
                  <a:pt x="123194" y="84593"/>
                  <a:pt x="222981" y="0"/>
                  <a:pt x="367118" y="0"/>
                </a:cubicBezTo>
                <a:close/>
              </a:path>
            </a:pathLst>
          </a:custGeom>
          <a:solidFill>
            <a:srgbClr val="66667E"/>
          </a:solidFill>
          <a:ln w="9525" cap="flat">
            <a:noFill/>
            <a:prstDash val="solid"/>
            <a:miter/>
          </a:ln>
        </p:spPr>
        <p:txBody>
          <a:bodyPr rtlCol="0" anchor="ctr"/>
          <a:lstStyle/>
          <a:p>
            <a:endParaRPr lang="en-US" sz="1799" dirty="0"/>
          </a:p>
        </p:txBody>
      </p:sp>
      <p:pic>
        <p:nvPicPr>
          <p:cNvPr id="96" name="Graphic 95">
            <a:extLst>
              <a:ext uri="{FF2B5EF4-FFF2-40B4-BE49-F238E27FC236}">
                <a16:creationId xmlns:a16="http://schemas.microsoft.com/office/drawing/2014/main" id="{C595A3A7-704C-4B40-853D-66B095DA0DF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117503" y="2415382"/>
            <a:ext cx="1079438" cy="985396"/>
          </a:xfrm>
          <a:prstGeom prst="rect">
            <a:avLst/>
          </a:prstGeom>
        </p:spPr>
      </p:pic>
      <p:pic>
        <p:nvPicPr>
          <p:cNvPr id="98" name="Graphic 97">
            <a:extLst>
              <a:ext uri="{FF2B5EF4-FFF2-40B4-BE49-F238E27FC236}">
                <a16:creationId xmlns:a16="http://schemas.microsoft.com/office/drawing/2014/main" id="{2EBE41B4-4294-4697-B08D-F37BC93CBB6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168086" y="4704020"/>
            <a:ext cx="978272" cy="1007475"/>
          </a:xfrm>
          <a:prstGeom prst="rect">
            <a:avLst/>
          </a:prstGeom>
        </p:spPr>
      </p:pic>
      <p:sp>
        <p:nvSpPr>
          <p:cNvPr id="3" name="Footer Placeholder 2">
            <a:extLst>
              <a:ext uri="{FF2B5EF4-FFF2-40B4-BE49-F238E27FC236}">
                <a16:creationId xmlns:a16="http://schemas.microsoft.com/office/drawing/2014/main" id="{B1F09423-D2C3-4AD4-A56E-3B1F7FF7693A}"/>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0192F350-D7D5-475B-89A0-CC0BA9793066}"/>
              </a:ext>
            </a:extLst>
          </p:cNvPr>
          <p:cNvSpPr>
            <a:spLocks noGrp="1"/>
          </p:cNvSpPr>
          <p:nvPr>
            <p:ph type="sldNum" sz="quarter" idx="11"/>
          </p:nvPr>
        </p:nvSpPr>
        <p:spPr/>
        <p:txBody>
          <a:bodyPr/>
          <a:lstStyle/>
          <a:p>
            <a:r>
              <a:rPr lang="en-US" dirty="0"/>
              <a:t>Page </a:t>
            </a:r>
            <a:fld id="{15EBE321-CBB1-4E91-BD14-37C8D44326FB}" type="slidenum">
              <a:rPr lang="en-US" smtClean="0"/>
              <a:pPr/>
              <a:t>142</a:t>
            </a:fld>
            <a:endParaRPr lang="en-US" dirty="0"/>
          </a:p>
        </p:txBody>
      </p:sp>
    </p:spTree>
    <p:extLst>
      <p:ext uri="{BB962C8B-B14F-4D97-AF65-F5344CB8AC3E}">
        <p14:creationId xmlns:p14="http://schemas.microsoft.com/office/powerpoint/2010/main" val="148177794"/>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Matrix – eight boxes, with text and icons</a:t>
            </a:r>
          </a:p>
        </p:txBody>
      </p:sp>
      <p:sp>
        <p:nvSpPr>
          <p:cNvPr id="21" name="Rechteck 20"/>
          <p:cNvSpPr>
            <a:spLocks/>
          </p:cNvSpPr>
          <p:nvPr/>
        </p:nvSpPr>
        <p:spPr bwMode="gray">
          <a:xfrm>
            <a:off x="410400" y="3863061"/>
            <a:ext cx="2736000" cy="2303286"/>
          </a:xfrm>
          <a:prstGeom prst="rect">
            <a:avLst/>
          </a:prstGeom>
          <a:solidFill>
            <a:srgbClr val="00FFB9"/>
          </a:solidFill>
          <a:ln w="19050">
            <a:noFill/>
            <a:miter lim="800000"/>
          </a:ln>
          <a:effectLst/>
        </p:spPr>
        <p:txBody>
          <a:bodyPr lIns="143925" tIns="143925" rIns="143925" bIns="143925" rtlCol="0" anchor="t"/>
          <a:lstStyle/>
          <a:p>
            <a:pPr marL="0" lvl="1" eaLnBrk="0" hangingPunct="0">
              <a:lnSpc>
                <a:spcPct val="90000"/>
              </a:lnSpc>
            </a:pPr>
            <a:r>
              <a:rPr lang="en-US" sz="1799" b="1" dirty="0">
                <a:solidFill>
                  <a:schemeClr val="bg2"/>
                </a:solidFill>
              </a:rPr>
              <a:t>Consetetur sadipscing elitr, seddiam nonumy</a:t>
            </a:r>
          </a:p>
        </p:txBody>
      </p:sp>
      <p:sp>
        <p:nvSpPr>
          <p:cNvPr id="22" name="Rechteck 21"/>
          <p:cNvSpPr>
            <a:spLocks/>
          </p:cNvSpPr>
          <p:nvPr/>
        </p:nvSpPr>
        <p:spPr bwMode="gray">
          <a:xfrm>
            <a:off x="3289222" y="3863061"/>
            <a:ext cx="2736000" cy="2303286"/>
          </a:xfrm>
          <a:prstGeom prst="rect">
            <a:avLst/>
          </a:prstGeom>
          <a:solidFill>
            <a:srgbClr val="333353"/>
          </a:solidFill>
          <a:ln w="19050">
            <a:noFill/>
            <a:miter lim="800000"/>
          </a:ln>
          <a:effectLst/>
        </p:spPr>
        <p:txBody>
          <a:bodyPr lIns="143925" tIns="143925" rIns="143925" bIns="143925" rtlCol="0" anchor="t"/>
          <a:lstStyle/>
          <a:p>
            <a:pPr marL="0" lvl="1" eaLnBrk="0" hangingPunct="0">
              <a:lnSpc>
                <a:spcPct val="90000"/>
              </a:lnSpc>
            </a:pPr>
            <a:r>
              <a:rPr lang="en-US" sz="1799" dirty="0">
                <a:solidFill>
                  <a:srgbClr val="9999A9"/>
                </a:solidFill>
              </a:rPr>
              <a:t>Stet clita kasd gubergren</a:t>
            </a:r>
          </a:p>
        </p:txBody>
      </p:sp>
      <p:sp>
        <p:nvSpPr>
          <p:cNvPr id="23" name="Rechteck 22"/>
          <p:cNvSpPr>
            <a:spLocks/>
          </p:cNvSpPr>
          <p:nvPr/>
        </p:nvSpPr>
        <p:spPr bwMode="gray">
          <a:xfrm>
            <a:off x="6168044" y="3863061"/>
            <a:ext cx="2736000" cy="2303286"/>
          </a:xfrm>
          <a:prstGeom prst="rect">
            <a:avLst/>
          </a:prstGeom>
          <a:solidFill>
            <a:srgbClr val="00FFB9"/>
          </a:solidFill>
          <a:ln w="19050">
            <a:noFill/>
            <a:miter lim="800000"/>
          </a:ln>
          <a:effectLst/>
        </p:spPr>
        <p:txBody>
          <a:bodyPr lIns="143925" tIns="143925" rIns="143925" bIns="143925" rtlCol="0" anchor="t"/>
          <a:lstStyle/>
          <a:p>
            <a:pPr marL="0" lvl="1" eaLnBrk="0" hangingPunct="0">
              <a:lnSpc>
                <a:spcPct val="90000"/>
              </a:lnSpc>
            </a:pPr>
            <a:r>
              <a:rPr lang="en-US" sz="1799" b="1" dirty="0">
                <a:solidFill>
                  <a:schemeClr val="bg2"/>
                </a:solidFill>
              </a:rPr>
              <a:t>Stet clita kasd gubergren, no sea</a:t>
            </a:r>
          </a:p>
        </p:txBody>
      </p:sp>
      <p:sp>
        <p:nvSpPr>
          <p:cNvPr id="24" name="Rechteck 23"/>
          <p:cNvSpPr>
            <a:spLocks/>
          </p:cNvSpPr>
          <p:nvPr/>
        </p:nvSpPr>
        <p:spPr bwMode="gray">
          <a:xfrm>
            <a:off x="9046867" y="3863061"/>
            <a:ext cx="2736000" cy="2303286"/>
          </a:xfrm>
          <a:prstGeom prst="rect">
            <a:avLst/>
          </a:prstGeom>
          <a:solidFill>
            <a:srgbClr val="333353"/>
          </a:solidFill>
          <a:ln w="19050">
            <a:noFill/>
            <a:miter lim="800000"/>
          </a:ln>
          <a:effectLst/>
        </p:spPr>
        <p:txBody>
          <a:bodyPr lIns="143925" tIns="143925" rIns="143925" bIns="143925" rtlCol="0" anchor="t"/>
          <a:lstStyle/>
          <a:p>
            <a:pPr marL="0" lvl="1" eaLnBrk="0" hangingPunct="0">
              <a:lnSpc>
                <a:spcPct val="90000"/>
              </a:lnSpc>
            </a:pPr>
            <a:r>
              <a:rPr lang="en-US" sz="1799" dirty="0">
                <a:solidFill>
                  <a:srgbClr val="9999A9"/>
                </a:solidFill>
              </a:rPr>
              <a:t>At vero eos et accusam</a:t>
            </a:r>
          </a:p>
        </p:txBody>
      </p:sp>
      <p:sp>
        <p:nvSpPr>
          <p:cNvPr id="17" name="Rechteck 16"/>
          <p:cNvSpPr>
            <a:spLocks/>
          </p:cNvSpPr>
          <p:nvPr/>
        </p:nvSpPr>
        <p:spPr bwMode="gray">
          <a:xfrm>
            <a:off x="410400" y="1415849"/>
            <a:ext cx="2736000" cy="2295604"/>
          </a:xfrm>
          <a:prstGeom prst="rect">
            <a:avLst/>
          </a:prstGeom>
          <a:solidFill>
            <a:srgbClr val="333353"/>
          </a:solidFill>
          <a:ln w="19050">
            <a:noFill/>
            <a:miter lim="800000"/>
          </a:ln>
          <a:effectLst/>
        </p:spPr>
        <p:txBody>
          <a:bodyPr lIns="143925" tIns="143925" rIns="143925" bIns="143925" rtlCol="0" anchor="t"/>
          <a:lstStyle/>
          <a:p>
            <a:pPr marL="0" lvl="1" eaLnBrk="0" hangingPunct="0">
              <a:lnSpc>
                <a:spcPct val="90000"/>
              </a:lnSpc>
            </a:pPr>
            <a:r>
              <a:rPr lang="en-US" sz="1799" dirty="0">
                <a:solidFill>
                  <a:srgbClr val="9999A9"/>
                </a:solidFill>
              </a:rPr>
              <a:t>At vero eos et accusam</a:t>
            </a:r>
          </a:p>
        </p:txBody>
      </p:sp>
      <p:sp>
        <p:nvSpPr>
          <p:cNvPr id="18" name="Rechteck 17"/>
          <p:cNvSpPr>
            <a:spLocks/>
          </p:cNvSpPr>
          <p:nvPr/>
        </p:nvSpPr>
        <p:spPr bwMode="gray">
          <a:xfrm>
            <a:off x="3289222" y="1415849"/>
            <a:ext cx="2736000" cy="2295604"/>
          </a:xfrm>
          <a:prstGeom prst="rect">
            <a:avLst/>
          </a:prstGeom>
          <a:solidFill>
            <a:srgbClr val="00FFB9"/>
          </a:solidFill>
          <a:ln w="19050">
            <a:noFill/>
            <a:miter lim="800000"/>
          </a:ln>
          <a:effectLst/>
        </p:spPr>
        <p:txBody>
          <a:bodyPr lIns="143925" tIns="143925" rIns="143925" bIns="143925" rtlCol="0" anchor="t"/>
          <a:lstStyle/>
          <a:p>
            <a:pPr marL="0" lvl="1" eaLnBrk="0" hangingPunct="0">
              <a:lnSpc>
                <a:spcPct val="90000"/>
              </a:lnSpc>
            </a:pPr>
            <a:r>
              <a:rPr lang="en-US" sz="1799" b="1" dirty="0">
                <a:solidFill>
                  <a:schemeClr val="bg2"/>
                </a:solidFill>
              </a:rPr>
              <a:t>Sanctus est lorem ipsum dolor sit amet</a:t>
            </a:r>
          </a:p>
        </p:txBody>
      </p:sp>
      <p:sp>
        <p:nvSpPr>
          <p:cNvPr id="19" name="Rechteck 18"/>
          <p:cNvSpPr>
            <a:spLocks/>
          </p:cNvSpPr>
          <p:nvPr/>
        </p:nvSpPr>
        <p:spPr bwMode="gray">
          <a:xfrm>
            <a:off x="6168044" y="1415849"/>
            <a:ext cx="2736000" cy="2295604"/>
          </a:xfrm>
          <a:prstGeom prst="rect">
            <a:avLst/>
          </a:prstGeom>
          <a:solidFill>
            <a:srgbClr val="333353"/>
          </a:solidFill>
          <a:ln w="19050">
            <a:noFill/>
            <a:miter lim="800000"/>
          </a:ln>
          <a:effectLst/>
        </p:spPr>
        <p:txBody>
          <a:bodyPr lIns="143925" tIns="143925" rIns="143925" bIns="143925" rtlCol="0" anchor="t"/>
          <a:lstStyle/>
          <a:p>
            <a:pPr marL="0" lvl="1" eaLnBrk="0" hangingPunct="0">
              <a:lnSpc>
                <a:spcPct val="90000"/>
              </a:lnSpc>
            </a:pPr>
            <a:r>
              <a:rPr lang="en-US" sz="1799" dirty="0">
                <a:solidFill>
                  <a:srgbClr val="9999A9"/>
                </a:solidFill>
              </a:rPr>
              <a:t>Consetetur sadipscing elitr, seddiam nonumy</a:t>
            </a:r>
          </a:p>
        </p:txBody>
      </p:sp>
      <p:sp>
        <p:nvSpPr>
          <p:cNvPr id="20" name="Rechteck 19"/>
          <p:cNvSpPr>
            <a:spLocks/>
          </p:cNvSpPr>
          <p:nvPr/>
        </p:nvSpPr>
        <p:spPr bwMode="gray">
          <a:xfrm>
            <a:off x="9046867" y="1415849"/>
            <a:ext cx="2736000" cy="2295604"/>
          </a:xfrm>
          <a:prstGeom prst="rect">
            <a:avLst/>
          </a:prstGeom>
          <a:solidFill>
            <a:srgbClr val="00FFB9"/>
          </a:solidFill>
          <a:ln w="19050">
            <a:noFill/>
            <a:miter lim="800000"/>
          </a:ln>
          <a:effectLst/>
        </p:spPr>
        <p:txBody>
          <a:bodyPr lIns="143925" tIns="143925" rIns="143925" bIns="143925" rtlCol="0" anchor="t"/>
          <a:lstStyle/>
          <a:p>
            <a:pPr marL="0" lvl="1" eaLnBrk="0" hangingPunct="0">
              <a:lnSpc>
                <a:spcPct val="90000"/>
              </a:lnSpc>
            </a:pPr>
            <a:r>
              <a:rPr lang="en-US" sz="1799" b="1" dirty="0">
                <a:solidFill>
                  <a:schemeClr val="bg2"/>
                </a:solidFill>
              </a:rPr>
              <a:t>Cras ultricies mi eu</a:t>
            </a:r>
          </a:p>
        </p:txBody>
      </p:sp>
      <p:grpSp>
        <p:nvGrpSpPr>
          <p:cNvPr id="74" name="Group 73">
            <a:extLst>
              <a:ext uri="{FF2B5EF4-FFF2-40B4-BE49-F238E27FC236}">
                <a16:creationId xmlns:a16="http://schemas.microsoft.com/office/drawing/2014/main" id="{48A8DC14-3B31-410F-8763-E54A6DB24E96}"/>
              </a:ext>
            </a:extLst>
          </p:cNvPr>
          <p:cNvGrpSpPr>
            <a:grpSpLocks noChangeAspect="1"/>
          </p:cNvGrpSpPr>
          <p:nvPr/>
        </p:nvGrpSpPr>
        <p:grpSpPr>
          <a:xfrm>
            <a:off x="1238681" y="2487631"/>
            <a:ext cx="1079438" cy="683449"/>
            <a:chOff x="1289120" y="741343"/>
            <a:chExt cx="1620202" cy="1025842"/>
          </a:xfrm>
        </p:grpSpPr>
        <p:sp>
          <p:nvSpPr>
            <p:cNvPr id="75" name="Freeform: Shape 74">
              <a:extLst>
                <a:ext uri="{FF2B5EF4-FFF2-40B4-BE49-F238E27FC236}">
                  <a16:creationId xmlns:a16="http://schemas.microsoft.com/office/drawing/2014/main" id="{DD73D5F0-C21F-4A5E-B69B-DD42020E3185}"/>
                </a:ext>
              </a:extLst>
            </p:cNvPr>
            <p:cNvSpPr/>
            <p:nvPr/>
          </p:nvSpPr>
          <p:spPr>
            <a:xfrm>
              <a:off x="1289120" y="741343"/>
              <a:ext cx="1620202" cy="1025842"/>
            </a:xfrm>
            <a:custGeom>
              <a:avLst/>
              <a:gdLst>
                <a:gd name="connsiteX0" fmla="*/ 287655 w 1620202"/>
                <a:gd name="connsiteY0" fmla="*/ 610552 h 1025842"/>
                <a:gd name="connsiteX1" fmla="*/ 136207 w 1620202"/>
                <a:gd name="connsiteY1" fmla="*/ 763905 h 1025842"/>
                <a:gd name="connsiteX2" fmla="*/ 287655 w 1620202"/>
                <a:gd name="connsiteY2" fmla="*/ 917257 h 1025842"/>
                <a:gd name="connsiteX3" fmla="*/ 438150 w 1620202"/>
                <a:gd name="connsiteY3" fmla="*/ 781050 h 1025842"/>
                <a:gd name="connsiteX4" fmla="*/ 323850 w 1620202"/>
                <a:gd name="connsiteY4" fmla="*/ 637222 h 1025842"/>
                <a:gd name="connsiteX5" fmla="*/ 325755 w 1620202"/>
                <a:gd name="connsiteY5" fmla="*/ 615315 h 1025842"/>
                <a:gd name="connsiteX6" fmla="*/ 287655 w 1620202"/>
                <a:gd name="connsiteY6" fmla="*/ 610552 h 1025842"/>
                <a:gd name="connsiteX7" fmla="*/ 1355407 w 1620202"/>
                <a:gd name="connsiteY7" fmla="*/ 595312 h 1025842"/>
                <a:gd name="connsiteX8" fmla="*/ 1221105 w 1620202"/>
                <a:gd name="connsiteY8" fmla="*/ 709612 h 1025842"/>
                <a:gd name="connsiteX9" fmla="*/ 1187767 w 1620202"/>
                <a:gd name="connsiteY9" fmla="*/ 709612 h 1025842"/>
                <a:gd name="connsiteX10" fmla="*/ 1176337 w 1620202"/>
                <a:gd name="connsiteY10" fmla="*/ 741045 h 1025842"/>
                <a:gd name="connsiteX11" fmla="*/ 1217295 w 1620202"/>
                <a:gd name="connsiteY11" fmla="*/ 741045 h 1025842"/>
                <a:gd name="connsiteX12" fmla="*/ 1217295 w 1620202"/>
                <a:gd name="connsiteY12" fmla="*/ 756285 h 1025842"/>
                <a:gd name="connsiteX13" fmla="*/ 1218247 w 1620202"/>
                <a:gd name="connsiteY13" fmla="*/ 765810 h 1025842"/>
                <a:gd name="connsiteX14" fmla="*/ 1188720 w 1620202"/>
                <a:gd name="connsiteY14" fmla="*/ 765810 h 1025842"/>
                <a:gd name="connsiteX15" fmla="*/ 1177290 w 1620202"/>
                <a:gd name="connsiteY15" fmla="*/ 797242 h 1025842"/>
                <a:gd name="connsiteX16" fmla="*/ 1222057 w 1620202"/>
                <a:gd name="connsiteY16" fmla="*/ 797242 h 1025842"/>
                <a:gd name="connsiteX17" fmla="*/ 1359217 w 1620202"/>
                <a:gd name="connsiteY17" fmla="*/ 903922 h 1025842"/>
                <a:gd name="connsiteX18" fmla="*/ 1446847 w 1620202"/>
                <a:gd name="connsiteY18" fmla="*/ 887730 h 1025842"/>
                <a:gd name="connsiteX19" fmla="*/ 1432560 w 1620202"/>
                <a:gd name="connsiteY19" fmla="*/ 836295 h 1025842"/>
                <a:gd name="connsiteX20" fmla="*/ 1369695 w 1620202"/>
                <a:gd name="connsiteY20" fmla="*/ 853440 h 1025842"/>
                <a:gd name="connsiteX21" fmla="*/ 1292542 w 1620202"/>
                <a:gd name="connsiteY21" fmla="*/ 797242 h 1025842"/>
                <a:gd name="connsiteX22" fmla="*/ 1382077 w 1620202"/>
                <a:gd name="connsiteY22" fmla="*/ 797242 h 1025842"/>
                <a:gd name="connsiteX23" fmla="*/ 1393507 w 1620202"/>
                <a:gd name="connsiteY23" fmla="*/ 765810 h 1025842"/>
                <a:gd name="connsiteX24" fmla="*/ 1286827 w 1620202"/>
                <a:gd name="connsiteY24" fmla="*/ 765810 h 1025842"/>
                <a:gd name="connsiteX25" fmla="*/ 1285875 w 1620202"/>
                <a:gd name="connsiteY25" fmla="*/ 749617 h 1025842"/>
                <a:gd name="connsiteX26" fmla="*/ 1285875 w 1620202"/>
                <a:gd name="connsiteY26" fmla="*/ 743902 h 1025842"/>
                <a:gd name="connsiteX27" fmla="*/ 1285875 w 1620202"/>
                <a:gd name="connsiteY27" fmla="*/ 740092 h 1025842"/>
                <a:gd name="connsiteX28" fmla="*/ 1401127 w 1620202"/>
                <a:gd name="connsiteY28" fmla="*/ 740092 h 1025842"/>
                <a:gd name="connsiteX29" fmla="*/ 1411605 w 1620202"/>
                <a:gd name="connsiteY29" fmla="*/ 708660 h 1025842"/>
                <a:gd name="connsiteX30" fmla="*/ 1286827 w 1620202"/>
                <a:gd name="connsiteY30" fmla="*/ 708660 h 1025842"/>
                <a:gd name="connsiteX31" fmla="*/ 1363980 w 1620202"/>
                <a:gd name="connsiteY31" fmla="*/ 645795 h 1025842"/>
                <a:gd name="connsiteX32" fmla="*/ 1428750 w 1620202"/>
                <a:gd name="connsiteY32" fmla="*/ 663892 h 1025842"/>
                <a:gd name="connsiteX33" fmla="*/ 1446847 w 1620202"/>
                <a:gd name="connsiteY33" fmla="*/ 614362 h 1025842"/>
                <a:gd name="connsiteX34" fmla="*/ 1355407 w 1620202"/>
                <a:gd name="connsiteY34" fmla="*/ 595312 h 1025842"/>
                <a:gd name="connsiteX35" fmla="*/ 472440 w 1620202"/>
                <a:gd name="connsiteY35" fmla="*/ 516255 h 1025842"/>
                <a:gd name="connsiteX36" fmla="*/ 350520 w 1620202"/>
                <a:gd name="connsiteY36" fmla="*/ 638175 h 1025842"/>
                <a:gd name="connsiteX37" fmla="*/ 472440 w 1620202"/>
                <a:gd name="connsiteY37" fmla="*/ 760095 h 1025842"/>
                <a:gd name="connsiteX38" fmla="*/ 594360 w 1620202"/>
                <a:gd name="connsiteY38" fmla="*/ 638175 h 1025842"/>
                <a:gd name="connsiteX39" fmla="*/ 589512 w 1620202"/>
                <a:gd name="connsiteY39" fmla="*/ 614331 h 1025842"/>
                <a:gd name="connsiteX40" fmla="*/ 574441 w 1620202"/>
                <a:gd name="connsiteY40" fmla="*/ 614331 h 1025842"/>
                <a:gd name="connsiteX41" fmla="*/ 574441 w 1620202"/>
                <a:gd name="connsiteY41" fmla="*/ 575494 h 1025842"/>
                <a:gd name="connsiteX42" fmla="*/ 558403 w 1620202"/>
                <a:gd name="connsiteY42" fmla="*/ 551855 h 1025842"/>
                <a:gd name="connsiteX43" fmla="*/ 472440 w 1620202"/>
                <a:gd name="connsiteY43" fmla="*/ 516255 h 1025842"/>
                <a:gd name="connsiteX44" fmla="*/ 107632 w 1620202"/>
                <a:gd name="connsiteY44" fmla="*/ 0 h 1025842"/>
                <a:gd name="connsiteX45" fmla="*/ 1511617 w 1620202"/>
                <a:gd name="connsiteY45" fmla="*/ 0 h 1025842"/>
                <a:gd name="connsiteX46" fmla="*/ 1620202 w 1620202"/>
                <a:gd name="connsiteY46" fmla="*/ 107632 h 1025842"/>
                <a:gd name="connsiteX47" fmla="*/ 1620202 w 1620202"/>
                <a:gd name="connsiteY47" fmla="*/ 134302 h 1025842"/>
                <a:gd name="connsiteX48" fmla="*/ 1005853 w 1620202"/>
                <a:gd name="connsiteY48" fmla="*/ 134302 h 1025842"/>
                <a:gd name="connsiteX49" fmla="*/ 1005853 w 1620202"/>
                <a:gd name="connsiteY49" fmla="*/ 350520 h 1025842"/>
                <a:gd name="connsiteX50" fmla="*/ 1619250 w 1620202"/>
                <a:gd name="connsiteY50" fmla="*/ 350520 h 1025842"/>
                <a:gd name="connsiteX51" fmla="*/ 1619250 w 1620202"/>
                <a:gd name="connsiteY51" fmla="*/ 918210 h 1025842"/>
                <a:gd name="connsiteX52" fmla="*/ 1511617 w 1620202"/>
                <a:gd name="connsiteY52" fmla="*/ 1025842 h 1025842"/>
                <a:gd name="connsiteX53" fmla="*/ 107632 w 1620202"/>
                <a:gd name="connsiteY53" fmla="*/ 1025842 h 1025842"/>
                <a:gd name="connsiteX54" fmla="*/ 0 w 1620202"/>
                <a:gd name="connsiteY54" fmla="*/ 918210 h 1025842"/>
                <a:gd name="connsiteX55" fmla="*/ 0 w 1620202"/>
                <a:gd name="connsiteY55" fmla="*/ 350520 h 1025842"/>
                <a:gd name="connsiteX56" fmla="*/ 574441 w 1620202"/>
                <a:gd name="connsiteY56" fmla="*/ 350520 h 1025842"/>
                <a:gd name="connsiteX57" fmla="*/ 574441 w 1620202"/>
                <a:gd name="connsiteY57" fmla="*/ 134302 h 1025842"/>
                <a:gd name="connsiteX58" fmla="*/ 0 w 1620202"/>
                <a:gd name="connsiteY58" fmla="*/ 134302 h 1025842"/>
                <a:gd name="connsiteX59" fmla="*/ 0 w 1620202"/>
                <a:gd name="connsiteY59" fmla="*/ 107632 h 1025842"/>
                <a:gd name="connsiteX60" fmla="*/ 107632 w 1620202"/>
                <a:gd name="connsiteY60" fmla="*/ 0 h 1025842"/>
                <a:gd name="connsiteX0" fmla="*/ 287655 w 1620202"/>
                <a:gd name="connsiteY0" fmla="*/ 610552 h 1025842"/>
                <a:gd name="connsiteX1" fmla="*/ 136207 w 1620202"/>
                <a:gd name="connsiteY1" fmla="*/ 763905 h 1025842"/>
                <a:gd name="connsiteX2" fmla="*/ 287655 w 1620202"/>
                <a:gd name="connsiteY2" fmla="*/ 917257 h 1025842"/>
                <a:gd name="connsiteX3" fmla="*/ 438150 w 1620202"/>
                <a:gd name="connsiteY3" fmla="*/ 781050 h 1025842"/>
                <a:gd name="connsiteX4" fmla="*/ 323850 w 1620202"/>
                <a:gd name="connsiteY4" fmla="*/ 637222 h 1025842"/>
                <a:gd name="connsiteX5" fmla="*/ 325755 w 1620202"/>
                <a:gd name="connsiteY5" fmla="*/ 615315 h 1025842"/>
                <a:gd name="connsiteX6" fmla="*/ 287655 w 1620202"/>
                <a:gd name="connsiteY6" fmla="*/ 610552 h 1025842"/>
                <a:gd name="connsiteX7" fmla="*/ 1355407 w 1620202"/>
                <a:gd name="connsiteY7" fmla="*/ 595312 h 1025842"/>
                <a:gd name="connsiteX8" fmla="*/ 1221105 w 1620202"/>
                <a:gd name="connsiteY8" fmla="*/ 709612 h 1025842"/>
                <a:gd name="connsiteX9" fmla="*/ 1187767 w 1620202"/>
                <a:gd name="connsiteY9" fmla="*/ 709612 h 1025842"/>
                <a:gd name="connsiteX10" fmla="*/ 1176337 w 1620202"/>
                <a:gd name="connsiteY10" fmla="*/ 741045 h 1025842"/>
                <a:gd name="connsiteX11" fmla="*/ 1217295 w 1620202"/>
                <a:gd name="connsiteY11" fmla="*/ 741045 h 1025842"/>
                <a:gd name="connsiteX12" fmla="*/ 1217295 w 1620202"/>
                <a:gd name="connsiteY12" fmla="*/ 756285 h 1025842"/>
                <a:gd name="connsiteX13" fmla="*/ 1218247 w 1620202"/>
                <a:gd name="connsiteY13" fmla="*/ 765810 h 1025842"/>
                <a:gd name="connsiteX14" fmla="*/ 1188720 w 1620202"/>
                <a:gd name="connsiteY14" fmla="*/ 765810 h 1025842"/>
                <a:gd name="connsiteX15" fmla="*/ 1177290 w 1620202"/>
                <a:gd name="connsiteY15" fmla="*/ 797242 h 1025842"/>
                <a:gd name="connsiteX16" fmla="*/ 1222057 w 1620202"/>
                <a:gd name="connsiteY16" fmla="*/ 797242 h 1025842"/>
                <a:gd name="connsiteX17" fmla="*/ 1359217 w 1620202"/>
                <a:gd name="connsiteY17" fmla="*/ 903922 h 1025842"/>
                <a:gd name="connsiteX18" fmla="*/ 1446847 w 1620202"/>
                <a:gd name="connsiteY18" fmla="*/ 887730 h 1025842"/>
                <a:gd name="connsiteX19" fmla="*/ 1432560 w 1620202"/>
                <a:gd name="connsiteY19" fmla="*/ 836295 h 1025842"/>
                <a:gd name="connsiteX20" fmla="*/ 1369695 w 1620202"/>
                <a:gd name="connsiteY20" fmla="*/ 853440 h 1025842"/>
                <a:gd name="connsiteX21" fmla="*/ 1292542 w 1620202"/>
                <a:gd name="connsiteY21" fmla="*/ 797242 h 1025842"/>
                <a:gd name="connsiteX22" fmla="*/ 1382077 w 1620202"/>
                <a:gd name="connsiteY22" fmla="*/ 797242 h 1025842"/>
                <a:gd name="connsiteX23" fmla="*/ 1393507 w 1620202"/>
                <a:gd name="connsiteY23" fmla="*/ 765810 h 1025842"/>
                <a:gd name="connsiteX24" fmla="*/ 1286827 w 1620202"/>
                <a:gd name="connsiteY24" fmla="*/ 765810 h 1025842"/>
                <a:gd name="connsiteX25" fmla="*/ 1285875 w 1620202"/>
                <a:gd name="connsiteY25" fmla="*/ 749617 h 1025842"/>
                <a:gd name="connsiteX26" fmla="*/ 1285875 w 1620202"/>
                <a:gd name="connsiteY26" fmla="*/ 743902 h 1025842"/>
                <a:gd name="connsiteX27" fmla="*/ 1285875 w 1620202"/>
                <a:gd name="connsiteY27" fmla="*/ 740092 h 1025842"/>
                <a:gd name="connsiteX28" fmla="*/ 1401127 w 1620202"/>
                <a:gd name="connsiteY28" fmla="*/ 740092 h 1025842"/>
                <a:gd name="connsiteX29" fmla="*/ 1411605 w 1620202"/>
                <a:gd name="connsiteY29" fmla="*/ 708660 h 1025842"/>
                <a:gd name="connsiteX30" fmla="*/ 1286827 w 1620202"/>
                <a:gd name="connsiteY30" fmla="*/ 708660 h 1025842"/>
                <a:gd name="connsiteX31" fmla="*/ 1363980 w 1620202"/>
                <a:gd name="connsiteY31" fmla="*/ 645795 h 1025842"/>
                <a:gd name="connsiteX32" fmla="*/ 1428750 w 1620202"/>
                <a:gd name="connsiteY32" fmla="*/ 663892 h 1025842"/>
                <a:gd name="connsiteX33" fmla="*/ 1446847 w 1620202"/>
                <a:gd name="connsiteY33" fmla="*/ 614362 h 1025842"/>
                <a:gd name="connsiteX34" fmla="*/ 1355407 w 1620202"/>
                <a:gd name="connsiteY34" fmla="*/ 595312 h 1025842"/>
                <a:gd name="connsiteX35" fmla="*/ 472440 w 1620202"/>
                <a:gd name="connsiteY35" fmla="*/ 516255 h 1025842"/>
                <a:gd name="connsiteX36" fmla="*/ 350520 w 1620202"/>
                <a:gd name="connsiteY36" fmla="*/ 638175 h 1025842"/>
                <a:gd name="connsiteX37" fmla="*/ 472440 w 1620202"/>
                <a:gd name="connsiteY37" fmla="*/ 760095 h 1025842"/>
                <a:gd name="connsiteX38" fmla="*/ 594360 w 1620202"/>
                <a:gd name="connsiteY38" fmla="*/ 638175 h 1025842"/>
                <a:gd name="connsiteX39" fmla="*/ 589512 w 1620202"/>
                <a:gd name="connsiteY39" fmla="*/ 614331 h 1025842"/>
                <a:gd name="connsiteX40" fmla="*/ 574441 w 1620202"/>
                <a:gd name="connsiteY40" fmla="*/ 614331 h 1025842"/>
                <a:gd name="connsiteX41" fmla="*/ 574441 w 1620202"/>
                <a:gd name="connsiteY41" fmla="*/ 575494 h 1025842"/>
                <a:gd name="connsiteX42" fmla="*/ 472440 w 1620202"/>
                <a:gd name="connsiteY42" fmla="*/ 516255 h 1025842"/>
                <a:gd name="connsiteX43" fmla="*/ 107632 w 1620202"/>
                <a:gd name="connsiteY43" fmla="*/ 0 h 1025842"/>
                <a:gd name="connsiteX44" fmla="*/ 1511617 w 1620202"/>
                <a:gd name="connsiteY44" fmla="*/ 0 h 1025842"/>
                <a:gd name="connsiteX45" fmla="*/ 1620202 w 1620202"/>
                <a:gd name="connsiteY45" fmla="*/ 107632 h 1025842"/>
                <a:gd name="connsiteX46" fmla="*/ 1620202 w 1620202"/>
                <a:gd name="connsiteY46" fmla="*/ 134302 h 1025842"/>
                <a:gd name="connsiteX47" fmla="*/ 1005853 w 1620202"/>
                <a:gd name="connsiteY47" fmla="*/ 134302 h 1025842"/>
                <a:gd name="connsiteX48" fmla="*/ 1005853 w 1620202"/>
                <a:gd name="connsiteY48" fmla="*/ 350520 h 1025842"/>
                <a:gd name="connsiteX49" fmla="*/ 1619250 w 1620202"/>
                <a:gd name="connsiteY49" fmla="*/ 350520 h 1025842"/>
                <a:gd name="connsiteX50" fmla="*/ 1619250 w 1620202"/>
                <a:gd name="connsiteY50" fmla="*/ 918210 h 1025842"/>
                <a:gd name="connsiteX51" fmla="*/ 1511617 w 1620202"/>
                <a:gd name="connsiteY51" fmla="*/ 1025842 h 1025842"/>
                <a:gd name="connsiteX52" fmla="*/ 107632 w 1620202"/>
                <a:gd name="connsiteY52" fmla="*/ 1025842 h 1025842"/>
                <a:gd name="connsiteX53" fmla="*/ 0 w 1620202"/>
                <a:gd name="connsiteY53" fmla="*/ 918210 h 1025842"/>
                <a:gd name="connsiteX54" fmla="*/ 0 w 1620202"/>
                <a:gd name="connsiteY54" fmla="*/ 350520 h 1025842"/>
                <a:gd name="connsiteX55" fmla="*/ 574441 w 1620202"/>
                <a:gd name="connsiteY55" fmla="*/ 350520 h 1025842"/>
                <a:gd name="connsiteX56" fmla="*/ 574441 w 1620202"/>
                <a:gd name="connsiteY56" fmla="*/ 134302 h 1025842"/>
                <a:gd name="connsiteX57" fmla="*/ 0 w 1620202"/>
                <a:gd name="connsiteY57" fmla="*/ 134302 h 1025842"/>
                <a:gd name="connsiteX58" fmla="*/ 0 w 1620202"/>
                <a:gd name="connsiteY58" fmla="*/ 107632 h 1025842"/>
                <a:gd name="connsiteX59" fmla="*/ 107632 w 1620202"/>
                <a:gd name="connsiteY59" fmla="*/ 0 h 1025842"/>
                <a:gd name="connsiteX0" fmla="*/ 287655 w 1620202"/>
                <a:gd name="connsiteY0" fmla="*/ 610552 h 1025842"/>
                <a:gd name="connsiteX1" fmla="*/ 136207 w 1620202"/>
                <a:gd name="connsiteY1" fmla="*/ 763905 h 1025842"/>
                <a:gd name="connsiteX2" fmla="*/ 287655 w 1620202"/>
                <a:gd name="connsiteY2" fmla="*/ 917257 h 1025842"/>
                <a:gd name="connsiteX3" fmla="*/ 438150 w 1620202"/>
                <a:gd name="connsiteY3" fmla="*/ 781050 h 1025842"/>
                <a:gd name="connsiteX4" fmla="*/ 323850 w 1620202"/>
                <a:gd name="connsiteY4" fmla="*/ 637222 h 1025842"/>
                <a:gd name="connsiteX5" fmla="*/ 325755 w 1620202"/>
                <a:gd name="connsiteY5" fmla="*/ 615315 h 1025842"/>
                <a:gd name="connsiteX6" fmla="*/ 287655 w 1620202"/>
                <a:gd name="connsiteY6" fmla="*/ 610552 h 1025842"/>
                <a:gd name="connsiteX7" fmla="*/ 1355407 w 1620202"/>
                <a:gd name="connsiteY7" fmla="*/ 595312 h 1025842"/>
                <a:gd name="connsiteX8" fmla="*/ 1221105 w 1620202"/>
                <a:gd name="connsiteY8" fmla="*/ 709612 h 1025842"/>
                <a:gd name="connsiteX9" fmla="*/ 1187767 w 1620202"/>
                <a:gd name="connsiteY9" fmla="*/ 709612 h 1025842"/>
                <a:gd name="connsiteX10" fmla="*/ 1176337 w 1620202"/>
                <a:gd name="connsiteY10" fmla="*/ 741045 h 1025842"/>
                <a:gd name="connsiteX11" fmla="*/ 1217295 w 1620202"/>
                <a:gd name="connsiteY11" fmla="*/ 741045 h 1025842"/>
                <a:gd name="connsiteX12" fmla="*/ 1217295 w 1620202"/>
                <a:gd name="connsiteY12" fmla="*/ 756285 h 1025842"/>
                <a:gd name="connsiteX13" fmla="*/ 1218247 w 1620202"/>
                <a:gd name="connsiteY13" fmla="*/ 765810 h 1025842"/>
                <a:gd name="connsiteX14" fmla="*/ 1188720 w 1620202"/>
                <a:gd name="connsiteY14" fmla="*/ 765810 h 1025842"/>
                <a:gd name="connsiteX15" fmla="*/ 1177290 w 1620202"/>
                <a:gd name="connsiteY15" fmla="*/ 797242 h 1025842"/>
                <a:gd name="connsiteX16" fmla="*/ 1222057 w 1620202"/>
                <a:gd name="connsiteY16" fmla="*/ 797242 h 1025842"/>
                <a:gd name="connsiteX17" fmla="*/ 1359217 w 1620202"/>
                <a:gd name="connsiteY17" fmla="*/ 903922 h 1025842"/>
                <a:gd name="connsiteX18" fmla="*/ 1446847 w 1620202"/>
                <a:gd name="connsiteY18" fmla="*/ 887730 h 1025842"/>
                <a:gd name="connsiteX19" fmla="*/ 1432560 w 1620202"/>
                <a:gd name="connsiteY19" fmla="*/ 836295 h 1025842"/>
                <a:gd name="connsiteX20" fmla="*/ 1369695 w 1620202"/>
                <a:gd name="connsiteY20" fmla="*/ 853440 h 1025842"/>
                <a:gd name="connsiteX21" fmla="*/ 1292542 w 1620202"/>
                <a:gd name="connsiteY21" fmla="*/ 797242 h 1025842"/>
                <a:gd name="connsiteX22" fmla="*/ 1382077 w 1620202"/>
                <a:gd name="connsiteY22" fmla="*/ 797242 h 1025842"/>
                <a:gd name="connsiteX23" fmla="*/ 1393507 w 1620202"/>
                <a:gd name="connsiteY23" fmla="*/ 765810 h 1025842"/>
                <a:gd name="connsiteX24" fmla="*/ 1286827 w 1620202"/>
                <a:gd name="connsiteY24" fmla="*/ 765810 h 1025842"/>
                <a:gd name="connsiteX25" fmla="*/ 1285875 w 1620202"/>
                <a:gd name="connsiteY25" fmla="*/ 749617 h 1025842"/>
                <a:gd name="connsiteX26" fmla="*/ 1285875 w 1620202"/>
                <a:gd name="connsiteY26" fmla="*/ 743902 h 1025842"/>
                <a:gd name="connsiteX27" fmla="*/ 1285875 w 1620202"/>
                <a:gd name="connsiteY27" fmla="*/ 740092 h 1025842"/>
                <a:gd name="connsiteX28" fmla="*/ 1401127 w 1620202"/>
                <a:gd name="connsiteY28" fmla="*/ 740092 h 1025842"/>
                <a:gd name="connsiteX29" fmla="*/ 1411605 w 1620202"/>
                <a:gd name="connsiteY29" fmla="*/ 708660 h 1025842"/>
                <a:gd name="connsiteX30" fmla="*/ 1286827 w 1620202"/>
                <a:gd name="connsiteY30" fmla="*/ 708660 h 1025842"/>
                <a:gd name="connsiteX31" fmla="*/ 1363980 w 1620202"/>
                <a:gd name="connsiteY31" fmla="*/ 645795 h 1025842"/>
                <a:gd name="connsiteX32" fmla="*/ 1428750 w 1620202"/>
                <a:gd name="connsiteY32" fmla="*/ 663892 h 1025842"/>
                <a:gd name="connsiteX33" fmla="*/ 1446847 w 1620202"/>
                <a:gd name="connsiteY33" fmla="*/ 614362 h 1025842"/>
                <a:gd name="connsiteX34" fmla="*/ 1355407 w 1620202"/>
                <a:gd name="connsiteY34" fmla="*/ 595312 h 1025842"/>
                <a:gd name="connsiteX35" fmla="*/ 472440 w 1620202"/>
                <a:gd name="connsiteY35" fmla="*/ 516255 h 1025842"/>
                <a:gd name="connsiteX36" fmla="*/ 350520 w 1620202"/>
                <a:gd name="connsiteY36" fmla="*/ 638175 h 1025842"/>
                <a:gd name="connsiteX37" fmla="*/ 472440 w 1620202"/>
                <a:gd name="connsiteY37" fmla="*/ 760095 h 1025842"/>
                <a:gd name="connsiteX38" fmla="*/ 594360 w 1620202"/>
                <a:gd name="connsiteY38" fmla="*/ 638175 h 1025842"/>
                <a:gd name="connsiteX39" fmla="*/ 589512 w 1620202"/>
                <a:gd name="connsiteY39" fmla="*/ 614331 h 1025842"/>
                <a:gd name="connsiteX40" fmla="*/ 574441 w 1620202"/>
                <a:gd name="connsiteY40" fmla="*/ 614331 h 1025842"/>
                <a:gd name="connsiteX41" fmla="*/ 472440 w 1620202"/>
                <a:gd name="connsiteY41" fmla="*/ 516255 h 1025842"/>
                <a:gd name="connsiteX42" fmla="*/ 107632 w 1620202"/>
                <a:gd name="connsiteY42" fmla="*/ 0 h 1025842"/>
                <a:gd name="connsiteX43" fmla="*/ 1511617 w 1620202"/>
                <a:gd name="connsiteY43" fmla="*/ 0 h 1025842"/>
                <a:gd name="connsiteX44" fmla="*/ 1620202 w 1620202"/>
                <a:gd name="connsiteY44" fmla="*/ 107632 h 1025842"/>
                <a:gd name="connsiteX45" fmla="*/ 1620202 w 1620202"/>
                <a:gd name="connsiteY45" fmla="*/ 134302 h 1025842"/>
                <a:gd name="connsiteX46" fmla="*/ 1005853 w 1620202"/>
                <a:gd name="connsiteY46" fmla="*/ 134302 h 1025842"/>
                <a:gd name="connsiteX47" fmla="*/ 1005853 w 1620202"/>
                <a:gd name="connsiteY47" fmla="*/ 350520 h 1025842"/>
                <a:gd name="connsiteX48" fmla="*/ 1619250 w 1620202"/>
                <a:gd name="connsiteY48" fmla="*/ 350520 h 1025842"/>
                <a:gd name="connsiteX49" fmla="*/ 1619250 w 1620202"/>
                <a:gd name="connsiteY49" fmla="*/ 918210 h 1025842"/>
                <a:gd name="connsiteX50" fmla="*/ 1511617 w 1620202"/>
                <a:gd name="connsiteY50" fmla="*/ 1025842 h 1025842"/>
                <a:gd name="connsiteX51" fmla="*/ 107632 w 1620202"/>
                <a:gd name="connsiteY51" fmla="*/ 1025842 h 1025842"/>
                <a:gd name="connsiteX52" fmla="*/ 0 w 1620202"/>
                <a:gd name="connsiteY52" fmla="*/ 918210 h 1025842"/>
                <a:gd name="connsiteX53" fmla="*/ 0 w 1620202"/>
                <a:gd name="connsiteY53" fmla="*/ 350520 h 1025842"/>
                <a:gd name="connsiteX54" fmla="*/ 574441 w 1620202"/>
                <a:gd name="connsiteY54" fmla="*/ 350520 h 1025842"/>
                <a:gd name="connsiteX55" fmla="*/ 574441 w 1620202"/>
                <a:gd name="connsiteY55" fmla="*/ 134302 h 1025842"/>
                <a:gd name="connsiteX56" fmla="*/ 0 w 1620202"/>
                <a:gd name="connsiteY56" fmla="*/ 134302 h 1025842"/>
                <a:gd name="connsiteX57" fmla="*/ 0 w 1620202"/>
                <a:gd name="connsiteY57" fmla="*/ 107632 h 1025842"/>
                <a:gd name="connsiteX58" fmla="*/ 107632 w 1620202"/>
                <a:gd name="connsiteY58" fmla="*/ 0 h 1025842"/>
                <a:gd name="connsiteX0" fmla="*/ 287655 w 1620202"/>
                <a:gd name="connsiteY0" fmla="*/ 610552 h 1025842"/>
                <a:gd name="connsiteX1" fmla="*/ 136207 w 1620202"/>
                <a:gd name="connsiteY1" fmla="*/ 763905 h 1025842"/>
                <a:gd name="connsiteX2" fmla="*/ 287655 w 1620202"/>
                <a:gd name="connsiteY2" fmla="*/ 917257 h 1025842"/>
                <a:gd name="connsiteX3" fmla="*/ 438150 w 1620202"/>
                <a:gd name="connsiteY3" fmla="*/ 781050 h 1025842"/>
                <a:gd name="connsiteX4" fmla="*/ 323850 w 1620202"/>
                <a:gd name="connsiteY4" fmla="*/ 637222 h 1025842"/>
                <a:gd name="connsiteX5" fmla="*/ 325755 w 1620202"/>
                <a:gd name="connsiteY5" fmla="*/ 615315 h 1025842"/>
                <a:gd name="connsiteX6" fmla="*/ 287655 w 1620202"/>
                <a:gd name="connsiteY6" fmla="*/ 610552 h 1025842"/>
                <a:gd name="connsiteX7" fmla="*/ 1355407 w 1620202"/>
                <a:gd name="connsiteY7" fmla="*/ 595312 h 1025842"/>
                <a:gd name="connsiteX8" fmla="*/ 1221105 w 1620202"/>
                <a:gd name="connsiteY8" fmla="*/ 709612 h 1025842"/>
                <a:gd name="connsiteX9" fmla="*/ 1187767 w 1620202"/>
                <a:gd name="connsiteY9" fmla="*/ 709612 h 1025842"/>
                <a:gd name="connsiteX10" fmla="*/ 1176337 w 1620202"/>
                <a:gd name="connsiteY10" fmla="*/ 741045 h 1025842"/>
                <a:gd name="connsiteX11" fmla="*/ 1217295 w 1620202"/>
                <a:gd name="connsiteY11" fmla="*/ 741045 h 1025842"/>
                <a:gd name="connsiteX12" fmla="*/ 1217295 w 1620202"/>
                <a:gd name="connsiteY12" fmla="*/ 756285 h 1025842"/>
                <a:gd name="connsiteX13" fmla="*/ 1218247 w 1620202"/>
                <a:gd name="connsiteY13" fmla="*/ 765810 h 1025842"/>
                <a:gd name="connsiteX14" fmla="*/ 1188720 w 1620202"/>
                <a:gd name="connsiteY14" fmla="*/ 765810 h 1025842"/>
                <a:gd name="connsiteX15" fmla="*/ 1177290 w 1620202"/>
                <a:gd name="connsiteY15" fmla="*/ 797242 h 1025842"/>
                <a:gd name="connsiteX16" fmla="*/ 1222057 w 1620202"/>
                <a:gd name="connsiteY16" fmla="*/ 797242 h 1025842"/>
                <a:gd name="connsiteX17" fmla="*/ 1359217 w 1620202"/>
                <a:gd name="connsiteY17" fmla="*/ 903922 h 1025842"/>
                <a:gd name="connsiteX18" fmla="*/ 1446847 w 1620202"/>
                <a:gd name="connsiteY18" fmla="*/ 887730 h 1025842"/>
                <a:gd name="connsiteX19" fmla="*/ 1432560 w 1620202"/>
                <a:gd name="connsiteY19" fmla="*/ 836295 h 1025842"/>
                <a:gd name="connsiteX20" fmla="*/ 1369695 w 1620202"/>
                <a:gd name="connsiteY20" fmla="*/ 853440 h 1025842"/>
                <a:gd name="connsiteX21" fmla="*/ 1292542 w 1620202"/>
                <a:gd name="connsiteY21" fmla="*/ 797242 h 1025842"/>
                <a:gd name="connsiteX22" fmla="*/ 1382077 w 1620202"/>
                <a:gd name="connsiteY22" fmla="*/ 797242 h 1025842"/>
                <a:gd name="connsiteX23" fmla="*/ 1393507 w 1620202"/>
                <a:gd name="connsiteY23" fmla="*/ 765810 h 1025842"/>
                <a:gd name="connsiteX24" fmla="*/ 1286827 w 1620202"/>
                <a:gd name="connsiteY24" fmla="*/ 765810 h 1025842"/>
                <a:gd name="connsiteX25" fmla="*/ 1285875 w 1620202"/>
                <a:gd name="connsiteY25" fmla="*/ 749617 h 1025842"/>
                <a:gd name="connsiteX26" fmla="*/ 1285875 w 1620202"/>
                <a:gd name="connsiteY26" fmla="*/ 743902 h 1025842"/>
                <a:gd name="connsiteX27" fmla="*/ 1285875 w 1620202"/>
                <a:gd name="connsiteY27" fmla="*/ 740092 h 1025842"/>
                <a:gd name="connsiteX28" fmla="*/ 1401127 w 1620202"/>
                <a:gd name="connsiteY28" fmla="*/ 740092 h 1025842"/>
                <a:gd name="connsiteX29" fmla="*/ 1411605 w 1620202"/>
                <a:gd name="connsiteY29" fmla="*/ 708660 h 1025842"/>
                <a:gd name="connsiteX30" fmla="*/ 1286827 w 1620202"/>
                <a:gd name="connsiteY30" fmla="*/ 708660 h 1025842"/>
                <a:gd name="connsiteX31" fmla="*/ 1363980 w 1620202"/>
                <a:gd name="connsiteY31" fmla="*/ 645795 h 1025842"/>
                <a:gd name="connsiteX32" fmla="*/ 1428750 w 1620202"/>
                <a:gd name="connsiteY32" fmla="*/ 663892 h 1025842"/>
                <a:gd name="connsiteX33" fmla="*/ 1446847 w 1620202"/>
                <a:gd name="connsiteY33" fmla="*/ 614362 h 1025842"/>
                <a:gd name="connsiteX34" fmla="*/ 1355407 w 1620202"/>
                <a:gd name="connsiteY34" fmla="*/ 595312 h 1025842"/>
                <a:gd name="connsiteX35" fmla="*/ 472440 w 1620202"/>
                <a:gd name="connsiteY35" fmla="*/ 516255 h 1025842"/>
                <a:gd name="connsiteX36" fmla="*/ 350520 w 1620202"/>
                <a:gd name="connsiteY36" fmla="*/ 638175 h 1025842"/>
                <a:gd name="connsiteX37" fmla="*/ 472440 w 1620202"/>
                <a:gd name="connsiteY37" fmla="*/ 760095 h 1025842"/>
                <a:gd name="connsiteX38" fmla="*/ 594360 w 1620202"/>
                <a:gd name="connsiteY38" fmla="*/ 638175 h 1025842"/>
                <a:gd name="connsiteX39" fmla="*/ 589512 w 1620202"/>
                <a:gd name="connsiteY39" fmla="*/ 614331 h 1025842"/>
                <a:gd name="connsiteX40" fmla="*/ 472440 w 1620202"/>
                <a:gd name="connsiteY40" fmla="*/ 516255 h 1025842"/>
                <a:gd name="connsiteX41" fmla="*/ 107632 w 1620202"/>
                <a:gd name="connsiteY41" fmla="*/ 0 h 1025842"/>
                <a:gd name="connsiteX42" fmla="*/ 1511617 w 1620202"/>
                <a:gd name="connsiteY42" fmla="*/ 0 h 1025842"/>
                <a:gd name="connsiteX43" fmla="*/ 1620202 w 1620202"/>
                <a:gd name="connsiteY43" fmla="*/ 107632 h 1025842"/>
                <a:gd name="connsiteX44" fmla="*/ 1620202 w 1620202"/>
                <a:gd name="connsiteY44" fmla="*/ 134302 h 1025842"/>
                <a:gd name="connsiteX45" fmla="*/ 1005853 w 1620202"/>
                <a:gd name="connsiteY45" fmla="*/ 134302 h 1025842"/>
                <a:gd name="connsiteX46" fmla="*/ 1005853 w 1620202"/>
                <a:gd name="connsiteY46" fmla="*/ 350520 h 1025842"/>
                <a:gd name="connsiteX47" fmla="*/ 1619250 w 1620202"/>
                <a:gd name="connsiteY47" fmla="*/ 350520 h 1025842"/>
                <a:gd name="connsiteX48" fmla="*/ 1619250 w 1620202"/>
                <a:gd name="connsiteY48" fmla="*/ 918210 h 1025842"/>
                <a:gd name="connsiteX49" fmla="*/ 1511617 w 1620202"/>
                <a:gd name="connsiteY49" fmla="*/ 1025842 h 1025842"/>
                <a:gd name="connsiteX50" fmla="*/ 107632 w 1620202"/>
                <a:gd name="connsiteY50" fmla="*/ 1025842 h 1025842"/>
                <a:gd name="connsiteX51" fmla="*/ 0 w 1620202"/>
                <a:gd name="connsiteY51" fmla="*/ 918210 h 1025842"/>
                <a:gd name="connsiteX52" fmla="*/ 0 w 1620202"/>
                <a:gd name="connsiteY52" fmla="*/ 350520 h 1025842"/>
                <a:gd name="connsiteX53" fmla="*/ 574441 w 1620202"/>
                <a:gd name="connsiteY53" fmla="*/ 350520 h 1025842"/>
                <a:gd name="connsiteX54" fmla="*/ 574441 w 1620202"/>
                <a:gd name="connsiteY54" fmla="*/ 134302 h 1025842"/>
                <a:gd name="connsiteX55" fmla="*/ 0 w 1620202"/>
                <a:gd name="connsiteY55" fmla="*/ 134302 h 1025842"/>
                <a:gd name="connsiteX56" fmla="*/ 0 w 1620202"/>
                <a:gd name="connsiteY56" fmla="*/ 107632 h 1025842"/>
                <a:gd name="connsiteX57" fmla="*/ 107632 w 1620202"/>
                <a:gd name="connsiteY57" fmla="*/ 0 h 1025842"/>
                <a:gd name="connsiteX0" fmla="*/ 287655 w 1620202"/>
                <a:gd name="connsiteY0" fmla="*/ 610552 h 1025842"/>
                <a:gd name="connsiteX1" fmla="*/ 136207 w 1620202"/>
                <a:gd name="connsiteY1" fmla="*/ 763905 h 1025842"/>
                <a:gd name="connsiteX2" fmla="*/ 287655 w 1620202"/>
                <a:gd name="connsiteY2" fmla="*/ 917257 h 1025842"/>
                <a:gd name="connsiteX3" fmla="*/ 438150 w 1620202"/>
                <a:gd name="connsiteY3" fmla="*/ 781050 h 1025842"/>
                <a:gd name="connsiteX4" fmla="*/ 323850 w 1620202"/>
                <a:gd name="connsiteY4" fmla="*/ 637222 h 1025842"/>
                <a:gd name="connsiteX5" fmla="*/ 325755 w 1620202"/>
                <a:gd name="connsiteY5" fmla="*/ 615315 h 1025842"/>
                <a:gd name="connsiteX6" fmla="*/ 287655 w 1620202"/>
                <a:gd name="connsiteY6" fmla="*/ 610552 h 1025842"/>
                <a:gd name="connsiteX7" fmla="*/ 1355407 w 1620202"/>
                <a:gd name="connsiteY7" fmla="*/ 595312 h 1025842"/>
                <a:gd name="connsiteX8" fmla="*/ 1221105 w 1620202"/>
                <a:gd name="connsiteY8" fmla="*/ 709612 h 1025842"/>
                <a:gd name="connsiteX9" fmla="*/ 1187767 w 1620202"/>
                <a:gd name="connsiteY9" fmla="*/ 709612 h 1025842"/>
                <a:gd name="connsiteX10" fmla="*/ 1176337 w 1620202"/>
                <a:gd name="connsiteY10" fmla="*/ 741045 h 1025842"/>
                <a:gd name="connsiteX11" fmla="*/ 1217295 w 1620202"/>
                <a:gd name="connsiteY11" fmla="*/ 741045 h 1025842"/>
                <a:gd name="connsiteX12" fmla="*/ 1217295 w 1620202"/>
                <a:gd name="connsiteY12" fmla="*/ 756285 h 1025842"/>
                <a:gd name="connsiteX13" fmla="*/ 1218247 w 1620202"/>
                <a:gd name="connsiteY13" fmla="*/ 765810 h 1025842"/>
                <a:gd name="connsiteX14" fmla="*/ 1188720 w 1620202"/>
                <a:gd name="connsiteY14" fmla="*/ 765810 h 1025842"/>
                <a:gd name="connsiteX15" fmla="*/ 1177290 w 1620202"/>
                <a:gd name="connsiteY15" fmla="*/ 797242 h 1025842"/>
                <a:gd name="connsiteX16" fmla="*/ 1222057 w 1620202"/>
                <a:gd name="connsiteY16" fmla="*/ 797242 h 1025842"/>
                <a:gd name="connsiteX17" fmla="*/ 1359217 w 1620202"/>
                <a:gd name="connsiteY17" fmla="*/ 903922 h 1025842"/>
                <a:gd name="connsiteX18" fmla="*/ 1446847 w 1620202"/>
                <a:gd name="connsiteY18" fmla="*/ 887730 h 1025842"/>
                <a:gd name="connsiteX19" fmla="*/ 1432560 w 1620202"/>
                <a:gd name="connsiteY19" fmla="*/ 836295 h 1025842"/>
                <a:gd name="connsiteX20" fmla="*/ 1369695 w 1620202"/>
                <a:gd name="connsiteY20" fmla="*/ 853440 h 1025842"/>
                <a:gd name="connsiteX21" fmla="*/ 1292542 w 1620202"/>
                <a:gd name="connsiteY21" fmla="*/ 797242 h 1025842"/>
                <a:gd name="connsiteX22" fmla="*/ 1382077 w 1620202"/>
                <a:gd name="connsiteY22" fmla="*/ 797242 h 1025842"/>
                <a:gd name="connsiteX23" fmla="*/ 1393507 w 1620202"/>
                <a:gd name="connsiteY23" fmla="*/ 765810 h 1025842"/>
                <a:gd name="connsiteX24" fmla="*/ 1286827 w 1620202"/>
                <a:gd name="connsiteY24" fmla="*/ 765810 h 1025842"/>
                <a:gd name="connsiteX25" fmla="*/ 1285875 w 1620202"/>
                <a:gd name="connsiteY25" fmla="*/ 749617 h 1025842"/>
                <a:gd name="connsiteX26" fmla="*/ 1285875 w 1620202"/>
                <a:gd name="connsiteY26" fmla="*/ 743902 h 1025842"/>
                <a:gd name="connsiteX27" fmla="*/ 1285875 w 1620202"/>
                <a:gd name="connsiteY27" fmla="*/ 740092 h 1025842"/>
                <a:gd name="connsiteX28" fmla="*/ 1401127 w 1620202"/>
                <a:gd name="connsiteY28" fmla="*/ 740092 h 1025842"/>
                <a:gd name="connsiteX29" fmla="*/ 1411605 w 1620202"/>
                <a:gd name="connsiteY29" fmla="*/ 708660 h 1025842"/>
                <a:gd name="connsiteX30" fmla="*/ 1286827 w 1620202"/>
                <a:gd name="connsiteY30" fmla="*/ 708660 h 1025842"/>
                <a:gd name="connsiteX31" fmla="*/ 1363980 w 1620202"/>
                <a:gd name="connsiteY31" fmla="*/ 645795 h 1025842"/>
                <a:gd name="connsiteX32" fmla="*/ 1428750 w 1620202"/>
                <a:gd name="connsiteY32" fmla="*/ 663892 h 1025842"/>
                <a:gd name="connsiteX33" fmla="*/ 1446847 w 1620202"/>
                <a:gd name="connsiteY33" fmla="*/ 614362 h 1025842"/>
                <a:gd name="connsiteX34" fmla="*/ 1355407 w 1620202"/>
                <a:gd name="connsiteY34" fmla="*/ 595312 h 1025842"/>
                <a:gd name="connsiteX35" fmla="*/ 472440 w 1620202"/>
                <a:gd name="connsiteY35" fmla="*/ 516255 h 1025842"/>
                <a:gd name="connsiteX36" fmla="*/ 350520 w 1620202"/>
                <a:gd name="connsiteY36" fmla="*/ 638175 h 1025842"/>
                <a:gd name="connsiteX37" fmla="*/ 472440 w 1620202"/>
                <a:gd name="connsiteY37" fmla="*/ 760095 h 1025842"/>
                <a:gd name="connsiteX38" fmla="*/ 594360 w 1620202"/>
                <a:gd name="connsiteY38" fmla="*/ 638175 h 1025842"/>
                <a:gd name="connsiteX39" fmla="*/ 589512 w 1620202"/>
                <a:gd name="connsiteY39" fmla="*/ 614331 h 1025842"/>
                <a:gd name="connsiteX40" fmla="*/ 472440 w 1620202"/>
                <a:gd name="connsiteY40" fmla="*/ 516255 h 1025842"/>
                <a:gd name="connsiteX41" fmla="*/ 107632 w 1620202"/>
                <a:gd name="connsiteY41" fmla="*/ 0 h 1025842"/>
                <a:gd name="connsiteX42" fmla="*/ 1511617 w 1620202"/>
                <a:gd name="connsiteY42" fmla="*/ 0 h 1025842"/>
                <a:gd name="connsiteX43" fmla="*/ 1620202 w 1620202"/>
                <a:gd name="connsiteY43" fmla="*/ 107632 h 1025842"/>
                <a:gd name="connsiteX44" fmla="*/ 1620202 w 1620202"/>
                <a:gd name="connsiteY44" fmla="*/ 134302 h 1025842"/>
                <a:gd name="connsiteX45" fmla="*/ 1005853 w 1620202"/>
                <a:gd name="connsiteY45" fmla="*/ 134302 h 1025842"/>
                <a:gd name="connsiteX46" fmla="*/ 1005853 w 1620202"/>
                <a:gd name="connsiteY46" fmla="*/ 350520 h 1025842"/>
                <a:gd name="connsiteX47" fmla="*/ 1619250 w 1620202"/>
                <a:gd name="connsiteY47" fmla="*/ 350520 h 1025842"/>
                <a:gd name="connsiteX48" fmla="*/ 1619250 w 1620202"/>
                <a:gd name="connsiteY48" fmla="*/ 918210 h 1025842"/>
                <a:gd name="connsiteX49" fmla="*/ 1511617 w 1620202"/>
                <a:gd name="connsiteY49" fmla="*/ 1025842 h 1025842"/>
                <a:gd name="connsiteX50" fmla="*/ 107632 w 1620202"/>
                <a:gd name="connsiteY50" fmla="*/ 1025842 h 1025842"/>
                <a:gd name="connsiteX51" fmla="*/ 0 w 1620202"/>
                <a:gd name="connsiteY51" fmla="*/ 918210 h 1025842"/>
                <a:gd name="connsiteX52" fmla="*/ 0 w 1620202"/>
                <a:gd name="connsiteY52" fmla="*/ 350520 h 1025842"/>
                <a:gd name="connsiteX53" fmla="*/ 574441 w 1620202"/>
                <a:gd name="connsiteY53" fmla="*/ 134302 h 1025842"/>
                <a:gd name="connsiteX54" fmla="*/ 0 w 1620202"/>
                <a:gd name="connsiteY54" fmla="*/ 134302 h 1025842"/>
                <a:gd name="connsiteX55" fmla="*/ 0 w 1620202"/>
                <a:gd name="connsiteY55" fmla="*/ 107632 h 1025842"/>
                <a:gd name="connsiteX56" fmla="*/ 107632 w 1620202"/>
                <a:gd name="connsiteY56" fmla="*/ 0 h 1025842"/>
                <a:gd name="connsiteX0" fmla="*/ 287655 w 1620202"/>
                <a:gd name="connsiteY0" fmla="*/ 610552 h 1025842"/>
                <a:gd name="connsiteX1" fmla="*/ 136207 w 1620202"/>
                <a:gd name="connsiteY1" fmla="*/ 763905 h 1025842"/>
                <a:gd name="connsiteX2" fmla="*/ 287655 w 1620202"/>
                <a:gd name="connsiteY2" fmla="*/ 917257 h 1025842"/>
                <a:gd name="connsiteX3" fmla="*/ 438150 w 1620202"/>
                <a:gd name="connsiteY3" fmla="*/ 781050 h 1025842"/>
                <a:gd name="connsiteX4" fmla="*/ 323850 w 1620202"/>
                <a:gd name="connsiteY4" fmla="*/ 637222 h 1025842"/>
                <a:gd name="connsiteX5" fmla="*/ 325755 w 1620202"/>
                <a:gd name="connsiteY5" fmla="*/ 615315 h 1025842"/>
                <a:gd name="connsiteX6" fmla="*/ 287655 w 1620202"/>
                <a:gd name="connsiteY6" fmla="*/ 610552 h 1025842"/>
                <a:gd name="connsiteX7" fmla="*/ 1355407 w 1620202"/>
                <a:gd name="connsiteY7" fmla="*/ 595312 h 1025842"/>
                <a:gd name="connsiteX8" fmla="*/ 1221105 w 1620202"/>
                <a:gd name="connsiteY8" fmla="*/ 709612 h 1025842"/>
                <a:gd name="connsiteX9" fmla="*/ 1187767 w 1620202"/>
                <a:gd name="connsiteY9" fmla="*/ 709612 h 1025842"/>
                <a:gd name="connsiteX10" fmla="*/ 1176337 w 1620202"/>
                <a:gd name="connsiteY10" fmla="*/ 741045 h 1025842"/>
                <a:gd name="connsiteX11" fmla="*/ 1217295 w 1620202"/>
                <a:gd name="connsiteY11" fmla="*/ 741045 h 1025842"/>
                <a:gd name="connsiteX12" fmla="*/ 1217295 w 1620202"/>
                <a:gd name="connsiteY12" fmla="*/ 756285 h 1025842"/>
                <a:gd name="connsiteX13" fmla="*/ 1218247 w 1620202"/>
                <a:gd name="connsiteY13" fmla="*/ 765810 h 1025842"/>
                <a:gd name="connsiteX14" fmla="*/ 1188720 w 1620202"/>
                <a:gd name="connsiteY14" fmla="*/ 765810 h 1025842"/>
                <a:gd name="connsiteX15" fmla="*/ 1177290 w 1620202"/>
                <a:gd name="connsiteY15" fmla="*/ 797242 h 1025842"/>
                <a:gd name="connsiteX16" fmla="*/ 1222057 w 1620202"/>
                <a:gd name="connsiteY16" fmla="*/ 797242 h 1025842"/>
                <a:gd name="connsiteX17" fmla="*/ 1359217 w 1620202"/>
                <a:gd name="connsiteY17" fmla="*/ 903922 h 1025842"/>
                <a:gd name="connsiteX18" fmla="*/ 1446847 w 1620202"/>
                <a:gd name="connsiteY18" fmla="*/ 887730 h 1025842"/>
                <a:gd name="connsiteX19" fmla="*/ 1432560 w 1620202"/>
                <a:gd name="connsiteY19" fmla="*/ 836295 h 1025842"/>
                <a:gd name="connsiteX20" fmla="*/ 1369695 w 1620202"/>
                <a:gd name="connsiteY20" fmla="*/ 853440 h 1025842"/>
                <a:gd name="connsiteX21" fmla="*/ 1292542 w 1620202"/>
                <a:gd name="connsiteY21" fmla="*/ 797242 h 1025842"/>
                <a:gd name="connsiteX22" fmla="*/ 1382077 w 1620202"/>
                <a:gd name="connsiteY22" fmla="*/ 797242 h 1025842"/>
                <a:gd name="connsiteX23" fmla="*/ 1393507 w 1620202"/>
                <a:gd name="connsiteY23" fmla="*/ 765810 h 1025842"/>
                <a:gd name="connsiteX24" fmla="*/ 1286827 w 1620202"/>
                <a:gd name="connsiteY24" fmla="*/ 765810 h 1025842"/>
                <a:gd name="connsiteX25" fmla="*/ 1285875 w 1620202"/>
                <a:gd name="connsiteY25" fmla="*/ 749617 h 1025842"/>
                <a:gd name="connsiteX26" fmla="*/ 1285875 w 1620202"/>
                <a:gd name="connsiteY26" fmla="*/ 743902 h 1025842"/>
                <a:gd name="connsiteX27" fmla="*/ 1285875 w 1620202"/>
                <a:gd name="connsiteY27" fmla="*/ 740092 h 1025842"/>
                <a:gd name="connsiteX28" fmla="*/ 1401127 w 1620202"/>
                <a:gd name="connsiteY28" fmla="*/ 740092 h 1025842"/>
                <a:gd name="connsiteX29" fmla="*/ 1411605 w 1620202"/>
                <a:gd name="connsiteY29" fmla="*/ 708660 h 1025842"/>
                <a:gd name="connsiteX30" fmla="*/ 1286827 w 1620202"/>
                <a:gd name="connsiteY30" fmla="*/ 708660 h 1025842"/>
                <a:gd name="connsiteX31" fmla="*/ 1363980 w 1620202"/>
                <a:gd name="connsiteY31" fmla="*/ 645795 h 1025842"/>
                <a:gd name="connsiteX32" fmla="*/ 1428750 w 1620202"/>
                <a:gd name="connsiteY32" fmla="*/ 663892 h 1025842"/>
                <a:gd name="connsiteX33" fmla="*/ 1446847 w 1620202"/>
                <a:gd name="connsiteY33" fmla="*/ 614362 h 1025842"/>
                <a:gd name="connsiteX34" fmla="*/ 1355407 w 1620202"/>
                <a:gd name="connsiteY34" fmla="*/ 595312 h 1025842"/>
                <a:gd name="connsiteX35" fmla="*/ 472440 w 1620202"/>
                <a:gd name="connsiteY35" fmla="*/ 516255 h 1025842"/>
                <a:gd name="connsiteX36" fmla="*/ 350520 w 1620202"/>
                <a:gd name="connsiteY36" fmla="*/ 638175 h 1025842"/>
                <a:gd name="connsiteX37" fmla="*/ 472440 w 1620202"/>
                <a:gd name="connsiteY37" fmla="*/ 760095 h 1025842"/>
                <a:gd name="connsiteX38" fmla="*/ 594360 w 1620202"/>
                <a:gd name="connsiteY38" fmla="*/ 638175 h 1025842"/>
                <a:gd name="connsiteX39" fmla="*/ 589512 w 1620202"/>
                <a:gd name="connsiteY39" fmla="*/ 614331 h 1025842"/>
                <a:gd name="connsiteX40" fmla="*/ 472440 w 1620202"/>
                <a:gd name="connsiteY40" fmla="*/ 516255 h 1025842"/>
                <a:gd name="connsiteX41" fmla="*/ 107632 w 1620202"/>
                <a:gd name="connsiteY41" fmla="*/ 0 h 1025842"/>
                <a:gd name="connsiteX42" fmla="*/ 1511617 w 1620202"/>
                <a:gd name="connsiteY42" fmla="*/ 0 h 1025842"/>
                <a:gd name="connsiteX43" fmla="*/ 1620202 w 1620202"/>
                <a:gd name="connsiteY43" fmla="*/ 107632 h 1025842"/>
                <a:gd name="connsiteX44" fmla="*/ 1620202 w 1620202"/>
                <a:gd name="connsiteY44" fmla="*/ 134302 h 1025842"/>
                <a:gd name="connsiteX45" fmla="*/ 1005853 w 1620202"/>
                <a:gd name="connsiteY45" fmla="*/ 134302 h 1025842"/>
                <a:gd name="connsiteX46" fmla="*/ 1005853 w 1620202"/>
                <a:gd name="connsiteY46" fmla="*/ 350520 h 1025842"/>
                <a:gd name="connsiteX47" fmla="*/ 1619250 w 1620202"/>
                <a:gd name="connsiteY47" fmla="*/ 350520 h 1025842"/>
                <a:gd name="connsiteX48" fmla="*/ 1619250 w 1620202"/>
                <a:gd name="connsiteY48" fmla="*/ 918210 h 1025842"/>
                <a:gd name="connsiteX49" fmla="*/ 1511617 w 1620202"/>
                <a:gd name="connsiteY49" fmla="*/ 1025842 h 1025842"/>
                <a:gd name="connsiteX50" fmla="*/ 107632 w 1620202"/>
                <a:gd name="connsiteY50" fmla="*/ 1025842 h 1025842"/>
                <a:gd name="connsiteX51" fmla="*/ 0 w 1620202"/>
                <a:gd name="connsiteY51" fmla="*/ 918210 h 1025842"/>
                <a:gd name="connsiteX52" fmla="*/ 0 w 1620202"/>
                <a:gd name="connsiteY52" fmla="*/ 350520 h 1025842"/>
                <a:gd name="connsiteX53" fmla="*/ 0 w 1620202"/>
                <a:gd name="connsiteY53" fmla="*/ 134302 h 1025842"/>
                <a:gd name="connsiteX54" fmla="*/ 0 w 1620202"/>
                <a:gd name="connsiteY54" fmla="*/ 107632 h 1025842"/>
                <a:gd name="connsiteX55" fmla="*/ 107632 w 1620202"/>
                <a:gd name="connsiteY55" fmla="*/ 0 h 1025842"/>
                <a:gd name="connsiteX0" fmla="*/ 287655 w 1620202"/>
                <a:gd name="connsiteY0" fmla="*/ 610552 h 1025842"/>
                <a:gd name="connsiteX1" fmla="*/ 136207 w 1620202"/>
                <a:gd name="connsiteY1" fmla="*/ 763905 h 1025842"/>
                <a:gd name="connsiteX2" fmla="*/ 287655 w 1620202"/>
                <a:gd name="connsiteY2" fmla="*/ 917257 h 1025842"/>
                <a:gd name="connsiteX3" fmla="*/ 438150 w 1620202"/>
                <a:gd name="connsiteY3" fmla="*/ 781050 h 1025842"/>
                <a:gd name="connsiteX4" fmla="*/ 323850 w 1620202"/>
                <a:gd name="connsiteY4" fmla="*/ 637222 h 1025842"/>
                <a:gd name="connsiteX5" fmla="*/ 325755 w 1620202"/>
                <a:gd name="connsiteY5" fmla="*/ 615315 h 1025842"/>
                <a:gd name="connsiteX6" fmla="*/ 287655 w 1620202"/>
                <a:gd name="connsiteY6" fmla="*/ 610552 h 1025842"/>
                <a:gd name="connsiteX7" fmla="*/ 1355407 w 1620202"/>
                <a:gd name="connsiteY7" fmla="*/ 595312 h 1025842"/>
                <a:gd name="connsiteX8" fmla="*/ 1221105 w 1620202"/>
                <a:gd name="connsiteY8" fmla="*/ 709612 h 1025842"/>
                <a:gd name="connsiteX9" fmla="*/ 1187767 w 1620202"/>
                <a:gd name="connsiteY9" fmla="*/ 709612 h 1025842"/>
                <a:gd name="connsiteX10" fmla="*/ 1176337 w 1620202"/>
                <a:gd name="connsiteY10" fmla="*/ 741045 h 1025842"/>
                <a:gd name="connsiteX11" fmla="*/ 1217295 w 1620202"/>
                <a:gd name="connsiteY11" fmla="*/ 741045 h 1025842"/>
                <a:gd name="connsiteX12" fmla="*/ 1217295 w 1620202"/>
                <a:gd name="connsiteY12" fmla="*/ 756285 h 1025842"/>
                <a:gd name="connsiteX13" fmla="*/ 1218247 w 1620202"/>
                <a:gd name="connsiteY13" fmla="*/ 765810 h 1025842"/>
                <a:gd name="connsiteX14" fmla="*/ 1188720 w 1620202"/>
                <a:gd name="connsiteY14" fmla="*/ 765810 h 1025842"/>
                <a:gd name="connsiteX15" fmla="*/ 1177290 w 1620202"/>
                <a:gd name="connsiteY15" fmla="*/ 797242 h 1025842"/>
                <a:gd name="connsiteX16" fmla="*/ 1222057 w 1620202"/>
                <a:gd name="connsiteY16" fmla="*/ 797242 h 1025842"/>
                <a:gd name="connsiteX17" fmla="*/ 1359217 w 1620202"/>
                <a:gd name="connsiteY17" fmla="*/ 903922 h 1025842"/>
                <a:gd name="connsiteX18" fmla="*/ 1446847 w 1620202"/>
                <a:gd name="connsiteY18" fmla="*/ 887730 h 1025842"/>
                <a:gd name="connsiteX19" fmla="*/ 1432560 w 1620202"/>
                <a:gd name="connsiteY19" fmla="*/ 836295 h 1025842"/>
                <a:gd name="connsiteX20" fmla="*/ 1369695 w 1620202"/>
                <a:gd name="connsiteY20" fmla="*/ 853440 h 1025842"/>
                <a:gd name="connsiteX21" fmla="*/ 1292542 w 1620202"/>
                <a:gd name="connsiteY21" fmla="*/ 797242 h 1025842"/>
                <a:gd name="connsiteX22" fmla="*/ 1382077 w 1620202"/>
                <a:gd name="connsiteY22" fmla="*/ 797242 h 1025842"/>
                <a:gd name="connsiteX23" fmla="*/ 1393507 w 1620202"/>
                <a:gd name="connsiteY23" fmla="*/ 765810 h 1025842"/>
                <a:gd name="connsiteX24" fmla="*/ 1286827 w 1620202"/>
                <a:gd name="connsiteY24" fmla="*/ 765810 h 1025842"/>
                <a:gd name="connsiteX25" fmla="*/ 1285875 w 1620202"/>
                <a:gd name="connsiteY25" fmla="*/ 749617 h 1025842"/>
                <a:gd name="connsiteX26" fmla="*/ 1285875 w 1620202"/>
                <a:gd name="connsiteY26" fmla="*/ 743902 h 1025842"/>
                <a:gd name="connsiteX27" fmla="*/ 1285875 w 1620202"/>
                <a:gd name="connsiteY27" fmla="*/ 740092 h 1025842"/>
                <a:gd name="connsiteX28" fmla="*/ 1401127 w 1620202"/>
                <a:gd name="connsiteY28" fmla="*/ 740092 h 1025842"/>
                <a:gd name="connsiteX29" fmla="*/ 1411605 w 1620202"/>
                <a:gd name="connsiteY29" fmla="*/ 708660 h 1025842"/>
                <a:gd name="connsiteX30" fmla="*/ 1286827 w 1620202"/>
                <a:gd name="connsiteY30" fmla="*/ 708660 h 1025842"/>
                <a:gd name="connsiteX31" fmla="*/ 1363980 w 1620202"/>
                <a:gd name="connsiteY31" fmla="*/ 645795 h 1025842"/>
                <a:gd name="connsiteX32" fmla="*/ 1428750 w 1620202"/>
                <a:gd name="connsiteY32" fmla="*/ 663892 h 1025842"/>
                <a:gd name="connsiteX33" fmla="*/ 1446847 w 1620202"/>
                <a:gd name="connsiteY33" fmla="*/ 614362 h 1025842"/>
                <a:gd name="connsiteX34" fmla="*/ 1355407 w 1620202"/>
                <a:gd name="connsiteY34" fmla="*/ 595312 h 1025842"/>
                <a:gd name="connsiteX35" fmla="*/ 472440 w 1620202"/>
                <a:gd name="connsiteY35" fmla="*/ 516255 h 1025842"/>
                <a:gd name="connsiteX36" fmla="*/ 350520 w 1620202"/>
                <a:gd name="connsiteY36" fmla="*/ 638175 h 1025842"/>
                <a:gd name="connsiteX37" fmla="*/ 472440 w 1620202"/>
                <a:gd name="connsiteY37" fmla="*/ 760095 h 1025842"/>
                <a:gd name="connsiteX38" fmla="*/ 594360 w 1620202"/>
                <a:gd name="connsiteY38" fmla="*/ 638175 h 1025842"/>
                <a:gd name="connsiteX39" fmla="*/ 589512 w 1620202"/>
                <a:gd name="connsiteY39" fmla="*/ 614331 h 1025842"/>
                <a:gd name="connsiteX40" fmla="*/ 472440 w 1620202"/>
                <a:gd name="connsiteY40" fmla="*/ 516255 h 1025842"/>
                <a:gd name="connsiteX41" fmla="*/ 107632 w 1620202"/>
                <a:gd name="connsiteY41" fmla="*/ 0 h 1025842"/>
                <a:gd name="connsiteX42" fmla="*/ 1511617 w 1620202"/>
                <a:gd name="connsiteY42" fmla="*/ 0 h 1025842"/>
                <a:gd name="connsiteX43" fmla="*/ 1620202 w 1620202"/>
                <a:gd name="connsiteY43" fmla="*/ 107632 h 1025842"/>
                <a:gd name="connsiteX44" fmla="*/ 1620202 w 1620202"/>
                <a:gd name="connsiteY44" fmla="*/ 134302 h 1025842"/>
                <a:gd name="connsiteX45" fmla="*/ 1005853 w 1620202"/>
                <a:gd name="connsiteY45" fmla="*/ 134302 h 1025842"/>
                <a:gd name="connsiteX46" fmla="*/ 1005853 w 1620202"/>
                <a:gd name="connsiteY46" fmla="*/ 350520 h 1025842"/>
                <a:gd name="connsiteX47" fmla="*/ 1619250 w 1620202"/>
                <a:gd name="connsiteY47" fmla="*/ 350520 h 1025842"/>
                <a:gd name="connsiteX48" fmla="*/ 1619250 w 1620202"/>
                <a:gd name="connsiteY48" fmla="*/ 918210 h 1025842"/>
                <a:gd name="connsiteX49" fmla="*/ 1511617 w 1620202"/>
                <a:gd name="connsiteY49" fmla="*/ 1025842 h 1025842"/>
                <a:gd name="connsiteX50" fmla="*/ 107632 w 1620202"/>
                <a:gd name="connsiteY50" fmla="*/ 1025842 h 1025842"/>
                <a:gd name="connsiteX51" fmla="*/ 0 w 1620202"/>
                <a:gd name="connsiteY51" fmla="*/ 918210 h 1025842"/>
                <a:gd name="connsiteX52" fmla="*/ 0 w 1620202"/>
                <a:gd name="connsiteY52" fmla="*/ 350520 h 1025842"/>
                <a:gd name="connsiteX53" fmla="*/ 0 w 1620202"/>
                <a:gd name="connsiteY53" fmla="*/ 134302 h 1025842"/>
                <a:gd name="connsiteX54" fmla="*/ 0 w 1620202"/>
                <a:gd name="connsiteY54" fmla="*/ 107632 h 1025842"/>
                <a:gd name="connsiteX55" fmla="*/ 107632 w 1620202"/>
                <a:gd name="connsiteY55" fmla="*/ 0 h 1025842"/>
                <a:gd name="connsiteX0" fmla="*/ 287655 w 1620202"/>
                <a:gd name="connsiteY0" fmla="*/ 610552 h 1025842"/>
                <a:gd name="connsiteX1" fmla="*/ 136207 w 1620202"/>
                <a:gd name="connsiteY1" fmla="*/ 763905 h 1025842"/>
                <a:gd name="connsiteX2" fmla="*/ 287655 w 1620202"/>
                <a:gd name="connsiteY2" fmla="*/ 917257 h 1025842"/>
                <a:gd name="connsiteX3" fmla="*/ 438150 w 1620202"/>
                <a:gd name="connsiteY3" fmla="*/ 781050 h 1025842"/>
                <a:gd name="connsiteX4" fmla="*/ 323850 w 1620202"/>
                <a:gd name="connsiteY4" fmla="*/ 637222 h 1025842"/>
                <a:gd name="connsiteX5" fmla="*/ 325755 w 1620202"/>
                <a:gd name="connsiteY5" fmla="*/ 615315 h 1025842"/>
                <a:gd name="connsiteX6" fmla="*/ 287655 w 1620202"/>
                <a:gd name="connsiteY6" fmla="*/ 610552 h 1025842"/>
                <a:gd name="connsiteX7" fmla="*/ 1355407 w 1620202"/>
                <a:gd name="connsiteY7" fmla="*/ 595312 h 1025842"/>
                <a:gd name="connsiteX8" fmla="*/ 1221105 w 1620202"/>
                <a:gd name="connsiteY8" fmla="*/ 709612 h 1025842"/>
                <a:gd name="connsiteX9" fmla="*/ 1187767 w 1620202"/>
                <a:gd name="connsiteY9" fmla="*/ 709612 h 1025842"/>
                <a:gd name="connsiteX10" fmla="*/ 1176337 w 1620202"/>
                <a:gd name="connsiteY10" fmla="*/ 741045 h 1025842"/>
                <a:gd name="connsiteX11" fmla="*/ 1217295 w 1620202"/>
                <a:gd name="connsiteY11" fmla="*/ 741045 h 1025842"/>
                <a:gd name="connsiteX12" fmla="*/ 1217295 w 1620202"/>
                <a:gd name="connsiteY12" fmla="*/ 756285 h 1025842"/>
                <a:gd name="connsiteX13" fmla="*/ 1218247 w 1620202"/>
                <a:gd name="connsiteY13" fmla="*/ 765810 h 1025842"/>
                <a:gd name="connsiteX14" fmla="*/ 1188720 w 1620202"/>
                <a:gd name="connsiteY14" fmla="*/ 765810 h 1025842"/>
                <a:gd name="connsiteX15" fmla="*/ 1177290 w 1620202"/>
                <a:gd name="connsiteY15" fmla="*/ 797242 h 1025842"/>
                <a:gd name="connsiteX16" fmla="*/ 1222057 w 1620202"/>
                <a:gd name="connsiteY16" fmla="*/ 797242 h 1025842"/>
                <a:gd name="connsiteX17" fmla="*/ 1359217 w 1620202"/>
                <a:gd name="connsiteY17" fmla="*/ 903922 h 1025842"/>
                <a:gd name="connsiteX18" fmla="*/ 1446847 w 1620202"/>
                <a:gd name="connsiteY18" fmla="*/ 887730 h 1025842"/>
                <a:gd name="connsiteX19" fmla="*/ 1432560 w 1620202"/>
                <a:gd name="connsiteY19" fmla="*/ 836295 h 1025842"/>
                <a:gd name="connsiteX20" fmla="*/ 1369695 w 1620202"/>
                <a:gd name="connsiteY20" fmla="*/ 853440 h 1025842"/>
                <a:gd name="connsiteX21" fmla="*/ 1292542 w 1620202"/>
                <a:gd name="connsiteY21" fmla="*/ 797242 h 1025842"/>
                <a:gd name="connsiteX22" fmla="*/ 1382077 w 1620202"/>
                <a:gd name="connsiteY22" fmla="*/ 797242 h 1025842"/>
                <a:gd name="connsiteX23" fmla="*/ 1393507 w 1620202"/>
                <a:gd name="connsiteY23" fmla="*/ 765810 h 1025842"/>
                <a:gd name="connsiteX24" fmla="*/ 1286827 w 1620202"/>
                <a:gd name="connsiteY24" fmla="*/ 765810 h 1025842"/>
                <a:gd name="connsiteX25" fmla="*/ 1285875 w 1620202"/>
                <a:gd name="connsiteY25" fmla="*/ 749617 h 1025842"/>
                <a:gd name="connsiteX26" fmla="*/ 1285875 w 1620202"/>
                <a:gd name="connsiteY26" fmla="*/ 743902 h 1025842"/>
                <a:gd name="connsiteX27" fmla="*/ 1285875 w 1620202"/>
                <a:gd name="connsiteY27" fmla="*/ 740092 h 1025842"/>
                <a:gd name="connsiteX28" fmla="*/ 1401127 w 1620202"/>
                <a:gd name="connsiteY28" fmla="*/ 740092 h 1025842"/>
                <a:gd name="connsiteX29" fmla="*/ 1411605 w 1620202"/>
                <a:gd name="connsiteY29" fmla="*/ 708660 h 1025842"/>
                <a:gd name="connsiteX30" fmla="*/ 1286827 w 1620202"/>
                <a:gd name="connsiteY30" fmla="*/ 708660 h 1025842"/>
                <a:gd name="connsiteX31" fmla="*/ 1363980 w 1620202"/>
                <a:gd name="connsiteY31" fmla="*/ 645795 h 1025842"/>
                <a:gd name="connsiteX32" fmla="*/ 1428750 w 1620202"/>
                <a:gd name="connsiteY32" fmla="*/ 663892 h 1025842"/>
                <a:gd name="connsiteX33" fmla="*/ 1446847 w 1620202"/>
                <a:gd name="connsiteY33" fmla="*/ 614362 h 1025842"/>
                <a:gd name="connsiteX34" fmla="*/ 1355407 w 1620202"/>
                <a:gd name="connsiteY34" fmla="*/ 595312 h 1025842"/>
                <a:gd name="connsiteX35" fmla="*/ 472440 w 1620202"/>
                <a:gd name="connsiteY35" fmla="*/ 516255 h 1025842"/>
                <a:gd name="connsiteX36" fmla="*/ 350520 w 1620202"/>
                <a:gd name="connsiteY36" fmla="*/ 638175 h 1025842"/>
                <a:gd name="connsiteX37" fmla="*/ 472440 w 1620202"/>
                <a:gd name="connsiteY37" fmla="*/ 760095 h 1025842"/>
                <a:gd name="connsiteX38" fmla="*/ 594360 w 1620202"/>
                <a:gd name="connsiteY38" fmla="*/ 638175 h 1025842"/>
                <a:gd name="connsiteX39" fmla="*/ 589512 w 1620202"/>
                <a:gd name="connsiteY39" fmla="*/ 614331 h 1025842"/>
                <a:gd name="connsiteX40" fmla="*/ 472440 w 1620202"/>
                <a:gd name="connsiteY40" fmla="*/ 516255 h 1025842"/>
                <a:gd name="connsiteX41" fmla="*/ 107632 w 1620202"/>
                <a:gd name="connsiteY41" fmla="*/ 0 h 1025842"/>
                <a:gd name="connsiteX42" fmla="*/ 1511617 w 1620202"/>
                <a:gd name="connsiteY42" fmla="*/ 0 h 1025842"/>
                <a:gd name="connsiteX43" fmla="*/ 1620202 w 1620202"/>
                <a:gd name="connsiteY43" fmla="*/ 107632 h 1025842"/>
                <a:gd name="connsiteX44" fmla="*/ 1620202 w 1620202"/>
                <a:gd name="connsiteY44" fmla="*/ 134302 h 1025842"/>
                <a:gd name="connsiteX45" fmla="*/ 1005853 w 1620202"/>
                <a:gd name="connsiteY45" fmla="*/ 134302 h 1025842"/>
                <a:gd name="connsiteX46" fmla="*/ 1005853 w 1620202"/>
                <a:gd name="connsiteY46" fmla="*/ 350520 h 1025842"/>
                <a:gd name="connsiteX47" fmla="*/ 1619250 w 1620202"/>
                <a:gd name="connsiteY47" fmla="*/ 350520 h 1025842"/>
                <a:gd name="connsiteX48" fmla="*/ 1619250 w 1620202"/>
                <a:gd name="connsiteY48" fmla="*/ 918210 h 1025842"/>
                <a:gd name="connsiteX49" fmla="*/ 1511617 w 1620202"/>
                <a:gd name="connsiteY49" fmla="*/ 1025842 h 1025842"/>
                <a:gd name="connsiteX50" fmla="*/ 107632 w 1620202"/>
                <a:gd name="connsiteY50" fmla="*/ 1025842 h 1025842"/>
                <a:gd name="connsiteX51" fmla="*/ 0 w 1620202"/>
                <a:gd name="connsiteY51" fmla="*/ 918210 h 1025842"/>
                <a:gd name="connsiteX52" fmla="*/ 0 w 1620202"/>
                <a:gd name="connsiteY52" fmla="*/ 350520 h 1025842"/>
                <a:gd name="connsiteX53" fmla="*/ 0 w 1620202"/>
                <a:gd name="connsiteY53" fmla="*/ 107632 h 1025842"/>
                <a:gd name="connsiteX54" fmla="*/ 107632 w 1620202"/>
                <a:gd name="connsiteY54" fmla="*/ 0 h 1025842"/>
                <a:gd name="connsiteX0" fmla="*/ 287655 w 1620202"/>
                <a:gd name="connsiteY0" fmla="*/ 610552 h 1025842"/>
                <a:gd name="connsiteX1" fmla="*/ 136207 w 1620202"/>
                <a:gd name="connsiteY1" fmla="*/ 763905 h 1025842"/>
                <a:gd name="connsiteX2" fmla="*/ 287655 w 1620202"/>
                <a:gd name="connsiteY2" fmla="*/ 917257 h 1025842"/>
                <a:gd name="connsiteX3" fmla="*/ 438150 w 1620202"/>
                <a:gd name="connsiteY3" fmla="*/ 781050 h 1025842"/>
                <a:gd name="connsiteX4" fmla="*/ 323850 w 1620202"/>
                <a:gd name="connsiteY4" fmla="*/ 637222 h 1025842"/>
                <a:gd name="connsiteX5" fmla="*/ 325755 w 1620202"/>
                <a:gd name="connsiteY5" fmla="*/ 615315 h 1025842"/>
                <a:gd name="connsiteX6" fmla="*/ 287655 w 1620202"/>
                <a:gd name="connsiteY6" fmla="*/ 610552 h 1025842"/>
                <a:gd name="connsiteX7" fmla="*/ 1355407 w 1620202"/>
                <a:gd name="connsiteY7" fmla="*/ 595312 h 1025842"/>
                <a:gd name="connsiteX8" fmla="*/ 1221105 w 1620202"/>
                <a:gd name="connsiteY8" fmla="*/ 709612 h 1025842"/>
                <a:gd name="connsiteX9" fmla="*/ 1187767 w 1620202"/>
                <a:gd name="connsiteY9" fmla="*/ 709612 h 1025842"/>
                <a:gd name="connsiteX10" fmla="*/ 1176337 w 1620202"/>
                <a:gd name="connsiteY10" fmla="*/ 741045 h 1025842"/>
                <a:gd name="connsiteX11" fmla="*/ 1217295 w 1620202"/>
                <a:gd name="connsiteY11" fmla="*/ 741045 h 1025842"/>
                <a:gd name="connsiteX12" fmla="*/ 1217295 w 1620202"/>
                <a:gd name="connsiteY12" fmla="*/ 756285 h 1025842"/>
                <a:gd name="connsiteX13" fmla="*/ 1218247 w 1620202"/>
                <a:gd name="connsiteY13" fmla="*/ 765810 h 1025842"/>
                <a:gd name="connsiteX14" fmla="*/ 1188720 w 1620202"/>
                <a:gd name="connsiteY14" fmla="*/ 765810 h 1025842"/>
                <a:gd name="connsiteX15" fmla="*/ 1177290 w 1620202"/>
                <a:gd name="connsiteY15" fmla="*/ 797242 h 1025842"/>
                <a:gd name="connsiteX16" fmla="*/ 1222057 w 1620202"/>
                <a:gd name="connsiteY16" fmla="*/ 797242 h 1025842"/>
                <a:gd name="connsiteX17" fmla="*/ 1359217 w 1620202"/>
                <a:gd name="connsiteY17" fmla="*/ 903922 h 1025842"/>
                <a:gd name="connsiteX18" fmla="*/ 1446847 w 1620202"/>
                <a:gd name="connsiteY18" fmla="*/ 887730 h 1025842"/>
                <a:gd name="connsiteX19" fmla="*/ 1432560 w 1620202"/>
                <a:gd name="connsiteY19" fmla="*/ 836295 h 1025842"/>
                <a:gd name="connsiteX20" fmla="*/ 1369695 w 1620202"/>
                <a:gd name="connsiteY20" fmla="*/ 853440 h 1025842"/>
                <a:gd name="connsiteX21" fmla="*/ 1292542 w 1620202"/>
                <a:gd name="connsiteY21" fmla="*/ 797242 h 1025842"/>
                <a:gd name="connsiteX22" fmla="*/ 1382077 w 1620202"/>
                <a:gd name="connsiteY22" fmla="*/ 797242 h 1025842"/>
                <a:gd name="connsiteX23" fmla="*/ 1393507 w 1620202"/>
                <a:gd name="connsiteY23" fmla="*/ 765810 h 1025842"/>
                <a:gd name="connsiteX24" fmla="*/ 1286827 w 1620202"/>
                <a:gd name="connsiteY24" fmla="*/ 765810 h 1025842"/>
                <a:gd name="connsiteX25" fmla="*/ 1285875 w 1620202"/>
                <a:gd name="connsiteY25" fmla="*/ 749617 h 1025842"/>
                <a:gd name="connsiteX26" fmla="*/ 1285875 w 1620202"/>
                <a:gd name="connsiteY26" fmla="*/ 743902 h 1025842"/>
                <a:gd name="connsiteX27" fmla="*/ 1285875 w 1620202"/>
                <a:gd name="connsiteY27" fmla="*/ 740092 h 1025842"/>
                <a:gd name="connsiteX28" fmla="*/ 1401127 w 1620202"/>
                <a:gd name="connsiteY28" fmla="*/ 740092 h 1025842"/>
                <a:gd name="connsiteX29" fmla="*/ 1411605 w 1620202"/>
                <a:gd name="connsiteY29" fmla="*/ 708660 h 1025842"/>
                <a:gd name="connsiteX30" fmla="*/ 1286827 w 1620202"/>
                <a:gd name="connsiteY30" fmla="*/ 708660 h 1025842"/>
                <a:gd name="connsiteX31" fmla="*/ 1363980 w 1620202"/>
                <a:gd name="connsiteY31" fmla="*/ 645795 h 1025842"/>
                <a:gd name="connsiteX32" fmla="*/ 1428750 w 1620202"/>
                <a:gd name="connsiteY32" fmla="*/ 663892 h 1025842"/>
                <a:gd name="connsiteX33" fmla="*/ 1446847 w 1620202"/>
                <a:gd name="connsiteY33" fmla="*/ 614362 h 1025842"/>
                <a:gd name="connsiteX34" fmla="*/ 1355407 w 1620202"/>
                <a:gd name="connsiteY34" fmla="*/ 595312 h 1025842"/>
                <a:gd name="connsiteX35" fmla="*/ 472440 w 1620202"/>
                <a:gd name="connsiteY35" fmla="*/ 516255 h 1025842"/>
                <a:gd name="connsiteX36" fmla="*/ 350520 w 1620202"/>
                <a:gd name="connsiteY36" fmla="*/ 638175 h 1025842"/>
                <a:gd name="connsiteX37" fmla="*/ 472440 w 1620202"/>
                <a:gd name="connsiteY37" fmla="*/ 760095 h 1025842"/>
                <a:gd name="connsiteX38" fmla="*/ 594360 w 1620202"/>
                <a:gd name="connsiteY38" fmla="*/ 638175 h 1025842"/>
                <a:gd name="connsiteX39" fmla="*/ 589512 w 1620202"/>
                <a:gd name="connsiteY39" fmla="*/ 614331 h 1025842"/>
                <a:gd name="connsiteX40" fmla="*/ 472440 w 1620202"/>
                <a:gd name="connsiteY40" fmla="*/ 516255 h 1025842"/>
                <a:gd name="connsiteX41" fmla="*/ 107632 w 1620202"/>
                <a:gd name="connsiteY41" fmla="*/ 0 h 1025842"/>
                <a:gd name="connsiteX42" fmla="*/ 1511617 w 1620202"/>
                <a:gd name="connsiteY42" fmla="*/ 0 h 1025842"/>
                <a:gd name="connsiteX43" fmla="*/ 1620202 w 1620202"/>
                <a:gd name="connsiteY43" fmla="*/ 107632 h 1025842"/>
                <a:gd name="connsiteX44" fmla="*/ 1620202 w 1620202"/>
                <a:gd name="connsiteY44" fmla="*/ 134302 h 1025842"/>
                <a:gd name="connsiteX45" fmla="*/ 1005853 w 1620202"/>
                <a:gd name="connsiteY45" fmla="*/ 134302 h 1025842"/>
                <a:gd name="connsiteX46" fmla="*/ 1005853 w 1620202"/>
                <a:gd name="connsiteY46" fmla="*/ 350520 h 1025842"/>
                <a:gd name="connsiteX47" fmla="*/ 1619250 w 1620202"/>
                <a:gd name="connsiteY47" fmla="*/ 350520 h 1025842"/>
                <a:gd name="connsiteX48" fmla="*/ 1619250 w 1620202"/>
                <a:gd name="connsiteY48" fmla="*/ 918210 h 1025842"/>
                <a:gd name="connsiteX49" fmla="*/ 1511617 w 1620202"/>
                <a:gd name="connsiteY49" fmla="*/ 1025842 h 1025842"/>
                <a:gd name="connsiteX50" fmla="*/ 107632 w 1620202"/>
                <a:gd name="connsiteY50" fmla="*/ 1025842 h 1025842"/>
                <a:gd name="connsiteX51" fmla="*/ 0 w 1620202"/>
                <a:gd name="connsiteY51" fmla="*/ 918210 h 1025842"/>
                <a:gd name="connsiteX52" fmla="*/ 0 w 1620202"/>
                <a:gd name="connsiteY52" fmla="*/ 107632 h 1025842"/>
                <a:gd name="connsiteX53" fmla="*/ 107632 w 1620202"/>
                <a:gd name="connsiteY53" fmla="*/ 0 h 1025842"/>
                <a:gd name="connsiteX0" fmla="*/ 287655 w 1620202"/>
                <a:gd name="connsiteY0" fmla="*/ 610552 h 1025842"/>
                <a:gd name="connsiteX1" fmla="*/ 136207 w 1620202"/>
                <a:gd name="connsiteY1" fmla="*/ 763905 h 1025842"/>
                <a:gd name="connsiteX2" fmla="*/ 287655 w 1620202"/>
                <a:gd name="connsiteY2" fmla="*/ 917257 h 1025842"/>
                <a:gd name="connsiteX3" fmla="*/ 438150 w 1620202"/>
                <a:gd name="connsiteY3" fmla="*/ 781050 h 1025842"/>
                <a:gd name="connsiteX4" fmla="*/ 323850 w 1620202"/>
                <a:gd name="connsiteY4" fmla="*/ 637222 h 1025842"/>
                <a:gd name="connsiteX5" fmla="*/ 325755 w 1620202"/>
                <a:gd name="connsiteY5" fmla="*/ 615315 h 1025842"/>
                <a:gd name="connsiteX6" fmla="*/ 287655 w 1620202"/>
                <a:gd name="connsiteY6" fmla="*/ 610552 h 1025842"/>
                <a:gd name="connsiteX7" fmla="*/ 1355407 w 1620202"/>
                <a:gd name="connsiteY7" fmla="*/ 595312 h 1025842"/>
                <a:gd name="connsiteX8" fmla="*/ 1221105 w 1620202"/>
                <a:gd name="connsiteY8" fmla="*/ 709612 h 1025842"/>
                <a:gd name="connsiteX9" fmla="*/ 1187767 w 1620202"/>
                <a:gd name="connsiteY9" fmla="*/ 709612 h 1025842"/>
                <a:gd name="connsiteX10" fmla="*/ 1176337 w 1620202"/>
                <a:gd name="connsiteY10" fmla="*/ 741045 h 1025842"/>
                <a:gd name="connsiteX11" fmla="*/ 1217295 w 1620202"/>
                <a:gd name="connsiteY11" fmla="*/ 741045 h 1025842"/>
                <a:gd name="connsiteX12" fmla="*/ 1217295 w 1620202"/>
                <a:gd name="connsiteY12" fmla="*/ 756285 h 1025842"/>
                <a:gd name="connsiteX13" fmla="*/ 1218247 w 1620202"/>
                <a:gd name="connsiteY13" fmla="*/ 765810 h 1025842"/>
                <a:gd name="connsiteX14" fmla="*/ 1188720 w 1620202"/>
                <a:gd name="connsiteY14" fmla="*/ 765810 h 1025842"/>
                <a:gd name="connsiteX15" fmla="*/ 1177290 w 1620202"/>
                <a:gd name="connsiteY15" fmla="*/ 797242 h 1025842"/>
                <a:gd name="connsiteX16" fmla="*/ 1222057 w 1620202"/>
                <a:gd name="connsiteY16" fmla="*/ 797242 h 1025842"/>
                <a:gd name="connsiteX17" fmla="*/ 1359217 w 1620202"/>
                <a:gd name="connsiteY17" fmla="*/ 903922 h 1025842"/>
                <a:gd name="connsiteX18" fmla="*/ 1446847 w 1620202"/>
                <a:gd name="connsiteY18" fmla="*/ 887730 h 1025842"/>
                <a:gd name="connsiteX19" fmla="*/ 1432560 w 1620202"/>
                <a:gd name="connsiteY19" fmla="*/ 836295 h 1025842"/>
                <a:gd name="connsiteX20" fmla="*/ 1369695 w 1620202"/>
                <a:gd name="connsiteY20" fmla="*/ 853440 h 1025842"/>
                <a:gd name="connsiteX21" fmla="*/ 1292542 w 1620202"/>
                <a:gd name="connsiteY21" fmla="*/ 797242 h 1025842"/>
                <a:gd name="connsiteX22" fmla="*/ 1382077 w 1620202"/>
                <a:gd name="connsiteY22" fmla="*/ 797242 h 1025842"/>
                <a:gd name="connsiteX23" fmla="*/ 1393507 w 1620202"/>
                <a:gd name="connsiteY23" fmla="*/ 765810 h 1025842"/>
                <a:gd name="connsiteX24" fmla="*/ 1286827 w 1620202"/>
                <a:gd name="connsiteY24" fmla="*/ 765810 h 1025842"/>
                <a:gd name="connsiteX25" fmla="*/ 1285875 w 1620202"/>
                <a:gd name="connsiteY25" fmla="*/ 749617 h 1025842"/>
                <a:gd name="connsiteX26" fmla="*/ 1285875 w 1620202"/>
                <a:gd name="connsiteY26" fmla="*/ 743902 h 1025842"/>
                <a:gd name="connsiteX27" fmla="*/ 1285875 w 1620202"/>
                <a:gd name="connsiteY27" fmla="*/ 740092 h 1025842"/>
                <a:gd name="connsiteX28" fmla="*/ 1401127 w 1620202"/>
                <a:gd name="connsiteY28" fmla="*/ 740092 h 1025842"/>
                <a:gd name="connsiteX29" fmla="*/ 1411605 w 1620202"/>
                <a:gd name="connsiteY29" fmla="*/ 708660 h 1025842"/>
                <a:gd name="connsiteX30" fmla="*/ 1286827 w 1620202"/>
                <a:gd name="connsiteY30" fmla="*/ 708660 h 1025842"/>
                <a:gd name="connsiteX31" fmla="*/ 1363980 w 1620202"/>
                <a:gd name="connsiteY31" fmla="*/ 645795 h 1025842"/>
                <a:gd name="connsiteX32" fmla="*/ 1428750 w 1620202"/>
                <a:gd name="connsiteY32" fmla="*/ 663892 h 1025842"/>
                <a:gd name="connsiteX33" fmla="*/ 1446847 w 1620202"/>
                <a:gd name="connsiteY33" fmla="*/ 614362 h 1025842"/>
                <a:gd name="connsiteX34" fmla="*/ 1355407 w 1620202"/>
                <a:gd name="connsiteY34" fmla="*/ 595312 h 1025842"/>
                <a:gd name="connsiteX35" fmla="*/ 472440 w 1620202"/>
                <a:gd name="connsiteY35" fmla="*/ 516255 h 1025842"/>
                <a:gd name="connsiteX36" fmla="*/ 350520 w 1620202"/>
                <a:gd name="connsiteY36" fmla="*/ 638175 h 1025842"/>
                <a:gd name="connsiteX37" fmla="*/ 472440 w 1620202"/>
                <a:gd name="connsiteY37" fmla="*/ 760095 h 1025842"/>
                <a:gd name="connsiteX38" fmla="*/ 594360 w 1620202"/>
                <a:gd name="connsiteY38" fmla="*/ 638175 h 1025842"/>
                <a:gd name="connsiteX39" fmla="*/ 589512 w 1620202"/>
                <a:gd name="connsiteY39" fmla="*/ 614331 h 1025842"/>
                <a:gd name="connsiteX40" fmla="*/ 472440 w 1620202"/>
                <a:gd name="connsiteY40" fmla="*/ 516255 h 1025842"/>
                <a:gd name="connsiteX41" fmla="*/ 107632 w 1620202"/>
                <a:gd name="connsiteY41" fmla="*/ 0 h 1025842"/>
                <a:gd name="connsiteX42" fmla="*/ 1511617 w 1620202"/>
                <a:gd name="connsiteY42" fmla="*/ 0 h 1025842"/>
                <a:gd name="connsiteX43" fmla="*/ 1620202 w 1620202"/>
                <a:gd name="connsiteY43" fmla="*/ 107632 h 1025842"/>
                <a:gd name="connsiteX44" fmla="*/ 1620202 w 1620202"/>
                <a:gd name="connsiteY44" fmla="*/ 134302 h 1025842"/>
                <a:gd name="connsiteX45" fmla="*/ 1005853 w 1620202"/>
                <a:gd name="connsiteY45" fmla="*/ 134302 h 1025842"/>
                <a:gd name="connsiteX46" fmla="*/ 1005853 w 1620202"/>
                <a:gd name="connsiteY46" fmla="*/ 350520 h 1025842"/>
                <a:gd name="connsiteX47" fmla="*/ 1619250 w 1620202"/>
                <a:gd name="connsiteY47" fmla="*/ 918210 h 1025842"/>
                <a:gd name="connsiteX48" fmla="*/ 1511617 w 1620202"/>
                <a:gd name="connsiteY48" fmla="*/ 1025842 h 1025842"/>
                <a:gd name="connsiteX49" fmla="*/ 107632 w 1620202"/>
                <a:gd name="connsiteY49" fmla="*/ 1025842 h 1025842"/>
                <a:gd name="connsiteX50" fmla="*/ 0 w 1620202"/>
                <a:gd name="connsiteY50" fmla="*/ 918210 h 1025842"/>
                <a:gd name="connsiteX51" fmla="*/ 0 w 1620202"/>
                <a:gd name="connsiteY51" fmla="*/ 107632 h 1025842"/>
                <a:gd name="connsiteX52" fmla="*/ 107632 w 1620202"/>
                <a:gd name="connsiteY52" fmla="*/ 0 h 1025842"/>
                <a:gd name="connsiteX0" fmla="*/ 287655 w 1620202"/>
                <a:gd name="connsiteY0" fmla="*/ 610552 h 1025842"/>
                <a:gd name="connsiteX1" fmla="*/ 136207 w 1620202"/>
                <a:gd name="connsiteY1" fmla="*/ 763905 h 1025842"/>
                <a:gd name="connsiteX2" fmla="*/ 287655 w 1620202"/>
                <a:gd name="connsiteY2" fmla="*/ 917257 h 1025842"/>
                <a:gd name="connsiteX3" fmla="*/ 438150 w 1620202"/>
                <a:gd name="connsiteY3" fmla="*/ 781050 h 1025842"/>
                <a:gd name="connsiteX4" fmla="*/ 323850 w 1620202"/>
                <a:gd name="connsiteY4" fmla="*/ 637222 h 1025842"/>
                <a:gd name="connsiteX5" fmla="*/ 325755 w 1620202"/>
                <a:gd name="connsiteY5" fmla="*/ 615315 h 1025842"/>
                <a:gd name="connsiteX6" fmla="*/ 287655 w 1620202"/>
                <a:gd name="connsiteY6" fmla="*/ 610552 h 1025842"/>
                <a:gd name="connsiteX7" fmla="*/ 1355407 w 1620202"/>
                <a:gd name="connsiteY7" fmla="*/ 595312 h 1025842"/>
                <a:gd name="connsiteX8" fmla="*/ 1221105 w 1620202"/>
                <a:gd name="connsiteY8" fmla="*/ 709612 h 1025842"/>
                <a:gd name="connsiteX9" fmla="*/ 1187767 w 1620202"/>
                <a:gd name="connsiteY9" fmla="*/ 709612 h 1025842"/>
                <a:gd name="connsiteX10" fmla="*/ 1176337 w 1620202"/>
                <a:gd name="connsiteY10" fmla="*/ 741045 h 1025842"/>
                <a:gd name="connsiteX11" fmla="*/ 1217295 w 1620202"/>
                <a:gd name="connsiteY11" fmla="*/ 741045 h 1025842"/>
                <a:gd name="connsiteX12" fmla="*/ 1217295 w 1620202"/>
                <a:gd name="connsiteY12" fmla="*/ 756285 h 1025842"/>
                <a:gd name="connsiteX13" fmla="*/ 1218247 w 1620202"/>
                <a:gd name="connsiteY13" fmla="*/ 765810 h 1025842"/>
                <a:gd name="connsiteX14" fmla="*/ 1188720 w 1620202"/>
                <a:gd name="connsiteY14" fmla="*/ 765810 h 1025842"/>
                <a:gd name="connsiteX15" fmla="*/ 1177290 w 1620202"/>
                <a:gd name="connsiteY15" fmla="*/ 797242 h 1025842"/>
                <a:gd name="connsiteX16" fmla="*/ 1222057 w 1620202"/>
                <a:gd name="connsiteY16" fmla="*/ 797242 h 1025842"/>
                <a:gd name="connsiteX17" fmla="*/ 1359217 w 1620202"/>
                <a:gd name="connsiteY17" fmla="*/ 903922 h 1025842"/>
                <a:gd name="connsiteX18" fmla="*/ 1446847 w 1620202"/>
                <a:gd name="connsiteY18" fmla="*/ 887730 h 1025842"/>
                <a:gd name="connsiteX19" fmla="*/ 1432560 w 1620202"/>
                <a:gd name="connsiteY19" fmla="*/ 836295 h 1025842"/>
                <a:gd name="connsiteX20" fmla="*/ 1369695 w 1620202"/>
                <a:gd name="connsiteY20" fmla="*/ 853440 h 1025842"/>
                <a:gd name="connsiteX21" fmla="*/ 1292542 w 1620202"/>
                <a:gd name="connsiteY21" fmla="*/ 797242 h 1025842"/>
                <a:gd name="connsiteX22" fmla="*/ 1382077 w 1620202"/>
                <a:gd name="connsiteY22" fmla="*/ 797242 h 1025842"/>
                <a:gd name="connsiteX23" fmla="*/ 1393507 w 1620202"/>
                <a:gd name="connsiteY23" fmla="*/ 765810 h 1025842"/>
                <a:gd name="connsiteX24" fmla="*/ 1286827 w 1620202"/>
                <a:gd name="connsiteY24" fmla="*/ 765810 h 1025842"/>
                <a:gd name="connsiteX25" fmla="*/ 1285875 w 1620202"/>
                <a:gd name="connsiteY25" fmla="*/ 749617 h 1025842"/>
                <a:gd name="connsiteX26" fmla="*/ 1285875 w 1620202"/>
                <a:gd name="connsiteY26" fmla="*/ 743902 h 1025842"/>
                <a:gd name="connsiteX27" fmla="*/ 1285875 w 1620202"/>
                <a:gd name="connsiteY27" fmla="*/ 740092 h 1025842"/>
                <a:gd name="connsiteX28" fmla="*/ 1401127 w 1620202"/>
                <a:gd name="connsiteY28" fmla="*/ 740092 h 1025842"/>
                <a:gd name="connsiteX29" fmla="*/ 1411605 w 1620202"/>
                <a:gd name="connsiteY29" fmla="*/ 708660 h 1025842"/>
                <a:gd name="connsiteX30" fmla="*/ 1286827 w 1620202"/>
                <a:gd name="connsiteY30" fmla="*/ 708660 h 1025842"/>
                <a:gd name="connsiteX31" fmla="*/ 1363980 w 1620202"/>
                <a:gd name="connsiteY31" fmla="*/ 645795 h 1025842"/>
                <a:gd name="connsiteX32" fmla="*/ 1428750 w 1620202"/>
                <a:gd name="connsiteY32" fmla="*/ 663892 h 1025842"/>
                <a:gd name="connsiteX33" fmla="*/ 1446847 w 1620202"/>
                <a:gd name="connsiteY33" fmla="*/ 614362 h 1025842"/>
                <a:gd name="connsiteX34" fmla="*/ 1355407 w 1620202"/>
                <a:gd name="connsiteY34" fmla="*/ 595312 h 1025842"/>
                <a:gd name="connsiteX35" fmla="*/ 472440 w 1620202"/>
                <a:gd name="connsiteY35" fmla="*/ 516255 h 1025842"/>
                <a:gd name="connsiteX36" fmla="*/ 350520 w 1620202"/>
                <a:gd name="connsiteY36" fmla="*/ 638175 h 1025842"/>
                <a:gd name="connsiteX37" fmla="*/ 472440 w 1620202"/>
                <a:gd name="connsiteY37" fmla="*/ 760095 h 1025842"/>
                <a:gd name="connsiteX38" fmla="*/ 594360 w 1620202"/>
                <a:gd name="connsiteY38" fmla="*/ 638175 h 1025842"/>
                <a:gd name="connsiteX39" fmla="*/ 589512 w 1620202"/>
                <a:gd name="connsiteY39" fmla="*/ 614331 h 1025842"/>
                <a:gd name="connsiteX40" fmla="*/ 472440 w 1620202"/>
                <a:gd name="connsiteY40" fmla="*/ 516255 h 1025842"/>
                <a:gd name="connsiteX41" fmla="*/ 107632 w 1620202"/>
                <a:gd name="connsiteY41" fmla="*/ 0 h 1025842"/>
                <a:gd name="connsiteX42" fmla="*/ 1511617 w 1620202"/>
                <a:gd name="connsiteY42" fmla="*/ 0 h 1025842"/>
                <a:gd name="connsiteX43" fmla="*/ 1620202 w 1620202"/>
                <a:gd name="connsiteY43" fmla="*/ 107632 h 1025842"/>
                <a:gd name="connsiteX44" fmla="*/ 1005853 w 1620202"/>
                <a:gd name="connsiteY44" fmla="*/ 134302 h 1025842"/>
                <a:gd name="connsiteX45" fmla="*/ 1005853 w 1620202"/>
                <a:gd name="connsiteY45" fmla="*/ 350520 h 1025842"/>
                <a:gd name="connsiteX46" fmla="*/ 1619250 w 1620202"/>
                <a:gd name="connsiteY46" fmla="*/ 918210 h 1025842"/>
                <a:gd name="connsiteX47" fmla="*/ 1511617 w 1620202"/>
                <a:gd name="connsiteY47" fmla="*/ 1025842 h 1025842"/>
                <a:gd name="connsiteX48" fmla="*/ 107632 w 1620202"/>
                <a:gd name="connsiteY48" fmla="*/ 1025842 h 1025842"/>
                <a:gd name="connsiteX49" fmla="*/ 0 w 1620202"/>
                <a:gd name="connsiteY49" fmla="*/ 918210 h 1025842"/>
                <a:gd name="connsiteX50" fmla="*/ 0 w 1620202"/>
                <a:gd name="connsiteY50" fmla="*/ 107632 h 1025842"/>
                <a:gd name="connsiteX51" fmla="*/ 107632 w 1620202"/>
                <a:gd name="connsiteY51" fmla="*/ 0 h 1025842"/>
                <a:gd name="connsiteX0" fmla="*/ 287655 w 1620202"/>
                <a:gd name="connsiteY0" fmla="*/ 610552 h 1025842"/>
                <a:gd name="connsiteX1" fmla="*/ 136207 w 1620202"/>
                <a:gd name="connsiteY1" fmla="*/ 763905 h 1025842"/>
                <a:gd name="connsiteX2" fmla="*/ 287655 w 1620202"/>
                <a:gd name="connsiteY2" fmla="*/ 917257 h 1025842"/>
                <a:gd name="connsiteX3" fmla="*/ 438150 w 1620202"/>
                <a:gd name="connsiteY3" fmla="*/ 781050 h 1025842"/>
                <a:gd name="connsiteX4" fmla="*/ 323850 w 1620202"/>
                <a:gd name="connsiteY4" fmla="*/ 637222 h 1025842"/>
                <a:gd name="connsiteX5" fmla="*/ 325755 w 1620202"/>
                <a:gd name="connsiteY5" fmla="*/ 615315 h 1025842"/>
                <a:gd name="connsiteX6" fmla="*/ 287655 w 1620202"/>
                <a:gd name="connsiteY6" fmla="*/ 610552 h 1025842"/>
                <a:gd name="connsiteX7" fmla="*/ 1355407 w 1620202"/>
                <a:gd name="connsiteY7" fmla="*/ 595312 h 1025842"/>
                <a:gd name="connsiteX8" fmla="*/ 1221105 w 1620202"/>
                <a:gd name="connsiteY8" fmla="*/ 709612 h 1025842"/>
                <a:gd name="connsiteX9" fmla="*/ 1187767 w 1620202"/>
                <a:gd name="connsiteY9" fmla="*/ 709612 h 1025842"/>
                <a:gd name="connsiteX10" fmla="*/ 1176337 w 1620202"/>
                <a:gd name="connsiteY10" fmla="*/ 741045 h 1025842"/>
                <a:gd name="connsiteX11" fmla="*/ 1217295 w 1620202"/>
                <a:gd name="connsiteY11" fmla="*/ 741045 h 1025842"/>
                <a:gd name="connsiteX12" fmla="*/ 1217295 w 1620202"/>
                <a:gd name="connsiteY12" fmla="*/ 756285 h 1025842"/>
                <a:gd name="connsiteX13" fmla="*/ 1218247 w 1620202"/>
                <a:gd name="connsiteY13" fmla="*/ 765810 h 1025842"/>
                <a:gd name="connsiteX14" fmla="*/ 1188720 w 1620202"/>
                <a:gd name="connsiteY14" fmla="*/ 765810 h 1025842"/>
                <a:gd name="connsiteX15" fmla="*/ 1177290 w 1620202"/>
                <a:gd name="connsiteY15" fmla="*/ 797242 h 1025842"/>
                <a:gd name="connsiteX16" fmla="*/ 1222057 w 1620202"/>
                <a:gd name="connsiteY16" fmla="*/ 797242 h 1025842"/>
                <a:gd name="connsiteX17" fmla="*/ 1359217 w 1620202"/>
                <a:gd name="connsiteY17" fmla="*/ 903922 h 1025842"/>
                <a:gd name="connsiteX18" fmla="*/ 1446847 w 1620202"/>
                <a:gd name="connsiteY18" fmla="*/ 887730 h 1025842"/>
                <a:gd name="connsiteX19" fmla="*/ 1432560 w 1620202"/>
                <a:gd name="connsiteY19" fmla="*/ 836295 h 1025842"/>
                <a:gd name="connsiteX20" fmla="*/ 1369695 w 1620202"/>
                <a:gd name="connsiteY20" fmla="*/ 853440 h 1025842"/>
                <a:gd name="connsiteX21" fmla="*/ 1292542 w 1620202"/>
                <a:gd name="connsiteY21" fmla="*/ 797242 h 1025842"/>
                <a:gd name="connsiteX22" fmla="*/ 1382077 w 1620202"/>
                <a:gd name="connsiteY22" fmla="*/ 797242 h 1025842"/>
                <a:gd name="connsiteX23" fmla="*/ 1393507 w 1620202"/>
                <a:gd name="connsiteY23" fmla="*/ 765810 h 1025842"/>
                <a:gd name="connsiteX24" fmla="*/ 1286827 w 1620202"/>
                <a:gd name="connsiteY24" fmla="*/ 765810 h 1025842"/>
                <a:gd name="connsiteX25" fmla="*/ 1285875 w 1620202"/>
                <a:gd name="connsiteY25" fmla="*/ 749617 h 1025842"/>
                <a:gd name="connsiteX26" fmla="*/ 1285875 w 1620202"/>
                <a:gd name="connsiteY26" fmla="*/ 743902 h 1025842"/>
                <a:gd name="connsiteX27" fmla="*/ 1285875 w 1620202"/>
                <a:gd name="connsiteY27" fmla="*/ 740092 h 1025842"/>
                <a:gd name="connsiteX28" fmla="*/ 1401127 w 1620202"/>
                <a:gd name="connsiteY28" fmla="*/ 740092 h 1025842"/>
                <a:gd name="connsiteX29" fmla="*/ 1411605 w 1620202"/>
                <a:gd name="connsiteY29" fmla="*/ 708660 h 1025842"/>
                <a:gd name="connsiteX30" fmla="*/ 1286827 w 1620202"/>
                <a:gd name="connsiteY30" fmla="*/ 708660 h 1025842"/>
                <a:gd name="connsiteX31" fmla="*/ 1363980 w 1620202"/>
                <a:gd name="connsiteY31" fmla="*/ 645795 h 1025842"/>
                <a:gd name="connsiteX32" fmla="*/ 1428750 w 1620202"/>
                <a:gd name="connsiteY32" fmla="*/ 663892 h 1025842"/>
                <a:gd name="connsiteX33" fmla="*/ 1446847 w 1620202"/>
                <a:gd name="connsiteY33" fmla="*/ 614362 h 1025842"/>
                <a:gd name="connsiteX34" fmla="*/ 1355407 w 1620202"/>
                <a:gd name="connsiteY34" fmla="*/ 595312 h 1025842"/>
                <a:gd name="connsiteX35" fmla="*/ 472440 w 1620202"/>
                <a:gd name="connsiteY35" fmla="*/ 516255 h 1025842"/>
                <a:gd name="connsiteX36" fmla="*/ 350520 w 1620202"/>
                <a:gd name="connsiteY36" fmla="*/ 638175 h 1025842"/>
                <a:gd name="connsiteX37" fmla="*/ 472440 w 1620202"/>
                <a:gd name="connsiteY37" fmla="*/ 760095 h 1025842"/>
                <a:gd name="connsiteX38" fmla="*/ 594360 w 1620202"/>
                <a:gd name="connsiteY38" fmla="*/ 638175 h 1025842"/>
                <a:gd name="connsiteX39" fmla="*/ 589512 w 1620202"/>
                <a:gd name="connsiteY39" fmla="*/ 614331 h 1025842"/>
                <a:gd name="connsiteX40" fmla="*/ 472440 w 1620202"/>
                <a:gd name="connsiteY40" fmla="*/ 516255 h 1025842"/>
                <a:gd name="connsiteX41" fmla="*/ 107632 w 1620202"/>
                <a:gd name="connsiteY41" fmla="*/ 0 h 1025842"/>
                <a:gd name="connsiteX42" fmla="*/ 1511617 w 1620202"/>
                <a:gd name="connsiteY42" fmla="*/ 0 h 1025842"/>
                <a:gd name="connsiteX43" fmla="*/ 1620202 w 1620202"/>
                <a:gd name="connsiteY43" fmla="*/ 107632 h 1025842"/>
                <a:gd name="connsiteX44" fmla="*/ 1005853 w 1620202"/>
                <a:gd name="connsiteY44" fmla="*/ 350520 h 1025842"/>
                <a:gd name="connsiteX45" fmla="*/ 1619250 w 1620202"/>
                <a:gd name="connsiteY45" fmla="*/ 918210 h 1025842"/>
                <a:gd name="connsiteX46" fmla="*/ 1511617 w 1620202"/>
                <a:gd name="connsiteY46" fmla="*/ 1025842 h 1025842"/>
                <a:gd name="connsiteX47" fmla="*/ 107632 w 1620202"/>
                <a:gd name="connsiteY47" fmla="*/ 1025842 h 1025842"/>
                <a:gd name="connsiteX48" fmla="*/ 0 w 1620202"/>
                <a:gd name="connsiteY48" fmla="*/ 918210 h 1025842"/>
                <a:gd name="connsiteX49" fmla="*/ 0 w 1620202"/>
                <a:gd name="connsiteY49" fmla="*/ 107632 h 1025842"/>
                <a:gd name="connsiteX50" fmla="*/ 107632 w 1620202"/>
                <a:gd name="connsiteY50" fmla="*/ 0 h 1025842"/>
                <a:gd name="connsiteX0" fmla="*/ 287655 w 1620202"/>
                <a:gd name="connsiteY0" fmla="*/ 610552 h 1025842"/>
                <a:gd name="connsiteX1" fmla="*/ 136207 w 1620202"/>
                <a:gd name="connsiteY1" fmla="*/ 763905 h 1025842"/>
                <a:gd name="connsiteX2" fmla="*/ 287655 w 1620202"/>
                <a:gd name="connsiteY2" fmla="*/ 917257 h 1025842"/>
                <a:gd name="connsiteX3" fmla="*/ 438150 w 1620202"/>
                <a:gd name="connsiteY3" fmla="*/ 781050 h 1025842"/>
                <a:gd name="connsiteX4" fmla="*/ 323850 w 1620202"/>
                <a:gd name="connsiteY4" fmla="*/ 637222 h 1025842"/>
                <a:gd name="connsiteX5" fmla="*/ 325755 w 1620202"/>
                <a:gd name="connsiteY5" fmla="*/ 615315 h 1025842"/>
                <a:gd name="connsiteX6" fmla="*/ 287655 w 1620202"/>
                <a:gd name="connsiteY6" fmla="*/ 610552 h 1025842"/>
                <a:gd name="connsiteX7" fmla="*/ 1355407 w 1620202"/>
                <a:gd name="connsiteY7" fmla="*/ 595312 h 1025842"/>
                <a:gd name="connsiteX8" fmla="*/ 1221105 w 1620202"/>
                <a:gd name="connsiteY8" fmla="*/ 709612 h 1025842"/>
                <a:gd name="connsiteX9" fmla="*/ 1187767 w 1620202"/>
                <a:gd name="connsiteY9" fmla="*/ 709612 h 1025842"/>
                <a:gd name="connsiteX10" fmla="*/ 1176337 w 1620202"/>
                <a:gd name="connsiteY10" fmla="*/ 741045 h 1025842"/>
                <a:gd name="connsiteX11" fmla="*/ 1217295 w 1620202"/>
                <a:gd name="connsiteY11" fmla="*/ 741045 h 1025842"/>
                <a:gd name="connsiteX12" fmla="*/ 1217295 w 1620202"/>
                <a:gd name="connsiteY12" fmla="*/ 756285 h 1025842"/>
                <a:gd name="connsiteX13" fmla="*/ 1218247 w 1620202"/>
                <a:gd name="connsiteY13" fmla="*/ 765810 h 1025842"/>
                <a:gd name="connsiteX14" fmla="*/ 1188720 w 1620202"/>
                <a:gd name="connsiteY14" fmla="*/ 765810 h 1025842"/>
                <a:gd name="connsiteX15" fmla="*/ 1177290 w 1620202"/>
                <a:gd name="connsiteY15" fmla="*/ 797242 h 1025842"/>
                <a:gd name="connsiteX16" fmla="*/ 1222057 w 1620202"/>
                <a:gd name="connsiteY16" fmla="*/ 797242 h 1025842"/>
                <a:gd name="connsiteX17" fmla="*/ 1359217 w 1620202"/>
                <a:gd name="connsiteY17" fmla="*/ 903922 h 1025842"/>
                <a:gd name="connsiteX18" fmla="*/ 1446847 w 1620202"/>
                <a:gd name="connsiteY18" fmla="*/ 887730 h 1025842"/>
                <a:gd name="connsiteX19" fmla="*/ 1432560 w 1620202"/>
                <a:gd name="connsiteY19" fmla="*/ 836295 h 1025842"/>
                <a:gd name="connsiteX20" fmla="*/ 1369695 w 1620202"/>
                <a:gd name="connsiteY20" fmla="*/ 853440 h 1025842"/>
                <a:gd name="connsiteX21" fmla="*/ 1292542 w 1620202"/>
                <a:gd name="connsiteY21" fmla="*/ 797242 h 1025842"/>
                <a:gd name="connsiteX22" fmla="*/ 1382077 w 1620202"/>
                <a:gd name="connsiteY22" fmla="*/ 797242 h 1025842"/>
                <a:gd name="connsiteX23" fmla="*/ 1393507 w 1620202"/>
                <a:gd name="connsiteY23" fmla="*/ 765810 h 1025842"/>
                <a:gd name="connsiteX24" fmla="*/ 1286827 w 1620202"/>
                <a:gd name="connsiteY24" fmla="*/ 765810 h 1025842"/>
                <a:gd name="connsiteX25" fmla="*/ 1285875 w 1620202"/>
                <a:gd name="connsiteY25" fmla="*/ 749617 h 1025842"/>
                <a:gd name="connsiteX26" fmla="*/ 1285875 w 1620202"/>
                <a:gd name="connsiteY26" fmla="*/ 743902 h 1025842"/>
                <a:gd name="connsiteX27" fmla="*/ 1285875 w 1620202"/>
                <a:gd name="connsiteY27" fmla="*/ 740092 h 1025842"/>
                <a:gd name="connsiteX28" fmla="*/ 1401127 w 1620202"/>
                <a:gd name="connsiteY28" fmla="*/ 740092 h 1025842"/>
                <a:gd name="connsiteX29" fmla="*/ 1411605 w 1620202"/>
                <a:gd name="connsiteY29" fmla="*/ 708660 h 1025842"/>
                <a:gd name="connsiteX30" fmla="*/ 1286827 w 1620202"/>
                <a:gd name="connsiteY30" fmla="*/ 708660 h 1025842"/>
                <a:gd name="connsiteX31" fmla="*/ 1363980 w 1620202"/>
                <a:gd name="connsiteY31" fmla="*/ 645795 h 1025842"/>
                <a:gd name="connsiteX32" fmla="*/ 1428750 w 1620202"/>
                <a:gd name="connsiteY32" fmla="*/ 663892 h 1025842"/>
                <a:gd name="connsiteX33" fmla="*/ 1446847 w 1620202"/>
                <a:gd name="connsiteY33" fmla="*/ 614362 h 1025842"/>
                <a:gd name="connsiteX34" fmla="*/ 1355407 w 1620202"/>
                <a:gd name="connsiteY34" fmla="*/ 595312 h 1025842"/>
                <a:gd name="connsiteX35" fmla="*/ 472440 w 1620202"/>
                <a:gd name="connsiteY35" fmla="*/ 516255 h 1025842"/>
                <a:gd name="connsiteX36" fmla="*/ 350520 w 1620202"/>
                <a:gd name="connsiteY36" fmla="*/ 638175 h 1025842"/>
                <a:gd name="connsiteX37" fmla="*/ 472440 w 1620202"/>
                <a:gd name="connsiteY37" fmla="*/ 760095 h 1025842"/>
                <a:gd name="connsiteX38" fmla="*/ 594360 w 1620202"/>
                <a:gd name="connsiteY38" fmla="*/ 638175 h 1025842"/>
                <a:gd name="connsiteX39" fmla="*/ 589512 w 1620202"/>
                <a:gd name="connsiteY39" fmla="*/ 614331 h 1025842"/>
                <a:gd name="connsiteX40" fmla="*/ 472440 w 1620202"/>
                <a:gd name="connsiteY40" fmla="*/ 516255 h 1025842"/>
                <a:gd name="connsiteX41" fmla="*/ 107632 w 1620202"/>
                <a:gd name="connsiteY41" fmla="*/ 0 h 1025842"/>
                <a:gd name="connsiteX42" fmla="*/ 1511617 w 1620202"/>
                <a:gd name="connsiteY42" fmla="*/ 0 h 1025842"/>
                <a:gd name="connsiteX43" fmla="*/ 1620202 w 1620202"/>
                <a:gd name="connsiteY43" fmla="*/ 107632 h 1025842"/>
                <a:gd name="connsiteX44" fmla="*/ 1619250 w 1620202"/>
                <a:gd name="connsiteY44" fmla="*/ 918210 h 1025842"/>
                <a:gd name="connsiteX45" fmla="*/ 1511617 w 1620202"/>
                <a:gd name="connsiteY45" fmla="*/ 1025842 h 1025842"/>
                <a:gd name="connsiteX46" fmla="*/ 107632 w 1620202"/>
                <a:gd name="connsiteY46" fmla="*/ 1025842 h 1025842"/>
                <a:gd name="connsiteX47" fmla="*/ 0 w 1620202"/>
                <a:gd name="connsiteY47" fmla="*/ 918210 h 1025842"/>
                <a:gd name="connsiteX48" fmla="*/ 0 w 1620202"/>
                <a:gd name="connsiteY48" fmla="*/ 107632 h 1025842"/>
                <a:gd name="connsiteX49" fmla="*/ 107632 w 1620202"/>
                <a:gd name="connsiteY49" fmla="*/ 0 h 1025842"/>
                <a:gd name="connsiteX0" fmla="*/ 325755 w 1620202"/>
                <a:gd name="connsiteY0" fmla="*/ 615315 h 1025842"/>
                <a:gd name="connsiteX1" fmla="*/ 136207 w 1620202"/>
                <a:gd name="connsiteY1" fmla="*/ 763905 h 1025842"/>
                <a:gd name="connsiteX2" fmla="*/ 287655 w 1620202"/>
                <a:gd name="connsiteY2" fmla="*/ 917257 h 1025842"/>
                <a:gd name="connsiteX3" fmla="*/ 438150 w 1620202"/>
                <a:gd name="connsiteY3" fmla="*/ 781050 h 1025842"/>
                <a:gd name="connsiteX4" fmla="*/ 323850 w 1620202"/>
                <a:gd name="connsiteY4" fmla="*/ 637222 h 1025842"/>
                <a:gd name="connsiteX5" fmla="*/ 325755 w 1620202"/>
                <a:gd name="connsiteY5" fmla="*/ 615315 h 1025842"/>
                <a:gd name="connsiteX6" fmla="*/ 1355407 w 1620202"/>
                <a:gd name="connsiteY6" fmla="*/ 595312 h 1025842"/>
                <a:gd name="connsiteX7" fmla="*/ 1221105 w 1620202"/>
                <a:gd name="connsiteY7" fmla="*/ 709612 h 1025842"/>
                <a:gd name="connsiteX8" fmla="*/ 1187767 w 1620202"/>
                <a:gd name="connsiteY8" fmla="*/ 709612 h 1025842"/>
                <a:gd name="connsiteX9" fmla="*/ 1176337 w 1620202"/>
                <a:gd name="connsiteY9" fmla="*/ 741045 h 1025842"/>
                <a:gd name="connsiteX10" fmla="*/ 1217295 w 1620202"/>
                <a:gd name="connsiteY10" fmla="*/ 741045 h 1025842"/>
                <a:gd name="connsiteX11" fmla="*/ 1217295 w 1620202"/>
                <a:gd name="connsiteY11" fmla="*/ 756285 h 1025842"/>
                <a:gd name="connsiteX12" fmla="*/ 1218247 w 1620202"/>
                <a:gd name="connsiteY12" fmla="*/ 765810 h 1025842"/>
                <a:gd name="connsiteX13" fmla="*/ 1188720 w 1620202"/>
                <a:gd name="connsiteY13" fmla="*/ 765810 h 1025842"/>
                <a:gd name="connsiteX14" fmla="*/ 1177290 w 1620202"/>
                <a:gd name="connsiteY14" fmla="*/ 797242 h 1025842"/>
                <a:gd name="connsiteX15" fmla="*/ 1222057 w 1620202"/>
                <a:gd name="connsiteY15" fmla="*/ 797242 h 1025842"/>
                <a:gd name="connsiteX16" fmla="*/ 1359217 w 1620202"/>
                <a:gd name="connsiteY16" fmla="*/ 903922 h 1025842"/>
                <a:gd name="connsiteX17" fmla="*/ 1446847 w 1620202"/>
                <a:gd name="connsiteY17" fmla="*/ 887730 h 1025842"/>
                <a:gd name="connsiteX18" fmla="*/ 1432560 w 1620202"/>
                <a:gd name="connsiteY18" fmla="*/ 836295 h 1025842"/>
                <a:gd name="connsiteX19" fmla="*/ 1369695 w 1620202"/>
                <a:gd name="connsiteY19" fmla="*/ 853440 h 1025842"/>
                <a:gd name="connsiteX20" fmla="*/ 1292542 w 1620202"/>
                <a:gd name="connsiteY20" fmla="*/ 797242 h 1025842"/>
                <a:gd name="connsiteX21" fmla="*/ 1382077 w 1620202"/>
                <a:gd name="connsiteY21" fmla="*/ 797242 h 1025842"/>
                <a:gd name="connsiteX22" fmla="*/ 1393507 w 1620202"/>
                <a:gd name="connsiteY22" fmla="*/ 765810 h 1025842"/>
                <a:gd name="connsiteX23" fmla="*/ 1286827 w 1620202"/>
                <a:gd name="connsiteY23" fmla="*/ 765810 h 1025842"/>
                <a:gd name="connsiteX24" fmla="*/ 1285875 w 1620202"/>
                <a:gd name="connsiteY24" fmla="*/ 749617 h 1025842"/>
                <a:gd name="connsiteX25" fmla="*/ 1285875 w 1620202"/>
                <a:gd name="connsiteY25" fmla="*/ 743902 h 1025842"/>
                <a:gd name="connsiteX26" fmla="*/ 1285875 w 1620202"/>
                <a:gd name="connsiteY26" fmla="*/ 740092 h 1025842"/>
                <a:gd name="connsiteX27" fmla="*/ 1401127 w 1620202"/>
                <a:gd name="connsiteY27" fmla="*/ 740092 h 1025842"/>
                <a:gd name="connsiteX28" fmla="*/ 1411605 w 1620202"/>
                <a:gd name="connsiteY28" fmla="*/ 708660 h 1025842"/>
                <a:gd name="connsiteX29" fmla="*/ 1286827 w 1620202"/>
                <a:gd name="connsiteY29" fmla="*/ 708660 h 1025842"/>
                <a:gd name="connsiteX30" fmla="*/ 1363980 w 1620202"/>
                <a:gd name="connsiteY30" fmla="*/ 645795 h 1025842"/>
                <a:gd name="connsiteX31" fmla="*/ 1428750 w 1620202"/>
                <a:gd name="connsiteY31" fmla="*/ 663892 h 1025842"/>
                <a:gd name="connsiteX32" fmla="*/ 1446847 w 1620202"/>
                <a:gd name="connsiteY32" fmla="*/ 614362 h 1025842"/>
                <a:gd name="connsiteX33" fmla="*/ 1355407 w 1620202"/>
                <a:gd name="connsiteY33" fmla="*/ 595312 h 1025842"/>
                <a:gd name="connsiteX34" fmla="*/ 472440 w 1620202"/>
                <a:gd name="connsiteY34" fmla="*/ 516255 h 1025842"/>
                <a:gd name="connsiteX35" fmla="*/ 350520 w 1620202"/>
                <a:gd name="connsiteY35" fmla="*/ 638175 h 1025842"/>
                <a:gd name="connsiteX36" fmla="*/ 472440 w 1620202"/>
                <a:gd name="connsiteY36" fmla="*/ 760095 h 1025842"/>
                <a:gd name="connsiteX37" fmla="*/ 594360 w 1620202"/>
                <a:gd name="connsiteY37" fmla="*/ 638175 h 1025842"/>
                <a:gd name="connsiteX38" fmla="*/ 589512 w 1620202"/>
                <a:gd name="connsiteY38" fmla="*/ 614331 h 1025842"/>
                <a:gd name="connsiteX39" fmla="*/ 472440 w 1620202"/>
                <a:gd name="connsiteY39" fmla="*/ 516255 h 1025842"/>
                <a:gd name="connsiteX40" fmla="*/ 107632 w 1620202"/>
                <a:gd name="connsiteY40" fmla="*/ 0 h 1025842"/>
                <a:gd name="connsiteX41" fmla="*/ 1511617 w 1620202"/>
                <a:gd name="connsiteY41" fmla="*/ 0 h 1025842"/>
                <a:gd name="connsiteX42" fmla="*/ 1620202 w 1620202"/>
                <a:gd name="connsiteY42" fmla="*/ 107632 h 1025842"/>
                <a:gd name="connsiteX43" fmla="*/ 1619250 w 1620202"/>
                <a:gd name="connsiteY43" fmla="*/ 918210 h 1025842"/>
                <a:gd name="connsiteX44" fmla="*/ 1511617 w 1620202"/>
                <a:gd name="connsiteY44" fmla="*/ 1025842 h 1025842"/>
                <a:gd name="connsiteX45" fmla="*/ 107632 w 1620202"/>
                <a:gd name="connsiteY45" fmla="*/ 1025842 h 1025842"/>
                <a:gd name="connsiteX46" fmla="*/ 0 w 1620202"/>
                <a:gd name="connsiteY46" fmla="*/ 918210 h 1025842"/>
                <a:gd name="connsiteX47" fmla="*/ 0 w 1620202"/>
                <a:gd name="connsiteY47" fmla="*/ 107632 h 1025842"/>
                <a:gd name="connsiteX48" fmla="*/ 107632 w 1620202"/>
                <a:gd name="connsiteY48" fmla="*/ 0 h 1025842"/>
                <a:gd name="connsiteX0" fmla="*/ 325755 w 1620202"/>
                <a:gd name="connsiteY0" fmla="*/ 615315 h 1025842"/>
                <a:gd name="connsiteX1" fmla="*/ 136207 w 1620202"/>
                <a:gd name="connsiteY1" fmla="*/ 763905 h 1025842"/>
                <a:gd name="connsiteX2" fmla="*/ 287655 w 1620202"/>
                <a:gd name="connsiteY2" fmla="*/ 917257 h 1025842"/>
                <a:gd name="connsiteX3" fmla="*/ 438150 w 1620202"/>
                <a:gd name="connsiteY3" fmla="*/ 781050 h 1025842"/>
                <a:gd name="connsiteX4" fmla="*/ 323850 w 1620202"/>
                <a:gd name="connsiteY4" fmla="*/ 637222 h 1025842"/>
                <a:gd name="connsiteX5" fmla="*/ 325755 w 1620202"/>
                <a:gd name="connsiteY5" fmla="*/ 615315 h 1025842"/>
                <a:gd name="connsiteX6" fmla="*/ 1355407 w 1620202"/>
                <a:gd name="connsiteY6" fmla="*/ 595312 h 1025842"/>
                <a:gd name="connsiteX7" fmla="*/ 1221105 w 1620202"/>
                <a:gd name="connsiteY7" fmla="*/ 709612 h 1025842"/>
                <a:gd name="connsiteX8" fmla="*/ 1187767 w 1620202"/>
                <a:gd name="connsiteY8" fmla="*/ 709612 h 1025842"/>
                <a:gd name="connsiteX9" fmla="*/ 1176337 w 1620202"/>
                <a:gd name="connsiteY9" fmla="*/ 741045 h 1025842"/>
                <a:gd name="connsiteX10" fmla="*/ 1217295 w 1620202"/>
                <a:gd name="connsiteY10" fmla="*/ 741045 h 1025842"/>
                <a:gd name="connsiteX11" fmla="*/ 1217295 w 1620202"/>
                <a:gd name="connsiteY11" fmla="*/ 756285 h 1025842"/>
                <a:gd name="connsiteX12" fmla="*/ 1218247 w 1620202"/>
                <a:gd name="connsiteY12" fmla="*/ 765810 h 1025842"/>
                <a:gd name="connsiteX13" fmla="*/ 1188720 w 1620202"/>
                <a:gd name="connsiteY13" fmla="*/ 765810 h 1025842"/>
                <a:gd name="connsiteX14" fmla="*/ 1177290 w 1620202"/>
                <a:gd name="connsiteY14" fmla="*/ 797242 h 1025842"/>
                <a:gd name="connsiteX15" fmla="*/ 1222057 w 1620202"/>
                <a:gd name="connsiteY15" fmla="*/ 797242 h 1025842"/>
                <a:gd name="connsiteX16" fmla="*/ 1359217 w 1620202"/>
                <a:gd name="connsiteY16" fmla="*/ 903922 h 1025842"/>
                <a:gd name="connsiteX17" fmla="*/ 1446847 w 1620202"/>
                <a:gd name="connsiteY17" fmla="*/ 887730 h 1025842"/>
                <a:gd name="connsiteX18" fmla="*/ 1432560 w 1620202"/>
                <a:gd name="connsiteY18" fmla="*/ 836295 h 1025842"/>
                <a:gd name="connsiteX19" fmla="*/ 1369695 w 1620202"/>
                <a:gd name="connsiteY19" fmla="*/ 853440 h 1025842"/>
                <a:gd name="connsiteX20" fmla="*/ 1292542 w 1620202"/>
                <a:gd name="connsiteY20" fmla="*/ 797242 h 1025842"/>
                <a:gd name="connsiteX21" fmla="*/ 1382077 w 1620202"/>
                <a:gd name="connsiteY21" fmla="*/ 797242 h 1025842"/>
                <a:gd name="connsiteX22" fmla="*/ 1393507 w 1620202"/>
                <a:gd name="connsiteY22" fmla="*/ 765810 h 1025842"/>
                <a:gd name="connsiteX23" fmla="*/ 1286827 w 1620202"/>
                <a:gd name="connsiteY23" fmla="*/ 765810 h 1025842"/>
                <a:gd name="connsiteX24" fmla="*/ 1285875 w 1620202"/>
                <a:gd name="connsiteY24" fmla="*/ 749617 h 1025842"/>
                <a:gd name="connsiteX25" fmla="*/ 1285875 w 1620202"/>
                <a:gd name="connsiteY25" fmla="*/ 743902 h 1025842"/>
                <a:gd name="connsiteX26" fmla="*/ 1285875 w 1620202"/>
                <a:gd name="connsiteY26" fmla="*/ 740092 h 1025842"/>
                <a:gd name="connsiteX27" fmla="*/ 1401127 w 1620202"/>
                <a:gd name="connsiteY27" fmla="*/ 740092 h 1025842"/>
                <a:gd name="connsiteX28" fmla="*/ 1411605 w 1620202"/>
                <a:gd name="connsiteY28" fmla="*/ 708660 h 1025842"/>
                <a:gd name="connsiteX29" fmla="*/ 1286827 w 1620202"/>
                <a:gd name="connsiteY29" fmla="*/ 708660 h 1025842"/>
                <a:gd name="connsiteX30" fmla="*/ 1363980 w 1620202"/>
                <a:gd name="connsiteY30" fmla="*/ 645795 h 1025842"/>
                <a:gd name="connsiteX31" fmla="*/ 1428750 w 1620202"/>
                <a:gd name="connsiteY31" fmla="*/ 663892 h 1025842"/>
                <a:gd name="connsiteX32" fmla="*/ 1446847 w 1620202"/>
                <a:gd name="connsiteY32" fmla="*/ 614362 h 1025842"/>
                <a:gd name="connsiteX33" fmla="*/ 1355407 w 1620202"/>
                <a:gd name="connsiteY33" fmla="*/ 595312 h 1025842"/>
                <a:gd name="connsiteX34" fmla="*/ 472440 w 1620202"/>
                <a:gd name="connsiteY34" fmla="*/ 516255 h 1025842"/>
                <a:gd name="connsiteX35" fmla="*/ 472440 w 1620202"/>
                <a:gd name="connsiteY35" fmla="*/ 760095 h 1025842"/>
                <a:gd name="connsiteX36" fmla="*/ 594360 w 1620202"/>
                <a:gd name="connsiteY36" fmla="*/ 638175 h 1025842"/>
                <a:gd name="connsiteX37" fmla="*/ 589512 w 1620202"/>
                <a:gd name="connsiteY37" fmla="*/ 614331 h 1025842"/>
                <a:gd name="connsiteX38" fmla="*/ 472440 w 1620202"/>
                <a:gd name="connsiteY38" fmla="*/ 516255 h 1025842"/>
                <a:gd name="connsiteX39" fmla="*/ 107632 w 1620202"/>
                <a:gd name="connsiteY39" fmla="*/ 0 h 1025842"/>
                <a:gd name="connsiteX40" fmla="*/ 1511617 w 1620202"/>
                <a:gd name="connsiteY40" fmla="*/ 0 h 1025842"/>
                <a:gd name="connsiteX41" fmla="*/ 1620202 w 1620202"/>
                <a:gd name="connsiteY41" fmla="*/ 107632 h 1025842"/>
                <a:gd name="connsiteX42" fmla="*/ 1619250 w 1620202"/>
                <a:gd name="connsiteY42" fmla="*/ 918210 h 1025842"/>
                <a:gd name="connsiteX43" fmla="*/ 1511617 w 1620202"/>
                <a:gd name="connsiteY43" fmla="*/ 1025842 h 1025842"/>
                <a:gd name="connsiteX44" fmla="*/ 107632 w 1620202"/>
                <a:gd name="connsiteY44" fmla="*/ 1025842 h 1025842"/>
                <a:gd name="connsiteX45" fmla="*/ 0 w 1620202"/>
                <a:gd name="connsiteY45" fmla="*/ 918210 h 1025842"/>
                <a:gd name="connsiteX46" fmla="*/ 0 w 1620202"/>
                <a:gd name="connsiteY46" fmla="*/ 107632 h 1025842"/>
                <a:gd name="connsiteX47" fmla="*/ 107632 w 1620202"/>
                <a:gd name="connsiteY47" fmla="*/ 0 h 1025842"/>
                <a:gd name="connsiteX0" fmla="*/ 323850 w 1620202"/>
                <a:gd name="connsiteY0" fmla="*/ 637222 h 1025842"/>
                <a:gd name="connsiteX1" fmla="*/ 136207 w 1620202"/>
                <a:gd name="connsiteY1" fmla="*/ 763905 h 1025842"/>
                <a:gd name="connsiteX2" fmla="*/ 287655 w 1620202"/>
                <a:gd name="connsiteY2" fmla="*/ 917257 h 1025842"/>
                <a:gd name="connsiteX3" fmla="*/ 438150 w 1620202"/>
                <a:gd name="connsiteY3" fmla="*/ 781050 h 1025842"/>
                <a:gd name="connsiteX4" fmla="*/ 323850 w 1620202"/>
                <a:gd name="connsiteY4" fmla="*/ 637222 h 1025842"/>
                <a:gd name="connsiteX5" fmla="*/ 1355407 w 1620202"/>
                <a:gd name="connsiteY5" fmla="*/ 595312 h 1025842"/>
                <a:gd name="connsiteX6" fmla="*/ 1221105 w 1620202"/>
                <a:gd name="connsiteY6" fmla="*/ 709612 h 1025842"/>
                <a:gd name="connsiteX7" fmla="*/ 1187767 w 1620202"/>
                <a:gd name="connsiteY7" fmla="*/ 709612 h 1025842"/>
                <a:gd name="connsiteX8" fmla="*/ 1176337 w 1620202"/>
                <a:gd name="connsiteY8" fmla="*/ 741045 h 1025842"/>
                <a:gd name="connsiteX9" fmla="*/ 1217295 w 1620202"/>
                <a:gd name="connsiteY9" fmla="*/ 741045 h 1025842"/>
                <a:gd name="connsiteX10" fmla="*/ 1217295 w 1620202"/>
                <a:gd name="connsiteY10" fmla="*/ 756285 h 1025842"/>
                <a:gd name="connsiteX11" fmla="*/ 1218247 w 1620202"/>
                <a:gd name="connsiteY11" fmla="*/ 765810 h 1025842"/>
                <a:gd name="connsiteX12" fmla="*/ 1188720 w 1620202"/>
                <a:gd name="connsiteY12" fmla="*/ 765810 h 1025842"/>
                <a:gd name="connsiteX13" fmla="*/ 1177290 w 1620202"/>
                <a:gd name="connsiteY13" fmla="*/ 797242 h 1025842"/>
                <a:gd name="connsiteX14" fmla="*/ 1222057 w 1620202"/>
                <a:gd name="connsiteY14" fmla="*/ 797242 h 1025842"/>
                <a:gd name="connsiteX15" fmla="*/ 1359217 w 1620202"/>
                <a:gd name="connsiteY15" fmla="*/ 903922 h 1025842"/>
                <a:gd name="connsiteX16" fmla="*/ 1446847 w 1620202"/>
                <a:gd name="connsiteY16" fmla="*/ 887730 h 1025842"/>
                <a:gd name="connsiteX17" fmla="*/ 1432560 w 1620202"/>
                <a:gd name="connsiteY17" fmla="*/ 836295 h 1025842"/>
                <a:gd name="connsiteX18" fmla="*/ 1369695 w 1620202"/>
                <a:gd name="connsiteY18" fmla="*/ 853440 h 1025842"/>
                <a:gd name="connsiteX19" fmla="*/ 1292542 w 1620202"/>
                <a:gd name="connsiteY19" fmla="*/ 797242 h 1025842"/>
                <a:gd name="connsiteX20" fmla="*/ 1382077 w 1620202"/>
                <a:gd name="connsiteY20" fmla="*/ 797242 h 1025842"/>
                <a:gd name="connsiteX21" fmla="*/ 1393507 w 1620202"/>
                <a:gd name="connsiteY21" fmla="*/ 765810 h 1025842"/>
                <a:gd name="connsiteX22" fmla="*/ 1286827 w 1620202"/>
                <a:gd name="connsiteY22" fmla="*/ 765810 h 1025842"/>
                <a:gd name="connsiteX23" fmla="*/ 1285875 w 1620202"/>
                <a:gd name="connsiteY23" fmla="*/ 749617 h 1025842"/>
                <a:gd name="connsiteX24" fmla="*/ 1285875 w 1620202"/>
                <a:gd name="connsiteY24" fmla="*/ 743902 h 1025842"/>
                <a:gd name="connsiteX25" fmla="*/ 1285875 w 1620202"/>
                <a:gd name="connsiteY25" fmla="*/ 740092 h 1025842"/>
                <a:gd name="connsiteX26" fmla="*/ 1401127 w 1620202"/>
                <a:gd name="connsiteY26" fmla="*/ 740092 h 1025842"/>
                <a:gd name="connsiteX27" fmla="*/ 1411605 w 1620202"/>
                <a:gd name="connsiteY27" fmla="*/ 708660 h 1025842"/>
                <a:gd name="connsiteX28" fmla="*/ 1286827 w 1620202"/>
                <a:gd name="connsiteY28" fmla="*/ 708660 h 1025842"/>
                <a:gd name="connsiteX29" fmla="*/ 1363980 w 1620202"/>
                <a:gd name="connsiteY29" fmla="*/ 645795 h 1025842"/>
                <a:gd name="connsiteX30" fmla="*/ 1428750 w 1620202"/>
                <a:gd name="connsiteY30" fmla="*/ 663892 h 1025842"/>
                <a:gd name="connsiteX31" fmla="*/ 1446847 w 1620202"/>
                <a:gd name="connsiteY31" fmla="*/ 614362 h 1025842"/>
                <a:gd name="connsiteX32" fmla="*/ 1355407 w 1620202"/>
                <a:gd name="connsiteY32" fmla="*/ 595312 h 1025842"/>
                <a:gd name="connsiteX33" fmla="*/ 472440 w 1620202"/>
                <a:gd name="connsiteY33" fmla="*/ 516255 h 1025842"/>
                <a:gd name="connsiteX34" fmla="*/ 472440 w 1620202"/>
                <a:gd name="connsiteY34" fmla="*/ 760095 h 1025842"/>
                <a:gd name="connsiteX35" fmla="*/ 594360 w 1620202"/>
                <a:gd name="connsiteY35" fmla="*/ 638175 h 1025842"/>
                <a:gd name="connsiteX36" fmla="*/ 589512 w 1620202"/>
                <a:gd name="connsiteY36" fmla="*/ 614331 h 1025842"/>
                <a:gd name="connsiteX37" fmla="*/ 472440 w 1620202"/>
                <a:gd name="connsiteY37" fmla="*/ 516255 h 1025842"/>
                <a:gd name="connsiteX38" fmla="*/ 107632 w 1620202"/>
                <a:gd name="connsiteY38" fmla="*/ 0 h 1025842"/>
                <a:gd name="connsiteX39" fmla="*/ 1511617 w 1620202"/>
                <a:gd name="connsiteY39" fmla="*/ 0 h 1025842"/>
                <a:gd name="connsiteX40" fmla="*/ 1620202 w 1620202"/>
                <a:gd name="connsiteY40" fmla="*/ 107632 h 1025842"/>
                <a:gd name="connsiteX41" fmla="*/ 1619250 w 1620202"/>
                <a:gd name="connsiteY41" fmla="*/ 918210 h 1025842"/>
                <a:gd name="connsiteX42" fmla="*/ 1511617 w 1620202"/>
                <a:gd name="connsiteY42" fmla="*/ 1025842 h 1025842"/>
                <a:gd name="connsiteX43" fmla="*/ 107632 w 1620202"/>
                <a:gd name="connsiteY43" fmla="*/ 1025842 h 1025842"/>
                <a:gd name="connsiteX44" fmla="*/ 0 w 1620202"/>
                <a:gd name="connsiteY44" fmla="*/ 918210 h 1025842"/>
                <a:gd name="connsiteX45" fmla="*/ 0 w 1620202"/>
                <a:gd name="connsiteY45" fmla="*/ 107632 h 1025842"/>
                <a:gd name="connsiteX46" fmla="*/ 107632 w 1620202"/>
                <a:gd name="connsiteY46" fmla="*/ 0 h 1025842"/>
                <a:gd name="connsiteX0" fmla="*/ 438150 w 1620202"/>
                <a:gd name="connsiteY0" fmla="*/ 781050 h 1025842"/>
                <a:gd name="connsiteX1" fmla="*/ 136207 w 1620202"/>
                <a:gd name="connsiteY1" fmla="*/ 763905 h 1025842"/>
                <a:gd name="connsiteX2" fmla="*/ 287655 w 1620202"/>
                <a:gd name="connsiteY2" fmla="*/ 917257 h 1025842"/>
                <a:gd name="connsiteX3" fmla="*/ 438150 w 1620202"/>
                <a:gd name="connsiteY3" fmla="*/ 781050 h 1025842"/>
                <a:gd name="connsiteX4" fmla="*/ 1355407 w 1620202"/>
                <a:gd name="connsiteY4" fmla="*/ 595312 h 1025842"/>
                <a:gd name="connsiteX5" fmla="*/ 1221105 w 1620202"/>
                <a:gd name="connsiteY5" fmla="*/ 709612 h 1025842"/>
                <a:gd name="connsiteX6" fmla="*/ 1187767 w 1620202"/>
                <a:gd name="connsiteY6" fmla="*/ 709612 h 1025842"/>
                <a:gd name="connsiteX7" fmla="*/ 1176337 w 1620202"/>
                <a:gd name="connsiteY7" fmla="*/ 741045 h 1025842"/>
                <a:gd name="connsiteX8" fmla="*/ 1217295 w 1620202"/>
                <a:gd name="connsiteY8" fmla="*/ 741045 h 1025842"/>
                <a:gd name="connsiteX9" fmla="*/ 1217295 w 1620202"/>
                <a:gd name="connsiteY9" fmla="*/ 756285 h 1025842"/>
                <a:gd name="connsiteX10" fmla="*/ 1218247 w 1620202"/>
                <a:gd name="connsiteY10" fmla="*/ 765810 h 1025842"/>
                <a:gd name="connsiteX11" fmla="*/ 1188720 w 1620202"/>
                <a:gd name="connsiteY11" fmla="*/ 765810 h 1025842"/>
                <a:gd name="connsiteX12" fmla="*/ 1177290 w 1620202"/>
                <a:gd name="connsiteY12" fmla="*/ 797242 h 1025842"/>
                <a:gd name="connsiteX13" fmla="*/ 1222057 w 1620202"/>
                <a:gd name="connsiteY13" fmla="*/ 797242 h 1025842"/>
                <a:gd name="connsiteX14" fmla="*/ 1359217 w 1620202"/>
                <a:gd name="connsiteY14" fmla="*/ 903922 h 1025842"/>
                <a:gd name="connsiteX15" fmla="*/ 1446847 w 1620202"/>
                <a:gd name="connsiteY15" fmla="*/ 887730 h 1025842"/>
                <a:gd name="connsiteX16" fmla="*/ 1432560 w 1620202"/>
                <a:gd name="connsiteY16" fmla="*/ 836295 h 1025842"/>
                <a:gd name="connsiteX17" fmla="*/ 1369695 w 1620202"/>
                <a:gd name="connsiteY17" fmla="*/ 853440 h 1025842"/>
                <a:gd name="connsiteX18" fmla="*/ 1292542 w 1620202"/>
                <a:gd name="connsiteY18" fmla="*/ 797242 h 1025842"/>
                <a:gd name="connsiteX19" fmla="*/ 1382077 w 1620202"/>
                <a:gd name="connsiteY19" fmla="*/ 797242 h 1025842"/>
                <a:gd name="connsiteX20" fmla="*/ 1393507 w 1620202"/>
                <a:gd name="connsiteY20" fmla="*/ 765810 h 1025842"/>
                <a:gd name="connsiteX21" fmla="*/ 1286827 w 1620202"/>
                <a:gd name="connsiteY21" fmla="*/ 765810 h 1025842"/>
                <a:gd name="connsiteX22" fmla="*/ 1285875 w 1620202"/>
                <a:gd name="connsiteY22" fmla="*/ 749617 h 1025842"/>
                <a:gd name="connsiteX23" fmla="*/ 1285875 w 1620202"/>
                <a:gd name="connsiteY23" fmla="*/ 743902 h 1025842"/>
                <a:gd name="connsiteX24" fmla="*/ 1285875 w 1620202"/>
                <a:gd name="connsiteY24" fmla="*/ 740092 h 1025842"/>
                <a:gd name="connsiteX25" fmla="*/ 1401127 w 1620202"/>
                <a:gd name="connsiteY25" fmla="*/ 740092 h 1025842"/>
                <a:gd name="connsiteX26" fmla="*/ 1411605 w 1620202"/>
                <a:gd name="connsiteY26" fmla="*/ 708660 h 1025842"/>
                <a:gd name="connsiteX27" fmla="*/ 1286827 w 1620202"/>
                <a:gd name="connsiteY27" fmla="*/ 708660 h 1025842"/>
                <a:gd name="connsiteX28" fmla="*/ 1363980 w 1620202"/>
                <a:gd name="connsiteY28" fmla="*/ 645795 h 1025842"/>
                <a:gd name="connsiteX29" fmla="*/ 1428750 w 1620202"/>
                <a:gd name="connsiteY29" fmla="*/ 663892 h 1025842"/>
                <a:gd name="connsiteX30" fmla="*/ 1446847 w 1620202"/>
                <a:gd name="connsiteY30" fmla="*/ 614362 h 1025842"/>
                <a:gd name="connsiteX31" fmla="*/ 1355407 w 1620202"/>
                <a:gd name="connsiteY31" fmla="*/ 595312 h 1025842"/>
                <a:gd name="connsiteX32" fmla="*/ 472440 w 1620202"/>
                <a:gd name="connsiteY32" fmla="*/ 516255 h 1025842"/>
                <a:gd name="connsiteX33" fmla="*/ 472440 w 1620202"/>
                <a:gd name="connsiteY33" fmla="*/ 760095 h 1025842"/>
                <a:gd name="connsiteX34" fmla="*/ 594360 w 1620202"/>
                <a:gd name="connsiteY34" fmla="*/ 638175 h 1025842"/>
                <a:gd name="connsiteX35" fmla="*/ 589512 w 1620202"/>
                <a:gd name="connsiteY35" fmla="*/ 614331 h 1025842"/>
                <a:gd name="connsiteX36" fmla="*/ 472440 w 1620202"/>
                <a:gd name="connsiteY36" fmla="*/ 516255 h 1025842"/>
                <a:gd name="connsiteX37" fmla="*/ 107632 w 1620202"/>
                <a:gd name="connsiteY37" fmla="*/ 0 h 1025842"/>
                <a:gd name="connsiteX38" fmla="*/ 1511617 w 1620202"/>
                <a:gd name="connsiteY38" fmla="*/ 0 h 1025842"/>
                <a:gd name="connsiteX39" fmla="*/ 1620202 w 1620202"/>
                <a:gd name="connsiteY39" fmla="*/ 107632 h 1025842"/>
                <a:gd name="connsiteX40" fmla="*/ 1619250 w 1620202"/>
                <a:gd name="connsiteY40" fmla="*/ 918210 h 1025842"/>
                <a:gd name="connsiteX41" fmla="*/ 1511617 w 1620202"/>
                <a:gd name="connsiteY41" fmla="*/ 1025842 h 1025842"/>
                <a:gd name="connsiteX42" fmla="*/ 107632 w 1620202"/>
                <a:gd name="connsiteY42" fmla="*/ 1025842 h 1025842"/>
                <a:gd name="connsiteX43" fmla="*/ 0 w 1620202"/>
                <a:gd name="connsiteY43" fmla="*/ 918210 h 1025842"/>
                <a:gd name="connsiteX44" fmla="*/ 0 w 1620202"/>
                <a:gd name="connsiteY44" fmla="*/ 107632 h 1025842"/>
                <a:gd name="connsiteX45" fmla="*/ 107632 w 1620202"/>
                <a:gd name="connsiteY45" fmla="*/ 0 h 1025842"/>
                <a:gd name="connsiteX0" fmla="*/ 438150 w 1620202"/>
                <a:gd name="connsiteY0" fmla="*/ 781050 h 1025842"/>
                <a:gd name="connsiteX1" fmla="*/ 136207 w 1620202"/>
                <a:gd name="connsiteY1" fmla="*/ 763905 h 1025842"/>
                <a:gd name="connsiteX2" fmla="*/ 287655 w 1620202"/>
                <a:gd name="connsiteY2" fmla="*/ 917257 h 1025842"/>
                <a:gd name="connsiteX3" fmla="*/ 438150 w 1620202"/>
                <a:gd name="connsiteY3" fmla="*/ 781050 h 1025842"/>
                <a:gd name="connsiteX4" fmla="*/ 1355407 w 1620202"/>
                <a:gd name="connsiteY4" fmla="*/ 595312 h 1025842"/>
                <a:gd name="connsiteX5" fmla="*/ 1221105 w 1620202"/>
                <a:gd name="connsiteY5" fmla="*/ 709612 h 1025842"/>
                <a:gd name="connsiteX6" fmla="*/ 1187767 w 1620202"/>
                <a:gd name="connsiteY6" fmla="*/ 709612 h 1025842"/>
                <a:gd name="connsiteX7" fmla="*/ 1176337 w 1620202"/>
                <a:gd name="connsiteY7" fmla="*/ 741045 h 1025842"/>
                <a:gd name="connsiteX8" fmla="*/ 1217295 w 1620202"/>
                <a:gd name="connsiteY8" fmla="*/ 741045 h 1025842"/>
                <a:gd name="connsiteX9" fmla="*/ 1217295 w 1620202"/>
                <a:gd name="connsiteY9" fmla="*/ 756285 h 1025842"/>
                <a:gd name="connsiteX10" fmla="*/ 1218247 w 1620202"/>
                <a:gd name="connsiteY10" fmla="*/ 765810 h 1025842"/>
                <a:gd name="connsiteX11" fmla="*/ 1188720 w 1620202"/>
                <a:gd name="connsiteY11" fmla="*/ 765810 h 1025842"/>
                <a:gd name="connsiteX12" fmla="*/ 1177290 w 1620202"/>
                <a:gd name="connsiteY12" fmla="*/ 797242 h 1025842"/>
                <a:gd name="connsiteX13" fmla="*/ 1222057 w 1620202"/>
                <a:gd name="connsiteY13" fmla="*/ 797242 h 1025842"/>
                <a:gd name="connsiteX14" fmla="*/ 1359217 w 1620202"/>
                <a:gd name="connsiteY14" fmla="*/ 903922 h 1025842"/>
                <a:gd name="connsiteX15" fmla="*/ 1446847 w 1620202"/>
                <a:gd name="connsiteY15" fmla="*/ 887730 h 1025842"/>
                <a:gd name="connsiteX16" fmla="*/ 1432560 w 1620202"/>
                <a:gd name="connsiteY16" fmla="*/ 836295 h 1025842"/>
                <a:gd name="connsiteX17" fmla="*/ 1369695 w 1620202"/>
                <a:gd name="connsiteY17" fmla="*/ 853440 h 1025842"/>
                <a:gd name="connsiteX18" fmla="*/ 1292542 w 1620202"/>
                <a:gd name="connsiteY18" fmla="*/ 797242 h 1025842"/>
                <a:gd name="connsiteX19" fmla="*/ 1382077 w 1620202"/>
                <a:gd name="connsiteY19" fmla="*/ 797242 h 1025842"/>
                <a:gd name="connsiteX20" fmla="*/ 1393507 w 1620202"/>
                <a:gd name="connsiteY20" fmla="*/ 765810 h 1025842"/>
                <a:gd name="connsiteX21" fmla="*/ 1286827 w 1620202"/>
                <a:gd name="connsiteY21" fmla="*/ 765810 h 1025842"/>
                <a:gd name="connsiteX22" fmla="*/ 1285875 w 1620202"/>
                <a:gd name="connsiteY22" fmla="*/ 749617 h 1025842"/>
                <a:gd name="connsiteX23" fmla="*/ 1285875 w 1620202"/>
                <a:gd name="connsiteY23" fmla="*/ 743902 h 1025842"/>
                <a:gd name="connsiteX24" fmla="*/ 1285875 w 1620202"/>
                <a:gd name="connsiteY24" fmla="*/ 740092 h 1025842"/>
                <a:gd name="connsiteX25" fmla="*/ 1401127 w 1620202"/>
                <a:gd name="connsiteY25" fmla="*/ 740092 h 1025842"/>
                <a:gd name="connsiteX26" fmla="*/ 1411605 w 1620202"/>
                <a:gd name="connsiteY26" fmla="*/ 708660 h 1025842"/>
                <a:gd name="connsiteX27" fmla="*/ 1286827 w 1620202"/>
                <a:gd name="connsiteY27" fmla="*/ 708660 h 1025842"/>
                <a:gd name="connsiteX28" fmla="*/ 1363980 w 1620202"/>
                <a:gd name="connsiteY28" fmla="*/ 645795 h 1025842"/>
                <a:gd name="connsiteX29" fmla="*/ 1428750 w 1620202"/>
                <a:gd name="connsiteY29" fmla="*/ 663892 h 1025842"/>
                <a:gd name="connsiteX30" fmla="*/ 1446847 w 1620202"/>
                <a:gd name="connsiteY30" fmla="*/ 614362 h 1025842"/>
                <a:gd name="connsiteX31" fmla="*/ 1355407 w 1620202"/>
                <a:gd name="connsiteY31" fmla="*/ 595312 h 1025842"/>
                <a:gd name="connsiteX32" fmla="*/ 589512 w 1620202"/>
                <a:gd name="connsiteY32" fmla="*/ 614331 h 1025842"/>
                <a:gd name="connsiteX33" fmla="*/ 472440 w 1620202"/>
                <a:gd name="connsiteY33" fmla="*/ 760095 h 1025842"/>
                <a:gd name="connsiteX34" fmla="*/ 594360 w 1620202"/>
                <a:gd name="connsiteY34" fmla="*/ 638175 h 1025842"/>
                <a:gd name="connsiteX35" fmla="*/ 589512 w 1620202"/>
                <a:gd name="connsiteY35" fmla="*/ 614331 h 1025842"/>
                <a:gd name="connsiteX36" fmla="*/ 107632 w 1620202"/>
                <a:gd name="connsiteY36" fmla="*/ 0 h 1025842"/>
                <a:gd name="connsiteX37" fmla="*/ 1511617 w 1620202"/>
                <a:gd name="connsiteY37" fmla="*/ 0 h 1025842"/>
                <a:gd name="connsiteX38" fmla="*/ 1620202 w 1620202"/>
                <a:gd name="connsiteY38" fmla="*/ 107632 h 1025842"/>
                <a:gd name="connsiteX39" fmla="*/ 1619250 w 1620202"/>
                <a:gd name="connsiteY39" fmla="*/ 918210 h 1025842"/>
                <a:gd name="connsiteX40" fmla="*/ 1511617 w 1620202"/>
                <a:gd name="connsiteY40" fmla="*/ 1025842 h 1025842"/>
                <a:gd name="connsiteX41" fmla="*/ 107632 w 1620202"/>
                <a:gd name="connsiteY41" fmla="*/ 1025842 h 1025842"/>
                <a:gd name="connsiteX42" fmla="*/ 0 w 1620202"/>
                <a:gd name="connsiteY42" fmla="*/ 918210 h 1025842"/>
                <a:gd name="connsiteX43" fmla="*/ 0 w 1620202"/>
                <a:gd name="connsiteY43" fmla="*/ 107632 h 1025842"/>
                <a:gd name="connsiteX44" fmla="*/ 107632 w 1620202"/>
                <a:gd name="connsiteY44" fmla="*/ 0 h 1025842"/>
                <a:gd name="connsiteX0" fmla="*/ 438150 w 1620202"/>
                <a:gd name="connsiteY0" fmla="*/ 781050 h 1025842"/>
                <a:gd name="connsiteX1" fmla="*/ 136207 w 1620202"/>
                <a:gd name="connsiteY1" fmla="*/ 763905 h 1025842"/>
                <a:gd name="connsiteX2" fmla="*/ 287655 w 1620202"/>
                <a:gd name="connsiteY2" fmla="*/ 917257 h 1025842"/>
                <a:gd name="connsiteX3" fmla="*/ 438150 w 1620202"/>
                <a:gd name="connsiteY3" fmla="*/ 781050 h 1025842"/>
                <a:gd name="connsiteX4" fmla="*/ 1355407 w 1620202"/>
                <a:gd name="connsiteY4" fmla="*/ 595312 h 1025842"/>
                <a:gd name="connsiteX5" fmla="*/ 1221105 w 1620202"/>
                <a:gd name="connsiteY5" fmla="*/ 709612 h 1025842"/>
                <a:gd name="connsiteX6" fmla="*/ 1187767 w 1620202"/>
                <a:gd name="connsiteY6" fmla="*/ 709612 h 1025842"/>
                <a:gd name="connsiteX7" fmla="*/ 1176337 w 1620202"/>
                <a:gd name="connsiteY7" fmla="*/ 741045 h 1025842"/>
                <a:gd name="connsiteX8" fmla="*/ 1217295 w 1620202"/>
                <a:gd name="connsiteY8" fmla="*/ 741045 h 1025842"/>
                <a:gd name="connsiteX9" fmla="*/ 1217295 w 1620202"/>
                <a:gd name="connsiteY9" fmla="*/ 756285 h 1025842"/>
                <a:gd name="connsiteX10" fmla="*/ 1218247 w 1620202"/>
                <a:gd name="connsiteY10" fmla="*/ 765810 h 1025842"/>
                <a:gd name="connsiteX11" fmla="*/ 1188720 w 1620202"/>
                <a:gd name="connsiteY11" fmla="*/ 765810 h 1025842"/>
                <a:gd name="connsiteX12" fmla="*/ 1177290 w 1620202"/>
                <a:gd name="connsiteY12" fmla="*/ 797242 h 1025842"/>
                <a:gd name="connsiteX13" fmla="*/ 1222057 w 1620202"/>
                <a:gd name="connsiteY13" fmla="*/ 797242 h 1025842"/>
                <a:gd name="connsiteX14" fmla="*/ 1359217 w 1620202"/>
                <a:gd name="connsiteY14" fmla="*/ 903922 h 1025842"/>
                <a:gd name="connsiteX15" fmla="*/ 1446847 w 1620202"/>
                <a:gd name="connsiteY15" fmla="*/ 887730 h 1025842"/>
                <a:gd name="connsiteX16" fmla="*/ 1432560 w 1620202"/>
                <a:gd name="connsiteY16" fmla="*/ 836295 h 1025842"/>
                <a:gd name="connsiteX17" fmla="*/ 1369695 w 1620202"/>
                <a:gd name="connsiteY17" fmla="*/ 853440 h 1025842"/>
                <a:gd name="connsiteX18" fmla="*/ 1292542 w 1620202"/>
                <a:gd name="connsiteY18" fmla="*/ 797242 h 1025842"/>
                <a:gd name="connsiteX19" fmla="*/ 1382077 w 1620202"/>
                <a:gd name="connsiteY19" fmla="*/ 797242 h 1025842"/>
                <a:gd name="connsiteX20" fmla="*/ 1393507 w 1620202"/>
                <a:gd name="connsiteY20" fmla="*/ 765810 h 1025842"/>
                <a:gd name="connsiteX21" fmla="*/ 1286827 w 1620202"/>
                <a:gd name="connsiteY21" fmla="*/ 765810 h 1025842"/>
                <a:gd name="connsiteX22" fmla="*/ 1285875 w 1620202"/>
                <a:gd name="connsiteY22" fmla="*/ 749617 h 1025842"/>
                <a:gd name="connsiteX23" fmla="*/ 1285875 w 1620202"/>
                <a:gd name="connsiteY23" fmla="*/ 743902 h 1025842"/>
                <a:gd name="connsiteX24" fmla="*/ 1285875 w 1620202"/>
                <a:gd name="connsiteY24" fmla="*/ 740092 h 1025842"/>
                <a:gd name="connsiteX25" fmla="*/ 1401127 w 1620202"/>
                <a:gd name="connsiteY25" fmla="*/ 740092 h 1025842"/>
                <a:gd name="connsiteX26" fmla="*/ 1411605 w 1620202"/>
                <a:gd name="connsiteY26" fmla="*/ 708660 h 1025842"/>
                <a:gd name="connsiteX27" fmla="*/ 1286827 w 1620202"/>
                <a:gd name="connsiteY27" fmla="*/ 708660 h 1025842"/>
                <a:gd name="connsiteX28" fmla="*/ 1363980 w 1620202"/>
                <a:gd name="connsiteY28" fmla="*/ 645795 h 1025842"/>
                <a:gd name="connsiteX29" fmla="*/ 1428750 w 1620202"/>
                <a:gd name="connsiteY29" fmla="*/ 663892 h 1025842"/>
                <a:gd name="connsiteX30" fmla="*/ 1446847 w 1620202"/>
                <a:gd name="connsiteY30" fmla="*/ 614362 h 1025842"/>
                <a:gd name="connsiteX31" fmla="*/ 1355407 w 1620202"/>
                <a:gd name="connsiteY31" fmla="*/ 595312 h 1025842"/>
                <a:gd name="connsiteX32" fmla="*/ 594360 w 1620202"/>
                <a:gd name="connsiteY32" fmla="*/ 638175 h 1025842"/>
                <a:gd name="connsiteX33" fmla="*/ 472440 w 1620202"/>
                <a:gd name="connsiteY33" fmla="*/ 760095 h 1025842"/>
                <a:gd name="connsiteX34" fmla="*/ 594360 w 1620202"/>
                <a:gd name="connsiteY34" fmla="*/ 638175 h 1025842"/>
                <a:gd name="connsiteX35" fmla="*/ 107632 w 1620202"/>
                <a:gd name="connsiteY35" fmla="*/ 0 h 1025842"/>
                <a:gd name="connsiteX36" fmla="*/ 1511617 w 1620202"/>
                <a:gd name="connsiteY36" fmla="*/ 0 h 1025842"/>
                <a:gd name="connsiteX37" fmla="*/ 1620202 w 1620202"/>
                <a:gd name="connsiteY37" fmla="*/ 107632 h 1025842"/>
                <a:gd name="connsiteX38" fmla="*/ 1619250 w 1620202"/>
                <a:gd name="connsiteY38" fmla="*/ 918210 h 1025842"/>
                <a:gd name="connsiteX39" fmla="*/ 1511617 w 1620202"/>
                <a:gd name="connsiteY39" fmla="*/ 1025842 h 1025842"/>
                <a:gd name="connsiteX40" fmla="*/ 107632 w 1620202"/>
                <a:gd name="connsiteY40" fmla="*/ 1025842 h 1025842"/>
                <a:gd name="connsiteX41" fmla="*/ 0 w 1620202"/>
                <a:gd name="connsiteY41" fmla="*/ 918210 h 1025842"/>
                <a:gd name="connsiteX42" fmla="*/ 0 w 1620202"/>
                <a:gd name="connsiteY42" fmla="*/ 107632 h 1025842"/>
                <a:gd name="connsiteX43" fmla="*/ 107632 w 1620202"/>
                <a:gd name="connsiteY43" fmla="*/ 0 h 1025842"/>
                <a:gd name="connsiteX0" fmla="*/ 438150 w 1620202"/>
                <a:gd name="connsiteY0" fmla="*/ 781050 h 1025842"/>
                <a:gd name="connsiteX1" fmla="*/ 136207 w 1620202"/>
                <a:gd name="connsiteY1" fmla="*/ 763905 h 1025842"/>
                <a:gd name="connsiteX2" fmla="*/ 287655 w 1620202"/>
                <a:gd name="connsiteY2" fmla="*/ 917257 h 1025842"/>
                <a:gd name="connsiteX3" fmla="*/ 438150 w 1620202"/>
                <a:gd name="connsiteY3" fmla="*/ 781050 h 1025842"/>
                <a:gd name="connsiteX4" fmla="*/ 1355407 w 1620202"/>
                <a:gd name="connsiteY4" fmla="*/ 595312 h 1025842"/>
                <a:gd name="connsiteX5" fmla="*/ 1221105 w 1620202"/>
                <a:gd name="connsiteY5" fmla="*/ 709612 h 1025842"/>
                <a:gd name="connsiteX6" fmla="*/ 1187767 w 1620202"/>
                <a:gd name="connsiteY6" fmla="*/ 709612 h 1025842"/>
                <a:gd name="connsiteX7" fmla="*/ 1176337 w 1620202"/>
                <a:gd name="connsiteY7" fmla="*/ 741045 h 1025842"/>
                <a:gd name="connsiteX8" fmla="*/ 1217295 w 1620202"/>
                <a:gd name="connsiteY8" fmla="*/ 741045 h 1025842"/>
                <a:gd name="connsiteX9" fmla="*/ 1217295 w 1620202"/>
                <a:gd name="connsiteY9" fmla="*/ 756285 h 1025842"/>
                <a:gd name="connsiteX10" fmla="*/ 1218247 w 1620202"/>
                <a:gd name="connsiteY10" fmla="*/ 765810 h 1025842"/>
                <a:gd name="connsiteX11" fmla="*/ 1188720 w 1620202"/>
                <a:gd name="connsiteY11" fmla="*/ 765810 h 1025842"/>
                <a:gd name="connsiteX12" fmla="*/ 1177290 w 1620202"/>
                <a:gd name="connsiteY12" fmla="*/ 797242 h 1025842"/>
                <a:gd name="connsiteX13" fmla="*/ 1222057 w 1620202"/>
                <a:gd name="connsiteY13" fmla="*/ 797242 h 1025842"/>
                <a:gd name="connsiteX14" fmla="*/ 1359217 w 1620202"/>
                <a:gd name="connsiteY14" fmla="*/ 903922 h 1025842"/>
                <a:gd name="connsiteX15" fmla="*/ 1446847 w 1620202"/>
                <a:gd name="connsiteY15" fmla="*/ 887730 h 1025842"/>
                <a:gd name="connsiteX16" fmla="*/ 1432560 w 1620202"/>
                <a:gd name="connsiteY16" fmla="*/ 836295 h 1025842"/>
                <a:gd name="connsiteX17" fmla="*/ 1369695 w 1620202"/>
                <a:gd name="connsiteY17" fmla="*/ 853440 h 1025842"/>
                <a:gd name="connsiteX18" fmla="*/ 1292542 w 1620202"/>
                <a:gd name="connsiteY18" fmla="*/ 797242 h 1025842"/>
                <a:gd name="connsiteX19" fmla="*/ 1382077 w 1620202"/>
                <a:gd name="connsiteY19" fmla="*/ 797242 h 1025842"/>
                <a:gd name="connsiteX20" fmla="*/ 1393507 w 1620202"/>
                <a:gd name="connsiteY20" fmla="*/ 765810 h 1025842"/>
                <a:gd name="connsiteX21" fmla="*/ 1286827 w 1620202"/>
                <a:gd name="connsiteY21" fmla="*/ 765810 h 1025842"/>
                <a:gd name="connsiteX22" fmla="*/ 1285875 w 1620202"/>
                <a:gd name="connsiteY22" fmla="*/ 749617 h 1025842"/>
                <a:gd name="connsiteX23" fmla="*/ 1285875 w 1620202"/>
                <a:gd name="connsiteY23" fmla="*/ 743902 h 1025842"/>
                <a:gd name="connsiteX24" fmla="*/ 1285875 w 1620202"/>
                <a:gd name="connsiteY24" fmla="*/ 740092 h 1025842"/>
                <a:gd name="connsiteX25" fmla="*/ 1401127 w 1620202"/>
                <a:gd name="connsiteY25" fmla="*/ 740092 h 1025842"/>
                <a:gd name="connsiteX26" fmla="*/ 1411605 w 1620202"/>
                <a:gd name="connsiteY26" fmla="*/ 708660 h 1025842"/>
                <a:gd name="connsiteX27" fmla="*/ 1286827 w 1620202"/>
                <a:gd name="connsiteY27" fmla="*/ 708660 h 1025842"/>
                <a:gd name="connsiteX28" fmla="*/ 1363980 w 1620202"/>
                <a:gd name="connsiteY28" fmla="*/ 645795 h 1025842"/>
                <a:gd name="connsiteX29" fmla="*/ 1428750 w 1620202"/>
                <a:gd name="connsiteY29" fmla="*/ 663892 h 1025842"/>
                <a:gd name="connsiteX30" fmla="*/ 1446847 w 1620202"/>
                <a:gd name="connsiteY30" fmla="*/ 614362 h 1025842"/>
                <a:gd name="connsiteX31" fmla="*/ 1355407 w 1620202"/>
                <a:gd name="connsiteY31" fmla="*/ 595312 h 1025842"/>
                <a:gd name="connsiteX32" fmla="*/ 107632 w 1620202"/>
                <a:gd name="connsiteY32" fmla="*/ 0 h 1025842"/>
                <a:gd name="connsiteX33" fmla="*/ 1511617 w 1620202"/>
                <a:gd name="connsiteY33" fmla="*/ 0 h 1025842"/>
                <a:gd name="connsiteX34" fmla="*/ 1620202 w 1620202"/>
                <a:gd name="connsiteY34" fmla="*/ 107632 h 1025842"/>
                <a:gd name="connsiteX35" fmla="*/ 1619250 w 1620202"/>
                <a:gd name="connsiteY35" fmla="*/ 918210 h 1025842"/>
                <a:gd name="connsiteX36" fmla="*/ 1511617 w 1620202"/>
                <a:gd name="connsiteY36" fmla="*/ 1025842 h 1025842"/>
                <a:gd name="connsiteX37" fmla="*/ 107632 w 1620202"/>
                <a:gd name="connsiteY37" fmla="*/ 1025842 h 1025842"/>
                <a:gd name="connsiteX38" fmla="*/ 0 w 1620202"/>
                <a:gd name="connsiteY38" fmla="*/ 918210 h 1025842"/>
                <a:gd name="connsiteX39" fmla="*/ 0 w 1620202"/>
                <a:gd name="connsiteY39" fmla="*/ 107632 h 1025842"/>
                <a:gd name="connsiteX40" fmla="*/ 107632 w 1620202"/>
                <a:gd name="connsiteY40" fmla="*/ 0 h 1025842"/>
                <a:gd name="connsiteX0" fmla="*/ 287655 w 1620202"/>
                <a:gd name="connsiteY0" fmla="*/ 917257 h 1025842"/>
                <a:gd name="connsiteX1" fmla="*/ 136207 w 1620202"/>
                <a:gd name="connsiteY1" fmla="*/ 763905 h 1025842"/>
                <a:gd name="connsiteX2" fmla="*/ 287655 w 1620202"/>
                <a:gd name="connsiteY2" fmla="*/ 917257 h 1025842"/>
                <a:gd name="connsiteX3" fmla="*/ 1355407 w 1620202"/>
                <a:gd name="connsiteY3" fmla="*/ 595312 h 1025842"/>
                <a:gd name="connsiteX4" fmla="*/ 1221105 w 1620202"/>
                <a:gd name="connsiteY4" fmla="*/ 709612 h 1025842"/>
                <a:gd name="connsiteX5" fmla="*/ 1187767 w 1620202"/>
                <a:gd name="connsiteY5" fmla="*/ 709612 h 1025842"/>
                <a:gd name="connsiteX6" fmla="*/ 1176337 w 1620202"/>
                <a:gd name="connsiteY6" fmla="*/ 741045 h 1025842"/>
                <a:gd name="connsiteX7" fmla="*/ 1217295 w 1620202"/>
                <a:gd name="connsiteY7" fmla="*/ 741045 h 1025842"/>
                <a:gd name="connsiteX8" fmla="*/ 1217295 w 1620202"/>
                <a:gd name="connsiteY8" fmla="*/ 756285 h 1025842"/>
                <a:gd name="connsiteX9" fmla="*/ 1218247 w 1620202"/>
                <a:gd name="connsiteY9" fmla="*/ 765810 h 1025842"/>
                <a:gd name="connsiteX10" fmla="*/ 1188720 w 1620202"/>
                <a:gd name="connsiteY10" fmla="*/ 765810 h 1025842"/>
                <a:gd name="connsiteX11" fmla="*/ 1177290 w 1620202"/>
                <a:gd name="connsiteY11" fmla="*/ 797242 h 1025842"/>
                <a:gd name="connsiteX12" fmla="*/ 1222057 w 1620202"/>
                <a:gd name="connsiteY12" fmla="*/ 797242 h 1025842"/>
                <a:gd name="connsiteX13" fmla="*/ 1359217 w 1620202"/>
                <a:gd name="connsiteY13" fmla="*/ 903922 h 1025842"/>
                <a:gd name="connsiteX14" fmla="*/ 1446847 w 1620202"/>
                <a:gd name="connsiteY14" fmla="*/ 887730 h 1025842"/>
                <a:gd name="connsiteX15" fmla="*/ 1432560 w 1620202"/>
                <a:gd name="connsiteY15" fmla="*/ 836295 h 1025842"/>
                <a:gd name="connsiteX16" fmla="*/ 1369695 w 1620202"/>
                <a:gd name="connsiteY16" fmla="*/ 853440 h 1025842"/>
                <a:gd name="connsiteX17" fmla="*/ 1292542 w 1620202"/>
                <a:gd name="connsiteY17" fmla="*/ 797242 h 1025842"/>
                <a:gd name="connsiteX18" fmla="*/ 1382077 w 1620202"/>
                <a:gd name="connsiteY18" fmla="*/ 797242 h 1025842"/>
                <a:gd name="connsiteX19" fmla="*/ 1393507 w 1620202"/>
                <a:gd name="connsiteY19" fmla="*/ 765810 h 1025842"/>
                <a:gd name="connsiteX20" fmla="*/ 1286827 w 1620202"/>
                <a:gd name="connsiteY20" fmla="*/ 765810 h 1025842"/>
                <a:gd name="connsiteX21" fmla="*/ 1285875 w 1620202"/>
                <a:gd name="connsiteY21" fmla="*/ 749617 h 1025842"/>
                <a:gd name="connsiteX22" fmla="*/ 1285875 w 1620202"/>
                <a:gd name="connsiteY22" fmla="*/ 743902 h 1025842"/>
                <a:gd name="connsiteX23" fmla="*/ 1285875 w 1620202"/>
                <a:gd name="connsiteY23" fmla="*/ 740092 h 1025842"/>
                <a:gd name="connsiteX24" fmla="*/ 1401127 w 1620202"/>
                <a:gd name="connsiteY24" fmla="*/ 740092 h 1025842"/>
                <a:gd name="connsiteX25" fmla="*/ 1411605 w 1620202"/>
                <a:gd name="connsiteY25" fmla="*/ 708660 h 1025842"/>
                <a:gd name="connsiteX26" fmla="*/ 1286827 w 1620202"/>
                <a:gd name="connsiteY26" fmla="*/ 708660 h 1025842"/>
                <a:gd name="connsiteX27" fmla="*/ 1363980 w 1620202"/>
                <a:gd name="connsiteY27" fmla="*/ 645795 h 1025842"/>
                <a:gd name="connsiteX28" fmla="*/ 1428750 w 1620202"/>
                <a:gd name="connsiteY28" fmla="*/ 663892 h 1025842"/>
                <a:gd name="connsiteX29" fmla="*/ 1446847 w 1620202"/>
                <a:gd name="connsiteY29" fmla="*/ 614362 h 1025842"/>
                <a:gd name="connsiteX30" fmla="*/ 1355407 w 1620202"/>
                <a:gd name="connsiteY30" fmla="*/ 595312 h 1025842"/>
                <a:gd name="connsiteX31" fmla="*/ 107632 w 1620202"/>
                <a:gd name="connsiteY31" fmla="*/ 0 h 1025842"/>
                <a:gd name="connsiteX32" fmla="*/ 1511617 w 1620202"/>
                <a:gd name="connsiteY32" fmla="*/ 0 h 1025842"/>
                <a:gd name="connsiteX33" fmla="*/ 1620202 w 1620202"/>
                <a:gd name="connsiteY33" fmla="*/ 107632 h 1025842"/>
                <a:gd name="connsiteX34" fmla="*/ 1619250 w 1620202"/>
                <a:gd name="connsiteY34" fmla="*/ 918210 h 1025842"/>
                <a:gd name="connsiteX35" fmla="*/ 1511617 w 1620202"/>
                <a:gd name="connsiteY35" fmla="*/ 1025842 h 1025842"/>
                <a:gd name="connsiteX36" fmla="*/ 107632 w 1620202"/>
                <a:gd name="connsiteY36" fmla="*/ 1025842 h 1025842"/>
                <a:gd name="connsiteX37" fmla="*/ 0 w 1620202"/>
                <a:gd name="connsiteY37" fmla="*/ 918210 h 1025842"/>
                <a:gd name="connsiteX38" fmla="*/ 0 w 1620202"/>
                <a:gd name="connsiteY38" fmla="*/ 107632 h 1025842"/>
                <a:gd name="connsiteX39" fmla="*/ 107632 w 1620202"/>
                <a:gd name="connsiteY39" fmla="*/ 0 h 1025842"/>
                <a:gd name="connsiteX0" fmla="*/ 1355407 w 1620202"/>
                <a:gd name="connsiteY0" fmla="*/ 595312 h 1025842"/>
                <a:gd name="connsiteX1" fmla="*/ 1221105 w 1620202"/>
                <a:gd name="connsiteY1" fmla="*/ 709612 h 1025842"/>
                <a:gd name="connsiteX2" fmla="*/ 1187767 w 1620202"/>
                <a:gd name="connsiteY2" fmla="*/ 709612 h 1025842"/>
                <a:gd name="connsiteX3" fmla="*/ 1176337 w 1620202"/>
                <a:gd name="connsiteY3" fmla="*/ 741045 h 1025842"/>
                <a:gd name="connsiteX4" fmla="*/ 1217295 w 1620202"/>
                <a:gd name="connsiteY4" fmla="*/ 741045 h 1025842"/>
                <a:gd name="connsiteX5" fmla="*/ 1217295 w 1620202"/>
                <a:gd name="connsiteY5" fmla="*/ 756285 h 1025842"/>
                <a:gd name="connsiteX6" fmla="*/ 1218247 w 1620202"/>
                <a:gd name="connsiteY6" fmla="*/ 765810 h 1025842"/>
                <a:gd name="connsiteX7" fmla="*/ 1188720 w 1620202"/>
                <a:gd name="connsiteY7" fmla="*/ 765810 h 1025842"/>
                <a:gd name="connsiteX8" fmla="*/ 1177290 w 1620202"/>
                <a:gd name="connsiteY8" fmla="*/ 797242 h 1025842"/>
                <a:gd name="connsiteX9" fmla="*/ 1222057 w 1620202"/>
                <a:gd name="connsiteY9" fmla="*/ 797242 h 1025842"/>
                <a:gd name="connsiteX10" fmla="*/ 1359217 w 1620202"/>
                <a:gd name="connsiteY10" fmla="*/ 903922 h 1025842"/>
                <a:gd name="connsiteX11" fmla="*/ 1446847 w 1620202"/>
                <a:gd name="connsiteY11" fmla="*/ 887730 h 1025842"/>
                <a:gd name="connsiteX12" fmla="*/ 1432560 w 1620202"/>
                <a:gd name="connsiteY12" fmla="*/ 836295 h 1025842"/>
                <a:gd name="connsiteX13" fmla="*/ 1369695 w 1620202"/>
                <a:gd name="connsiteY13" fmla="*/ 853440 h 1025842"/>
                <a:gd name="connsiteX14" fmla="*/ 1292542 w 1620202"/>
                <a:gd name="connsiteY14" fmla="*/ 797242 h 1025842"/>
                <a:gd name="connsiteX15" fmla="*/ 1382077 w 1620202"/>
                <a:gd name="connsiteY15" fmla="*/ 797242 h 1025842"/>
                <a:gd name="connsiteX16" fmla="*/ 1393507 w 1620202"/>
                <a:gd name="connsiteY16" fmla="*/ 765810 h 1025842"/>
                <a:gd name="connsiteX17" fmla="*/ 1286827 w 1620202"/>
                <a:gd name="connsiteY17" fmla="*/ 765810 h 1025842"/>
                <a:gd name="connsiteX18" fmla="*/ 1285875 w 1620202"/>
                <a:gd name="connsiteY18" fmla="*/ 749617 h 1025842"/>
                <a:gd name="connsiteX19" fmla="*/ 1285875 w 1620202"/>
                <a:gd name="connsiteY19" fmla="*/ 743902 h 1025842"/>
                <a:gd name="connsiteX20" fmla="*/ 1285875 w 1620202"/>
                <a:gd name="connsiteY20" fmla="*/ 740092 h 1025842"/>
                <a:gd name="connsiteX21" fmla="*/ 1401127 w 1620202"/>
                <a:gd name="connsiteY21" fmla="*/ 740092 h 1025842"/>
                <a:gd name="connsiteX22" fmla="*/ 1411605 w 1620202"/>
                <a:gd name="connsiteY22" fmla="*/ 708660 h 1025842"/>
                <a:gd name="connsiteX23" fmla="*/ 1286827 w 1620202"/>
                <a:gd name="connsiteY23" fmla="*/ 708660 h 1025842"/>
                <a:gd name="connsiteX24" fmla="*/ 1363980 w 1620202"/>
                <a:gd name="connsiteY24" fmla="*/ 645795 h 1025842"/>
                <a:gd name="connsiteX25" fmla="*/ 1428750 w 1620202"/>
                <a:gd name="connsiteY25" fmla="*/ 663892 h 1025842"/>
                <a:gd name="connsiteX26" fmla="*/ 1446847 w 1620202"/>
                <a:gd name="connsiteY26" fmla="*/ 614362 h 1025842"/>
                <a:gd name="connsiteX27" fmla="*/ 1355407 w 1620202"/>
                <a:gd name="connsiteY27" fmla="*/ 595312 h 1025842"/>
                <a:gd name="connsiteX28" fmla="*/ 107632 w 1620202"/>
                <a:gd name="connsiteY28" fmla="*/ 0 h 1025842"/>
                <a:gd name="connsiteX29" fmla="*/ 1511617 w 1620202"/>
                <a:gd name="connsiteY29" fmla="*/ 0 h 1025842"/>
                <a:gd name="connsiteX30" fmla="*/ 1620202 w 1620202"/>
                <a:gd name="connsiteY30" fmla="*/ 107632 h 1025842"/>
                <a:gd name="connsiteX31" fmla="*/ 1619250 w 1620202"/>
                <a:gd name="connsiteY31" fmla="*/ 918210 h 1025842"/>
                <a:gd name="connsiteX32" fmla="*/ 1511617 w 1620202"/>
                <a:gd name="connsiteY32" fmla="*/ 1025842 h 1025842"/>
                <a:gd name="connsiteX33" fmla="*/ 107632 w 1620202"/>
                <a:gd name="connsiteY33" fmla="*/ 1025842 h 1025842"/>
                <a:gd name="connsiteX34" fmla="*/ 0 w 1620202"/>
                <a:gd name="connsiteY34" fmla="*/ 918210 h 1025842"/>
                <a:gd name="connsiteX35" fmla="*/ 0 w 1620202"/>
                <a:gd name="connsiteY35" fmla="*/ 107632 h 1025842"/>
                <a:gd name="connsiteX36" fmla="*/ 107632 w 1620202"/>
                <a:gd name="connsiteY36" fmla="*/ 0 h 1025842"/>
                <a:gd name="connsiteX0" fmla="*/ 1446847 w 1620202"/>
                <a:gd name="connsiteY0" fmla="*/ 614362 h 1025842"/>
                <a:gd name="connsiteX1" fmla="*/ 1221105 w 1620202"/>
                <a:gd name="connsiteY1" fmla="*/ 709612 h 1025842"/>
                <a:gd name="connsiteX2" fmla="*/ 1187767 w 1620202"/>
                <a:gd name="connsiteY2" fmla="*/ 709612 h 1025842"/>
                <a:gd name="connsiteX3" fmla="*/ 1176337 w 1620202"/>
                <a:gd name="connsiteY3" fmla="*/ 741045 h 1025842"/>
                <a:gd name="connsiteX4" fmla="*/ 1217295 w 1620202"/>
                <a:gd name="connsiteY4" fmla="*/ 741045 h 1025842"/>
                <a:gd name="connsiteX5" fmla="*/ 1217295 w 1620202"/>
                <a:gd name="connsiteY5" fmla="*/ 756285 h 1025842"/>
                <a:gd name="connsiteX6" fmla="*/ 1218247 w 1620202"/>
                <a:gd name="connsiteY6" fmla="*/ 765810 h 1025842"/>
                <a:gd name="connsiteX7" fmla="*/ 1188720 w 1620202"/>
                <a:gd name="connsiteY7" fmla="*/ 765810 h 1025842"/>
                <a:gd name="connsiteX8" fmla="*/ 1177290 w 1620202"/>
                <a:gd name="connsiteY8" fmla="*/ 797242 h 1025842"/>
                <a:gd name="connsiteX9" fmla="*/ 1222057 w 1620202"/>
                <a:gd name="connsiteY9" fmla="*/ 797242 h 1025842"/>
                <a:gd name="connsiteX10" fmla="*/ 1359217 w 1620202"/>
                <a:gd name="connsiteY10" fmla="*/ 903922 h 1025842"/>
                <a:gd name="connsiteX11" fmla="*/ 1446847 w 1620202"/>
                <a:gd name="connsiteY11" fmla="*/ 887730 h 1025842"/>
                <a:gd name="connsiteX12" fmla="*/ 1432560 w 1620202"/>
                <a:gd name="connsiteY12" fmla="*/ 836295 h 1025842"/>
                <a:gd name="connsiteX13" fmla="*/ 1369695 w 1620202"/>
                <a:gd name="connsiteY13" fmla="*/ 853440 h 1025842"/>
                <a:gd name="connsiteX14" fmla="*/ 1292542 w 1620202"/>
                <a:gd name="connsiteY14" fmla="*/ 797242 h 1025842"/>
                <a:gd name="connsiteX15" fmla="*/ 1382077 w 1620202"/>
                <a:gd name="connsiteY15" fmla="*/ 797242 h 1025842"/>
                <a:gd name="connsiteX16" fmla="*/ 1393507 w 1620202"/>
                <a:gd name="connsiteY16" fmla="*/ 765810 h 1025842"/>
                <a:gd name="connsiteX17" fmla="*/ 1286827 w 1620202"/>
                <a:gd name="connsiteY17" fmla="*/ 765810 h 1025842"/>
                <a:gd name="connsiteX18" fmla="*/ 1285875 w 1620202"/>
                <a:gd name="connsiteY18" fmla="*/ 749617 h 1025842"/>
                <a:gd name="connsiteX19" fmla="*/ 1285875 w 1620202"/>
                <a:gd name="connsiteY19" fmla="*/ 743902 h 1025842"/>
                <a:gd name="connsiteX20" fmla="*/ 1285875 w 1620202"/>
                <a:gd name="connsiteY20" fmla="*/ 740092 h 1025842"/>
                <a:gd name="connsiteX21" fmla="*/ 1401127 w 1620202"/>
                <a:gd name="connsiteY21" fmla="*/ 740092 h 1025842"/>
                <a:gd name="connsiteX22" fmla="*/ 1411605 w 1620202"/>
                <a:gd name="connsiteY22" fmla="*/ 708660 h 1025842"/>
                <a:gd name="connsiteX23" fmla="*/ 1286827 w 1620202"/>
                <a:gd name="connsiteY23" fmla="*/ 708660 h 1025842"/>
                <a:gd name="connsiteX24" fmla="*/ 1363980 w 1620202"/>
                <a:gd name="connsiteY24" fmla="*/ 645795 h 1025842"/>
                <a:gd name="connsiteX25" fmla="*/ 1428750 w 1620202"/>
                <a:gd name="connsiteY25" fmla="*/ 663892 h 1025842"/>
                <a:gd name="connsiteX26" fmla="*/ 1446847 w 1620202"/>
                <a:gd name="connsiteY26" fmla="*/ 614362 h 1025842"/>
                <a:gd name="connsiteX27" fmla="*/ 107632 w 1620202"/>
                <a:gd name="connsiteY27" fmla="*/ 0 h 1025842"/>
                <a:gd name="connsiteX28" fmla="*/ 1511617 w 1620202"/>
                <a:gd name="connsiteY28" fmla="*/ 0 h 1025842"/>
                <a:gd name="connsiteX29" fmla="*/ 1620202 w 1620202"/>
                <a:gd name="connsiteY29" fmla="*/ 107632 h 1025842"/>
                <a:gd name="connsiteX30" fmla="*/ 1619250 w 1620202"/>
                <a:gd name="connsiteY30" fmla="*/ 918210 h 1025842"/>
                <a:gd name="connsiteX31" fmla="*/ 1511617 w 1620202"/>
                <a:gd name="connsiteY31" fmla="*/ 1025842 h 1025842"/>
                <a:gd name="connsiteX32" fmla="*/ 107632 w 1620202"/>
                <a:gd name="connsiteY32" fmla="*/ 1025842 h 1025842"/>
                <a:gd name="connsiteX33" fmla="*/ 0 w 1620202"/>
                <a:gd name="connsiteY33" fmla="*/ 918210 h 1025842"/>
                <a:gd name="connsiteX34" fmla="*/ 0 w 1620202"/>
                <a:gd name="connsiteY34" fmla="*/ 107632 h 1025842"/>
                <a:gd name="connsiteX35" fmla="*/ 107632 w 1620202"/>
                <a:gd name="connsiteY35" fmla="*/ 0 h 1025842"/>
                <a:gd name="connsiteX0" fmla="*/ 1446847 w 1620202"/>
                <a:gd name="connsiteY0" fmla="*/ 614362 h 1025842"/>
                <a:gd name="connsiteX1" fmla="*/ 1221105 w 1620202"/>
                <a:gd name="connsiteY1" fmla="*/ 709612 h 1025842"/>
                <a:gd name="connsiteX2" fmla="*/ 1176337 w 1620202"/>
                <a:gd name="connsiteY2" fmla="*/ 741045 h 1025842"/>
                <a:gd name="connsiteX3" fmla="*/ 1217295 w 1620202"/>
                <a:gd name="connsiteY3" fmla="*/ 741045 h 1025842"/>
                <a:gd name="connsiteX4" fmla="*/ 1217295 w 1620202"/>
                <a:gd name="connsiteY4" fmla="*/ 756285 h 1025842"/>
                <a:gd name="connsiteX5" fmla="*/ 1218247 w 1620202"/>
                <a:gd name="connsiteY5" fmla="*/ 765810 h 1025842"/>
                <a:gd name="connsiteX6" fmla="*/ 1188720 w 1620202"/>
                <a:gd name="connsiteY6" fmla="*/ 765810 h 1025842"/>
                <a:gd name="connsiteX7" fmla="*/ 1177290 w 1620202"/>
                <a:gd name="connsiteY7" fmla="*/ 797242 h 1025842"/>
                <a:gd name="connsiteX8" fmla="*/ 1222057 w 1620202"/>
                <a:gd name="connsiteY8" fmla="*/ 797242 h 1025842"/>
                <a:gd name="connsiteX9" fmla="*/ 1359217 w 1620202"/>
                <a:gd name="connsiteY9" fmla="*/ 903922 h 1025842"/>
                <a:gd name="connsiteX10" fmla="*/ 1446847 w 1620202"/>
                <a:gd name="connsiteY10" fmla="*/ 887730 h 1025842"/>
                <a:gd name="connsiteX11" fmla="*/ 1432560 w 1620202"/>
                <a:gd name="connsiteY11" fmla="*/ 836295 h 1025842"/>
                <a:gd name="connsiteX12" fmla="*/ 1369695 w 1620202"/>
                <a:gd name="connsiteY12" fmla="*/ 853440 h 1025842"/>
                <a:gd name="connsiteX13" fmla="*/ 1292542 w 1620202"/>
                <a:gd name="connsiteY13" fmla="*/ 797242 h 1025842"/>
                <a:gd name="connsiteX14" fmla="*/ 1382077 w 1620202"/>
                <a:gd name="connsiteY14" fmla="*/ 797242 h 1025842"/>
                <a:gd name="connsiteX15" fmla="*/ 1393507 w 1620202"/>
                <a:gd name="connsiteY15" fmla="*/ 765810 h 1025842"/>
                <a:gd name="connsiteX16" fmla="*/ 1286827 w 1620202"/>
                <a:gd name="connsiteY16" fmla="*/ 765810 h 1025842"/>
                <a:gd name="connsiteX17" fmla="*/ 1285875 w 1620202"/>
                <a:gd name="connsiteY17" fmla="*/ 749617 h 1025842"/>
                <a:gd name="connsiteX18" fmla="*/ 1285875 w 1620202"/>
                <a:gd name="connsiteY18" fmla="*/ 743902 h 1025842"/>
                <a:gd name="connsiteX19" fmla="*/ 1285875 w 1620202"/>
                <a:gd name="connsiteY19" fmla="*/ 740092 h 1025842"/>
                <a:gd name="connsiteX20" fmla="*/ 1401127 w 1620202"/>
                <a:gd name="connsiteY20" fmla="*/ 740092 h 1025842"/>
                <a:gd name="connsiteX21" fmla="*/ 1411605 w 1620202"/>
                <a:gd name="connsiteY21" fmla="*/ 708660 h 1025842"/>
                <a:gd name="connsiteX22" fmla="*/ 1286827 w 1620202"/>
                <a:gd name="connsiteY22" fmla="*/ 708660 h 1025842"/>
                <a:gd name="connsiteX23" fmla="*/ 1363980 w 1620202"/>
                <a:gd name="connsiteY23" fmla="*/ 645795 h 1025842"/>
                <a:gd name="connsiteX24" fmla="*/ 1428750 w 1620202"/>
                <a:gd name="connsiteY24" fmla="*/ 663892 h 1025842"/>
                <a:gd name="connsiteX25" fmla="*/ 1446847 w 1620202"/>
                <a:gd name="connsiteY25" fmla="*/ 614362 h 1025842"/>
                <a:gd name="connsiteX26" fmla="*/ 107632 w 1620202"/>
                <a:gd name="connsiteY26" fmla="*/ 0 h 1025842"/>
                <a:gd name="connsiteX27" fmla="*/ 1511617 w 1620202"/>
                <a:gd name="connsiteY27" fmla="*/ 0 h 1025842"/>
                <a:gd name="connsiteX28" fmla="*/ 1620202 w 1620202"/>
                <a:gd name="connsiteY28" fmla="*/ 107632 h 1025842"/>
                <a:gd name="connsiteX29" fmla="*/ 1619250 w 1620202"/>
                <a:gd name="connsiteY29" fmla="*/ 918210 h 1025842"/>
                <a:gd name="connsiteX30" fmla="*/ 1511617 w 1620202"/>
                <a:gd name="connsiteY30" fmla="*/ 1025842 h 1025842"/>
                <a:gd name="connsiteX31" fmla="*/ 107632 w 1620202"/>
                <a:gd name="connsiteY31" fmla="*/ 1025842 h 1025842"/>
                <a:gd name="connsiteX32" fmla="*/ 0 w 1620202"/>
                <a:gd name="connsiteY32" fmla="*/ 918210 h 1025842"/>
                <a:gd name="connsiteX33" fmla="*/ 0 w 1620202"/>
                <a:gd name="connsiteY33" fmla="*/ 107632 h 1025842"/>
                <a:gd name="connsiteX34" fmla="*/ 107632 w 1620202"/>
                <a:gd name="connsiteY34" fmla="*/ 0 h 1025842"/>
                <a:gd name="connsiteX0" fmla="*/ 1446847 w 1620202"/>
                <a:gd name="connsiteY0" fmla="*/ 614362 h 1025842"/>
                <a:gd name="connsiteX1" fmla="*/ 1221105 w 1620202"/>
                <a:gd name="connsiteY1" fmla="*/ 709612 h 1025842"/>
                <a:gd name="connsiteX2" fmla="*/ 1176337 w 1620202"/>
                <a:gd name="connsiteY2" fmla="*/ 741045 h 1025842"/>
                <a:gd name="connsiteX3" fmla="*/ 1217295 w 1620202"/>
                <a:gd name="connsiteY3" fmla="*/ 741045 h 1025842"/>
                <a:gd name="connsiteX4" fmla="*/ 1217295 w 1620202"/>
                <a:gd name="connsiteY4" fmla="*/ 756285 h 1025842"/>
                <a:gd name="connsiteX5" fmla="*/ 1218247 w 1620202"/>
                <a:gd name="connsiteY5" fmla="*/ 765810 h 1025842"/>
                <a:gd name="connsiteX6" fmla="*/ 1177290 w 1620202"/>
                <a:gd name="connsiteY6" fmla="*/ 797242 h 1025842"/>
                <a:gd name="connsiteX7" fmla="*/ 1222057 w 1620202"/>
                <a:gd name="connsiteY7" fmla="*/ 797242 h 1025842"/>
                <a:gd name="connsiteX8" fmla="*/ 1359217 w 1620202"/>
                <a:gd name="connsiteY8" fmla="*/ 903922 h 1025842"/>
                <a:gd name="connsiteX9" fmla="*/ 1446847 w 1620202"/>
                <a:gd name="connsiteY9" fmla="*/ 887730 h 1025842"/>
                <a:gd name="connsiteX10" fmla="*/ 1432560 w 1620202"/>
                <a:gd name="connsiteY10" fmla="*/ 836295 h 1025842"/>
                <a:gd name="connsiteX11" fmla="*/ 1369695 w 1620202"/>
                <a:gd name="connsiteY11" fmla="*/ 853440 h 1025842"/>
                <a:gd name="connsiteX12" fmla="*/ 1292542 w 1620202"/>
                <a:gd name="connsiteY12" fmla="*/ 797242 h 1025842"/>
                <a:gd name="connsiteX13" fmla="*/ 1382077 w 1620202"/>
                <a:gd name="connsiteY13" fmla="*/ 797242 h 1025842"/>
                <a:gd name="connsiteX14" fmla="*/ 1393507 w 1620202"/>
                <a:gd name="connsiteY14" fmla="*/ 765810 h 1025842"/>
                <a:gd name="connsiteX15" fmla="*/ 1286827 w 1620202"/>
                <a:gd name="connsiteY15" fmla="*/ 765810 h 1025842"/>
                <a:gd name="connsiteX16" fmla="*/ 1285875 w 1620202"/>
                <a:gd name="connsiteY16" fmla="*/ 749617 h 1025842"/>
                <a:gd name="connsiteX17" fmla="*/ 1285875 w 1620202"/>
                <a:gd name="connsiteY17" fmla="*/ 743902 h 1025842"/>
                <a:gd name="connsiteX18" fmla="*/ 1285875 w 1620202"/>
                <a:gd name="connsiteY18" fmla="*/ 740092 h 1025842"/>
                <a:gd name="connsiteX19" fmla="*/ 1401127 w 1620202"/>
                <a:gd name="connsiteY19" fmla="*/ 740092 h 1025842"/>
                <a:gd name="connsiteX20" fmla="*/ 1411605 w 1620202"/>
                <a:gd name="connsiteY20" fmla="*/ 708660 h 1025842"/>
                <a:gd name="connsiteX21" fmla="*/ 1286827 w 1620202"/>
                <a:gd name="connsiteY21" fmla="*/ 708660 h 1025842"/>
                <a:gd name="connsiteX22" fmla="*/ 1363980 w 1620202"/>
                <a:gd name="connsiteY22" fmla="*/ 645795 h 1025842"/>
                <a:gd name="connsiteX23" fmla="*/ 1428750 w 1620202"/>
                <a:gd name="connsiteY23" fmla="*/ 663892 h 1025842"/>
                <a:gd name="connsiteX24" fmla="*/ 1446847 w 1620202"/>
                <a:gd name="connsiteY24" fmla="*/ 614362 h 1025842"/>
                <a:gd name="connsiteX25" fmla="*/ 107632 w 1620202"/>
                <a:gd name="connsiteY25" fmla="*/ 0 h 1025842"/>
                <a:gd name="connsiteX26" fmla="*/ 1511617 w 1620202"/>
                <a:gd name="connsiteY26" fmla="*/ 0 h 1025842"/>
                <a:gd name="connsiteX27" fmla="*/ 1620202 w 1620202"/>
                <a:gd name="connsiteY27" fmla="*/ 107632 h 1025842"/>
                <a:gd name="connsiteX28" fmla="*/ 1619250 w 1620202"/>
                <a:gd name="connsiteY28" fmla="*/ 918210 h 1025842"/>
                <a:gd name="connsiteX29" fmla="*/ 1511617 w 1620202"/>
                <a:gd name="connsiteY29" fmla="*/ 1025842 h 1025842"/>
                <a:gd name="connsiteX30" fmla="*/ 107632 w 1620202"/>
                <a:gd name="connsiteY30" fmla="*/ 1025842 h 1025842"/>
                <a:gd name="connsiteX31" fmla="*/ 0 w 1620202"/>
                <a:gd name="connsiteY31" fmla="*/ 918210 h 1025842"/>
                <a:gd name="connsiteX32" fmla="*/ 0 w 1620202"/>
                <a:gd name="connsiteY32" fmla="*/ 107632 h 1025842"/>
                <a:gd name="connsiteX33" fmla="*/ 107632 w 1620202"/>
                <a:gd name="connsiteY33" fmla="*/ 0 h 1025842"/>
                <a:gd name="connsiteX0" fmla="*/ 1446847 w 1620202"/>
                <a:gd name="connsiteY0" fmla="*/ 614362 h 1025842"/>
                <a:gd name="connsiteX1" fmla="*/ 1221105 w 1620202"/>
                <a:gd name="connsiteY1" fmla="*/ 709612 h 1025842"/>
                <a:gd name="connsiteX2" fmla="*/ 1176337 w 1620202"/>
                <a:gd name="connsiteY2" fmla="*/ 741045 h 1025842"/>
                <a:gd name="connsiteX3" fmla="*/ 1217295 w 1620202"/>
                <a:gd name="connsiteY3" fmla="*/ 741045 h 1025842"/>
                <a:gd name="connsiteX4" fmla="*/ 1218247 w 1620202"/>
                <a:gd name="connsiteY4" fmla="*/ 765810 h 1025842"/>
                <a:gd name="connsiteX5" fmla="*/ 1177290 w 1620202"/>
                <a:gd name="connsiteY5" fmla="*/ 797242 h 1025842"/>
                <a:gd name="connsiteX6" fmla="*/ 1222057 w 1620202"/>
                <a:gd name="connsiteY6" fmla="*/ 797242 h 1025842"/>
                <a:gd name="connsiteX7" fmla="*/ 1359217 w 1620202"/>
                <a:gd name="connsiteY7" fmla="*/ 903922 h 1025842"/>
                <a:gd name="connsiteX8" fmla="*/ 1446847 w 1620202"/>
                <a:gd name="connsiteY8" fmla="*/ 887730 h 1025842"/>
                <a:gd name="connsiteX9" fmla="*/ 1432560 w 1620202"/>
                <a:gd name="connsiteY9" fmla="*/ 836295 h 1025842"/>
                <a:gd name="connsiteX10" fmla="*/ 1369695 w 1620202"/>
                <a:gd name="connsiteY10" fmla="*/ 853440 h 1025842"/>
                <a:gd name="connsiteX11" fmla="*/ 1292542 w 1620202"/>
                <a:gd name="connsiteY11" fmla="*/ 797242 h 1025842"/>
                <a:gd name="connsiteX12" fmla="*/ 1382077 w 1620202"/>
                <a:gd name="connsiteY12" fmla="*/ 797242 h 1025842"/>
                <a:gd name="connsiteX13" fmla="*/ 1393507 w 1620202"/>
                <a:gd name="connsiteY13" fmla="*/ 765810 h 1025842"/>
                <a:gd name="connsiteX14" fmla="*/ 1286827 w 1620202"/>
                <a:gd name="connsiteY14" fmla="*/ 765810 h 1025842"/>
                <a:gd name="connsiteX15" fmla="*/ 1285875 w 1620202"/>
                <a:gd name="connsiteY15" fmla="*/ 749617 h 1025842"/>
                <a:gd name="connsiteX16" fmla="*/ 1285875 w 1620202"/>
                <a:gd name="connsiteY16" fmla="*/ 743902 h 1025842"/>
                <a:gd name="connsiteX17" fmla="*/ 1285875 w 1620202"/>
                <a:gd name="connsiteY17" fmla="*/ 740092 h 1025842"/>
                <a:gd name="connsiteX18" fmla="*/ 1401127 w 1620202"/>
                <a:gd name="connsiteY18" fmla="*/ 740092 h 1025842"/>
                <a:gd name="connsiteX19" fmla="*/ 1411605 w 1620202"/>
                <a:gd name="connsiteY19" fmla="*/ 708660 h 1025842"/>
                <a:gd name="connsiteX20" fmla="*/ 1286827 w 1620202"/>
                <a:gd name="connsiteY20" fmla="*/ 708660 h 1025842"/>
                <a:gd name="connsiteX21" fmla="*/ 1363980 w 1620202"/>
                <a:gd name="connsiteY21" fmla="*/ 645795 h 1025842"/>
                <a:gd name="connsiteX22" fmla="*/ 1428750 w 1620202"/>
                <a:gd name="connsiteY22" fmla="*/ 663892 h 1025842"/>
                <a:gd name="connsiteX23" fmla="*/ 1446847 w 1620202"/>
                <a:gd name="connsiteY23" fmla="*/ 614362 h 1025842"/>
                <a:gd name="connsiteX24" fmla="*/ 107632 w 1620202"/>
                <a:gd name="connsiteY24" fmla="*/ 0 h 1025842"/>
                <a:gd name="connsiteX25" fmla="*/ 1511617 w 1620202"/>
                <a:gd name="connsiteY25" fmla="*/ 0 h 1025842"/>
                <a:gd name="connsiteX26" fmla="*/ 1620202 w 1620202"/>
                <a:gd name="connsiteY26" fmla="*/ 107632 h 1025842"/>
                <a:gd name="connsiteX27" fmla="*/ 1619250 w 1620202"/>
                <a:gd name="connsiteY27" fmla="*/ 918210 h 1025842"/>
                <a:gd name="connsiteX28" fmla="*/ 1511617 w 1620202"/>
                <a:gd name="connsiteY28" fmla="*/ 1025842 h 1025842"/>
                <a:gd name="connsiteX29" fmla="*/ 107632 w 1620202"/>
                <a:gd name="connsiteY29" fmla="*/ 1025842 h 1025842"/>
                <a:gd name="connsiteX30" fmla="*/ 0 w 1620202"/>
                <a:gd name="connsiteY30" fmla="*/ 918210 h 1025842"/>
                <a:gd name="connsiteX31" fmla="*/ 0 w 1620202"/>
                <a:gd name="connsiteY31" fmla="*/ 107632 h 1025842"/>
                <a:gd name="connsiteX32" fmla="*/ 107632 w 1620202"/>
                <a:gd name="connsiteY32" fmla="*/ 0 h 1025842"/>
                <a:gd name="connsiteX0" fmla="*/ 1446847 w 1620202"/>
                <a:gd name="connsiteY0" fmla="*/ 614362 h 1025842"/>
                <a:gd name="connsiteX1" fmla="*/ 1176337 w 1620202"/>
                <a:gd name="connsiteY1" fmla="*/ 741045 h 1025842"/>
                <a:gd name="connsiteX2" fmla="*/ 1217295 w 1620202"/>
                <a:gd name="connsiteY2" fmla="*/ 741045 h 1025842"/>
                <a:gd name="connsiteX3" fmla="*/ 1218247 w 1620202"/>
                <a:gd name="connsiteY3" fmla="*/ 765810 h 1025842"/>
                <a:gd name="connsiteX4" fmla="*/ 1177290 w 1620202"/>
                <a:gd name="connsiteY4" fmla="*/ 797242 h 1025842"/>
                <a:gd name="connsiteX5" fmla="*/ 1222057 w 1620202"/>
                <a:gd name="connsiteY5" fmla="*/ 797242 h 1025842"/>
                <a:gd name="connsiteX6" fmla="*/ 1359217 w 1620202"/>
                <a:gd name="connsiteY6" fmla="*/ 903922 h 1025842"/>
                <a:gd name="connsiteX7" fmla="*/ 1446847 w 1620202"/>
                <a:gd name="connsiteY7" fmla="*/ 887730 h 1025842"/>
                <a:gd name="connsiteX8" fmla="*/ 1432560 w 1620202"/>
                <a:gd name="connsiteY8" fmla="*/ 836295 h 1025842"/>
                <a:gd name="connsiteX9" fmla="*/ 1369695 w 1620202"/>
                <a:gd name="connsiteY9" fmla="*/ 853440 h 1025842"/>
                <a:gd name="connsiteX10" fmla="*/ 1292542 w 1620202"/>
                <a:gd name="connsiteY10" fmla="*/ 797242 h 1025842"/>
                <a:gd name="connsiteX11" fmla="*/ 1382077 w 1620202"/>
                <a:gd name="connsiteY11" fmla="*/ 797242 h 1025842"/>
                <a:gd name="connsiteX12" fmla="*/ 1393507 w 1620202"/>
                <a:gd name="connsiteY12" fmla="*/ 765810 h 1025842"/>
                <a:gd name="connsiteX13" fmla="*/ 1286827 w 1620202"/>
                <a:gd name="connsiteY13" fmla="*/ 765810 h 1025842"/>
                <a:gd name="connsiteX14" fmla="*/ 1285875 w 1620202"/>
                <a:gd name="connsiteY14" fmla="*/ 749617 h 1025842"/>
                <a:gd name="connsiteX15" fmla="*/ 1285875 w 1620202"/>
                <a:gd name="connsiteY15" fmla="*/ 743902 h 1025842"/>
                <a:gd name="connsiteX16" fmla="*/ 1285875 w 1620202"/>
                <a:gd name="connsiteY16" fmla="*/ 740092 h 1025842"/>
                <a:gd name="connsiteX17" fmla="*/ 1401127 w 1620202"/>
                <a:gd name="connsiteY17" fmla="*/ 740092 h 1025842"/>
                <a:gd name="connsiteX18" fmla="*/ 1411605 w 1620202"/>
                <a:gd name="connsiteY18" fmla="*/ 708660 h 1025842"/>
                <a:gd name="connsiteX19" fmla="*/ 1286827 w 1620202"/>
                <a:gd name="connsiteY19" fmla="*/ 708660 h 1025842"/>
                <a:gd name="connsiteX20" fmla="*/ 1363980 w 1620202"/>
                <a:gd name="connsiteY20" fmla="*/ 645795 h 1025842"/>
                <a:gd name="connsiteX21" fmla="*/ 1428750 w 1620202"/>
                <a:gd name="connsiteY21" fmla="*/ 663892 h 1025842"/>
                <a:gd name="connsiteX22" fmla="*/ 1446847 w 1620202"/>
                <a:gd name="connsiteY22" fmla="*/ 614362 h 1025842"/>
                <a:gd name="connsiteX23" fmla="*/ 107632 w 1620202"/>
                <a:gd name="connsiteY23" fmla="*/ 0 h 1025842"/>
                <a:gd name="connsiteX24" fmla="*/ 1511617 w 1620202"/>
                <a:gd name="connsiteY24" fmla="*/ 0 h 1025842"/>
                <a:gd name="connsiteX25" fmla="*/ 1620202 w 1620202"/>
                <a:gd name="connsiteY25" fmla="*/ 107632 h 1025842"/>
                <a:gd name="connsiteX26" fmla="*/ 1619250 w 1620202"/>
                <a:gd name="connsiteY26" fmla="*/ 918210 h 1025842"/>
                <a:gd name="connsiteX27" fmla="*/ 1511617 w 1620202"/>
                <a:gd name="connsiteY27" fmla="*/ 1025842 h 1025842"/>
                <a:gd name="connsiteX28" fmla="*/ 107632 w 1620202"/>
                <a:gd name="connsiteY28" fmla="*/ 1025842 h 1025842"/>
                <a:gd name="connsiteX29" fmla="*/ 0 w 1620202"/>
                <a:gd name="connsiteY29" fmla="*/ 918210 h 1025842"/>
                <a:gd name="connsiteX30" fmla="*/ 0 w 1620202"/>
                <a:gd name="connsiteY30" fmla="*/ 107632 h 1025842"/>
                <a:gd name="connsiteX31" fmla="*/ 107632 w 1620202"/>
                <a:gd name="connsiteY31" fmla="*/ 0 h 1025842"/>
                <a:gd name="connsiteX0" fmla="*/ 1446847 w 1620202"/>
                <a:gd name="connsiteY0" fmla="*/ 614362 h 1025842"/>
                <a:gd name="connsiteX1" fmla="*/ 1217295 w 1620202"/>
                <a:gd name="connsiteY1" fmla="*/ 741045 h 1025842"/>
                <a:gd name="connsiteX2" fmla="*/ 1218247 w 1620202"/>
                <a:gd name="connsiteY2" fmla="*/ 765810 h 1025842"/>
                <a:gd name="connsiteX3" fmla="*/ 1177290 w 1620202"/>
                <a:gd name="connsiteY3" fmla="*/ 797242 h 1025842"/>
                <a:gd name="connsiteX4" fmla="*/ 1222057 w 1620202"/>
                <a:gd name="connsiteY4" fmla="*/ 797242 h 1025842"/>
                <a:gd name="connsiteX5" fmla="*/ 1359217 w 1620202"/>
                <a:gd name="connsiteY5" fmla="*/ 903922 h 1025842"/>
                <a:gd name="connsiteX6" fmla="*/ 1446847 w 1620202"/>
                <a:gd name="connsiteY6" fmla="*/ 887730 h 1025842"/>
                <a:gd name="connsiteX7" fmla="*/ 1432560 w 1620202"/>
                <a:gd name="connsiteY7" fmla="*/ 836295 h 1025842"/>
                <a:gd name="connsiteX8" fmla="*/ 1369695 w 1620202"/>
                <a:gd name="connsiteY8" fmla="*/ 853440 h 1025842"/>
                <a:gd name="connsiteX9" fmla="*/ 1292542 w 1620202"/>
                <a:gd name="connsiteY9" fmla="*/ 797242 h 1025842"/>
                <a:gd name="connsiteX10" fmla="*/ 1382077 w 1620202"/>
                <a:gd name="connsiteY10" fmla="*/ 797242 h 1025842"/>
                <a:gd name="connsiteX11" fmla="*/ 1393507 w 1620202"/>
                <a:gd name="connsiteY11" fmla="*/ 765810 h 1025842"/>
                <a:gd name="connsiteX12" fmla="*/ 1286827 w 1620202"/>
                <a:gd name="connsiteY12" fmla="*/ 765810 h 1025842"/>
                <a:gd name="connsiteX13" fmla="*/ 1285875 w 1620202"/>
                <a:gd name="connsiteY13" fmla="*/ 749617 h 1025842"/>
                <a:gd name="connsiteX14" fmla="*/ 1285875 w 1620202"/>
                <a:gd name="connsiteY14" fmla="*/ 743902 h 1025842"/>
                <a:gd name="connsiteX15" fmla="*/ 1285875 w 1620202"/>
                <a:gd name="connsiteY15" fmla="*/ 740092 h 1025842"/>
                <a:gd name="connsiteX16" fmla="*/ 1401127 w 1620202"/>
                <a:gd name="connsiteY16" fmla="*/ 740092 h 1025842"/>
                <a:gd name="connsiteX17" fmla="*/ 1411605 w 1620202"/>
                <a:gd name="connsiteY17" fmla="*/ 708660 h 1025842"/>
                <a:gd name="connsiteX18" fmla="*/ 1286827 w 1620202"/>
                <a:gd name="connsiteY18" fmla="*/ 708660 h 1025842"/>
                <a:gd name="connsiteX19" fmla="*/ 1363980 w 1620202"/>
                <a:gd name="connsiteY19" fmla="*/ 645795 h 1025842"/>
                <a:gd name="connsiteX20" fmla="*/ 1428750 w 1620202"/>
                <a:gd name="connsiteY20" fmla="*/ 663892 h 1025842"/>
                <a:gd name="connsiteX21" fmla="*/ 1446847 w 1620202"/>
                <a:gd name="connsiteY21" fmla="*/ 614362 h 1025842"/>
                <a:gd name="connsiteX22" fmla="*/ 107632 w 1620202"/>
                <a:gd name="connsiteY22" fmla="*/ 0 h 1025842"/>
                <a:gd name="connsiteX23" fmla="*/ 1511617 w 1620202"/>
                <a:gd name="connsiteY23" fmla="*/ 0 h 1025842"/>
                <a:gd name="connsiteX24" fmla="*/ 1620202 w 1620202"/>
                <a:gd name="connsiteY24" fmla="*/ 107632 h 1025842"/>
                <a:gd name="connsiteX25" fmla="*/ 1619250 w 1620202"/>
                <a:gd name="connsiteY25" fmla="*/ 918210 h 1025842"/>
                <a:gd name="connsiteX26" fmla="*/ 1511617 w 1620202"/>
                <a:gd name="connsiteY26" fmla="*/ 1025842 h 1025842"/>
                <a:gd name="connsiteX27" fmla="*/ 107632 w 1620202"/>
                <a:gd name="connsiteY27" fmla="*/ 1025842 h 1025842"/>
                <a:gd name="connsiteX28" fmla="*/ 0 w 1620202"/>
                <a:gd name="connsiteY28" fmla="*/ 918210 h 1025842"/>
                <a:gd name="connsiteX29" fmla="*/ 0 w 1620202"/>
                <a:gd name="connsiteY29" fmla="*/ 107632 h 1025842"/>
                <a:gd name="connsiteX30" fmla="*/ 107632 w 1620202"/>
                <a:gd name="connsiteY30" fmla="*/ 0 h 1025842"/>
                <a:gd name="connsiteX0" fmla="*/ 1446847 w 1620202"/>
                <a:gd name="connsiteY0" fmla="*/ 614362 h 1025842"/>
                <a:gd name="connsiteX1" fmla="*/ 1217295 w 1620202"/>
                <a:gd name="connsiteY1" fmla="*/ 741045 h 1025842"/>
                <a:gd name="connsiteX2" fmla="*/ 1177290 w 1620202"/>
                <a:gd name="connsiteY2" fmla="*/ 797242 h 1025842"/>
                <a:gd name="connsiteX3" fmla="*/ 1222057 w 1620202"/>
                <a:gd name="connsiteY3" fmla="*/ 797242 h 1025842"/>
                <a:gd name="connsiteX4" fmla="*/ 1359217 w 1620202"/>
                <a:gd name="connsiteY4" fmla="*/ 903922 h 1025842"/>
                <a:gd name="connsiteX5" fmla="*/ 1446847 w 1620202"/>
                <a:gd name="connsiteY5" fmla="*/ 887730 h 1025842"/>
                <a:gd name="connsiteX6" fmla="*/ 1432560 w 1620202"/>
                <a:gd name="connsiteY6" fmla="*/ 836295 h 1025842"/>
                <a:gd name="connsiteX7" fmla="*/ 1369695 w 1620202"/>
                <a:gd name="connsiteY7" fmla="*/ 853440 h 1025842"/>
                <a:gd name="connsiteX8" fmla="*/ 1292542 w 1620202"/>
                <a:gd name="connsiteY8" fmla="*/ 797242 h 1025842"/>
                <a:gd name="connsiteX9" fmla="*/ 1382077 w 1620202"/>
                <a:gd name="connsiteY9" fmla="*/ 797242 h 1025842"/>
                <a:gd name="connsiteX10" fmla="*/ 1393507 w 1620202"/>
                <a:gd name="connsiteY10" fmla="*/ 765810 h 1025842"/>
                <a:gd name="connsiteX11" fmla="*/ 1286827 w 1620202"/>
                <a:gd name="connsiteY11" fmla="*/ 765810 h 1025842"/>
                <a:gd name="connsiteX12" fmla="*/ 1285875 w 1620202"/>
                <a:gd name="connsiteY12" fmla="*/ 749617 h 1025842"/>
                <a:gd name="connsiteX13" fmla="*/ 1285875 w 1620202"/>
                <a:gd name="connsiteY13" fmla="*/ 743902 h 1025842"/>
                <a:gd name="connsiteX14" fmla="*/ 1285875 w 1620202"/>
                <a:gd name="connsiteY14" fmla="*/ 740092 h 1025842"/>
                <a:gd name="connsiteX15" fmla="*/ 1401127 w 1620202"/>
                <a:gd name="connsiteY15" fmla="*/ 740092 h 1025842"/>
                <a:gd name="connsiteX16" fmla="*/ 1411605 w 1620202"/>
                <a:gd name="connsiteY16" fmla="*/ 708660 h 1025842"/>
                <a:gd name="connsiteX17" fmla="*/ 1286827 w 1620202"/>
                <a:gd name="connsiteY17" fmla="*/ 708660 h 1025842"/>
                <a:gd name="connsiteX18" fmla="*/ 1363980 w 1620202"/>
                <a:gd name="connsiteY18" fmla="*/ 645795 h 1025842"/>
                <a:gd name="connsiteX19" fmla="*/ 1428750 w 1620202"/>
                <a:gd name="connsiteY19" fmla="*/ 663892 h 1025842"/>
                <a:gd name="connsiteX20" fmla="*/ 1446847 w 1620202"/>
                <a:gd name="connsiteY20" fmla="*/ 614362 h 1025842"/>
                <a:gd name="connsiteX21" fmla="*/ 107632 w 1620202"/>
                <a:gd name="connsiteY21" fmla="*/ 0 h 1025842"/>
                <a:gd name="connsiteX22" fmla="*/ 1511617 w 1620202"/>
                <a:gd name="connsiteY22" fmla="*/ 0 h 1025842"/>
                <a:gd name="connsiteX23" fmla="*/ 1620202 w 1620202"/>
                <a:gd name="connsiteY23" fmla="*/ 107632 h 1025842"/>
                <a:gd name="connsiteX24" fmla="*/ 1619250 w 1620202"/>
                <a:gd name="connsiteY24" fmla="*/ 918210 h 1025842"/>
                <a:gd name="connsiteX25" fmla="*/ 1511617 w 1620202"/>
                <a:gd name="connsiteY25" fmla="*/ 1025842 h 1025842"/>
                <a:gd name="connsiteX26" fmla="*/ 107632 w 1620202"/>
                <a:gd name="connsiteY26" fmla="*/ 1025842 h 1025842"/>
                <a:gd name="connsiteX27" fmla="*/ 0 w 1620202"/>
                <a:gd name="connsiteY27" fmla="*/ 918210 h 1025842"/>
                <a:gd name="connsiteX28" fmla="*/ 0 w 1620202"/>
                <a:gd name="connsiteY28" fmla="*/ 107632 h 1025842"/>
                <a:gd name="connsiteX29" fmla="*/ 107632 w 1620202"/>
                <a:gd name="connsiteY29" fmla="*/ 0 h 1025842"/>
                <a:gd name="connsiteX0" fmla="*/ 1446847 w 1620202"/>
                <a:gd name="connsiteY0" fmla="*/ 614362 h 1025842"/>
                <a:gd name="connsiteX1" fmla="*/ 1217295 w 1620202"/>
                <a:gd name="connsiteY1" fmla="*/ 741045 h 1025842"/>
                <a:gd name="connsiteX2" fmla="*/ 1222057 w 1620202"/>
                <a:gd name="connsiteY2" fmla="*/ 797242 h 1025842"/>
                <a:gd name="connsiteX3" fmla="*/ 1359217 w 1620202"/>
                <a:gd name="connsiteY3" fmla="*/ 903922 h 1025842"/>
                <a:gd name="connsiteX4" fmla="*/ 1446847 w 1620202"/>
                <a:gd name="connsiteY4" fmla="*/ 887730 h 1025842"/>
                <a:gd name="connsiteX5" fmla="*/ 1432560 w 1620202"/>
                <a:gd name="connsiteY5" fmla="*/ 836295 h 1025842"/>
                <a:gd name="connsiteX6" fmla="*/ 1369695 w 1620202"/>
                <a:gd name="connsiteY6" fmla="*/ 853440 h 1025842"/>
                <a:gd name="connsiteX7" fmla="*/ 1292542 w 1620202"/>
                <a:gd name="connsiteY7" fmla="*/ 797242 h 1025842"/>
                <a:gd name="connsiteX8" fmla="*/ 1382077 w 1620202"/>
                <a:gd name="connsiteY8" fmla="*/ 797242 h 1025842"/>
                <a:gd name="connsiteX9" fmla="*/ 1393507 w 1620202"/>
                <a:gd name="connsiteY9" fmla="*/ 765810 h 1025842"/>
                <a:gd name="connsiteX10" fmla="*/ 1286827 w 1620202"/>
                <a:gd name="connsiteY10" fmla="*/ 765810 h 1025842"/>
                <a:gd name="connsiteX11" fmla="*/ 1285875 w 1620202"/>
                <a:gd name="connsiteY11" fmla="*/ 749617 h 1025842"/>
                <a:gd name="connsiteX12" fmla="*/ 1285875 w 1620202"/>
                <a:gd name="connsiteY12" fmla="*/ 743902 h 1025842"/>
                <a:gd name="connsiteX13" fmla="*/ 1285875 w 1620202"/>
                <a:gd name="connsiteY13" fmla="*/ 740092 h 1025842"/>
                <a:gd name="connsiteX14" fmla="*/ 1401127 w 1620202"/>
                <a:gd name="connsiteY14" fmla="*/ 740092 h 1025842"/>
                <a:gd name="connsiteX15" fmla="*/ 1411605 w 1620202"/>
                <a:gd name="connsiteY15" fmla="*/ 708660 h 1025842"/>
                <a:gd name="connsiteX16" fmla="*/ 1286827 w 1620202"/>
                <a:gd name="connsiteY16" fmla="*/ 708660 h 1025842"/>
                <a:gd name="connsiteX17" fmla="*/ 1363980 w 1620202"/>
                <a:gd name="connsiteY17" fmla="*/ 645795 h 1025842"/>
                <a:gd name="connsiteX18" fmla="*/ 1428750 w 1620202"/>
                <a:gd name="connsiteY18" fmla="*/ 663892 h 1025842"/>
                <a:gd name="connsiteX19" fmla="*/ 1446847 w 1620202"/>
                <a:gd name="connsiteY19" fmla="*/ 614362 h 1025842"/>
                <a:gd name="connsiteX20" fmla="*/ 107632 w 1620202"/>
                <a:gd name="connsiteY20" fmla="*/ 0 h 1025842"/>
                <a:gd name="connsiteX21" fmla="*/ 1511617 w 1620202"/>
                <a:gd name="connsiteY21" fmla="*/ 0 h 1025842"/>
                <a:gd name="connsiteX22" fmla="*/ 1620202 w 1620202"/>
                <a:gd name="connsiteY22" fmla="*/ 107632 h 1025842"/>
                <a:gd name="connsiteX23" fmla="*/ 1619250 w 1620202"/>
                <a:gd name="connsiteY23" fmla="*/ 918210 h 1025842"/>
                <a:gd name="connsiteX24" fmla="*/ 1511617 w 1620202"/>
                <a:gd name="connsiteY24" fmla="*/ 1025842 h 1025842"/>
                <a:gd name="connsiteX25" fmla="*/ 107632 w 1620202"/>
                <a:gd name="connsiteY25" fmla="*/ 1025842 h 1025842"/>
                <a:gd name="connsiteX26" fmla="*/ 0 w 1620202"/>
                <a:gd name="connsiteY26" fmla="*/ 918210 h 1025842"/>
                <a:gd name="connsiteX27" fmla="*/ 0 w 1620202"/>
                <a:gd name="connsiteY27" fmla="*/ 107632 h 1025842"/>
                <a:gd name="connsiteX28" fmla="*/ 107632 w 1620202"/>
                <a:gd name="connsiteY28" fmla="*/ 0 h 1025842"/>
                <a:gd name="connsiteX0" fmla="*/ 1446847 w 1620202"/>
                <a:gd name="connsiteY0" fmla="*/ 614362 h 1025842"/>
                <a:gd name="connsiteX1" fmla="*/ 1217295 w 1620202"/>
                <a:gd name="connsiteY1" fmla="*/ 741045 h 1025842"/>
                <a:gd name="connsiteX2" fmla="*/ 1359217 w 1620202"/>
                <a:gd name="connsiteY2" fmla="*/ 903922 h 1025842"/>
                <a:gd name="connsiteX3" fmla="*/ 1446847 w 1620202"/>
                <a:gd name="connsiteY3" fmla="*/ 887730 h 1025842"/>
                <a:gd name="connsiteX4" fmla="*/ 1432560 w 1620202"/>
                <a:gd name="connsiteY4" fmla="*/ 836295 h 1025842"/>
                <a:gd name="connsiteX5" fmla="*/ 1369695 w 1620202"/>
                <a:gd name="connsiteY5" fmla="*/ 853440 h 1025842"/>
                <a:gd name="connsiteX6" fmla="*/ 1292542 w 1620202"/>
                <a:gd name="connsiteY6" fmla="*/ 797242 h 1025842"/>
                <a:gd name="connsiteX7" fmla="*/ 1382077 w 1620202"/>
                <a:gd name="connsiteY7" fmla="*/ 797242 h 1025842"/>
                <a:gd name="connsiteX8" fmla="*/ 1393507 w 1620202"/>
                <a:gd name="connsiteY8" fmla="*/ 765810 h 1025842"/>
                <a:gd name="connsiteX9" fmla="*/ 1286827 w 1620202"/>
                <a:gd name="connsiteY9" fmla="*/ 765810 h 1025842"/>
                <a:gd name="connsiteX10" fmla="*/ 1285875 w 1620202"/>
                <a:gd name="connsiteY10" fmla="*/ 749617 h 1025842"/>
                <a:gd name="connsiteX11" fmla="*/ 1285875 w 1620202"/>
                <a:gd name="connsiteY11" fmla="*/ 743902 h 1025842"/>
                <a:gd name="connsiteX12" fmla="*/ 1285875 w 1620202"/>
                <a:gd name="connsiteY12" fmla="*/ 740092 h 1025842"/>
                <a:gd name="connsiteX13" fmla="*/ 1401127 w 1620202"/>
                <a:gd name="connsiteY13" fmla="*/ 740092 h 1025842"/>
                <a:gd name="connsiteX14" fmla="*/ 1411605 w 1620202"/>
                <a:gd name="connsiteY14" fmla="*/ 708660 h 1025842"/>
                <a:gd name="connsiteX15" fmla="*/ 1286827 w 1620202"/>
                <a:gd name="connsiteY15" fmla="*/ 708660 h 1025842"/>
                <a:gd name="connsiteX16" fmla="*/ 1363980 w 1620202"/>
                <a:gd name="connsiteY16" fmla="*/ 645795 h 1025842"/>
                <a:gd name="connsiteX17" fmla="*/ 1428750 w 1620202"/>
                <a:gd name="connsiteY17" fmla="*/ 663892 h 1025842"/>
                <a:gd name="connsiteX18" fmla="*/ 1446847 w 1620202"/>
                <a:gd name="connsiteY18" fmla="*/ 614362 h 1025842"/>
                <a:gd name="connsiteX19" fmla="*/ 107632 w 1620202"/>
                <a:gd name="connsiteY19" fmla="*/ 0 h 1025842"/>
                <a:gd name="connsiteX20" fmla="*/ 1511617 w 1620202"/>
                <a:gd name="connsiteY20" fmla="*/ 0 h 1025842"/>
                <a:gd name="connsiteX21" fmla="*/ 1620202 w 1620202"/>
                <a:gd name="connsiteY21" fmla="*/ 107632 h 1025842"/>
                <a:gd name="connsiteX22" fmla="*/ 1619250 w 1620202"/>
                <a:gd name="connsiteY22" fmla="*/ 918210 h 1025842"/>
                <a:gd name="connsiteX23" fmla="*/ 1511617 w 1620202"/>
                <a:gd name="connsiteY23" fmla="*/ 1025842 h 1025842"/>
                <a:gd name="connsiteX24" fmla="*/ 107632 w 1620202"/>
                <a:gd name="connsiteY24" fmla="*/ 1025842 h 1025842"/>
                <a:gd name="connsiteX25" fmla="*/ 0 w 1620202"/>
                <a:gd name="connsiteY25" fmla="*/ 918210 h 1025842"/>
                <a:gd name="connsiteX26" fmla="*/ 0 w 1620202"/>
                <a:gd name="connsiteY26" fmla="*/ 107632 h 1025842"/>
                <a:gd name="connsiteX27" fmla="*/ 107632 w 1620202"/>
                <a:gd name="connsiteY27" fmla="*/ 0 h 1025842"/>
                <a:gd name="connsiteX0" fmla="*/ 1446847 w 1620202"/>
                <a:gd name="connsiteY0" fmla="*/ 614362 h 1025842"/>
                <a:gd name="connsiteX1" fmla="*/ 1359217 w 1620202"/>
                <a:gd name="connsiteY1" fmla="*/ 903922 h 1025842"/>
                <a:gd name="connsiteX2" fmla="*/ 1446847 w 1620202"/>
                <a:gd name="connsiteY2" fmla="*/ 887730 h 1025842"/>
                <a:gd name="connsiteX3" fmla="*/ 1432560 w 1620202"/>
                <a:gd name="connsiteY3" fmla="*/ 836295 h 1025842"/>
                <a:gd name="connsiteX4" fmla="*/ 1369695 w 1620202"/>
                <a:gd name="connsiteY4" fmla="*/ 853440 h 1025842"/>
                <a:gd name="connsiteX5" fmla="*/ 1292542 w 1620202"/>
                <a:gd name="connsiteY5" fmla="*/ 797242 h 1025842"/>
                <a:gd name="connsiteX6" fmla="*/ 1382077 w 1620202"/>
                <a:gd name="connsiteY6" fmla="*/ 797242 h 1025842"/>
                <a:gd name="connsiteX7" fmla="*/ 1393507 w 1620202"/>
                <a:gd name="connsiteY7" fmla="*/ 765810 h 1025842"/>
                <a:gd name="connsiteX8" fmla="*/ 1286827 w 1620202"/>
                <a:gd name="connsiteY8" fmla="*/ 765810 h 1025842"/>
                <a:gd name="connsiteX9" fmla="*/ 1285875 w 1620202"/>
                <a:gd name="connsiteY9" fmla="*/ 749617 h 1025842"/>
                <a:gd name="connsiteX10" fmla="*/ 1285875 w 1620202"/>
                <a:gd name="connsiteY10" fmla="*/ 743902 h 1025842"/>
                <a:gd name="connsiteX11" fmla="*/ 1285875 w 1620202"/>
                <a:gd name="connsiteY11" fmla="*/ 740092 h 1025842"/>
                <a:gd name="connsiteX12" fmla="*/ 1401127 w 1620202"/>
                <a:gd name="connsiteY12" fmla="*/ 740092 h 1025842"/>
                <a:gd name="connsiteX13" fmla="*/ 1411605 w 1620202"/>
                <a:gd name="connsiteY13" fmla="*/ 708660 h 1025842"/>
                <a:gd name="connsiteX14" fmla="*/ 1286827 w 1620202"/>
                <a:gd name="connsiteY14" fmla="*/ 708660 h 1025842"/>
                <a:gd name="connsiteX15" fmla="*/ 1363980 w 1620202"/>
                <a:gd name="connsiteY15" fmla="*/ 645795 h 1025842"/>
                <a:gd name="connsiteX16" fmla="*/ 1428750 w 1620202"/>
                <a:gd name="connsiteY16" fmla="*/ 663892 h 1025842"/>
                <a:gd name="connsiteX17" fmla="*/ 1446847 w 1620202"/>
                <a:gd name="connsiteY17" fmla="*/ 614362 h 1025842"/>
                <a:gd name="connsiteX18" fmla="*/ 107632 w 1620202"/>
                <a:gd name="connsiteY18" fmla="*/ 0 h 1025842"/>
                <a:gd name="connsiteX19" fmla="*/ 1511617 w 1620202"/>
                <a:gd name="connsiteY19" fmla="*/ 0 h 1025842"/>
                <a:gd name="connsiteX20" fmla="*/ 1620202 w 1620202"/>
                <a:gd name="connsiteY20" fmla="*/ 107632 h 1025842"/>
                <a:gd name="connsiteX21" fmla="*/ 1619250 w 1620202"/>
                <a:gd name="connsiteY21" fmla="*/ 918210 h 1025842"/>
                <a:gd name="connsiteX22" fmla="*/ 1511617 w 1620202"/>
                <a:gd name="connsiteY22" fmla="*/ 1025842 h 1025842"/>
                <a:gd name="connsiteX23" fmla="*/ 107632 w 1620202"/>
                <a:gd name="connsiteY23" fmla="*/ 1025842 h 1025842"/>
                <a:gd name="connsiteX24" fmla="*/ 0 w 1620202"/>
                <a:gd name="connsiteY24" fmla="*/ 918210 h 1025842"/>
                <a:gd name="connsiteX25" fmla="*/ 0 w 1620202"/>
                <a:gd name="connsiteY25" fmla="*/ 107632 h 1025842"/>
                <a:gd name="connsiteX26" fmla="*/ 107632 w 1620202"/>
                <a:gd name="connsiteY26" fmla="*/ 0 h 1025842"/>
                <a:gd name="connsiteX0" fmla="*/ 1446847 w 1620202"/>
                <a:gd name="connsiteY0" fmla="*/ 614362 h 1025842"/>
                <a:gd name="connsiteX1" fmla="*/ 1359217 w 1620202"/>
                <a:gd name="connsiteY1" fmla="*/ 903922 h 1025842"/>
                <a:gd name="connsiteX2" fmla="*/ 1446847 w 1620202"/>
                <a:gd name="connsiteY2" fmla="*/ 887730 h 1025842"/>
                <a:gd name="connsiteX3" fmla="*/ 1432560 w 1620202"/>
                <a:gd name="connsiteY3" fmla="*/ 836295 h 1025842"/>
                <a:gd name="connsiteX4" fmla="*/ 1369695 w 1620202"/>
                <a:gd name="connsiteY4" fmla="*/ 853440 h 1025842"/>
                <a:gd name="connsiteX5" fmla="*/ 1292542 w 1620202"/>
                <a:gd name="connsiteY5" fmla="*/ 797242 h 1025842"/>
                <a:gd name="connsiteX6" fmla="*/ 1382077 w 1620202"/>
                <a:gd name="connsiteY6" fmla="*/ 797242 h 1025842"/>
                <a:gd name="connsiteX7" fmla="*/ 1286827 w 1620202"/>
                <a:gd name="connsiteY7" fmla="*/ 765810 h 1025842"/>
                <a:gd name="connsiteX8" fmla="*/ 1285875 w 1620202"/>
                <a:gd name="connsiteY8" fmla="*/ 749617 h 1025842"/>
                <a:gd name="connsiteX9" fmla="*/ 1285875 w 1620202"/>
                <a:gd name="connsiteY9" fmla="*/ 743902 h 1025842"/>
                <a:gd name="connsiteX10" fmla="*/ 1285875 w 1620202"/>
                <a:gd name="connsiteY10" fmla="*/ 740092 h 1025842"/>
                <a:gd name="connsiteX11" fmla="*/ 1401127 w 1620202"/>
                <a:gd name="connsiteY11" fmla="*/ 740092 h 1025842"/>
                <a:gd name="connsiteX12" fmla="*/ 1411605 w 1620202"/>
                <a:gd name="connsiteY12" fmla="*/ 708660 h 1025842"/>
                <a:gd name="connsiteX13" fmla="*/ 1286827 w 1620202"/>
                <a:gd name="connsiteY13" fmla="*/ 708660 h 1025842"/>
                <a:gd name="connsiteX14" fmla="*/ 1363980 w 1620202"/>
                <a:gd name="connsiteY14" fmla="*/ 645795 h 1025842"/>
                <a:gd name="connsiteX15" fmla="*/ 1428750 w 1620202"/>
                <a:gd name="connsiteY15" fmla="*/ 663892 h 1025842"/>
                <a:gd name="connsiteX16" fmla="*/ 1446847 w 1620202"/>
                <a:gd name="connsiteY16" fmla="*/ 614362 h 1025842"/>
                <a:gd name="connsiteX17" fmla="*/ 107632 w 1620202"/>
                <a:gd name="connsiteY17" fmla="*/ 0 h 1025842"/>
                <a:gd name="connsiteX18" fmla="*/ 1511617 w 1620202"/>
                <a:gd name="connsiteY18" fmla="*/ 0 h 1025842"/>
                <a:gd name="connsiteX19" fmla="*/ 1620202 w 1620202"/>
                <a:gd name="connsiteY19" fmla="*/ 107632 h 1025842"/>
                <a:gd name="connsiteX20" fmla="*/ 1619250 w 1620202"/>
                <a:gd name="connsiteY20" fmla="*/ 918210 h 1025842"/>
                <a:gd name="connsiteX21" fmla="*/ 1511617 w 1620202"/>
                <a:gd name="connsiteY21" fmla="*/ 1025842 h 1025842"/>
                <a:gd name="connsiteX22" fmla="*/ 107632 w 1620202"/>
                <a:gd name="connsiteY22" fmla="*/ 1025842 h 1025842"/>
                <a:gd name="connsiteX23" fmla="*/ 0 w 1620202"/>
                <a:gd name="connsiteY23" fmla="*/ 918210 h 1025842"/>
                <a:gd name="connsiteX24" fmla="*/ 0 w 1620202"/>
                <a:gd name="connsiteY24" fmla="*/ 107632 h 1025842"/>
                <a:gd name="connsiteX25" fmla="*/ 107632 w 1620202"/>
                <a:gd name="connsiteY25" fmla="*/ 0 h 1025842"/>
                <a:gd name="connsiteX0" fmla="*/ 1446847 w 1620202"/>
                <a:gd name="connsiteY0" fmla="*/ 614362 h 1025842"/>
                <a:gd name="connsiteX1" fmla="*/ 1359217 w 1620202"/>
                <a:gd name="connsiteY1" fmla="*/ 903922 h 1025842"/>
                <a:gd name="connsiteX2" fmla="*/ 1446847 w 1620202"/>
                <a:gd name="connsiteY2" fmla="*/ 887730 h 1025842"/>
                <a:gd name="connsiteX3" fmla="*/ 1432560 w 1620202"/>
                <a:gd name="connsiteY3" fmla="*/ 836295 h 1025842"/>
                <a:gd name="connsiteX4" fmla="*/ 1369695 w 1620202"/>
                <a:gd name="connsiteY4" fmla="*/ 853440 h 1025842"/>
                <a:gd name="connsiteX5" fmla="*/ 1292542 w 1620202"/>
                <a:gd name="connsiteY5" fmla="*/ 797242 h 1025842"/>
                <a:gd name="connsiteX6" fmla="*/ 1382077 w 1620202"/>
                <a:gd name="connsiteY6" fmla="*/ 797242 h 1025842"/>
                <a:gd name="connsiteX7" fmla="*/ 1286827 w 1620202"/>
                <a:gd name="connsiteY7" fmla="*/ 765810 h 1025842"/>
                <a:gd name="connsiteX8" fmla="*/ 1285875 w 1620202"/>
                <a:gd name="connsiteY8" fmla="*/ 749617 h 1025842"/>
                <a:gd name="connsiteX9" fmla="*/ 1285875 w 1620202"/>
                <a:gd name="connsiteY9" fmla="*/ 743902 h 1025842"/>
                <a:gd name="connsiteX10" fmla="*/ 1285875 w 1620202"/>
                <a:gd name="connsiteY10" fmla="*/ 740092 h 1025842"/>
                <a:gd name="connsiteX11" fmla="*/ 1411605 w 1620202"/>
                <a:gd name="connsiteY11" fmla="*/ 708660 h 1025842"/>
                <a:gd name="connsiteX12" fmla="*/ 1286827 w 1620202"/>
                <a:gd name="connsiteY12" fmla="*/ 708660 h 1025842"/>
                <a:gd name="connsiteX13" fmla="*/ 1363980 w 1620202"/>
                <a:gd name="connsiteY13" fmla="*/ 645795 h 1025842"/>
                <a:gd name="connsiteX14" fmla="*/ 1428750 w 1620202"/>
                <a:gd name="connsiteY14" fmla="*/ 663892 h 1025842"/>
                <a:gd name="connsiteX15" fmla="*/ 1446847 w 1620202"/>
                <a:gd name="connsiteY15" fmla="*/ 614362 h 1025842"/>
                <a:gd name="connsiteX16" fmla="*/ 107632 w 1620202"/>
                <a:gd name="connsiteY16" fmla="*/ 0 h 1025842"/>
                <a:gd name="connsiteX17" fmla="*/ 1511617 w 1620202"/>
                <a:gd name="connsiteY17" fmla="*/ 0 h 1025842"/>
                <a:gd name="connsiteX18" fmla="*/ 1620202 w 1620202"/>
                <a:gd name="connsiteY18" fmla="*/ 107632 h 1025842"/>
                <a:gd name="connsiteX19" fmla="*/ 1619250 w 1620202"/>
                <a:gd name="connsiteY19" fmla="*/ 918210 h 1025842"/>
                <a:gd name="connsiteX20" fmla="*/ 1511617 w 1620202"/>
                <a:gd name="connsiteY20" fmla="*/ 1025842 h 1025842"/>
                <a:gd name="connsiteX21" fmla="*/ 107632 w 1620202"/>
                <a:gd name="connsiteY21" fmla="*/ 1025842 h 1025842"/>
                <a:gd name="connsiteX22" fmla="*/ 0 w 1620202"/>
                <a:gd name="connsiteY22" fmla="*/ 918210 h 1025842"/>
                <a:gd name="connsiteX23" fmla="*/ 0 w 1620202"/>
                <a:gd name="connsiteY23" fmla="*/ 107632 h 1025842"/>
                <a:gd name="connsiteX24" fmla="*/ 107632 w 1620202"/>
                <a:gd name="connsiteY24" fmla="*/ 0 h 1025842"/>
                <a:gd name="connsiteX0" fmla="*/ 1446847 w 1620202"/>
                <a:gd name="connsiteY0" fmla="*/ 614362 h 1025842"/>
                <a:gd name="connsiteX1" fmla="*/ 1359217 w 1620202"/>
                <a:gd name="connsiteY1" fmla="*/ 903922 h 1025842"/>
                <a:gd name="connsiteX2" fmla="*/ 1446847 w 1620202"/>
                <a:gd name="connsiteY2" fmla="*/ 887730 h 1025842"/>
                <a:gd name="connsiteX3" fmla="*/ 1432560 w 1620202"/>
                <a:gd name="connsiteY3" fmla="*/ 836295 h 1025842"/>
                <a:gd name="connsiteX4" fmla="*/ 1369695 w 1620202"/>
                <a:gd name="connsiteY4" fmla="*/ 853440 h 1025842"/>
                <a:gd name="connsiteX5" fmla="*/ 1292542 w 1620202"/>
                <a:gd name="connsiteY5" fmla="*/ 797242 h 1025842"/>
                <a:gd name="connsiteX6" fmla="*/ 1286827 w 1620202"/>
                <a:gd name="connsiteY6" fmla="*/ 765810 h 1025842"/>
                <a:gd name="connsiteX7" fmla="*/ 1285875 w 1620202"/>
                <a:gd name="connsiteY7" fmla="*/ 749617 h 1025842"/>
                <a:gd name="connsiteX8" fmla="*/ 1285875 w 1620202"/>
                <a:gd name="connsiteY8" fmla="*/ 743902 h 1025842"/>
                <a:gd name="connsiteX9" fmla="*/ 1285875 w 1620202"/>
                <a:gd name="connsiteY9" fmla="*/ 740092 h 1025842"/>
                <a:gd name="connsiteX10" fmla="*/ 1411605 w 1620202"/>
                <a:gd name="connsiteY10" fmla="*/ 708660 h 1025842"/>
                <a:gd name="connsiteX11" fmla="*/ 1286827 w 1620202"/>
                <a:gd name="connsiteY11" fmla="*/ 708660 h 1025842"/>
                <a:gd name="connsiteX12" fmla="*/ 1363980 w 1620202"/>
                <a:gd name="connsiteY12" fmla="*/ 645795 h 1025842"/>
                <a:gd name="connsiteX13" fmla="*/ 1428750 w 1620202"/>
                <a:gd name="connsiteY13" fmla="*/ 663892 h 1025842"/>
                <a:gd name="connsiteX14" fmla="*/ 1446847 w 1620202"/>
                <a:gd name="connsiteY14" fmla="*/ 614362 h 1025842"/>
                <a:gd name="connsiteX15" fmla="*/ 107632 w 1620202"/>
                <a:gd name="connsiteY15" fmla="*/ 0 h 1025842"/>
                <a:gd name="connsiteX16" fmla="*/ 1511617 w 1620202"/>
                <a:gd name="connsiteY16" fmla="*/ 0 h 1025842"/>
                <a:gd name="connsiteX17" fmla="*/ 1620202 w 1620202"/>
                <a:gd name="connsiteY17" fmla="*/ 107632 h 1025842"/>
                <a:gd name="connsiteX18" fmla="*/ 1619250 w 1620202"/>
                <a:gd name="connsiteY18" fmla="*/ 918210 h 1025842"/>
                <a:gd name="connsiteX19" fmla="*/ 1511617 w 1620202"/>
                <a:gd name="connsiteY19" fmla="*/ 1025842 h 1025842"/>
                <a:gd name="connsiteX20" fmla="*/ 107632 w 1620202"/>
                <a:gd name="connsiteY20" fmla="*/ 1025842 h 1025842"/>
                <a:gd name="connsiteX21" fmla="*/ 0 w 1620202"/>
                <a:gd name="connsiteY21" fmla="*/ 918210 h 1025842"/>
                <a:gd name="connsiteX22" fmla="*/ 0 w 1620202"/>
                <a:gd name="connsiteY22" fmla="*/ 107632 h 1025842"/>
                <a:gd name="connsiteX23" fmla="*/ 107632 w 1620202"/>
                <a:gd name="connsiteY23" fmla="*/ 0 h 1025842"/>
                <a:gd name="connsiteX0" fmla="*/ 1446847 w 1620202"/>
                <a:gd name="connsiteY0" fmla="*/ 614362 h 1025842"/>
                <a:gd name="connsiteX1" fmla="*/ 1359217 w 1620202"/>
                <a:gd name="connsiteY1" fmla="*/ 903922 h 1025842"/>
                <a:gd name="connsiteX2" fmla="*/ 1446847 w 1620202"/>
                <a:gd name="connsiteY2" fmla="*/ 887730 h 1025842"/>
                <a:gd name="connsiteX3" fmla="*/ 1432560 w 1620202"/>
                <a:gd name="connsiteY3" fmla="*/ 836295 h 1025842"/>
                <a:gd name="connsiteX4" fmla="*/ 1369695 w 1620202"/>
                <a:gd name="connsiteY4" fmla="*/ 853440 h 1025842"/>
                <a:gd name="connsiteX5" fmla="*/ 1286827 w 1620202"/>
                <a:gd name="connsiteY5" fmla="*/ 765810 h 1025842"/>
                <a:gd name="connsiteX6" fmla="*/ 1285875 w 1620202"/>
                <a:gd name="connsiteY6" fmla="*/ 749617 h 1025842"/>
                <a:gd name="connsiteX7" fmla="*/ 1285875 w 1620202"/>
                <a:gd name="connsiteY7" fmla="*/ 743902 h 1025842"/>
                <a:gd name="connsiteX8" fmla="*/ 1285875 w 1620202"/>
                <a:gd name="connsiteY8" fmla="*/ 740092 h 1025842"/>
                <a:gd name="connsiteX9" fmla="*/ 1411605 w 1620202"/>
                <a:gd name="connsiteY9" fmla="*/ 708660 h 1025842"/>
                <a:gd name="connsiteX10" fmla="*/ 1286827 w 1620202"/>
                <a:gd name="connsiteY10" fmla="*/ 708660 h 1025842"/>
                <a:gd name="connsiteX11" fmla="*/ 1363980 w 1620202"/>
                <a:gd name="connsiteY11" fmla="*/ 645795 h 1025842"/>
                <a:gd name="connsiteX12" fmla="*/ 1428750 w 1620202"/>
                <a:gd name="connsiteY12" fmla="*/ 663892 h 1025842"/>
                <a:gd name="connsiteX13" fmla="*/ 1446847 w 1620202"/>
                <a:gd name="connsiteY13" fmla="*/ 614362 h 1025842"/>
                <a:gd name="connsiteX14" fmla="*/ 107632 w 1620202"/>
                <a:gd name="connsiteY14" fmla="*/ 0 h 1025842"/>
                <a:gd name="connsiteX15" fmla="*/ 1511617 w 1620202"/>
                <a:gd name="connsiteY15" fmla="*/ 0 h 1025842"/>
                <a:gd name="connsiteX16" fmla="*/ 1620202 w 1620202"/>
                <a:gd name="connsiteY16" fmla="*/ 107632 h 1025842"/>
                <a:gd name="connsiteX17" fmla="*/ 1619250 w 1620202"/>
                <a:gd name="connsiteY17" fmla="*/ 918210 h 1025842"/>
                <a:gd name="connsiteX18" fmla="*/ 1511617 w 1620202"/>
                <a:gd name="connsiteY18" fmla="*/ 1025842 h 1025842"/>
                <a:gd name="connsiteX19" fmla="*/ 107632 w 1620202"/>
                <a:gd name="connsiteY19" fmla="*/ 1025842 h 1025842"/>
                <a:gd name="connsiteX20" fmla="*/ 0 w 1620202"/>
                <a:gd name="connsiteY20" fmla="*/ 918210 h 1025842"/>
                <a:gd name="connsiteX21" fmla="*/ 0 w 1620202"/>
                <a:gd name="connsiteY21" fmla="*/ 107632 h 1025842"/>
                <a:gd name="connsiteX22" fmla="*/ 107632 w 1620202"/>
                <a:gd name="connsiteY22" fmla="*/ 0 h 1025842"/>
                <a:gd name="connsiteX0" fmla="*/ 1446847 w 1620202"/>
                <a:gd name="connsiteY0" fmla="*/ 614362 h 1025842"/>
                <a:gd name="connsiteX1" fmla="*/ 1359217 w 1620202"/>
                <a:gd name="connsiteY1" fmla="*/ 903922 h 1025842"/>
                <a:gd name="connsiteX2" fmla="*/ 1446847 w 1620202"/>
                <a:gd name="connsiteY2" fmla="*/ 887730 h 1025842"/>
                <a:gd name="connsiteX3" fmla="*/ 1432560 w 1620202"/>
                <a:gd name="connsiteY3" fmla="*/ 836295 h 1025842"/>
                <a:gd name="connsiteX4" fmla="*/ 1369695 w 1620202"/>
                <a:gd name="connsiteY4" fmla="*/ 853440 h 1025842"/>
                <a:gd name="connsiteX5" fmla="*/ 1286827 w 1620202"/>
                <a:gd name="connsiteY5" fmla="*/ 765810 h 1025842"/>
                <a:gd name="connsiteX6" fmla="*/ 1285875 w 1620202"/>
                <a:gd name="connsiteY6" fmla="*/ 743902 h 1025842"/>
                <a:gd name="connsiteX7" fmla="*/ 1285875 w 1620202"/>
                <a:gd name="connsiteY7" fmla="*/ 740092 h 1025842"/>
                <a:gd name="connsiteX8" fmla="*/ 1411605 w 1620202"/>
                <a:gd name="connsiteY8" fmla="*/ 708660 h 1025842"/>
                <a:gd name="connsiteX9" fmla="*/ 1286827 w 1620202"/>
                <a:gd name="connsiteY9" fmla="*/ 708660 h 1025842"/>
                <a:gd name="connsiteX10" fmla="*/ 1363980 w 1620202"/>
                <a:gd name="connsiteY10" fmla="*/ 645795 h 1025842"/>
                <a:gd name="connsiteX11" fmla="*/ 1428750 w 1620202"/>
                <a:gd name="connsiteY11" fmla="*/ 663892 h 1025842"/>
                <a:gd name="connsiteX12" fmla="*/ 1446847 w 1620202"/>
                <a:gd name="connsiteY12" fmla="*/ 614362 h 1025842"/>
                <a:gd name="connsiteX13" fmla="*/ 107632 w 1620202"/>
                <a:gd name="connsiteY13" fmla="*/ 0 h 1025842"/>
                <a:gd name="connsiteX14" fmla="*/ 1511617 w 1620202"/>
                <a:gd name="connsiteY14" fmla="*/ 0 h 1025842"/>
                <a:gd name="connsiteX15" fmla="*/ 1620202 w 1620202"/>
                <a:gd name="connsiteY15" fmla="*/ 107632 h 1025842"/>
                <a:gd name="connsiteX16" fmla="*/ 1619250 w 1620202"/>
                <a:gd name="connsiteY16" fmla="*/ 918210 h 1025842"/>
                <a:gd name="connsiteX17" fmla="*/ 1511617 w 1620202"/>
                <a:gd name="connsiteY17" fmla="*/ 1025842 h 1025842"/>
                <a:gd name="connsiteX18" fmla="*/ 107632 w 1620202"/>
                <a:gd name="connsiteY18" fmla="*/ 1025842 h 1025842"/>
                <a:gd name="connsiteX19" fmla="*/ 0 w 1620202"/>
                <a:gd name="connsiteY19" fmla="*/ 918210 h 1025842"/>
                <a:gd name="connsiteX20" fmla="*/ 0 w 1620202"/>
                <a:gd name="connsiteY20" fmla="*/ 107632 h 1025842"/>
                <a:gd name="connsiteX21" fmla="*/ 107632 w 1620202"/>
                <a:gd name="connsiteY21" fmla="*/ 0 h 1025842"/>
                <a:gd name="connsiteX0" fmla="*/ 1446847 w 1620202"/>
                <a:gd name="connsiteY0" fmla="*/ 614362 h 1025842"/>
                <a:gd name="connsiteX1" fmla="*/ 1359217 w 1620202"/>
                <a:gd name="connsiteY1" fmla="*/ 903922 h 1025842"/>
                <a:gd name="connsiteX2" fmla="*/ 1446847 w 1620202"/>
                <a:gd name="connsiteY2" fmla="*/ 887730 h 1025842"/>
                <a:gd name="connsiteX3" fmla="*/ 1432560 w 1620202"/>
                <a:gd name="connsiteY3" fmla="*/ 836295 h 1025842"/>
                <a:gd name="connsiteX4" fmla="*/ 1369695 w 1620202"/>
                <a:gd name="connsiteY4" fmla="*/ 853440 h 1025842"/>
                <a:gd name="connsiteX5" fmla="*/ 1285875 w 1620202"/>
                <a:gd name="connsiteY5" fmla="*/ 743902 h 1025842"/>
                <a:gd name="connsiteX6" fmla="*/ 1285875 w 1620202"/>
                <a:gd name="connsiteY6" fmla="*/ 740092 h 1025842"/>
                <a:gd name="connsiteX7" fmla="*/ 1411605 w 1620202"/>
                <a:gd name="connsiteY7" fmla="*/ 708660 h 1025842"/>
                <a:gd name="connsiteX8" fmla="*/ 1286827 w 1620202"/>
                <a:gd name="connsiteY8" fmla="*/ 708660 h 1025842"/>
                <a:gd name="connsiteX9" fmla="*/ 1363980 w 1620202"/>
                <a:gd name="connsiteY9" fmla="*/ 645795 h 1025842"/>
                <a:gd name="connsiteX10" fmla="*/ 1428750 w 1620202"/>
                <a:gd name="connsiteY10" fmla="*/ 663892 h 1025842"/>
                <a:gd name="connsiteX11" fmla="*/ 1446847 w 1620202"/>
                <a:gd name="connsiteY11" fmla="*/ 614362 h 1025842"/>
                <a:gd name="connsiteX12" fmla="*/ 107632 w 1620202"/>
                <a:gd name="connsiteY12" fmla="*/ 0 h 1025842"/>
                <a:gd name="connsiteX13" fmla="*/ 1511617 w 1620202"/>
                <a:gd name="connsiteY13" fmla="*/ 0 h 1025842"/>
                <a:gd name="connsiteX14" fmla="*/ 1620202 w 1620202"/>
                <a:gd name="connsiteY14" fmla="*/ 107632 h 1025842"/>
                <a:gd name="connsiteX15" fmla="*/ 1619250 w 1620202"/>
                <a:gd name="connsiteY15" fmla="*/ 918210 h 1025842"/>
                <a:gd name="connsiteX16" fmla="*/ 1511617 w 1620202"/>
                <a:gd name="connsiteY16" fmla="*/ 1025842 h 1025842"/>
                <a:gd name="connsiteX17" fmla="*/ 107632 w 1620202"/>
                <a:gd name="connsiteY17" fmla="*/ 1025842 h 1025842"/>
                <a:gd name="connsiteX18" fmla="*/ 0 w 1620202"/>
                <a:gd name="connsiteY18" fmla="*/ 918210 h 1025842"/>
                <a:gd name="connsiteX19" fmla="*/ 0 w 1620202"/>
                <a:gd name="connsiteY19" fmla="*/ 107632 h 1025842"/>
                <a:gd name="connsiteX20" fmla="*/ 107632 w 1620202"/>
                <a:gd name="connsiteY20" fmla="*/ 0 h 1025842"/>
                <a:gd name="connsiteX0" fmla="*/ 1446847 w 1620202"/>
                <a:gd name="connsiteY0" fmla="*/ 614362 h 1025842"/>
                <a:gd name="connsiteX1" fmla="*/ 1359217 w 1620202"/>
                <a:gd name="connsiteY1" fmla="*/ 903922 h 1025842"/>
                <a:gd name="connsiteX2" fmla="*/ 1446847 w 1620202"/>
                <a:gd name="connsiteY2" fmla="*/ 887730 h 1025842"/>
                <a:gd name="connsiteX3" fmla="*/ 1432560 w 1620202"/>
                <a:gd name="connsiteY3" fmla="*/ 836295 h 1025842"/>
                <a:gd name="connsiteX4" fmla="*/ 1369695 w 1620202"/>
                <a:gd name="connsiteY4" fmla="*/ 853440 h 1025842"/>
                <a:gd name="connsiteX5" fmla="*/ 1285875 w 1620202"/>
                <a:gd name="connsiteY5" fmla="*/ 743902 h 1025842"/>
                <a:gd name="connsiteX6" fmla="*/ 1411605 w 1620202"/>
                <a:gd name="connsiteY6" fmla="*/ 708660 h 1025842"/>
                <a:gd name="connsiteX7" fmla="*/ 1286827 w 1620202"/>
                <a:gd name="connsiteY7" fmla="*/ 708660 h 1025842"/>
                <a:gd name="connsiteX8" fmla="*/ 1363980 w 1620202"/>
                <a:gd name="connsiteY8" fmla="*/ 645795 h 1025842"/>
                <a:gd name="connsiteX9" fmla="*/ 1428750 w 1620202"/>
                <a:gd name="connsiteY9" fmla="*/ 663892 h 1025842"/>
                <a:gd name="connsiteX10" fmla="*/ 1446847 w 1620202"/>
                <a:gd name="connsiteY10" fmla="*/ 614362 h 1025842"/>
                <a:gd name="connsiteX11" fmla="*/ 107632 w 1620202"/>
                <a:gd name="connsiteY11" fmla="*/ 0 h 1025842"/>
                <a:gd name="connsiteX12" fmla="*/ 1511617 w 1620202"/>
                <a:gd name="connsiteY12" fmla="*/ 0 h 1025842"/>
                <a:gd name="connsiteX13" fmla="*/ 1620202 w 1620202"/>
                <a:gd name="connsiteY13" fmla="*/ 107632 h 1025842"/>
                <a:gd name="connsiteX14" fmla="*/ 1619250 w 1620202"/>
                <a:gd name="connsiteY14" fmla="*/ 918210 h 1025842"/>
                <a:gd name="connsiteX15" fmla="*/ 1511617 w 1620202"/>
                <a:gd name="connsiteY15" fmla="*/ 1025842 h 1025842"/>
                <a:gd name="connsiteX16" fmla="*/ 107632 w 1620202"/>
                <a:gd name="connsiteY16" fmla="*/ 1025842 h 1025842"/>
                <a:gd name="connsiteX17" fmla="*/ 0 w 1620202"/>
                <a:gd name="connsiteY17" fmla="*/ 918210 h 1025842"/>
                <a:gd name="connsiteX18" fmla="*/ 0 w 1620202"/>
                <a:gd name="connsiteY18" fmla="*/ 107632 h 1025842"/>
                <a:gd name="connsiteX19" fmla="*/ 107632 w 1620202"/>
                <a:gd name="connsiteY19" fmla="*/ 0 h 1025842"/>
                <a:gd name="connsiteX0" fmla="*/ 1446847 w 1620202"/>
                <a:gd name="connsiteY0" fmla="*/ 614362 h 1025842"/>
                <a:gd name="connsiteX1" fmla="*/ 1359217 w 1620202"/>
                <a:gd name="connsiteY1" fmla="*/ 903922 h 1025842"/>
                <a:gd name="connsiteX2" fmla="*/ 1446847 w 1620202"/>
                <a:gd name="connsiteY2" fmla="*/ 887730 h 1025842"/>
                <a:gd name="connsiteX3" fmla="*/ 1432560 w 1620202"/>
                <a:gd name="connsiteY3" fmla="*/ 836295 h 1025842"/>
                <a:gd name="connsiteX4" fmla="*/ 1369695 w 1620202"/>
                <a:gd name="connsiteY4" fmla="*/ 853440 h 1025842"/>
                <a:gd name="connsiteX5" fmla="*/ 1285875 w 1620202"/>
                <a:gd name="connsiteY5" fmla="*/ 743902 h 1025842"/>
                <a:gd name="connsiteX6" fmla="*/ 1411605 w 1620202"/>
                <a:gd name="connsiteY6" fmla="*/ 708660 h 1025842"/>
                <a:gd name="connsiteX7" fmla="*/ 1363980 w 1620202"/>
                <a:gd name="connsiteY7" fmla="*/ 645795 h 1025842"/>
                <a:gd name="connsiteX8" fmla="*/ 1428750 w 1620202"/>
                <a:gd name="connsiteY8" fmla="*/ 663892 h 1025842"/>
                <a:gd name="connsiteX9" fmla="*/ 1446847 w 1620202"/>
                <a:gd name="connsiteY9" fmla="*/ 614362 h 1025842"/>
                <a:gd name="connsiteX10" fmla="*/ 107632 w 1620202"/>
                <a:gd name="connsiteY10" fmla="*/ 0 h 1025842"/>
                <a:gd name="connsiteX11" fmla="*/ 1511617 w 1620202"/>
                <a:gd name="connsiteY11" fmla="*/ 0 h 1025842"/>
                <a:gd name="connsiteX12" fmla="*/ 1620202 w 1620202"/>
                <a:gd name="connsiteY12" fmla="*/ 107632 h 1025842"/>
                <a:gd name="connsiteX13" fmla="*/ 1619250 w 1620202"/>
                <a:gd name="connsiteY13" fmla="*/ 918210 h 1025842"/>
                <a:gd name="connsiteX14" fmla="*/ 1511617 w 1620202"/>
                <a:gd name="connsiteY14" fmla="*/ 1025842 h 1025842"/>
                <a:gd name="connsiteX15" fmla="*/ 107632 w 1620202"/>
                <a:gd name="connsiteY15" fmla="*/ 1025842 h 1025842"/>
                <a:gd name="connsiteX16" fmla="*/ 0 w 1620202"/>
                <a:gd name="connsiteY16" fmla="*/ 918210 h 1025842"/>
                <a:gd name="connsiteX17" fmla="*/ 0 w 1620202"/>
                <a:gd name="connsiteY17" fmla="*/ 107632 h 1025842"/>
                <a:gd name="connsiteX18" fmla="*/ 107632 w 1620202"/>
                <a:gd name="connsiteY18" fmla="*/ 0 h 1025842"/>
                <a:gd name="connsiteX0" fmla="*/ 1446847 w 1620202"/>
                <a:gd name="connsiteY0" fmla="*/ 614362 h 1025842"/>
                <a:gd name="connsiteX1" fmla="*/ 1359217 w 1620202"/>
                <a:gd name="connsiteY1" fmla="*/ 903922 h 1025842"/>
                <a:gd name="connsiteX2" fmla="*/ 1446847 w 1620202"/>
                <a:gd name="connsiteY2" fmla="*/ 887730 h 1025842"/>
                <a:gd name="connsiteX3" fmla="*/ 1432560 w 1620202"/>
                <a:gd name="connsiteY3" fmla="*/ 836295 h 1025842"/>
                <a:gd name="connsiteX4" fmla="*/ 1369695 w 1620202"/>
                <a:gd name="connsiteY4" fmla="*/ 853440 h 1025842"/>
                <a:gd name="connsiteX5" fmla="*/ 1285875 w 1620202"/>
                <a:gd name="connsiteY5" fmla="*/ 743902 h 1025842"/>
                <a:gd name="connsiteX6" fmla="*/ 1363980 w 1620202"/>
                <a:gd name="connsiteY6" fmla="*/ 645795 h 1025842"/>
                <a:gd name="connsiteX7" fmla="*/ 1428750 w 1620202"/>
                <a:gd name="connsiteY7" fmla="*/ 663892 h 1025842"/>
                <a:gd name="connsiteX8" fmla="*/ 1446847 w 1620202"/>
                <a:gd name="connsiteY8" fmla="*/ 614362 h 1025842"/>
                <a:gd name="connsiteX9" fmla="*/ 107632 w 1620202"/>
                <a:gd name="connsiteY9" fmla="*/ 0 h 1025842"/>
                <a:gd name="connsiteX10" fmla="*/ 1511617 w 1620202"/>
                <a:gd name="connsiteY10" fmla="*/ 0 h 1025842"/>
                <a:gd name="connsiteX11" fmla="*/ 1620202 w 1620202"/>
                <a:gd name="connsiteY11" fmla="*/ 107632 h 1025842"/>
                <a:gd name="connsiteX12" fmla="*/ 1619250 w 1620202"/>
                <a:gd name="connsiteY12" fmla="*/ 918210 h 1025842"/>
                <a:gd name="connsiteX13" fmla="*/ 1511617 w 1620202"/>
                <a:gd name="connsiteY13" fmla="*/ 1025842 h 1025842"/>
                <a:gd name="connsiteX14" fmla="*/ 107632 w 1620202"/>
                <a:gd name="connsiteY14" fmla="*/ 1025842 h 1025842"/>
                <a:gd name="connsiteX15" fmla="*/ 0 w 1620202"/>
                <a:gd name="connsiteY15" fmla="*/ 918210 h 1025842"/>
                <a:gd name="connsiteX16" fmla="*/ 0 w 1620202"/>
                <a:gd name="connsiteY16" fmla="*/ 107632 h 1025842"/>
                <a:gd name="connsiteX17" fmla="*/ 107632 w 1620202"/>
                <a:gd name="connsiteY17" fmla="*/ 0 h 1025842"/>
                <a:gd name="connsiteX0" fmla="*/ 1446847 w 1620202"/>
                <a:gd name="connsiteY0" fmla="*/ 614362 h 1025842"/>
                <a:gd name="connsiteX1" fmla="*/ 1359217 w 1620202"/>
                <a:gd name="connsiteY1" fmla="*/ 903922 h 1025842"/>
                <a:gd name="connsiteX2" fmla="*/ 1446847 w 1620202"/>
                <a:gd name="connsiteY2" fmla="*/ 887730 h 1025842"/>
                <a:gd name="connsiteX3" fmla="*/ 1432560 w 1620202"/>
                <a:gd name="connsiteY3" fmla="*/ 836295 h 1025842"/>
                <a:gd name="connsiteX4" fmla="*/ 1369695 w 1620202"/>
                <a:gd name="connsiteY4" fmla="*/ 853440 h 1025842"/>
                <a:gd name="connsiteX5" fmla="*/ 1285875 w 1620202"/>
                <a:gd name="connsiteY5" fmla="*/ 743902 h 1025842"/>
                <a:gd name="connsiteX6" fmla="*/ 1363980 w 1620202"/>
                <a:gd name="connsiteY6" fmla="*/ 645795 h 1025842"/>
                <a:gd name="connsiteX7" fmla="*/ 1446847 w 1620202"/>
                <a:gd name="connsiteY7" fmla="*/ 614362 h 1025842"/>
                <a:gd name="connsiteX8" fmla="*/ 107632 w 1620202"/>
                <a:gd name="connsiteY8" fmla="*/ 0 h 1025842"/>
                <a:gd name="connsiteX9" fmla="*/ 1511617 w 1620202"/>
                <a:gd name="connsiteY9" fmla="*/ 0 h 1025842"/>
                <a:gd name="connsiteX10" fmla="*/ 1620202 w 1620202"/>
                <a:gd name="connsiteY10" fmla="*/ 107632 h 1025842"/>
                <a:gd name="connsiteX11" fmla="*/ 1619250 w 1620202"/>
                <a:gd name="connsiteY11" fmla="*/ 918210 h 1025842"/>
                <a:gd name="connsiteX12" fmla="*/ 1511617 w 1620202"/>
                <a:gd name="connsiteY12" fmla="*/ 1025842 h 1025842"/>
                <a:gd name="connsiteX13" fmla="*/ 107632 w 1620202"/>
                <a:gd name="connsiteY13" fmla="*/ 1025842 h 1025842"/>
                <a:gd name="connsiteX14" fmla="*/ 0 w 1620202"/>
                <a:gd name="connsiteY14" fmla="*/ 918210 h 1025842"/>
                <a:gd name="connsiteX15" fmla="*/ 0 w 1620202"/>
                <a:gd name="connsiteY15" fmla="*/ 107632 h 1025842"/>
                <a:gd name="connsiteX16" fmla="*/ 107632 w 1620202"/>
                <a:gd name="connsiteY16" fmla="*/ 0 h 1025842"/>
                <a:gd name="connsiteX0" fmla="*/ 1363980 w 1620202"/>
                <a:gd name="connsiteY0" fmla="*/ 645795 h 1025842"/>
                <a:gd name="connsiteX1" fmla="*/ 1359217 w 1620202"/>
                <a:gd name="connsiteY1" fmla="*/ 903922 h 1025842"/>
                <a:gd name="connsiteX2" fmla="*/ 1446847 w 1620202"/>
                <a:gd name="connsiteY2" fmla="*/ 887730 h 1025842"/>
                <a:gd name="connsiteX3" fmla="*/ 1432560 w 1620202"/>
                <a:gd name="connsiteY3" fmla="*/ 836295 h 1025842"/>
                <a:gd name="connsiteX4" fmla="*/ 1369695 w 1620202"/>
                <a:gd name="connsiteY4" fmla="*/ 853440 h 1025842"/>
                <a:gd name="connsiteX5" fmla="*/ 1285875 w 1620202"/>
                <a:gd name="connsiteY5" fmla="*/ 743902 h 1025842"/>
                <a:gd name="connsiteX6" fmla="*/ 1363980 w 1620202"/>
                <a:gd name="connsiteY6" fmla="*/ 645795 h 1025842"/>
                <a:gd name="connsiteX7" fmla="*/ 107632 w 1620202"/>
                <a:gd name="connsiteY7" fmla="*/ 0 h 1025842"/>
                <a:gd name="connsiteX8" fmla="*/ 1511617 w 1620202"/>
                <a:gd name="connsiteY8" fmla="*/ 0 h 1025842"/>
                <a:gd name="connsiteX9" fmla="*/ 1620202 w 1620202"/>
                <a:gd name="connsiteY9" fmla="*/ 107632 h 1025842"/>
                <a:gd name="connsiteX10" fmla="*/ 1619250 w 1620202"/>
                <a:gd name="connsiteY10" fmla="*/ 918210 h 1025842"/>
                <a:gd name="connsiteX11" fmla="*/ 1511617 w 1620202"/>
                <a:gd name="connsiteY11" fmla="*/ 1025842 h 1025842"/>
                <a:gd name="connsiteX12" fmla="*/ 107632 w 1620202"/>
                <a:gd name="connsiteY12" fmla="*/ 1025842 h 1025842"/>
                <a:gd name="connsiteX13" fmla="*/ 0 w 1620202"/>
                <a:gd name="connsiteY13" fmla="*/ 918210 h 1025842"/>
                <a:gd name="connsiteX14" fmla="*/ 0 w 1620202"/>
                <a:gd name="connsiteY14" fmla="*/ 107632 h 1025842"/>
                <a:gd name="connsiteX15" fmla="*/ 107632 w 1620202"/>
                <a:gd name="connsiteY15" fmla="*/ 0 h 1025842"/>
                <a:gd name="connsiteX0" fmla="*/ 1285875 w 1620202"/>
                <a:gd name="connsiteY0" fmla="*/ 743902 h 1025842"/>
                <a:gd name="connsiteX1" fmla="*/ 1359217 w 1620202"/>
                <a:gd name="connsiteY1" fmla="*/ 903922 h 1025842"/>
                <a:gd name="connsiteX2" fmla="*/ 1446847 w 1620202"/>
                <a:gd name="connsiteY2" fmla="*/ 887730 h 1025842"/>
                <a:gd name="connsiteX3" fmla="*/ 1432560 w 1620202"/>
                <a:gd name="connsiteY3" fmla="*/ 836295 h 1025842"/>
                <a:gd name="connsiteX4" fmla="*/ 1369695 w 1620202"/>
                <a:gd name="connsiteY4" fmla="*/ 853440 h 1025842"/>
                <a:gd name="connsiteX5" fmla="*/ 1285875 w 1620202"/>
                <a:gd name="connsiteY5" fmla="*/ 743902 h 1025842"/>
                <a:gd name="connsiteX6" fmla="*/ 107632 w 1620202"/>
                <a:gd name="connsiteY6" fmla="*/ 0 h 1025842"/>
                <a:gd name="connsiteX7" fmla="*/ 1511617 w 1620202"/>
                <a:gd name="connsiteY7" fmla="*/ 0 h 1025842"/>
                <a:gd name="connsiteX8" fmla="*/ 1620202 w 1620202"/>
                <a:gd name="connsiteY8" fmla="*/ 107632 h 1025842"/>
                <a:gd name="connsiteX9" fmla="*/ 1619250 w 1620202"/>
                <a:gd name="connsiteY9" fmla="*/ 918210 h 1025842"/>
                <a:gd name="connsiteX10" fmla="*/ 1511617 w 1620202"/>
                <a:gd name="connsiteY10" fmla="*/ 1025842 h 1025842"/>
                <a:gd name="connsiteX11" fmla="*/ 107632 w 1620202"/>
                <a:gd name="connsiteY11" fmla="*/ 1025842 h 1025842"/>
                <a:gd name="connsiteX12" fmla="*/ 0 w 1620202"/>
                <a:gd name="connsiteY12" fmla="*/ 918210 h 1025842"/>
                <a:gd name="connsiteX13" fmla="*/ 0 w 1620202"/>
                <a:gd name="connsiteY13" fmla="*/ 107632 h 1025842"/>
                <a:gd name="connsiteX14" fmla="*/ 107632 w 1620202"/>
                <a:gd name="connsiteY14" fmla="*/ 0 h 1025842"/>
                <a:gd name="connsiteX0" fmla="*/ 1369695 w 1620202"/>
                <a:gd name="connsiteY0" fmla="*/ 853440 h 1025842"/>
                <a:gd name="connsiteX1" fmla="*/ 1359217 w 1620202"/>
                <a:gd name="connsiteY1" fmla="*/ 903922 h 1025842"/>
                <a:gd name="connsiteX2" fmla="*/ 1446847 w 1620202"/>
                <a:gd name="connsiteY2" fmla="*/ 887730 h 1025842"/>
                <a:gd name="connsiteX3" fmla="*/ 1432560 w 1620202"/>
                <a:gd name="connsiteY3" fmla="*/ 836295 h 1025842"/>
                <a:gd name="connsiteX4" fmla="*/ 1369695 w 1620202"/>
                <a:gd name="connsiteY4" fmla="*/ 853440 h 1025842"/>
                <a:gd name="connsiteX5" fmla="*/ 107632 w 1620202"/>
                <a:gd name="connsiteY5" fmla="*/ 0 h 1025842"/>
                <a:gd name="connsiteX6" fmla="*/ 1511617 w 1620202"/>
                <a:gd name="connsiteY6" fmla="*/ 0 h 1025842"/>
                <a:gd name="connsiteX7" fmla="*/ 1620202 w 1620202"/>
                <a:gd name="connsiteY7" fmla="*/ 107632 h 1025842"/>
                <a:gd name="connsiteX8" fmla="*/ 1619250 w 1620202"/>
                <a:gd name="connsiteY8" fmla="*/ 918210 h 1025842"/>
                <a:gd name="connsiteX9" fmla="*/ 1511617 w 1620202"/>
                <a:gd name="connsiteY9" fmla="*/ 1025842 h 1025842"/>
                <a:gd name="connsiteX10" fmla="*/ 107632 w 1620202"/>
                <a:gd name="connsiteY10" fmla="*/ 1025842 h 1025842"/>
                <a:gd name="connsiteX11" fmla="*/ 0 w 1620202"/>
                <a:gd name="connsiteY11" fmla="*/ 918210 h 1025842"/>
                <a:gd name="connsiteX12" fmla="*/ 0 w 1620202"/>
                <a:gd name="connsiteY12" fmla="*/ 107632 h 1025842"/>
                <a:gd name="connsiteX13" fmla="*/ 107632 w 1620202"/>
                <a:gd name="connsiteY13" fmla="*/ 0 h 1025842"/>
                <a:gd name="connsiteX0" fmla="*/ 1369695 w 1620202"/>
                <a:gd name="connsiteY0" fmla="*/ 853440 h 1025842"/>
                <a:gd name="connsiteX1" fmla="*/ 1359217 w 1620202"/>
                <a:gd name="connsiteY1" fmla="*/ 903922 h 1025842"/>
                <a:gd name="connsiteX2" fmla="*/ 1446847 w 1620202"/>
                <a:gd name="connsiteY2" fmla="*/ 887730 h 1025842"/>
                <a:gd name="connsiteX3" fmla="*/ 1369695 w 1620202"/>
                <a:gd name="connsiteY3" fmla="*/ 853440 h 1025842"/>
                <a:gd name="connsiteX4" fmla="*/ 107632 w 1620202"/>
                <a:gd name="connsiteY4" fmla="*/ 0 h 1025842"/>
                <a:gd name="connsiteX5" fmla="*/ 1511617 w 1620202"/>
                <a:gd name="connsiteY5" fmla="*/ 0 h 1025842"/>
                <a:gd name="connsiteX6" fmla="*/ 1620202 w 1620202"/>
                <a:gd name="connsiteY6" fmla="*/ 107632 h 1025842"/>
                <a:gd name="connsiteX7" fmla="*/ 1619250 w 1620202"/>
                <a:gd name="connsiteY7" fmla="*/ 918210 h 1025842"/>
                <a:gd name="connsiteX8" fmla="*/ 1511617 w 1620202"/>
                <a:gd name="connsiteY8" fmla="*/ 1025842 h 1025842"/>
                <a:gd name="connsiteX9" fmla="*/ 107632 w 1620202"/>
                <a:gd name="connsiteY9" fmla="*/ 1025842 h 1025842"/>
                <a:gd name="connsiteX10" fmla="*/ 0 w 1620202"/>
                <a:gd name="connsiteY10" fmla="*/ 918210 h 1025842"/>
                <a:gd name="connsiteX11" fmla="*/ 0 w 1620202"/>
                <a:gd name="connsiteY11" fmla="*/ 107632 h 1025842"/>
                <a:gd name="connsiteX12" fmla="*/ 107632 w 1620202"/>
                <a:gd name="connsiteY12" fmla="*/ 0 h 1025842"/>
                <a:gd name="connsiteX0" fmla="*/ 1369695 w 1620202"/>
                <a:gd name="connsiteY0" fmla="*/ 853440 h 1025842"/>
                <a:gd name="connsiteX1" fmla="*/ 1359217 w 1620202"/>
                <a:gd name="connsiteY1" fmla="*/ 903922 h 1025842"/>
                <a:gd name="connsiteX2" fmla="*/ 1369695 w 1620202"/>
                <a:gd name="connsiteY2" fmla="*/ 853440 h 1025842"/>
                <a:gd name="connsiteX3" fmla="*/ 107632 w 1620202"/>
                <a:gd name="connsiteY3" fmla="*/ 0 h 1025842"/>
                <a:gd name="connsiteX4" fmla="*/ 1511617 w 1620202"/>
                <a:gd name="connsiteY4" fmla="*/ 0 h 1025842"/>
                <a:gd name="connsiteX5" fmla="*/ 1620202 w 1620202"/>
                <a:gd name="connsiteY5" fmla="*/ 107632 h 1025842"/>
                <a:gd name="connsiteX6" fmla="*/ 1619250 w 1620202"/>
                <a:gd name="connsiteY6" fmla="*/ 918210 h 1025842"/>
                <a:gd name="connsiteX7" fmla="*/ 1511617 w 1620202"/>
                <a:gd name="connsiteY7" fmla="*/ 1025842 h 1025842"/>
                <a:gd name="connsiteX8" fmla="*/ 107632 w 1620202"/>
                <a:gd name="connsiteY8" fmla="*/ 1025842 h 1025842"/>
                <a:gd name="connsiteX9" fmla="*/ 0 w 1620202"/>
                <a:gd name="connsiteY9" fmla="*/ 918210 h 1025842"/>
                <a:gd name="connsiteX10" fmla="*/ 0 w 1620202"/>
                <a:gd name="connsiteY10" fmla="*/ 107632 h 1025842"/>
                <a:gd name="connsiteX11" fmla="*/ 107632 w 1620202"/>
                <a:gd name="connsiteY11" fmla="*/ 0 h 1025842"/>
                <a:gd name="connsiteX0" fmla="*/ 107632 w 1620202"/>
                <a:gd name="connsiteY0" fmla="*/ 0 h 1025842"/>
                <a:gd name="connsiteX1" fmla="*/ 1511617 w 1620202"/>
                <a:gd name="connsiteY1" fmla="*/ 0 h 1025842"/>
                <a:gd name="connsiteX2" fmla="*/ 1620202 w 1620202"/>
                <a:gd name="connsiteY2" fmla="*/ 107632 h 1025842"/>
                <a:gd name="connsiteX3" fmla="*/ 1619250 w 1620202"/>
                <a:gd name="connsiteY3" fmla="*/ 918210 h 1025842"/>
                <a:gd name="connsiteX4" fmla="*/ 1511617 w 1620202"/>
                <a:gd name="connsiteY4" fmla="*/ 1025842 h 1025842"/>
                <a:gd name="connsiteX5" fmla="*/ 107632 w 1620202"/>
                <a:gd name="connsiteY5" fmla="*/ 1025842 h 1025842"/>
                <a:gd name="connsiteX6" fmla="*/ 0 w 1620202"/>
                <a:gd name="connsiteY6" fmla="*/ 918210 h 1025842"/>
                <a:gd name="connsiteX7" fmla="*/ 0 w 1620202"/>
                <a:gd name="connsiteY7" fmla="*/ 107632 h 1025842"/>
                <a:gd name="connsiteX8" fmla="*/ 107632 w 1620202"/>
                <a:gd name="connsiteY8" fmla="*/ 0 h 1025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0202" h="1025842">
                  <a:moveTo>
                    <a:pt x="107632" y="0"/>
                  </a:moveTo>
                  <a:lnTo>
                    <a:pt x="1511617" y="0"/>
                  </a:lnTo>
                  <a:cubicBezTo>
                    <a:pt x="1571625" y="0"/>
                    <a:pt x="1620202" y="48577"/>
                    <a:pt x="1620202" y="107632"/>
                  </a:cubicBezTo>
                  <a:cubicBezTo>
                    <a:pt x="1619885" y="377825"/>
                    <a:pt x="1619567" y="648017"/>
                    <a:pt x="1619250" y="918210"/>
                  </a:cubicBezTo>
                  <a:cubicBezTo>
                    <a:pt x="1619250" y="977265"/>
                    <a:pt x="1571625" y="1025842"/>
                    <a:pt x="1511617" y="1025842"/>
                  </a:cubicBezTo>
                  <a:lnTo>
                    <a:pt x="107632" y="1025842"/>
                  </a:lnTo>
                  <a:cubicBezTo>
                    <a:pt x="48577" y="1025842"/>
                    <a:pt x="0" y="978217"/>
                    <a:pt x="0" y="918210"/>
                  </a:cubicBezTo>
                  <a:lnTo>
                    <a:pt x="0" y="107632"/>
                  </a:lnTo>
                  <a:cubicBezTo>
                    <a:pt x="0" y="48577"/>
                    <a:pt x="48577" y="0"/>
                    <a:pt x="107632" y="0"/>
                  </a:cubicBezTo>
                  <a:close/>
                </a:path>
              </a:pathLst>
            </a:custGeom>
            <a:solidFill>
              <a:srgbClr val="333353"/>
            </a:solidFill>
            <a:ln w="9525" cap="flat">
              <a:noFill/>
              <a:prstDash val="solid"/>
              <a:miter/>
            </a:ln>
          </p:spPr>
          <p:txBody>
            <a:bodyPr rtlCol="0" anchor="ctr"/>
            <a:lstStyle/>
            <a:p>
              <a:endParaRPr lang="en-US" sz="1799" dirty="0"/>
            </a:p>
          </p:txBody>
        </p:sp>
        <p:sp>
          <p:nvSpPr>
            <p:cNvPr id="76" name="Freeform: Shape 75">
              <a:extLst>
                <a:ext uri="{FF2B5EF4-FFF2-40B4-BE49-F238E27FC236}">
                  <a16:creationId xmlns:a16="http://schemas.microsoft.com/office/drawing/2014/main" id="{15C4A222-D009-4F8B-B20B-233F3A418C2A}"/>
                </a:ext>
              </a:extLst>
            </p:cNvPr>
            <p:cNvSpPr/>
            <p:nvPr/>
          </p:nvSpPr>
          <p:spPr>
            <a:xfrm>
              <a:off x="1289120" y="741343"/>
              <a:ext cx="1620202" cy="1025842"/>
            </a:xfrm>
            <a:custGeom>
              <a:avLst/>
              <a:gdLst>
                <a:gd name="connsiteX0" fmla="*/ 287655 w 1620202"/>
                <a:gd name="connsiteY0" fmla="*/ 610552 h 1025842"/>
                <a:gd name="connsiteX1" fmla="*/ 136207 w 1620202"/>
                <a:gd name="connsiteY1" fmla="*/ 763905 h 1025842"/>
                <a:gd name="connsiteX2" fmla="*/ 287655 w 1620202"/>
                <a:gd name="connsiteY2" fmla="*/ 917257 h 1025842"/>
                <a:gd name="connsiteX3" fmla="*/ 438150 w 1620202"/>
                <a:gd name="connsiteY3" fmla="*/ 781050 h 1025842"/>
                <a:gd name="connsiteX4" fmla="*/ 323850 w 1620202"/>
                <a:gd name="connsiteY4" fmla="*/ 637222 h 1025842"/>
                <a:gd name="connsiteX5" fmla="*/ 325755 w 1620202"/>
                <a:gd name="connsiteY5" fmla="*/ 615315 h 1025842"/>
                <a:gd name="connsiteX6" fmla="*/ 287655 w 1620202"/>
                <a:gd name="connsiteY6" fmla="*/ 610552 h 1025842"/>
                <a:gd name="connsiteX7" fmla="*/ 1355407 w 1620202"/>
                <a:gd name="connsiteY7" fmla="*/ 595312 h 1025842"/>
                <a:gd name="connsiteX8" fmla="*/ 1221105 w 1620202"/>
                <a:gd name="connsiteY8" fmla="*/ 709612 h 1025842"/>
                <a:gd name="connsiteX9" fmla="*/ 1187767 w 1620202"/>
                <a:gd name="connsiteY9" fmla="*/ 709612 h 1025842"/>
                <a:gd name="connsiteX10" fmla="*/ 1176337 w 1620202"/>
                <a:gd name="connsiteY10" fmla="*/ 741045 h 1025842"/>
                <a:gd name="connsiteX11" fmla="*/ 1217295 w 1620202"/>
                <a:gd name="connsiteY11" fmla="*/ 741045 h 1025842"/>
                <a:gd name="connsiteX12" fmla="*/ 1217295 w 1620202"/>
                <a:gd name="connsiteY12" fmla="*/ 756285 h 1025842"/>
                <a:gd name="connsiteX13" fmla="*/ 1218247 w 1620202"/>
                <a:gd name="connsiteY13" fmla="*/ 765810 h 1025842"/>
                <a:gd name="connsiteX14" fmla="*/ 1188720 w 1620202"/>
                <a:gd name="connsiteY14" fmla="*/ 765810 h 1025842"/>
                <a:gd name="connsiteX15" fmla="*/ 1177290 w 1620202"/>
                <a:gd name="connsiteY15" fmla="*/ 797242 h 1025842"/>
                <a:gd name="connsiteX16" fmla="*/ 1222057 w 1620202"/>
                <a:gd name="connsiteY16" fmla="*/ 797242 h 1025842"/>
                <a:gd name="connsiteX17" fmla="*/ 1359217 w 1620202"/>
                <a:gd name="connsiteY17" fmla="*/ 903922 h 1025842"/>
                <a:gd name="connsiteX18" fmla="*/ 1446847 w 1620202"/>
                <a:gd name="connsiteY18" fmla="*/ 887730 h 1025842"/>
                <a:gd name="connsiteX19" fmla="*/ 1432560 w 1620202"/>
                <a:gd name="connsiteY19" fmla="*/ 836295 h 1025842"/>
                <a:gd name="connsiteX20" fmla="*/ 1369695 w 1620202"/>
                <a:gd name="connsiteY20" fmla="*/ 853440 h 1025842"/>
                <a:gd name="connsiteX21" fmla="*/ 1292542 w 1620202"/>
                <a:gd name="connsiteY21" fmla="*/ 797242 h 1025842"/>
                <a:gd name="connsiteX22" fmla="*/ 1382077 w 1620202"/>
                <a:gd name="connsiteY22" fmla="*/ 797242 h 1025842"/>
                <a:gd name="connsiteX23" fmla="*/ 1393507 w 1620202"/>
                <a:gd name="connsiteY23" fmla="*/ 765810 h 1025842"/>
                <a:gd name="connsiteX24" fmla="*/ 1286827 w 1620202"/>
                <a:gd name="connsiteY24" fmla="*/ 765810 h 1025842"/>
                <a:gd name="connsiteX25" fmla="*/ 1285875 w 1620202"/>
                <a:gd name="connsiteY25" fmla="*/ 749617 h 1025842"/>
                <a:gd name="connsiteX26" fmla="*/ 1285875 w 1620202"/>
                <a:gd name="connsiteY26" fmla="*/ 743902 h 1025842"/>
                <a:gd name="connsiteX27" fmla="*/ 1285875 w 1620202"/>
                <a:gd name="connsiteY27" fmla="*/ 740092 h 1025842"/>
                <a:gd name="connsiteX28" fmla="*/ 1401127 w 1620202"/>
                <a:gd name="connsiteY28" fmla="*/ 740092 h 1025842"/>
                <a:gd name="connsiteX29" fmla="*/ 1411605 w 1620202"/>
                <a:gd name="connsiteY29" fmla="*/ 708660 h 1025842"/>
                <a:gd name="connsiteX30" fmla="*/ 1286827 w 1620202"/>
                <a:gd name="connsiteY30" fmla="*/ 708660 h 1025842"/>
                <a:gd name="connsiteX31" fmla="*/ 1363980 w 1620202"/>
                <a:gd name="connsiteY31" fmla="*/ 645795 h 1025842"/>
                <a:gd name="connsiteX32" fmla="*/ 1428750 w 1620202"/>
                <a:gd name="connsiteY32" fmla="*/ 663892 h 1025842"/>
                <a:gd name="connsiteX33" fmla="*/ 1446847 w 1620202"/>
                <a:gd name="connsiteY33" fmla="*/ 614362 h 1025842"/>
                <a:gd name="connsiteX34" fmla="*/ 1355407 w 1620202"/>
                <a:gd name="connsiteY34" fmla="*/ 595312 h 1025842"/>
                <a:gd name="connsiteX35" fmla="*/ 472440 w 1620202"/>
                <a:gd name="connsiteY35" fmla="*/ 516255 h 1025842"/>
                <a:gd name="connsiteX36" fmla="*/ 350520 w 1620202"/>
                <a:gd name="connsiteY36" fmla="*/ 638175 h 1025842"/>
                <a:gd name="connsiteX37" fmla="*/ 472440 w 1620202"/>
                <a:gd name="connsiteY37" fmla="*/ 760095 h 1025842"/>
                <a:gd name="connsiteX38" fmla="*/ 594360 w 1620202"/>
                <a:gd name="connsiteY38" fmla="*/ 638175 h 1025842"/>
                <a:gd name="connsiteX39" fmla="*/ 472440 w 1620202"/>
                <a:gd name="connsiteY39" fmla="*/ 516255 h 1025842"/>
                <a:gd name="connsiteX40" fmla="*/ 0 w 1620202"/>
                <a:gd name="connsiteY40" fmla="*/ 350520 h 1025842"/>
                <a:gd name="connsiteX41" fmla="*/ 1619250 w 1620202"/>
                <a:gd name="connsiteY41" fmla="*/ 350520 h 1025842"/>
                <a:gd name="connsiteX42" fmla="*/ 1619250 w 1620202"/>
                <a:gd name="connsiteY42" fmla="*/ 918210 h 1025842"/>
                <a:gd name="connsiteX43" fmla="*/ 1511617 w 1620202"/>
                <a:gd name="connsiteY43" fmla="*/ 1025842 h 1025842"/>
                <a:gd name="connsiteX44" fmla="*/ 107632 w 1620202"/>
                <a:gd name="connsiteY44" fmla="*/ 1025842 h 1025842"/>
                <a:gd name="connsiteX45" fmla="*/ 0 w 1620202"/>
                <a:gd name="connsiteY45" fmla="*/ 918210 h 1025842"/>
                <a:gd name="connsiteX46" fmla="*/ 107632 w 1620202"/>
                <a:gd name="connsiteY46" fmla="*/ 0 h 1025842"/>
                <a:gd name="connsiteX47" fmla="*/ 1511617 w 1620202"/>
                <a:gd name="connsiteY47" fmla="*/ 0 h 1025842"/>
                <a:gd name="connsiteX48" fmla="*/ 1620202 w 1620202"/>
                <a:gd name="connsiteY48" fmla="*/ 107632 h 1025842"/>
                <a:gd name="connsiteX49" fmla="*/ 1620202 w 1620202"/>
                <a:gd name="connsiteY49" fmla="*/ 134302 h 1025842"/>
                <a:gd name="connsiteX50" fmla="*/ 0 w 1620202"/>
                <a:gd name="connsiteY50" fmla="*/ 134302 h 1025842"/>
                <a:gd name="connsiteX51" fmla="*/ 0 w 1620202"/>
                <a:gd name="connsiteY51" fmla="*/ 107632 h 1025842"/>
                <a:gd name="connsiteX52" fmla="*/ 107632 w 1620202"/>
                <a:gd name="connsiteY52" fmla="*/ 0 h 1025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620202" h="1025842">
                  <a:moveTo>
                    <a:pt x="287655" y="610552"/>
                  </a:moveTo>
                  <a:cubicBezTo>
                    <a:pt x="203835" y="610552"/>
                    <a:pt x="136207" y="679132"/>
                    <a:pt x="136207" y="763905"/>
                  </a:cubicBezTo>
                  <a:cubicBezTo>
                    <a:pt x="136207" y="848677"/>
                    <a:pt x="203835" y="917257"/>
                    <a:pt x="287655" y="917257"/>
                  </a:cubicBezTo>
                  <a:cubicBezTo>
                    <a:pt x="365760" y="917257"/>
                    <a:pt x="429577" y="857250"/>
                    <a:pt x="438150" y="781050"/>
                  </a:cubicBezTo>
                  <a:cubicBezTo>
                    <a:pt x="372427" y="765810"/>
                    <a:pt x="323850" y="706755"/>
                    <a:pt x="323850" y="637222"/>
                  </a:cubicBezTo>
                  <a:cubicBezTo>
                    <a:pt x="323850" y="629602"/>
                    <a:pt x="324802" y="622935"/>
                    <a:pt x="325755" y="615315"/>
                  </a:cubicBezTo>
                  <a:cubicBezTo>
                    <a:pt x="313372" y="612457"/>
                    <a:pt x="300990" y="610552"/>
                    <a:pt x="287655" y="610552"/>
                  </a:cubicBezTo>
                  <a:close/>
                  <a:moveTo>
                    <a:pt x="1355407" y="595312"/>
                  </a:moveTo>
                  <a:cubicBezTo>
                    <a:pt x="1284922" y="595312"/>
                    <a:pt x="1236345" y="636270"/>
                    <a:pt x="1221105" y="709612"/>
                  </a:cubicBezTo>
                  <a:lnTo>
                    <a:pt x="1187767" y="709612"/>
                  </a:lnTo>
                  <a:lnTo>
                    <a:pt x="1176337" y="741045"/>
                  </a:lnTo>
                  <a:lnTo>
                    <a:pt x="1217295" y="741045"/>
                  </a:lnTo>
                  <a:cubicBezTo>
                    <a:pt x="1217295" y="746760"/>
                    <a:pt x="1217295" y="750570"/>
                    <a:pt x="1217295" y="756285"/>
                  </a:cubicBezTo>
                  <a:cubicBezTo>
                    <a:pt x="1217295" y="761047"/>
                    <a:pt x="1217295" y="762952"/>
                    <a:pt x="1218247" y="765810"/>
                  </a:cubicBezTo>
                  <a:lnTo>
                    <a:pt x="1188720" y="765810"/>
                  </a:lnTo>
                  <a:lnTo>
                    <a:pt x="1177290" y="797242"/>
                  </a:lnTo>
                  <a:lnTo>
                    <a:pt x="1222057" y="797242"/>
                  </a:lnTo>
                  <a:cubicBezTo>
                    <a:pt x="1236345" y="865822"/>
                    <a:pt x="1285875" y="903922"/>
                    <a:pt x="1359217" y="903922"/>
                  </a:cubicBezTo>
                  <a:cubicBezTo>
                    <a:pt x="1392555" y="903922"/>
                    <a:pt x="1420177" y="899160"/>
                    <a:pt x="1446847" y="887730"/>
                  </a:cubicBezTo>
                  <a:lnTo>
                    <a:pt x="1432560" y="836295"/>
                  </a:lnTo>
                  <a:cubicBezTo>
                    <a:pt x="1411605" y="848677"/>
                    <a:pt x="1391602" y="853440"/>
                    <a:pt x="1369695" y="853440"/>
                  </a:cubicBezTo>
                  <a:cubicBezTo>
                    <a:pt x="1327785" y="853440"/>
                    <a:pt x="1304925" y="836295"/>
                    <a:pt x="1292542" y="797242"/>
                  </a:cubicBezTo>
                  <a:lnTo>
                    <a:pt x="1382077" y="797242"/>
                  </a:lnTo>
                  <a:lnTo>
                    <a:pt x="1393507" y="765810"/>
                  </a:lnTo>
                  <a:lnTo>
                    <a:pt x="1286827" y="765810"/>
                  </a:lnTo>
                  <a:cubicBezTo>
                    <a:pt x="1285875" y="759142"/>
                    <a:pt x="1285875" y="754380"/>
                    <a:pt x="1285875" y="749617"/>
                  </a:cubicBezTo>
                  <a:lnTo>
                    <a:pt x="1285875" y="743902"/>
                  </a:lnTo>
                  <a:lnTo>
                    <a:pt x="1285875" y="740092"/>
                  </a:lnTo>
                  <a:lnTo>
                    <a:pt x="1401127" y="740092"/>
                  </a:lnTo>
                  <a:lnTo>
                    <a:pt x="1411605" y="708660"/>
                  </a:lnTo>
                  <a:lnTo>
                    <a:pt x="1286827" y="708660"/>
                  </a:lnTo>
                  <a:cubicBezTo>
                    <a:pt x="1296352" y="665797"/>
                    <a:pt x="1321117" y="645795"/>
                    <a:pt x="1363980" y="645795"/>
                  </a:cubicBezTo>
                  <a:cubicBezTo>
                    <a:pt x="1386840" y="645795"/>
                    <a:pt x="1404937" y="650557"/>
                    <a:pt x="1428750" y="663892"/>
                  </a:cubicBezTo>
                  <a:lnTo>
                    <a:pt x="1446847" y="614362"/>
                  </a:lnTo>
                  <a:cubicBezTo>
                    <a:pt x="1421130" y="601980"/>
                    <a:pt x="1389697" y="595312"/>
                    <a:pt x="1355407" y="595312"/>
                  </a:cubicBezTo>
                  <a:close/>
                  <a:moveTo>
                    <a:pt x="472440" y="516255"/>
                  </a:moveTo>
                  <a:cubicBezTo>
                    <a:pt x="405765" y="516255"/>
                    <a:pt x="350520" y="570547"/>
                    <a:pt x="350520" y="638175"/>
                  </a:cubicBezTo>
                  <a:cubicBezTo>
                    <a:pt x="350520" y="705802"/>
                    <a:pt x="405765" y="760095"/>
                    <a:pt x="472440" y="760095"/>
                  </a:cubicBezTo>
                  <a:cubicBezTo>
                    <a:pt x="540067" y="760095"/>
                    <a:pt x="594360" y="705802"/>
                    <a:pt x="594360" y="638175"/>
                  </a:cubicBezTo>
                  <a:cubicBezTo>
                    <a:pt x="594360" y="570547"/>
                    <a:pt x="539115" y="516255"/>
                    <a:pt x="472440" y="516255"/>
                  </a:cubicBezTo>
                  <a:close/>
                  <a:moveTo>
                    <a:pt x="0" y="350520"/>
                  </a:moveTo>
                  <a:lnTo>
                    <a:pt x="1619250" y="350520"/>
                  </a:lnTo>
                  <a:lnTo>
                    <a:pt x="1619250" y="918210"/>
                  </a:lnTo>
                  <a:cubicBezTo>
                    <a:pt x="1619250" y="977265"/>
                    <a:pt x="1571625" y="1025842"/>
                    <a:pt x="1511617" y="1025842"/>
                  </a:cubicBezTo>
                  <a:lnTo>
                    <a:pt x="107632" y="1025842"/>
                  </a:lnTo>
                  <a:cubicBezTo>
                    <a:pt x="48577" y="1025842"/>
                    <a:pt x="0" y="978217"/>
                    <a:pt x="0" y="918210"/>
                  </a:cubicBezTo>
                  <a:close/>
                  <a:moveTo>
                    <a:pt x="107632" y="0"/>
                  </a:moveTo>
                  <a:lnTo>
                    <a:pt x="1511617" y="0"/>
                  </a:lnTo>
                  <a:cubicBezTo>
                    <a:pt x="1571625" y="0"/>
                    <a:pt x="1620202" y="48577"/>
                    <a:pt x="1620202" y="107632"/>
                  </a:cubicBezTo>
                  <a:lnTo>
                    <a:pt x="1620202" y="134302"/>
                  </a:lnTo>
                  <a:lnTo>
                    <a:pt x="0" y="134302"/>
                  </a:lnTo>
                  <a:lnTo>
                    <a:pt x="0" y="107632"/>
                  </a:lnTo>
                  <a:cubicBezTo>
                    <a:pt x="0" y="48577"/>
                    <a:pt x="48577" y="0"/>
                    <a:pt x="107632" y="0"/>
                  </a:cubicBezTo>
                  <a:close/>
                </a:path>
              </a:pathLst>
            </a:custGeom>
            <a:solidFill>
              <a:srgbClr val="9999A9"/>
            </a:solidFill>
            <a:ln w="9525" cap="flat">
              <a:noFill/>
              <a:prstDash val="solid"/>
              <a:miter/>
            </a:ln>
          </p:spPr>
          <p:txBody>
            <a:bodyPr rtlCol="0" anchor="ctr"/>
            <a:lstStyle/>
            <a:p>
              <a:endParaRPr lang="en-US" sz="1799" dirty="0"/>
            </a:p>
          </p:txBody>
        </p:sp>
      </p:grpSp>
      <p:sp>
        <p:nvSpPr>
          <p:cNvPr id="78" name="Freeform: Shape 77">
            <a:extLst>
              <a:ext uri="{FF2B5EF4-FFF2-40B4-BE49-F238E27FC236}">
                <a16:creationId xmlns:a16="http://schemas.microsoft.com/office/drawing/2014/main" id="{EF96D851-3F43-4C30-A9BD-484F6FC69882}"/>
              </a:ext>
            </a:extLst>
          </p:cNvPr>
          <p:cNvSpPr>
            <a:spLocks noChangeAspect="1"/>
          </p:cNvSpPr>
          <p:nvPr/>
        </p:nvSpPr>
        <p:spPr>
          <a:xfrm>
            <a:off x="6996325" y="4935079"/>
            <a:ext cx="1079438" cy="776417"/>
          </a:xfrm>
          <a:custGeom>
            <a:avLst/>
            <a:gdLst>
              <a:gd name="connsiteX0" fmla="*/ 1825943 w 4170045"/>
              <a:gd name="connsiteY0" fmla="*/ 2666048 h 2999423"/>
              <a:gd name="connsiteX1" fmla="*/ 2359343 w 4170045"/>
              <a:gd name="connsiteY1" fmla="*/ 2666048 h 2999423"/>
              <a:gd name="connsiteX2" fmla="*/ 2692718 w 4170045"/>
              <a:gd name="connsiteY2" fmla="*/ 2999423 h 2999423"/>
              <a:gd name="connsiteX3" fmla="*/ 1492568 w 4170045"/>
              <a:gd name="connsiteY3" fmla="*/ 2999423 h 2999423"/>
              <a:gd name="connsiteX4" fmla="*/ 1825943 w 4170045"/>
              <a:gd name="connsiteY4" fmla="*/ 2666048 h 2999423"/>
              <a:gd name="connsiteX5" fmla="*/ 3360420 w 4170045"/>
              <a:gd name="connsiteY5" fmla="*/ 840105 h 2999423"/>
              <a:gd name="connsiteX6" fmla="*/ 2774632 w 4170045"/>
              <a:gd name="connsiteY6" fmla="*/ 1778318 h 2999423"/>
              <a:gd name="connsiteX7" fmla="*/ 3946207 w 4170045"/>
              <a:gd name="connsiteY7" fmla="*/ 1778318 h 2999423"/>
              <a:gd name="connsiteX8" fmla="*/ 809625 w 4170045"/>
              <a:gd name="connsiteY8" fmla="*/ 423862 h 2999423"/>
              <a:gd name="connsiteX9" fmla="*/ 221932 w 4170045"/>
              <a:gd name="connsiteY9" fmla="*/ 1363980 h 2999423"/>
              <a:gd name="connsiteX10" fmla="*/ 1397317 w 4170045"/>
              <a:gd name="connsiteY10" fmla="*/ 1363980 h 2999423"/>
              <a:gd name="connsiteX11" fmla="*/ 3360420 w 4170045"/>
              <a:gd name="connsiteY11" fmla="*/ 416243 h 2999423"/>
              <a:gd name="connsiteX12" fmla="*/ 3515677 w 4170045"/>
              <a:gd name="connsiteY12" fmla="*/ 571500 h 2999423"/>
              <a:gd name="connsiteX13" fmla="*/ 3479482 w 4170045"/>
              <a:gd name="connsiteY13" fmla="*/ 671513 h 2999423"/>
              <a:gd name="connsiteX14" fmla="*/ 4170045 w 4170045"/>
              <a:gd name="connsiteY14" fmla="*/ 1778318 h 2999423"/>
              <a:gd name="connsiteX15" fmla="*/ 3360420 w 4170045"/>
              <a:gd name="connsiteY15" fmla="*/ 2636520 h 2999423"/>
              <a:gd name="connsiteX16" fmla="*/ 2550795 w 4170045"/>
              <a:gd name="connsiteY16" fmla="*/ 1779270 h 2999423"/>
              <a:gd name="connsiteX17" fmla="*/ 2551747 w 4170045"/>
              <a:gd name="connsiteY17" fmla="*/ 1779270 h 2999423"/>
              <a:gd name="connsiteX18" fmla="*/ 3242310 w 4170045"/>
              <a:gd name="connsiteY18" fmla="*/ 671513 h 2999423"/>
              <a:gd name="connsiteX19" fmla="*/ 3206115 w 4170045"/>
              <a:gd name="connsiteY19" fmla="*/ 571500 h 2999423"/>
              <a:gd name="connsiteX20" fmla="*/ 3360420 w 4170045"/>
              <a:gd name="connsiteY20" fmla="*/ 416243 h 2999423"/>
              <a:gd name="connsiteX21" fmla="*/ 1070610 w 4170045"/>
              <a:gd name="connsiteY21" fmla="*/ 11430 h 2999423"/>
              <a:gd name="connsiteX22" fmla="*/ 3147060 w 4170045"/>
              <a:gd name="connsiteY22" fmla="*/ 375285 h 2999423"/>
              <a:gd name="connsiteX23" fmla="*/ 3070860 w 4170045"/>
              <a:gd name="connsiteY23" fmla="*/ 518160 h 2999423"/>
              <a:gd name="connsiteX24" fmla="*/ 3092768 w 4170045"/>
              <a:gd name="connsiteY24" fmla="*/ 656272 h 2999423"/>
              <a:gd name="connsiteX25" fmla="*/ 2221230 w 4170045"/>
              <a:gd name="connsiteY25" fmla="*/ 502920 h 2999423"/>
              <a:gd name="connsiteX26" fmla="*/ 2221230 w 4170045"/>
              <a:gd name="connsiteY26" fmla="*/ 2470785 h 2999423"/>
              <a:gd name="connsiteX27" fmla="*/ 1935480 w 4170045"/>
              <a:gd name="connsiteY27" fmla="*/ 2470785 h 2999423"/>
              <a:gd name="connsiteX28" fmla="*/ 1935480 w 4170045"/>
              <a:gd name="connsiteY28" fmla="*/ 452437 h 2999423"/>
              <a:gd name="connsiteX29" fmla="*/ 1048703 w 4170045"/>
              <a:gd name="connsiteY29" fmla="*/ 296227 h 2999423"/>
              <a:gd name="connsiteX30" fmla="*/ 1105853 w 4170045"/>
              <a:gd name="connsiteY30" fmla="*/ 172402 h 2999423"/>
              <a:gd name="connsiteX31" fmla="*/ 1070610 w 4170045"/>
              <a:gd name="connsiteY31" fmla="*/ 11430 h 2999423"/>
              <a:gd name="connsiteX32" fmla="*/ 809625 w 4170045"/>
              <a:gd name="connsiteY32" fmla="*/ 0 h 2999423"/>
              <a:gd name="connsiteX33" fmla="*/ 963930 w 4170045"/>
              <a:gd name="connsiteY33" fmla="*/ 154305 h 2999423"/>
              <a:gd name="connsiteX34" fmla="*/ 927735 w 4170045"/>
              <a:gd name="connsiteY34" fmla="*/ 254317 h 2999423"/>
              <a:gd name="connsiteX35" fmla="*/ 1619250 w 4170045"/>
              <a:gd name="connsiteY35" fmla="*/ 1364932 h 2999423"/>
              <a:gd name="connsiteX36" fmla="*/ 809625 w 4170045"/>
              <a:gd name="connsiteY36" fmla="*/ 2221230 h 2999423"/>
              <a:gd name="connsiteX37" fmla="*/ 0 w 4170045"/>
              <a:gd name="connsiteY37" fmla="*/ 1368742 h 2999423"/>
              <a:gd name="connsiteX38" fmla="*/ 690562 w 4170045"/>
              <a:gd name="connsiteY38" fmla="*/ 255270 h 2999423"/>
              <a:gd name="connsiteX39" fmla="*/ 654367 w 4170045"/>
              <a:gd name="connsiteY39" fmla="*/ 155257 h 2999423"/>
              <a:gd name="connsiteX40" fmla="*/ 809625 w 4170045"/>
              <a:gd name="connsiteY40" fmla="*/ 0 h 2999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170045" h="2999423">
                <a:moveTo>
                  <a:pt x="1825943" y="2666048"/>
                </a:moveTo>
                <a:lnTo>
                  <a:pt x="2359343" y="2666048"/>
                </a:lnTo>
                <a:cubicBezTo>
                  <a:pt x="2544128" y="2666048"/>
                  <a:pt x="2692718" y="2815590"/>
                  <a:pt x="2692718" y="2999423"/>
                </a:cubicBezTo>
                <a:lnTo>
                  <a:pt x="1492568" y="2999423"/>
                </a:lnTo>
                <a:cubicBezTo>
                  <a:pt x="1492568" y="2815590"/>
                  <a:pt x="1642110" y="2666048"/>
                  <a:pt x="1825943" y="2666048"/>
                </a:cubicBezTo>
                <a:close/>
                <a:moveTo>
                  <a:pt x="3360420" y="840105"/>
                </a:moveTo>
                <a:lnTo>
                  <a:pt x="2774632" y="1778318"/>
                </a:lnTo>
                <a:lnTo>
                  <a:pt x="3946207" y="1778318"/>
                </a:lnTo>
                <a:close/>
                <a:moveTo>
                  <a:pt x="809625" y="423862"/>
                </a:moveTo>
                <a:lnTo>
                  <a:pt x="221932" y="1363980"/>
                </a:lnTo>
                <a:lnTo>
                  <a:pt x="1397317" y="1363980"/>
                </a:lnTo>
                <a:close/>
                <a:moveTo>
                  <a:pt x="3360420" y="416243"/>
                </a:moveTo>
                <a:cubicBezTo>
                  <a:pt x="3446145" y="416243"/>
                  <a:pt x="3515677" y="485775"/>
                  <a:pt x="3515677" y="571500"/>
                </a:cubicBezTo>
                <a:cubicBezTo>
                  <a:pt x="3515677" y="609600"/>
                  <a:pt x="3502343" y="644843"/>
                  <a:pt x="3479482" y="671513"/>
                </a:cubicBezTo>
                <a:lnTo>
                  <a:pt x="4170045" y="1778318"/>
                </a:lnTo>
                <a:cubicBezTo>
                  <a:pt x="4170045" y="2252663"/>
                  <a:pt x="3807143" y="2636520"/>
                  <a:pt x="3360420" y="2636520"/>
                </a:cubicBezTo>
                <a:cubicBezTo>
                  <a:pt x="2913697" y="2636520"/>
                  <a:pt x="2550795" y="2252663"/>
                  <a:pt x="2550795" y="1779270"/>
                </a:cubicBezTo>
                <a:lnTo>
                  <a:pt x="2551747" y="1779270"/>
                </a:lnTo>
                <a:lnTo>
                  <a:pt x="3242310" y="671513"/>
                </a:lnTo>
                <a:cubicBezTo>
                  <a:pt x="3219450" y="643890"/>
                  <a:pt x="3206115" y="609600"/>
                  <a:pt x="3206115" y="571500"/>
                </a:cubicBezTo>
                <a:cubicBezTo>
                  <a:pt x="3206115" y="485775"/>
                  <a:pt x="3274695" y="416243"/>
                  <a:pt x="3360420" y="416243"/>
                </a:cubicBezTo>
                <a:close/>
                <a:moveTo>
                  <a:pt x="1070610" y="11430"/>
                </a:moveTo>
                <a:lnTo>
                  <a:pt x="3147060" y="375285"/>
                </a:lnTo>
                <a:cubicBezTo>
                  <a:pt x="3107055" y="411480"/>
                  <a:pt x="3078480" y="461010"/>
                  <a:pt x="3070860" y="518160"/>
                </a:cubicBezTo>
                <a:cubicBezTo>
                  <a:pt x="3064193" y="567690"/>
                  <a:pt x="3072765" y="615315"/>
                  <a:pt x="3092768" y="656272"/>
                </a:cubicBezTo>
                <a:lnTo>
                  <a:pt x="2221230" y="502920"/>
                </a:lnTo>
                <a:lnTo>
                  <a:pt x="2221230" y="2470785"/>
                </a:lnTo>
                <a:lnTo>
                  <a:pt x="1935480" y="2470785"/>
                </a:lnTo>
                <a:lnTo>
                  <a:pt x="1935480" y="452437"/>
                </a:lnTo>
                <a:lnTo>
                  <a:pt x="1048703" y="296227"/>
                </a:lnTo>
                <a:cubicBezTo>
                  <a:pt x="1079183" y="262890"/>
                  <a:pt x="1099185" y="220027"/>
                  <a:pt x="1105853" y="172402"/>
                </a:cubicBezTo>
                <a:cubicBezTo>
                  <a:pt x="1114425" y="114300"/>
                  <a:pt x="1100138" y="57150"/>
                  <a:pt x="1070610" y="11430"/>
                </a:cubicBezTo>
                <a:close/>
                <a:moveTo>
                  <a:pt x="809625" y="0"/>
                </a:moveTo>
                <a:cubicBezTo>
                  <a:pt x="895350" y="0"/>
                  <a:pt x="963930" y="69532"/>
                  <a:pt x="963930" y="154305"/>
                </a:cubicBezTo>
                <a:cubicBezTo>
                  <a:pt x="963930" y="192405"/>
                  <a:pt x="950595" y="227647"/>
                  <a:pt x="927735" y="254317"/>
                </a:cubicBezTo>
                <a:lnTo>
                  <a:pt x="1619250" y="1364932"/>
                </a:lnTo>
                <a:cubicBezTo>
                  <a:pt x="1618297" y="1838325"/>
                  <a:pt x="1256347" y="2221230"/>
                  <a:pt x="809625" y="2221230"/>
                </a:cubicBezTo>
                <a:cubicBezTo>
                  <a:pt x="363855" y="2221230"/>
                  <a:pt x="2857" y="1840230"/>
                  <a:pt x="0" y="1368742"/>
                </a:cubicBezTo>
                <a:lnTo>
                  <a:pt x="690562" y="255270"/>
                </a:lnTo>
                <a:cubicBezTo>
                  <a:pt x="667702" y="227647"/>
                  <a:pt x="654367" y="193357"/>
                  <a:pt x="654367" y="155257"/>
                </a:cubicBezTo>
                <a:cubicBezTo>
                  <a:pt x="654367" y="69532"/>
                  <a:pt x="723900" y="0"/>
                  <a:pt x="809625" y="0"/>
                </a:cubicBezTo>
                <a:close/>
              </a:path>
            </a:pathLst>
          </a:custGeom>
          <a:solidFill>
            <a:schemeClr val="bg2"/>
          </a:solidFill>
          <a:ln w="9525" cap="flat">
            <a:noFill/>
            <a:prstDash val="solid"/>
            <a:miter/>
          </a:ln>
        </p:spPr>
        <p:txBody>
          <a:bodyPr rtlCol="0" anchor="ctr"/>
          <a:lstStyle/>
          <a:p>
            <a:endParaRPr lang="en-US" sz="1799" dirty="0"/>
          </a:p>
        </p:txBody>
      </p:sp>
      <p:sp>
        <p:nvSpPr>
          <p:cNvPr id="79" name="Graphic 15">
            <a:extLst>
              <a:ext uri="{FF2B5EF4-FFF2-40B4-BE49-F238E27FC236}">
                <a16:creationId xmlns:a16="http://schemas.microsoft.com/office/drawing/2014/main" id="{766B453A-69E5-4A5D-B096-D85319ED09F7}"/>
              </a:ext>
            </a:extLst>
          </p:cNvPr>
          <p:cNvSpPr>
            <a:spLocks noChangeAspect="1"/>
          </p:cNvSpPr>
          <p:nvPr/>
        </p:nvSpPr>
        <p:spPr>
          <a:xfrm>
            <a:off x="1238681" y="5169755"/>
            <a:ext cx="1079438" cy="541740"/>
          </a:xfrm>
          <a:custGeom>
            <a:avLst/>
            <a:gdLst>
              <a:gd name="connsiteX0" fmla="*/ 1599724 w 2543175"/>
              <a:gd name="connsiteY0" fmla="*/ 528161 h 1276350"/>
              <a:gd name="connsiteX1" fmla="*/ 1376839 w 2543175"/>
              <a:gd name="connsiteY1" fmla="*/ 1105376 h 1276350"/>
              <a:gd name="connsiteX2" fmla="*/ 1437799 w 2543175"/>
              <a:gd name="connsiteY2" fmla="*/ 1275874 h 1276350"/>
              <a:gd name="connsiteX3" fmla="*/ 897731 w 2543175"/>
              <a:gd name="connsiteY3" fmla="*/ 1275874 h 1276350"/>
              <a:gd name="connsiteX4" fmla="*/ 1167289 w 2543175"/>
              <a:gd name="connsiteY4" fmla="*/ 1006316 h 1276350"/>
              <a:gd name="connsiteX5" fmla="*/ 1211104 w 2543175"/>
              <a:gd name="connsiteY5" fmla="*/ 1010126 h 1276350"/>
              <a:gd name="connsiteX6" fmla="*/ 1599724 w 2543175"/>
              <a:gd name="connsiteY6" fmla="*/ 528161 h 1276350"/>
              <a:gd name="connsiteX7" fmla="*/ 1275874 w 2543175"/>
              <a:gd name="connsiteY7" fmla="*/ 7144 h 1276350"/>
              <a:gd name="connsiteX8" fmla="*/ 1221581 w 2543175"/>
              <a:gd name="connsiteY8" fmla="*/ 8096 h 1276350"/>
              <a:gd name="connsiteX9" fmla="*/ 1221581 w 2543175"/>
              <a:gd name="connsiteY9" fmla="*/ 278606 h 1276350"/>
              <a:gd name="connsiteX10" fmla="*/ 2005489 w 2543175"/>
              <a:gd name="connsiteY10" fmla="*/ 731044 h 1276350"/>
              <a:gd name="connsiteX11" fmla="*/ 2316956 w 2543175"/>
              <a:gd name="connsiteY11" fmla="*/ 550069 h 1276350"/>
              <a:gd name="connsiteX12" fmla="*/ 1275874 w 2543175"/>
              <a:gd name="connsiteY12" fmla="*/ 7144 h 1276350"/>
              <a:gd name="connsiteX13" fmla="*/ 2375059 w 2543175"/>
              <a:gd name="connsiteY13" fmla="*/ 641509 h 1276350"/>
              <a:gd name="connsiteX14" fmla="*/ 2058829 w 2543175"/>
              <a:gd name="connsiteY14" fmla="*/ 824389 h 1276350"/>
              <a:gd name="connsiteX15" fmla="*/ 2166461 w 2543175"/>
              <a:gd name="connsiteY15" fmla="*/ 1276826 h 1276350"/>
              <a:gd name="connsiteX16" fmla="*/ 2544604 w 2543175"/>
              <a:gd name="connsiteY16" fmla="*/ 1276826 h 1276350"/>
              <a:gd name="connsiteX17" fmla="*/ 2375059 w 2543175"/>
              <a:gd name="connsiteY17" fmla="*/ 641509 h 1276350"/>
              <a:gd name="connsiteX18" fmla="*/ 1113949 w 2543175"/>
              <a:gd name="connsiteY18" fmla="*/ 17621 h 1276350"/>
              <a:gd name="connsiteX19" fmla="*/ 7144 w 2543175"/>
              <a:gd name="connsiteY19" fmla="*/ 1275874 h 1276350"/>
              <a:gd name="connsiteX20" fmla="*/ 169069 w 2543175"/>
              <a:gd name="connsiteY20" fmla="*/ 1275874 h 1276350"/>
              <a:gd name="connsiteX21" fmla="*/ 1113949 w 2543175"/>
              <a:gd name="connsiteY21" fmla="*/ 278606 h 1276350"/>
              <a:gd name="connsiteX22" fmla="*/ 1113949 w 2543175"/>
              <a:gd name="connsiteY22" fmla="*/ 17621 h 1276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543175" h="1276350">
                <a:moveTo>
                  <a:pt x="1599724" y="528161"/>
                </a:moveTo>
                <a:lnTo>
                  <a:pt x="1376839" y="1105376"/>
                </a:lnTo>
                <a:cubicBezTo>
                  <a:pt x="1414939" y="1152049"/>
                  <a:pt x="1437799" y="1211104"/>
                  <a:pt x="1437799" y="1275874"/>
                </a:cubicBezTo>
                <a:lnTo>
                  <a:pt x="897731" y="1275874"/>
                </a:lnTo>
                <a:cubicBezTo>
                  <a:pt x="897731" y="1126331"/>
                  <a:pt x="1018699" y="1006316"/>
                  <a:pt x="1167289" y="1006316"/>
                </a:cubicBezTo>
                <a:cubicBezTo>
                  <a:pt x="1182529" y="1006316"/>
                  <a:pt x="1196816" y="1007269"/>
                  <a:pt x="1211104" y="1010126"/>
                </a:cubicBezTo>
                <a:lnTo>
                  <a:pt x="1599724" y="528161"/>
                </a:lnTo>
                <a:close/>
                <a:moveTo>
                  <a:pt x="1275874" y="7144"/>
                </a:moveTo>
                <a:cubicBezTo>
                  <a:pt x="1257776" y="7144"/>
                  <a:pt x="1239679" y="8096"/>
                  <a:pt x="1221581" y="8096"/>
                </a:cubicBezTo>
                <a:lnTo>
                  <a:pt x="1221581" y="278606"/>
                </a:lnTo>
                <a:cubicBezTo>
                  <a:pt x="1550194" y="295751"/>
                  <a:pt x="1835944" y="471964"/>
                  <a:pt x="2005489" y="731044"/>
                </a:cubicBezTo>
                <a:lnTo>
                  <a:pt x="2316956" y="550069"/>
                </a:lnTo>
                <a:cubicBezTo>
                  <a:pt x="2087404" y="222409"/>
                  <a:pt x="1707356" y="7144"/>
                  <a:pt x="1275874" y="7144"/>
                </a:cubicBezTo>
                <a:close/>
                <a:moveTo>
                  <a:pt x="2375059" y="641509"/>
                </a:moveTo>
                <a:lnTo>
                  <a:pt x="2058829" y="824389"/>
                </a:lnTo>
                <a:cubicBezTo>
                  <a:pt x="2127409" y="960596"/>
                  <a:pt x="2166461" y="1113949"/>
                  <a:pt x="2166461" y="1276826"/>
                </a:cubicBezTo>
                <a:lnTo>
                  <a:pt x="2544604" y="1276826"/>
                </a:lnTo>
                <a:cubicBezTo>
                  <a:pt x="2545556" y="1045369"/>
                  <a:pt x="2483644" y="828199"/>
                  <a:pt x="2375059" y="641509"/>
                </a:cubicBezTo>
                <a:close/>
                <a:moveTo>
                  <a:pt x="1113949" y="17621"/>
                </a:moveTo>
                <a:cubicBezTo>
                  <a:pt x="490061" y="96679"/>
                  <a:pt x="7144" y="630079"/>
                  <a:pt x="7144" y="1275874"/>
                </a:cubicBezTo>
                <a:lnTo>
                  <a:pt x="169069" y="1275874"/>
                </a:lnTo>
                <a:cubicBezTo>
                  <a:pt x="169069" y="742474"/>
                  <a:pt x="587216" y="306229"/>
                  <a:pt x="1113949" y="278606"/>
                </a:cubicBezTo>
                <a:lnTo>
                  <a:pt x="1113949" y="17621"/>
                </a:lnTo>
                <a:close/>
              </a:path>
            </a:pathLst>
          </a:custGeom>
          <a:solidFill>
            <a:schemeClr val="bg2"/>
          </a:solidFill>
          <a:ln w="9525" cap="flat">
            <a:noFill/>
            <a:prstDash val="solid"/>
            <a:miter/>
          </a:ln>
        </p:spPr>
        <p:txBody>
          <a:bodyPr rtlCol="0" anchor="ctr"/>
          <a:lstStyle/>
          <a:p>
            <a:endParaRPr lang="en-US" sz="1799" dirty="0"/>
          </a:p>
        </p:txBody>
      </p:sp>
      <p:sp>
        <p:nvSpPr>
          <p:cNvPr id="82" name="Graphic 79">
            <a:extLst>
              <a:ext uri="{FF2B5EF4-FFF2-40B4-BE49-F238E27FC236}">
                <a16:creationId xmlns:a16="http://schemas.microsoft.com/office/drawing/2014/main" id="{F80194E3-6D01-4220-8E30-7C6E14A39289}"/>
              </a:ext>
            </a:extLst>
          </p:cNvPr>
          <p:cNvSpPr>
            <a:spLocks noChangeAspect="1"/>
          </p:cNvSpPr>
          <p:nvPr/>
        </p:nvSpPr>
        <p:spPr>
          <a:xfrm>
            <a:off x="6996325" y="2528268"/>
            <a:ext cx="1079438" cy="642811"/>
          </a:xfrm>
          <a:custGeom>
            <a:avLst/>
            <a:gdLst>
              <a:gd name="connsiteX0" fmla="*/ 978694 w 2543175"/>
              <a:gd name="connsiteY0" fmla="*/ 1184434 h 1514475"/>
              <a:gd name="connsiteX1" fmla="*/ 1302544 w 2543175"/>
              <a:gd name="connsiteY1" fmla="*/ 1371124 h 1514475"/>
              <a:gd name="connsiteX2" fmla="*/ 1302544 w 2543175"/>
              <a:gd name="connsiteY2" fmla="*/ 1508284 h 1514475"/>
              <a:gd name="connsiteX3" fmla="*/ 1094899 w 2543175"/>
              <a:gd name="connsiteY3" fmla="*/ 1508284 h 1514475"/>
              <a:gd name="connsiteX4" fmla="*/ 706279 w 2543175"/>
              <a:gd name="connsiteY4" fmla="*/ 1283494 h 1514475"/>
              <a:gd name="connsiteX5" fmla="*/ 763429 w 2543175"/>
              <a:gd name="connsiteY5" fmla="*/ 1184434 h 1514475"/>
              <a:gd name="connsiteX6" fmla="*/ 978694 w 2543175"/>
              <a:gd name="connsiteY6" fmla="*/ 1184434 h 1514475"/>
              <a:gd name="connsiteX7" fmla="*/ 999649 w 2543175"/>
              <a:gd name="connsiteY7" fmla="*/ 925354 h 1514475"/>
              <a:gd name="connsiteX8" fmla="*/ 788194 w 2543175"/>
              <a:gd name="connsiteY8" fmla="*/ 714851 h 1514475"/>
              <a:gd name="connsiteX9" fmla="*/ 845344 w 2543175"/>
              <a:gd name="connsiteY9" fmla="*/ 615791 h 1514475"/>
              <a:gd name="connsiteX10" fmla="*/ 705326 w 2543175"/>
              <a:gd name="connsiteY10" fmla="*/ 534829 h 1514475"/>
              <a:gd name="connsiteX11" fmla="*/ 408146 w 2543175"/>
              <a:gd name="connsiteY11" fmla="*/ 1049179 h 1514475"/>
              <a:gd name="connsiteX12" fmla="*/ 639604 w 2543175"/>
              <a:gd name="connsiteY12" fmla="*/ 1182529 h 1514475"/>
              <a:gd name="connsiteX13" fmla="*/ 700564 w 2543175"/>
              <a:gd name="connsiteY13" fmla="*/ 1075849 h 1514475"/>
              <a:gd name="connsiteX14" fmla="*/ 1008221 w 2543175"/>
              <a:gd name="connsiteY14" fmla="*/ 1075849 h 1514475"/>
              <a:gd name="connsiteX15" fmla="*/ 1411129 w 2543175"/>
              <a:gd name="connsiteY15" fmla="*/ 1308259 h 1514475"/>
              <a:gd name="connsiteX16" fmla="*/ 1411129 w 2543175"/>
              <a:gd name="connsiteY16" fmla="*/ 1399699 h 1514475"/>
              <a:gd name="connsiteX17" fmla="*/ 1411129 w 2543175"/>
              <a:gd name="connsiteY17" fmla="*/ 1399699 h 1514475"/>
              <a:gd name="connsiteX18" fmla="*/ 1518761 w 2543175"/>
              <a:gd name="connsiteY18" fmla="*/ 1503521 h 1514475"/>
              <a:gd name="connsiteX19" fmla="*/ 1951196 w 2543175"/>
              <a:gd name="connsiteY19" fmla="*/ 1345406 h 1514475"/>
              <a:gd name="connsiteX20" fmla="*/ 1951196 w 2543175"/>
              <a:gd name="connsiteY20" fmla="*/ 1224439 h 1514475"/>
              <a:gd name="connsiteX21" fmla="*/ 1451134 w 2543175"/>
              <a:gd name="connsiteY21" fmla="*/ 813911 h 1514475"/>
              <a:gd name="connsiteX22" fmla="*/ 999649 w 2543175"/>
              <a:gd name="connsiteY22" fmla="*/ 925354 h 1514475"/>
              <a:gd name="connsiteX23" fmla="*/ 1847374 w 2543175"/>
              <a:gd name="connsiteY23" fmla="*/ 534829 h 1514475"/>
              <a:gd name="connsiteX24" fmla="*/ 1751171 w 2543175"/>
              <a:gd name="connsiteY24" fmla="*/ 590074 h 1514475"/>
              <a:gd name="connsiteX25" fmla="*/ 1411129 w 2543175"/>
              <a:gd name="connsiteY25" fmla="*/ 428149 h 1514475"/>
              <a:gd name="connsiteX26" fmla="*/ 925354 w 2543175"/>
              <a:gd name="connsiteY26" fmla="*/ 697706 h 1514475"/>
              <a:gd name="connsiteX27" fmla="*/ 1032986 w 2543175"/>
              <a:gd name="connsiteY27" fmla="*/ 805339 h 1514475"/>
              <a:gd name="connsiteX28" fmla="*/ 1477804 w 2543175"/>
              <a:gd name="connsiteY28" fmla="*/ 696754 h 1514475"/>
              <a:gd name="connsiteX29" fmla="*/ 2001679 w 2543175"/>
              <a:gd name="connsiteY29" fmla="*/ 1127284 h 1514475"/>
              <a:gd name="connsiteX30" fmla="*/ 2002631 w 2543175"/>
              <a:gd name="connsiteY30" fmla="*/ 1129189 h 1514475"/>
              <a:gd name="connsiteX31" fmla="*/ 2003584 w 2543175"/>
              <a:gd name="connsiteY31" fmla="*/ 1128236 h 1514475"/>
              <a:gd name="connsiteX32" fmla="*/ 2004536 w 2543175"/>
              <a:gd name="connsiteY32" fmla="*/ 1129189 h 1514475"/>
              <a:gd name="connsiteX33" fmla="*/ 2004536 w 2543175"/>
              <a:gd name="connsiteY33" fmla="*/ 1128236 h 1514475"/>
              <a:gd name="connsiteX34" fmla="*/ 2143601 w 2543175"/>
              <a:gd name="connsiteY34" fmla="*/ 1048226 h 1514475"/>
              <a:gd name="connsiteX35" fmla="*/ 1847374 w 2543175"/>
              <a:gd name="connsiteY35" fmla="*/ 534829 h 1514475"/>
              <a:gd name="connsiteX36" fmla="*/ 1886426 w 2543175"/>
              <a:gd name="connsiteY36" fmla="*/ 387191 h 1514475"/>
              <a:gd name="connsiteX37" fmla="*/ 2291239 w 2543175"/>
              <a:gd name="connsiteY37" fmla="*/ 1088231 h 1514475"/>
              <a:gd name="connsiteX38" fmla="*/ 2544604 w 2543175"/>
              <a:gd name="connsiteY38" fmla="*/ 941546 h 1514475"/>
              <a:gd name="connsiteX39" fmla="*/ 2544604 w 2543175"/>
              <a:gd name="connsiteY39" fmla="*/ 7144 h 1514475"/>
              <a:gd name="connsiteX40" fmla="*/ 1886426 w 2543175"/>
              <a:gd name="connsiteY40" fmla="*/ 387191 h 1514475"/>
              <a:gd name="connsiteX41" fmla="*/ 7144 w 2543175"/>
              <a:gd name="connsiteY41" fmla="*/ 7144 h 1514475"/>
              <a:gd name="connsiteX42" fmla="*/ 7144 w 2543175"/>
              <a:gd name="connsiteY42" fmla="*/ 942499 h 1514475"/>
              <a:gd name="connsiteX43" fmla="*/ 260509 w 2543175"/>
              <a:gd name="connsiteY43" fmla="*/ 1089184 h 1514475"/>
              <a:gd name="connsiteX44" fmla="*/ 665321 w 2543175"/>
              <a:gd name="connsiteY44" fmla="*/ 388144 h 1514475"/>
              <a:gd name="connsiteX45" fmla="*/ 7144 w 2543175"/>
              <a:gd name="connsiteY45" fmla="*/ 7144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543175" h="1514475">
                <a:moveTo>
                  <a:pt x="978694" y="1184434"/>
                </a:moveTo>
                <a:lnTo>
                  <a:pt x="1302544" y="1371124"/>
                </a:lnTo>
                <a:lnTo>
                  <a:pt x="1302544" y="1508284"/>
                </a:lnTo>
                <a:lnTo>
                  <a:pt x="1094899" y="1508284"/>
                </a:lnTo>
                <a:lnTo>
                  <a:pt x="706279" y="1283494"/>
                </a:lnTo>
                <a:lnTo>
                  <a:pt x="763429" y="1184434"/>
                </a:lnTo>
                <a:lnTo>
                  <a:pt x="978694" y="1184434"/>
                </a:lnTo>
                <a:close/>
                <a:moveTo>
                  <a:pt x="999649" y="925354"/>
                </a:moveTo>
                <a:lnTo>
                  <a:pt x="788194" y="714851"/>
                </a:lnTo>
                <a:lnTo>
                  <a:pt x="845344" y="615791"/>
                </a:lnTo>
                <a:lnTo>
                  <a:pt x="705326" y="534829"/>
                </a:lnTo>
                <a:lnTo>
                  <a:pt x="408146" y="1049179"/>
                </a:lnTo>
                <a:lnTo>
                  <a:pt x="639604" y="1182529"/>
                </a:lnTo>
                <a:lnTo>
                  <a:pt x="700564" y="1075849"/>
                </a:lnTo>
                <a:lnTo>
                  <a:pt x="1008221" y="1075849"/>
                </a:lnTo>
                <a:lnTo>
                  <a:pt x="1411129" y="1308259"/>
                </a:lnTo>
                <a:lnTo>
                  <a:pt x="1411129" y="1399699"/>
                </a:lnTo>
                <a:lnTo>
                  <a:pt x="1411129" y="1399699"/>
                </a:lnTo>
                <a:lnTo>
                  <a:pt x="1518761" y="1503521"/>
                </a:lnTo>
                <a:lnTo>
                  <a:pt x="1951196" y="1345406"/>
                </a:lnTo>
                <a:lnTo>
                  <a:pt x="1951196" y="1224439"/>
                </a:lnTo>
                <a:lnTo>
                  <a:pt x="1451134" y="813911"/>
                </a:lnTo>
                <a:lnTo>
                  <a:pt x="999649" y="925354"/>
                </a:lnTo>
                <a:close/>
                <a:moveTo>
                  <a:pt x="1847374" y="534829"/>
                </a:moveTo>
                <a:lnTo>
                  <a:pt x="1751171" y="590074"/>
                </a:lnTo>
                <a:lnTo>
                  <a:pt x="1411129" y="428149"/>
                </a:lnTo>
                <a:lnTo>
                  <a:pt x="925354" y="697706"/>
                </a:lnTo>
                <a:lnTo>
                  <a:pt x="1032986" y="805339"/>
                </a:lnTo>
                <a:lnTo>
                  <a:pt x="1477804" y="696754"/>
                </a:lnTo>
                <a:lnTo>
                  <a:pt x="2001679" y="1127284"/>
                </a:lnTo>
                <a:lnTo>
                  <a:pt x="2002631" y="1129189"/>
                </a:lnTo>
                <a:lnTo>
                  <a:pt x="2003584" y="1128236"/>
                </a:lnTo>
                <a:lnTo>
                  <a:pt x="2004536" y="1129189"/>
                </a:lnTo>
                <a:lnTo>
                  <a:pt x="2004536" y="1128236"/>
                </a:lnTo>
                <a:lnTo>
                  <a:pt x="2143601" y="1048226"/>
                </a:lnTo>
                <a:lnTo>
                  <a:pt x="1847374" y="534829"/>
                </a:lnTo>
                <a:close/>
                <a:moveTo>
                  <a:pt x="1886426" y="387191"/>
                </a:moveTo>
                <a:lnTo>
                  <a:pt x="2291239" y="1088231"/>
                </a:lnTo>
                <a:lnTo>
                  <a:pt x="2544604" y="941546"/>
                </a:lnTo>
                <a:lnTo>
                  <a:pt x="2544604" y="7144"/>
                </a:lnTo>
                <a:lnTo>
                  <a:pt x="1886426" y="387191"/>
                </a:lnTo>
                <a:close/>
                <a:moveTo>
                  <a:pt x="7144" y="7144"/>
                </a:moveTo>
                <a:lnTo>
                  <a:pt x="7144" y="942499"/>
                </a:lnTo>
                <a:lnTo>
                  <a:pt x="260509" y="1089184"/>
                </a:lnTo>
                <a:lnTo>
                  <a:pt x="665321" y="388144"/>
                </a:lnTo>
                <a:lnTo>
                  <a:pt x="7144" y="7144"/>
                </a:lnTo>
                <a:close/>
              </a:path>
            </a:pathLst>
          </a:custGeom>
          <a:solidFill>
            <a:srgbClr val="9999A9"/>
          </a:solidFill>
          <a:ln w="9525" cap="flat">
            <a:noFill/>
            <a:prstDash val="solid"/>
            <a:miter/>
          </a:ln>
        </p:spPr>
        <p:txBody>
          <a:bodyPr rtlCol="0" anchor="ctr"/>
          <a:lstStyle/>
          <a:p>
            <a:endParaRPr lang="en-US" sz="1799" dirty="0"/>
          </a:p>
        </p:txBody>
      </p:sp>
      <p:pic>
        <p:nvPicPr>
          <p:cNvPr id="84" name="Graphic 83">
            <a:extLst>
              <a:ext uri="{FF2B5EF4-FFF2-40B4-BE49-F238E27FC236}">
                <a16:creationId xmlns:a16="http://schemas.microsoft.com/office/drawing/2014/main" id="{20C3AEFC-90D6-4EE6-8345-F5433490379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012450" y="2379491"/>
            <a:ext cx="804834" cy="791588"/>
          </a:xfrm>
          <a:prstGeom prst="rect">
            <a:avLst/>
          </a:prstGeom>
        </p:spPr>
      </p:pic>
      <p:sp>
        <p:nvSpPr>
          <p:cNvPr id="94" name="Freeform: Shape 93">
            <a:extLst>
              <a:ext uri="{FF2B5EF4-FFF2-40B4-BE49-F238E27FC236}">
                <a16:creationId xmlns:a16="http://schemas.microsoft.com/office/drawing/2014/main" id="{5CC7535D-E33F-4730-BB41-2235921DC485}"/>
              </a:ext>
            </a:extLst>
          </p:cNvPr>
          <p:cNvSpPr>
            <a:spLocks noChangeAspect="1"/>
          </p:cNvSpPr>
          <p:nvPr/>
        </p:nvSpPr>
        <p:spPr>
          <a:xfrm>
            <a:off x="9929120" y="4740373"/>
            <a:ext cx="971494" cy="971122"/>
          </a:xfrm>
          <a:custGeom>
            <a:avLst/>
            <a:gdLst>
              <a:gd name="connsiteX0" fmla="*/ 673872 w 1078769"/>
              <a:gd name="connsiteY0" fmla="*/ 357263 h 1078358"/>
              <a:gd name="connsiteX1" fmla="*/ 788442 w 1078769"/>
              <a:gd name="connsiteY1" fmla="*/ 357263 h 1078358"/>
              <a:gd name="connsiteX2" fmla="*/ 788442 w 1078769"/>
              <a:gd name="connsiteY2" fmla="*/ 885354 h 1078358"/>
              <a:gd name="connsiteX3" fmla="*/ 1013476 w 1078769"/>
              <a:gd name="connsiteY3" fmla="*/ 717810 h 1078358"/>
              <a:gd name="connsiteX4" fmla="*/ 1078769 w 1078769"/>
              <a:gd name="connsiteY4" fmla="*/ 804457 h 1078358"/>
              <a:gd name="connsiteX5" fmla="*/ 731362 w 1078769"/>
              <a:gd name="connsiteY5" fmla="*/ 1078358 h 1078358"/>
              <a:gd name="connsiteX6" fmla="*/ 383544 w 1078769"/>
              <a:gd name="connsiteY6" fmla="*/ 804457 h 1078358"/>
              <a:gd name="connsiteX7" fmla="*/ 448837 w 1078769"/>
              <a:gd name="connsiteY7" fmla="*/ 717810 h 1078358"/>
              <a:gd name="connsiteX8" fmla="*/ 673872 w 1078769"/>
              <a:gd name="connsiteY8" fmla="*/ 885354 h 1078358"/>
              <a:gd name="connsiteX9" fmla="*/ 367118 w 1078769"/>
              <a:gd name="connsiteY9" fmla="*/ 0 h 1078358"/>
              <a:gd name="connsiteX10" fmla="*/ 555194 w 1078769"/>
              <a:gd name="connsiteY10" fmla="*/ 39833 h 1078358"/>
              <a:gd name="connsiteX11" fmla="*/ 518646 w 1078769"/>
              <a:gd name="connsiteY11" fmla="*/ 142494 h 1078358"/>
              <a:gd name="connsiteX12" fmla="*/ 386007 w 1078769"/>
              <a:gd name="connsiteY12" fmla="*/ 105125 h 1078358"/>
              <a:gd name="connsiteX13" fmla="*/ 228319 w 1078769"/>
              <a:gd name="connsiteY13" fmla="*/ 235711 h 1078358"/>
              <a:gd name="connsiteX14" fmla="*/ 485384 w 1078769"/>
              <a:gd name="connsiteY14" fmla="*/ 235711 h 1078358"/>
              <a:gd name="connsiteX15" fmla="*/ 463209 w 1078769"/>
              <a:gd name="connsiteY15" fmla="*/ 299772 h 1078358"/>
              <a:gd name="connsiteX16" fmla="*/ 222570 w 1078769"/>
              <a:gd name="connsiteY16" fmla="*/ 299772 h 1078358"/>
              <a:gd name="connsiteX17" fmla="*/ 221749 w 1078769"/>
              <a:gd name="connsiteY17" fmla="*/ 307985 h 1078358"/>
              <a:gd name="connsiteX18" fmla="*/ 221749 w 1078769"/>
              <a:gd name="connsiteY18" fmla="*/ 320304 h 1078358"/>
              <a:gd name="connsiteX19" fmla="*/ 224623 w 1078769"/>
              <a:gd name="connsiteY19" fmla="*/ 353156 h 1078358"/>
              <a:gd name="connsiteX20" fmla="*/ 444319 w 1078769"/>
              <a:gd name="connsiteY20" fmla="*/ 353156 h 1078358"/>
              <a:gd name="connsiteX21" fmla="*/ 421323 w 1078769"/>
              <a:gd name="connsiteY21" fmla="*/ 418038 h 1078358"/>
              <a:gd name="connsiteX22" fmla="*/ 236943 w 1078769"/>
              <a:gd name="connsiteY22" fmla="*/ 418038 h 1078358"/>
              <a:gd name="connsiteX23" fmla="*/ 396684 w 1078769"/>
              <a:gd name="connsiteY23" fmla="*/ 533019 h 1078358"/>
              <a:gd name="connsiteX24" fmla="*/ 526859 w 1078769"/>
              <a:gd name="connsiteY24" fmla="*/ 498114 h 1078358"/>
              <a:gd name="connsiteX25" fmla="*/ 555604 w 1078769"/>
              <a:gd name="connsiteY25" fmla="*/ 604471 h 1078358"/>
              <a:gd name="connsiteX26" fmla="*/ 374509 w 1078769"/>
              <a:gd name="connsiteY26" fmla="*/ 638144 h 1078358"/>
              <a:gd name="connsiteX27" fmla="*/ 91985 w 1078769"/>
              <a:gd name="connsiteY27" fmla="*/ 418038 h 1078358"/>
              <a:gd name="connsiteX28" fmla="*/ 0 w 1078769"/>
              <a:gd name="connsiteY28" fmla="*/ 418038 h 1078358"/>
              <a:gd name="connsiteX29" fmla="*/ 22996 w 1078769"/>
              <a:gd name="connsiteY29" fmla="*/ 352745 h 1078358"/>
              <a:gd name="connsiteX30" fmla="*/ 83772 w 1078769"/>
              <a:gd name="connsiteY30" fmla="*/ 352745 h 1078358"/>
              <a:gd name="connsiteX31" fmla="*/ 82950 w 1078769"/>
              <a:gd name="connsiteY31" fmla="*/ 330570 h 1078358"/>
              <a:gd name="connsiteX32" fmla="*/ 83772 w 1078769"/>
              <a:gd name="connsiteY32" fmla="*/ 299361 h 1078358"/>
              <a:gd name="connsiteX33" fmla="*/ 0 w 1078769"/>
              <a:gd name="connsiteY33" fmla="*/ 299361 h 1078358"/>
              <a:gd name="connsiteX34" fmla="*/ 22996 w 1078769"/>
              <a:gd name="connsiteY34" fmla="*/ 235300 h 1078358"/>
              <a:gd name="connsiteX35" fmla="*/ 91985 w 1078769"/>
              <a:gd name="connsiteY35" fmla="*/ 235300 h 1078358"/>
              <a:gd name="connsiteX36" fmla="*/ 367118 w 1078769"/>
              <a:gd name="connsiteY36" fmla="*/ 0 h 1078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078769" h="1078358">
                <a:moveTo>
                  <a:pt x="673872" y="357263"/>
                </a:moveTo>
                <a:lnTo>
                  <a:pt x="788442" y="357263"/>
                </a:lnTo>
                <a:lnTo>
                  <a:pt x="788442" y="885354"/>
                </a:lnTo>
                <a:lnTo>
                  <a:pt x="1013476" y="717810"/>
                </a:lnTo>
                <a:lnTo>
                  <a:pt x="1078769" y="804457"/>
                </a:lnTo>
                <a:lnTo>
                  <a:pt x="731362" y="1078358"/>
                </a:lnTo>
                <a:lnTo>
                  <a:pt x="383544" y="804457"/>
                </a:lnTo>
                <a:lnTo>
                  <a:pt x="448837" y="717810"/>
                </a:lnTo>
                <a:lnTo>
                  <a:pt x="673872" y="885354"/>
                </a:lnTo>
                <a:close/>
                <a:moveTo>
                  <a:pt x="367118" y="0"/>
                </a:moveTo>
                <a:cubicBezTo>
                  <a:pt x="438570" y="0"/>
                  <a:pt x="501810" y="13551"/>
                  <a:pt x="555194" y="39833"/>
                </a:cubicBezTo>
                <a:lnTo>
                  <a:pt x="518646" y="142494"/>
                </a:lnTo>
                <a:cubicBezTo>
                  <a:pt x="469779" y="115802"/>
                  <a:pt x="432411" y="105125"/>
                  <a:pt x="386007" y="105125"/>
                </a:cubicBezTo>
                <a:cubicBezTo>
                  <a:pt x="297718" y="105125"/>
                  <a:pt x="246798" y="147011"/>
                  <a:pt x="228319" y="235711"/>
                </a:cubicBezTo>
                <a:lnTo>
                  <a:pt x="485384" y="235711"/>
                </a:lnTo>
                <a:lnTo>
                  <a:pt x="463209" y="299772"/>
                </a:lnTo>
                <a:lnTo>
                  <a:pt x="222570" y="299772"/>
                </a:lnTo>
                <a:lnTo>
                  <a:pt x="221749" y="307985"/>
                </a:lnTo>
                <a:lnTo>
                  <a:pt x="221749" y="320304"/>
                </a:lnTo>
                <a:cubicBezTo>
                  <a:pt x="221749" y="330981"/>
                  <a:pt x="222981" y="339604"/>
                  <a:pt x="224623" y="353156"/>
                </a:cubicBezTo>
                <a:lnTo>
                  <a:pt x="444319" y="353156"/>
                </a:lnTo>
                <a:lnTo>
                  <a:pt x="421323" y="418038"/>
                </a:lnTo>
                <a:lnTo>
                  <a:pt x="236943" y="418038"/>
                </a:lnTo>
                <a:cubicBezTo>
                  <a:pt x="262814" y="498114"/>
                  <a:pt x="310038" y="533019"/>
                  <a:pt x="396684" y="533019"/>
                </a:cubicBezTo>
                <a:cubicBezTo>
                  <a:pt x="442266" y="533019"/>
                  <a:pt x="482099" y="522342"/>
                  <a:pt x="526859" y="498114"/>
                </a:cubicBezTo>
                <a:lnTo>
                  <a:pt x="555604" y="604471"/>
                </a:lnTo>
                <a:cubicBezTo>
                  <a:pt x="500988" y="627468"/>
                  <a:pt x="443087" y="638144"/>
                  <a:pt x="374509" y="638144"/>
                </a:cubicBezTo>
                <a:cubicBezTo>
                  <a:pt x="223802" y="638144"/>
                  <a:pt x="121551" y="558890"/>
                  <a:pt x="91985" y="418038"/>
                </a:cubicBezTo>
                <a:lnTo>
                  <a:pt x="0" y="418038"/>
                </a:lnTo>
                <a:lnTo>
                  <a:pt x="22996" y="352745"/>
                </a:lnTo>
                <a:lnTo>
                  <a:pt x="83772" y="352745"/>
                </a:lnTo>
                <a:cubicBezTo>
                  <a:pt x="82950" y="344122"/>
                  <a:pt x="82950" y="339604"/>
                  <a:pt x="82950" y="330570"/>
                </a:cubicBezTo>
                <a:cubicBezTo>
                  <a:pt x="82950" y="318251"/>
                  <a:pt x="82950" y="311680"/>
                  <a:pt x="83772" y="299361"/>
                </a:cubicBezTo>
                <a:lnTo>
                  <a:pt x="0" y="299361"/>
                </a:lnTo>
                <a:lnTo>
                  <a:pt x="22996" y="235300"/>
                </a:lnTo>
                <a:lnTo>
                  <a:pt x="91985" y="235300"/>
                </a:lnTo>
                <a:cubicBezTo>
                  <a:pt x="123194" y="84593"/>
                  <a:pt x="222981" y="0"/>
                  <a:pt x="367118" y="0"/>
                </a:cubicBezTo>
                <a:close/>
              </a:path>
            </a:pathLst>
          </a:custGeom>
          <a:solidFill>
            <a:srgbClr val="9999A9"/>
          </a:solidFill>
          <a:ln w="9525" cap="flat">
            <a:noFill/>
            <a:prstDash val="solid"/>
            <a:miter/>
          </a:ln>
        </p:spPr>
        <p:txBody>
          <a:bodyPr rtlCol="0" anchor="ctr"/>
          <a:lstStyle/>
          <a:p>
            <a:endParaRPr lang="en-US" sz="1799" dirty="0"/>
          </a:p>
        </p:txBody>
      </p:sp>
      <p:pic>
        <p:nvPicPr>
          <p:cNvPr id="96" name="Graphic 95">
            <a:extLst>
              <a:ext uri="{FF2B5EF4-FFF2-40B4-BE49-F238E27FC236}">
                <a16:creationId xmlns:a16="http://schemas.microsoft.com/office/drawing/2014/main" id="{C595A3A7-704C-4B40-853D-66B095DA0DF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117503" y="2415382"/>
            <a:ext cx="1079438" cy="985396"/>
          </a:xfrm>
          <a:prstGeom prst="rect">
            <a:avLst/>
          </a:prstGeom>
        </p:spPr>
      </p:pic>
      <p:pic>
        <p:nvPicPr>
          <p:cNvPr id="98" name="Graphic 97">
            <a:extLst>
              <a:ext uri="{FF2B5EF4-FFF2-40B4-BE49-F238E27FC236}">
                <a16:creationId xmlns:a16="http://schemas.microsoft.com/office/drawing/2014/main" id="{2EBE41B4-4294-4697-B08D-F37BC93CBB6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168086" y="4704020"/>
            <a:ext cx="978272" cy="1007475"/>
          </a:xfrm>
          <a:prstGeom prst="rect">
            <a:avLst/>
          </a:prstGeom>
        </p:spPr>
      </p:pic>
      <p:sp>
        <p:nvSpPr>
          <p:cNvPr id="3" name="Footer Placeholder 2">
            <a:extLst>
              <a:ext uri="{FF2B5EF4-FFF2-40B4-BE49-F238E27FC236}">
                <a16:creationId xmlns:a16="http://schemas.microsoft.com/office/drawing/2014/main" id="{FA8364D7-3991-405C-91F9-F5CD9C586F5A}"/>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385A27FD-A9B4-4ED9-BCB4-778F2451D7C5}"/>
              </a:ext>
            </a:extLst>
          </p:cNvPr>
          <p:cNvSpPr>
            <a:spLocks noGrp="1"/>
          </p:cNvSpPr>
          <p:nvPr>
            <p:ph type="sldNum" sz="quarter" idx="11"/>
          </p:nvPr>
        </p:nvSpPr>
        <p:spPr/>
        <p:txBody>
          <a:bodyPr/>
          <a:lstStyle/>
          <a:p>
            <a:r>
              <a:rPr lang="en-US" dirty="0"/>
              <a:t>Page </a:t>
            </a:r>
            <a:fld id="{15EBE321-CBB1-4E91-BD14-37C8D44326FB}" type="slidenum">
              <a:rPr lang="en-US" smtClean="0"/>
              <a:pPr/>
              <a:t>143</a:t>
            </a:fld>
            <a:endParaRPr lang="en-US" dirty="0"/>
          </a:p>
        </p:txBody>
      </p:sp>
    </p:spTree>
    <p:extLst>
      <p:ext uri="{BB962C8B-B14F-4D97-AF65-F5344CB8AC3E}">
        <p14:creationId xmlns:p14="http://schemas.microsoft.com/office/powerpoint/2010/main" val="3463343037"/>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10400" y="478800"/>
            <a:ext cx="9863997" cy="576000"/>
          </a:xfrm>
        </p:spPr>
        <p:txBody>
          <a:bodyPr/>
          <a:lstStyle/>
          <a:p>
            <a:r>
              <a:rPr lang="en-US" dirty="0"/>
              <a:t>Matrix – nine boxes, with text</a:t>
            </a:r>
          </a:p>
        </p:txBody>
      </p:sp>
      <p:sp>
        <p:nvSpPr>
          <p:cNvPr id="14" name="Rectangle 3"/>
          <p:cNvSpPr>
            <a:spLocks noChangeArrowheads="1"/>
          </p:cNvSpPr>
          <p:nvPr/>
        </p:nvSpPr>
        <p:spPr bwMode="auto">
          <a:xfrm>
            <a:off x="410400" y="1415849"/>
            <a:ext cx="3600000" cy="1487549"/>
          </a:xfrm>
          <a:prstGeom prst="rect">
            <a:avLst/>
          </a:prstGeom>
          <a:solidFill>
            <a:srgbClr val="00646E"/>
          </a:solidFill>
          <a:ln w="19050">
            <a:noFill/>
          </a:ln>
          <a:effectLst/>
        </p:spPr>
        <p:txBody>
          <a:bodyPr lIns="107944" tIns="71963" rIns="107944" bIns="71963" rtlCol="0" anchor="t" anchorCtr="0"/>
          <a:lstStyle/>
          <a:p>
            <a:pPr>
              <a:buClr>
                <a:schemeClr val="bg1"/>
              </a:buClr>
            </a:pPr>
            <a:r>
              <a:rPr lang="en-US" sz="1599" b="1" dirty="0">
                <a:solidFill>
                  <a:schemeClr val="bg1"/>
                </a:solidFill>
                <a:ea typeface="Arial Unicode MS"/>
              </a:rPr>
              <a:t>Takima sanctus</a:t>
            </a:r>
          </a:p>
          <a:p>
            <a:pPr marL="179910" indent="-179910">
              <a:spcBef>
                <a:spcPts val="300"/>
              </a:spcBef>
              <a:buSzPct val="100000"/>
              <a:buFont typeface="Arial" panose="020B0604020202020204" pitchFamily="34" charset="0"/>
              <a:buChar char="•"/>
            </a:pPr>
            <a:r>
              <a:rPr lang="en-US" sz="1599" dirty="0">
                <a:solidFill>
                  <a:schemeClr val="bg1"/>
                </a:solidFill>
                <a:ea typeface="Arial Unicode MS"/>
              </a:rPr>
              <a:t>Stet clita kasd gubergren</a:t>
            </a:r>
          </a:p>
          <a:p>
            <a:pPr marL="179910" indent="-179910">
              <a:spcBef>
                <a:spcPts val="300"/>
              </a:spcBef>
              <a:buSzPct val="100000"/>
              <a:buFont typeface="Arial" panose="020B0604020202020204" pitchFamily="34" charset="0"/>
              <a:buChar char="•"/>
            </a:pPr>
            <a:r>
              <a:rPr lang="en-US" sz="1599" dirty="0">
                <a:solidFill>
                  <a:schemeClr val="bg1"/>
                </a:solidFill>
                <a:ea typeface="Arial Unicode MS"/>
              </a:rPr>
              <a:t>Sea takimata sanctus est</a:t>
            </a:r>
          </a:p>
        </p:txBody>
      </p:sp>
      <p:sp>
        <p:nvSpPr>
          <p:cNvPr id="13" name="Rectangle 3">
            <a:extLst>
              <a:ext uri="{FF2B5EF4-FFF2-40B4-BE49-F238E27FC236}">
                <a16:creationId xmlns:a16="http://schemas.microsoft.com/office/drawing/2014/main" id="{7EF22DC3-960D-2649-BDA7-BB8AC7295721}"/>
              </a:ext>
            </a:extLst>
          </p:cNvPr>
          <p:cNvSpPr>
            <a:spLocks noChangeArrowheads="1"/>
          </p:cNvSpPr>
          <p:nvPr/>
        </p:nvSpPr>
        <p:spPr bwMode="auto">
          <a:xfrm>
            <a:off x="4298400" y="1415849"/>
            <a:ext cx="3600000" cy="1487549"/>
          </a:xfrm>
          <a:prstGeom prst="rect">
            <a:avLst/>
          </a:prstGeom>
          <a:solidFill>
            <a:srgbClr val="00AF8E"/>
          </a:solidFill>
          <a:ln w="19050">
            <a:noFill/>
          </a:ln>
          <a:effectLst/>
        </p:spPr>
        <p:txBody>
          <a:bodyPr lIns="107944" tIns="71963" rIns="107944" bIns="71963" rtlCol="0" anchor="t" anchorCtr="0"/>
          <a:lstStyle/>
          <a:p>
            <a:pPr>
              <a:buClr>
                <a:schemeClr val="bg1"/>
              </a:buClr>
            </a:pPr>
            <a:r>
              <a:rPr lang="en-US" sz="1599" b="1" dirty="0">
                <a:solidFill>
                  <a:schemeClr val="tx2"/>
                </a:solidFill>
                <a:ea typeface="Arial Unicode MS"/>
              </a:rPr>
              <a:t>Vero eos et accusam</a:t>
            </a:r>
          </a:p>
          <a:p>
            <a:pPr marL="179910" indent="-179910">
              <a:spcBef>
                <a:spcPts val="300"/>
              </a:spcBef>
              <a:buSzPct val="100000"/>
              <a:buFont typeface="Arial" panose="020B0604020202020204" pitchFamily="34" charset="0"/>
              <a:buChar char="•"/>
            </a:pPr>
            <a:r>
              <a:rPr lang="en-US" sz="1599" dirty="0">
                <a:solidFill>
                  <a:schemeClr val="tx2"/>
                </a:solidFill>
                <a:ea typeface="Arial Unicode MS"/>
              </a:rPr>
              <a:t>Stet clita kasd gubergren</a:t>
            </a:r>
          </a:p>
          <a:p>
            <a:pPr marL="179910" indent="-179910">
              <a:spcBef>
                <a:spcPts val="300"/>
              </a:spcBef>
              <a:buSzPct val="100000"/>
              <a:buFont typeface="Arial" panose="020B0604020202020204" pitchFamily="34" charset="0"/>
              <a:buChar char="•"/>
            </a:pPr>
            <a:r>
              <a:rPr lang="en-US" sz="1599" dirty="0">
                <a:solidFill>
                  <a:schemeClr val="tx2"/>
                </a:solidFill>
                <a:ea typeface="Arial Unicode MS"/>
              </a:rPr>
              <a:t>No sea takimata sanctus est lorem ipsum dolor sit amet</a:t>
            </a:r>
          </a:p>
        </p:txBody>
      </p:sp>
      <p:sp>
        <p:nvSpPr>
          <p:cNvPr id="24" name="Rectangle 3">
            <a:extLst>
              <a:ext uri="{FF2B5EF4-FFF2-40B4-BE49-F238E27FC236}">
                <a16:creationId xmlns:a16="http://schemas.microsoft.com/office/drawing/2014/main" id="{8AC91AB4-850D-AC49-AEB0-58A15F3F2E8C}"/>
              </a:ext>
            </a:extLst>
          </p:cNvPr>
          <p:cNvSpPr>
            <a:spLocks noChangeArrowheads="1"/>
          </p:cNvSpPr>
          <p:nvPr/>
        </p:nvSpPr>
        <p:spPr bwMode="auto">
          <a:xfrm>
            <a:off x="8186400" y="1415849"/>
            <a:ext cx="3600000" cy="1487549"/>
          </a:xfrm>
          <a:prstGeom prst="rect">
            <a:avLst/>
          </a:prstGeom>
          <a:solidFill>
            <a:srgbClr val="00AF8E"/>
          </a:solidFill>
          <a:ln w="19050">
            <a:noFill/>
          </a:ln>
          <a:effectLst/>
        </p:spPr>
        <p:txBody>
          <a:bodyPr lIns="107944" tIns="71963" rIns="107944" bIns="71963" rtlCol="0" anchor="t" anchorCtr="0"/>
          <a:lstStyle/>
          <a:p>
            <a:pPr>
              <a:buClr>
                <a:schemeClr val="bg1"/>
              </a:buClr>
            </a:pPr>
            <a:r>
              <a:rPr lang="en-US" sz="1599" b="1" dirty="0">
                <a:solidFill>
                  <a:schemeClr val="tx2"/>
                </a:solidFill>
                <a:ea typeface="Arial Unicode MS"/>
              </a:rPr>
              <a:t>At vero eos et accusam</a:t>
            </a:r>
          </a:p>
          <a:p>
            <a:pPr marL="179910" indent="-179910">
              <a:spcBef>
                <a:spcPts val="300"/>
              </a:spcBef>
              <a:buSzPct val="100000"/>
              <a:buFont typeface="Arial" panose="020B0604020202020204" pitchFamily="34" charset="0"/>
              <a:buChar char="•"/>
            </a:pPr>
            <a:r>
              <a:rPr lang="en-US" sz="1599" dirty="0">
                <a:solidFill>
                  <a:schemeClr val="tx2"/>
                </a:solidFill>
                <a:ea typeface="Arial Unicode MS"/>
              </a:rPr>
              <a:t>Stet clita kasd gubergren, no sea takimata sanctus est lorem ipsum dolor sit amet</a:t>
            </a:r>
          </a:p>
        </p:txBody>
      </p:sp>
      <p:sp>
        <p:nvSpPr>
          <p:cNvPr id="28" name="Rectangle 3">
            <a:extLst>
              <a:ext uri="{FF2B5EF4-FFF2-40B4-BE49-F238E27FC236}">
                <a16:creationId xmlns:a16="http://schemas.microsoft.com/office/drawing/2014/main" id="{7B68E5D0-E3BE-DE47-81D0-4056CD7846E2}"/>
              </a:ext>
            </a:extLst>
          </p:cNvPr>
          <p:cNvSpPr>
            <a:spLocks noChangeArrowheads="1"/>
          </p:cNvSpPr>
          <p:nvPr/>
        </p:nvSpPr>
        <p:spPr bwMode="auto">
          <a:xfrm>
            <a:off x="410400" y="3042633"/>
            <a:ext cx="3600000" cy="1487549"/>
          </a:xfrm>
          <a:prstGeom prst="rect">
            <a:avLst/>
          </a:prstGeom>
          <a:solidFill>
            <a:srgbClr val="E5E5E9"/>
          </a:solidFill>
          <a:ln w="19050">
            <a:noFill/>
          </a:ln>
          <a:effectLst/>
        </p:spPr>
        <p:txBody>
          <a:bodyPr lIns="107944" tIns="71963" rIns="107944" bIns="71963" rtlCol="0" anchor="t" anchorCtr="0"/>
          <a:lstStyle/>
          <a:p>
            <a:pPr>
              <a:buClr>
                <a:srgbClr val="3C464B"/>
              </a:buClr>
            </a:pPr>
            <a:r>
              <a:rPr lang="en-US" sz="1599" b="1" dirty="0">
                <a:solidFill>
                  <a:srgbClr val="333353"/>
                </a:solidFill>
                <a:ea typeface="Arial Unicode MS"/>
              </a:rPr>
              <a:t>Consetetur sadipscing elitr, seddiam nonumy</a:t>
            </a:r>
          </a:p>
          <a:p>
            <a:pPr marL="179910" indent="-179910">
              <a:spcBef>
                <a:spcPts val="300"/>
              </a:spcBef>
              <a:buSzPct val="100000"/>
              <a:buFont typeface="Arial" panose="020B0604020202020204" pitchFamily="34" charset="0"/>
              <a:buChar char="•"/>
            </a:pPr>
            <a:r>
              <a:rPr lang="en-US" sz="1599" dirty="0">
                <a:solidFill>
                  <a:srgbClr val="333353"/>
                </a:solidFill>
                <a:ea typeface="Arial Unicode MS"/>
              </a:rPr>
              <a:t>Stet clita kasd gubergren, no sea takimata sanctus est lorem ipsum dolor sit amet</a:t>
            </a:r>
          </a:p>
        </p:txBody>
      </p:sp>
      <p:sp>
        <p:nvSpPr>
          <p:cNvPr id="29" name="Rectangle 3">
            <a:extLst>
              <a:ext uri="{FF2B5EF4-FFF2-40B4-BE49-F238E27FC236}">
                <a16:creationId xmlns:a16="http://schemas.microsoft.com/office/drawing/2014/main" id="{821058D5-B93F-3240-8C59-8144A73045A0}"/>
              </a:ext>
            </a:extLst>
          </p:cNvPr>
          <p:cNvSpPr>
            <a:spLocks noChangeArrowheads="1"/>
          </p:cNvSpPr>
          <p:nvPr/>
        </p:nvSpPr>
        <p:spPr bwMode="auto">
          <a:xfrm>
            <a:off x="4298400" y="3042633"/>
            <a:ext cx="3600000" cy="1487549"/>
          </a:xfrm>
          <a:prstGeom prst="rect">
            <a:avLst/>
          </a:prstGeom>
          <a:solidFill>
            <a:srgbClr val="00646E"/>
          </a:solidFill>
          <a:ln w="19050">
            <a:noFill/>
          </a:ln>
          <a:effectLst/>
        </p:spPr>
        <p:txBody>
          <a:bodyPr lIns="107944" tIns="71963" rIns="107944" bIns="71963" rtlCol="0" anchor="t" anchorCtr="0"/>
          <a:lstStyle/>
          <a:p>
            <a:pPr>
              <a:buClr>
                <a:schemeClr val="bg1"/>
              </a:buClr>
            </a:pPr>
            <a:r>
              <a:rPr lang="en-US" sz="1599" b="1" dirty="0">
                <a:solidFill>
                  <a:schemeClr val="bg1"/>
                </a:solidFill>
                <a:ea typeface="Arial Unicode MS"/>
              </a:rPr>
              <a:t>Takima sanctus</a:t>
            </a:r>
          </a:p>
          <a:p>
            <a:pPr marL="179910" indent="-179910">
              <a:spcBef>
                <a:spcPts val="300"/>
              </a:spcBef>
              <a:buSzPct val="100000"/>
              <a:buFont typeface="Arial" panose="020B0604020202020204" pitchFamily="34" charset="0"/>
              <a:buChar char="•"/>
            </a:pPr>
            <a:r>
              <a:rPr lang="en-US" sz="1599" dirty="0">
                <a:solidFill>
                  <a:schemeClr val="bg1"/>
                </a:solidFill>
              </a:rPr>
              <a:t>Consetetur sadipscing elitr, seddiam nonumy</a:t>
            </a:r>
          </a:p>
          <a:p>
            <a:pPr marL="179910" indent="-179910">
              <a:spcBef>
                <a:spcPts val="300"/>
              </a:spcBef>
              <a:buSzPct val="100000"/>
              <a:buFont typeface="Arial" panose="020B0604020202020204" pitchFamily="34" charset="0"/>
              <a:buChar char="•"/>
            </a:pPr>
            <a:r>
              <a:rPr lang="en-US" sz="1599" dirty="0">
                <a:solidFill>
                  <a:schemeClr val="bg1"/>
                </a:solidFill>
              </a:rPr>
              <a:t>Cras ultricies mi </a:t>
            </a:r>
            <a:r>
              <a:rPr lang="en-US" sz="1599" dirty="0">
                <a:solidFill>
                  <a:schemeClr val="bg1"/>
                </a:solidFill>
                <a:ea typeface="Arial Unicode MS"/>
              </a:rPr>
              <a:t>eu</a:t>
            </a:r>
          </a:p>
        </p:txBody>
      </p:sp>
      <p:sp>
        <p:nvSpPr>
          <p:cNvPr id="30" name="Rectangle 3">
            <a:extLst>
              <a:ext uri="{FF2B5EF4-FFF2-40B4-BE49-F238E27FC236}">
                <a16:creationId xmlns:a16="http://schemas.microsoft.com/office/drawing/2014/main" id="{8C125521-D541-454E-90BC-66F189E10414}"/>
              </a:ext>
            </a:extLst>
          </p:cNvPr>
          <p:cNvSpPr>
            <a:spLocks noChangeArrowheads="1"/>
          </p:cNvSpPr>
          <p:nvPr/>
        </p:nvSpPr>
        <p:spPr bwMode="auto">
          <a:xfrm>
            <a:off x="8186400" y="3042633"/>
            <a:ext cx="3600000" cy="1487549"/>
          </a:xfrm>
          <a:prstGeom prst="rect">
            <a:avLst/>
          </a:prstGeom>
          <a:solidFill>
            <a:srgbClr val="00AF8E"/>
          </a:solidFill>
          <a:ln w="19050">
            <a:noFill/>
          </a:ln>
          <a:effectLst/>
        </p:spPr>
        <p:txBody>
          <a:bodyPr lIns="107944" tIns="71963" rIns="107944" bIns="71963" rtlCol="0" anchor="t" anchorCtr="0"/>
          <a:lstStyle/>
          <a:p>
            <a:pPr>
              <a:buClr>
                <a:schemeClr val="bg1"/>
              </a:buClr>
            </a:pPr>
            <a:r>
              <a:rPr lang="en-US" sz="1599" b="1" dirty="0">
                <a:solidFill>
                  <a:schemeClr val="tx2"/>
                </a:solidFill>
                <a:ea typeface="Arial Unicode MS"/>
              </a:rPr>
              <a:t>Vero eos et accusam</a:t>
            </a:r>
          </a:p>
          <a:p>
            <a:pPr marL="179910" indent="-179910">
              <a:spcBef>
                <a:spcPts val="300"/>
              </a:spcBef>
              <a:buSzPct val="100000"/>
              <a:buFont typeface="Arial" panose="020B0604020202020204" pitchFamily="34" charset="0"/>
              <a:buChar char="•"/>
            </a:pPr>
            <a:r>
              <a:rPr lang="en-US" sz="1599" dirty="0">
                <a:solidFill>
                  <a:schemeClr val="tx2"/>
                </a:solidFill>
                <a:ea typeface="Arial Unicode MS"/>
              </a:rPr>
              <a:t>At vero eos et accusam</a:t>
            </a:r>
          </a:p>
          <a:p>
            <a:pPr marL="179910" indent="-179910">
              <a:spcBef>
                <a:spcPts val="300"/>
              </a:spcBef>
              <a:buSzPct val="100000"/>
              <a:buFont typeface="Arial" panose="020B0604020202020204" pitchFamily="34" charset="0"/>
              <a:buChar char="•"/>
            </a:pPr>
            <a:r>
              <a:rPr lang="en-US" sz="1599" dirty="0">
                <a:solidFill>
                  <a:schemeClr val="tx2"/>
                </a:solidFill>
                <a:ea typeface="Arial Unicode MS"/>
              </a:rPr>
              <a:t>Stet clita kasd gubergren, no sea takimata sanctus</a:t>
            </a:r>
          </a:p>
        </p:txBody>
      </p:sp>
      <p:sp>
        <p:nvSpPr>
          <p:cNvPr id="34" name="Rectangle 3">
            <a:extLst>
              <a:ext uri="{FF2B5EF4-FFF2-40B4-BE49-F238E27FC236}">
                <a16:creationId xmlns:a16="http://schemas.microsoft.com/office/drawing/2014/main" id="{BFD7F8E1-4B70-4341-9CEE-B4C86B987722}"/>
              </a:ext>
            </a:extLst>
          </p:cNvPr>
          <p:cNvSpPr>
            <a:spLocks noChangeArrowheads="1"/>
          </p:cNvSpPr>
          <p:nvPr/>
        </p:nvSpPr>
        <p:spPr bwMode="auto">
          <a:xfrm>
            <a:off x="410400" y="4678557"/>
            <a:ext cx="3600000" cy="1487549"/>
          </a:xfrm>
          <a:prstGeom prst="rect">
            <a:avLst/>
          </a:prstGeom>
          <a:solidFill>
            <a:srgbClr val="9999A9"/>
          </a:solidFill>
          <a:ln w="19050">
            <a:noFill/>
          </a:ln>
          <a:effectLst/>
        </p:spPr>
        <p:txBody>
          <a:bodyPr lIns="107944" tIns="71963" rIns="107944" bIns="71963" rtlCol="0" anchor="t" anchorCtr="0"/>
          <a:lstStyle/>
          <a:p>
            <a:pPr>
              <a:buClr>
                <a:schemeClr val="bg1"/>
              </a:buClr>
            </a:pPr>
            <a:r>
              <a:rPr lang="en-US" sz="1599" b="1" dirty="0">
                <a:solidFill>
                  <a:schemeClr val="bg1"/>
                </a:solidFill>
                <a:ea typeface="Arial Unicode MS"/>
              </a:rPr>
              <a:t>Takima sanctus</a:t>
            </a:r>
          </a:p>
          <a:p>
            <a:pPr marL="179910" indent="-179910">
              <a:spcBef>
                <a:spcPts val="300"/>
              </a:spcBef>
              <a:buSzPct val="100000"/>
              <a:buFont typeface="Arial" panose="020B0604020202020204" pitchFamily="34" charset="0"/>
              <a:buChar char="•"/>
            </a:pPr>
            <a:r>
              <a:rPr lang="en-US" sz="1599" dirty="0">
                <a:solidFill>
                  <a:schemeClr val="bg1"/>
                </a:solidFill>
                <a:ea typeface="Arial Unicode MS"/>
              </a:rPr>
              <a:t>At vero eos et accusam</a:t>
            </a:r>
          </a:p>
          <a:p>
            <a:pPr marL="179910" indent="-179910">
              <a:spcBef>
                <a:spcPts val="300"/>
              </a:spcBef>
              <a:buSzPct val="100000"/>
              <a:buFont typeface="Arial" panose="020B0604020202020204" pitchFamily="34" charset="0"/>
              <a:buChar char="•"/>
            </a:pPr>
            <a:r>
              <a:rPr lang="en-US" sz="1599" dirty="0">
                <a:solidFill>
                  <a:schemeClr val="bg1"/>
                </a:solidFill>
                <a:ea typeface="Arial Unicode MS"/>
              </a:rPr>
              <a:t>Sanctus est lorem ipsum dolor sit amet</a:t>
            </a:r>
          </a:p>
        </p:txBody>
      </p:sp>
      <p:sp>
        <p:nvSpPr>
          <p:cNvPr id="35" name="Rectangle 3">
            <a:extLst>
              <a:ext uri="{FF2B5EF4-FFF2-40B4-BE49-F238E27FC236}">
                <a16:creationId xmlns:a16="http://schemas.microsoft.com/office/drawing/2014/main" id="{CD6F5D9C-4471-8A4D-A383-A9C05633E5C3}"/>
              </a:ext>
            </a:extLst>
          </p:cNvPr>
          <p:cNvSpPr>
            <a:spLocks noChangeArrowheads="1"/>
          </p:cNvSpPr>
          <p:nvPr/>
        </p:nvSpPr>
        <p:spPr bwMode="auto">
          <a:xfrm>
            <a:off x="4298400" y="4678557"/>
            <a:ext cx="3600000" cy="1487549"/>
          </a:xfrm>
          <a:prstGeom prst="rect">
            <a:avLst/>
          </a:prstGeom>
          <a:solidFill>
            <a:srgbClr val="E5E5E9"/>
          </a:solidFill>
          <a:ln w="19050">
            <a:noFill/>
          </a:ln>
          <a:effectLst/>
        </p:spPr>
        <p:txBody>
          <a:bodyPr lIns="107944" tIns="71963" rIns="107944" bIns="71963" rtlCol="0" anchor="t" anchorCtr="0"/>
          <a:lstStyle/>
          <a:p>
            <a:pPr>
              <a:buClr>
                <a:srgbClr val="3C464B"/>
              </a:buClr>
            </a:pPr>
            <a:r>
              <a:rPr lang="en-US" sz="1599" b="1" dirty="0">
                <a:solidFill>
                  <a:srgbClr val="333353"/>
                </a:solidFill>
                <a:ea typeface="Arial Unicode MS"/>
              </a:rPr>
              <a:t>Vero eos et accusam</a:t>
            </a:r>
          </a:p>
          <a:p>
            <a:pPr marL="179910" indent="-179910">
              <a:spcBef>
                <a:spcPts val="300"/>
              </a:spcBef>
              <a:buSzPct val="100000"/>
              <a:buFont typeface="Arial" panose="020B0604020202020204" pitchFamily="34" charset="0"/>
              <a:buChar char="•"/>
            </a:pPr>
            <a:r>
              <a:rPr lang="en-US" sz="1599" dirty="0">
                <a:solidFill>
                  <a:srgbClr val="333353"/>
                </a:solidFill>
                <a:ea typeface="Arial Unicode MS"/>
              </a:rPr>
              <a:t>Stet clita kasd gubergren, no sea takimata sanctus</a:t>
            </a:r>
          </a:p>
          <a:p>
            <a:pPr marL="179910" indent="-179910">
              <a:spcBef>
                <a:spcPts val="300"/>
              </a:spcBef>
              <a:buSzPct val="100000"/>
              <a:buFont typeface="Arial" panose="020B0604020202020204" pitchFamily="34" charset="0"/>
              <a:buChar char="•"/>
            </a:pPr>
            <a:r>
              <a:rPr lang="en-US" sz="1599" dirty="0">
                <a:solidFill>
                  <a:srgbClr val="333353"/>
                </a:solidFill>
                <a:ea typeface="Arial Unicode MS"/>
              </a:rPr>
              <a:t>At vero eos et accusam</a:t>
            </a:r>
          </a:p>
        </p:txBody>
      </p:sp>
      <p:sp>
        <p:nvSpPr>
          <p:cNvPr id="36" name="Rectangle 3">
            <a:extLst>
              <a:ext uri="{FF2B5EF4-FFF2-40B4-BE49-F238E27FC236}">
                <a16:creationId xmlns:a16="http://schemas.microsoft.com/office/drawing/2014/main" id="{9758AE74-9C65-5A44-8807-4F8F30984CA4}"/>
              </a:ext>
            </a:extLst>
          </p:cNvPr>
          <p:cNvSpPr>
            <a:spLocks noChangeArrowheads="1"/>
          </p:cNvSpPr>
          <p:nvPr/>
        </p:nvSpPr>
        <p:spPr bwMode="auto">
          <a:xfrm>
            <a:off x="8186400" y="4678557"/>
            <a:ext cx="3600000" cy="1487549"/>
          </a:xfrm>
          <a:prstGeom prst="rect">
            <a:avLst/>
          </a:prstGeom>
          <a:solidFill>
            <a:srgbClr val="00646E"/>
          </a:solidFill>
          <a:ln w="19050">
            <a:noFill/>
          </a:ln>
          <a:effectLst/>
        </p:spPr>
        <p:txBody>
          <a:bodyPr lIns="107944" tIns="71963" rIns="107944" bIns="71963" rtlCol="0" anchor="t" anchorCtr="0"/>
          <a:lstStyle/>
          <a:p>
            <a:pPr>
              <a:buClr>
                <a:schemeClr val="bg1"/>
              </a:buClr>
            </a:pPr>
            <a:r>
              <a:rPr lang="en-US" sz="1599" b="1" dirty="0">
                <a:solidFill>
                  <a:schemeClr val="bg1"/>
                </a:solidFill>
                <a:ea typeface="Arial Unicode MS"/>
              </a:rPr>
              <a:t>Et accusam</a:t>
            </a:r>
          </a:p>
          <a:p>
            <a:pPr marL="179910" indent="-179910">
              <a:spcBef>
                <a:spcPts val="300"/>
              </a:spcBef>
              <a:buSzPct val="100000"/>
              <a:buFont typeface="Arial" panose="020B0604020202020204" pitchFamily="34" charset="0"/>
              <a:buChar char="•"/>
            </a:pPr>
            <a:r>
              <a:rPr lang="en-US" sz="1599" dirty="0">
                <a:solidFill>
                  <a:schemeClr val="bg1"/>
                </a:solidFill>
                <a:ea typeface="Arial Unicode MS"/>
              </a:rPr>
              <a:t>Cras ultricies mi eu</a:t>
            </a:r>
          </a:p>
          <a:p>
            <a:pPr marL="179910" indent="-179910">
              <a:spcBef>
                <a:spcPts val="300"/>
              </a:spcBef>
              <a:buSzPct val="100000"/>
              <a:buFont typeface="Arial" panose="020B0604020202020204" pitchFamily="34" charset="0"/>
              <a:buChar char="•"/>
            </a:pPr>
            <a:r>
              <a:rPr lang="en-US" sz="1599" dirty="0">
                <a:solidFill>
                  <a:schemeClr val="bg1"/>
                </a:solidFill>
                <a:ea typeface="Arial Unicode MS"/>
              </a:rPr>
              <a:t>Consetetur sadipscing elitr, seddiam nonumy</a:t>
            </a:r>
          </a:p>
        </p:txBody>
      </p:sp>
      <p:sp>
        <p:nvSpPr>
          <p:cNvPr id="3" name="Footer Placeholder 2">
            <a:extLst>
              <a:ext uri="{FF2B5EF4-FFF2-40B4-BE49-F238E27FC236}">
                <a16:creationId xmlns:a16="http://schemas.microsoft.com/office/drawing/2014/main" id="{E67A80BF-B6B2-48A6-B497-00B6877DBB3B}"/>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ADD60A1B-E67A-4E8C-9E4C-D6CDE1A38513}"/>
              </a:ext>
            </a:extLst>
          </p:cNvPr>
          <p:cNvSpPr>
            <a:spLocks noGrp="1"/>
          </p:cNvSpPr>
          <p:nvPr>
            <p:ph type="sldNum" sz="quarter" idx="11"/>
          </p:nvPr>
        </p:nvSpPr>
        <p:spPr/>
        <p:txBody>
          <a:bodyPr/>
          <a:lstStyle/>
          <a:p>
            <a:r>
              <a:rPr lang="en-US" dirty="0"/>
              <a:t>Page </a:t>
            </a:r>
            <a:fld id="{15EBE321-CBB1-4E91-BD14-37C8D44326FB}" type="slidenum">
              <a:rPr lang="en-US" smtClean="0"/>
              <a:pPr/>
              <a:t>144</a:t>
            </a:fld>
            <a:endParaRPr lang="en-US" dirty="0"/>
          </a:p>
        </p:txBody>
      </p:sp>
    </p:spTree>
    <p:extLst>
      <p:ext uri="{BB962C8B-B14F-4D97-AF65-F5344CB8AC3E}">
        <p14:creationId xmlns:p14="http://schemas.microsoft.com/office/powerpoint/2010/main" val="2727625794"/>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Matrix – nine boxes, with text</a:t>
            </a:r>
          </a:p>
        </p:txBody>
      </p:sp>
      <p:sp>
        <p:nvSpPr>
          <p:cNvPr id="14" name="Rectangle 3"/>
          <p:cNvSpPr>
            <a:spLocks noChangeArrowheads="1"/>
          </p:cNvSpPr>
          <p:nvPr/>
        </p:nvSpPr>
        <p:spPr bwMode="auto">
          <a:xfrm>
            <a:off x="410400" y="1415849"/>
            <a:ext cx="3600000" cy="1487549"/>
          </a:xfrm>
          <a:prstGeom prst="rect">
            <a:avLst/>
          </a:prstGeom>
          <a:solidFill>
            <a:srgbClr val="00646E"/>
          </a:solidFill>
          <a:ln w="19050">
            <a:noFill/>
          </a:ln>
          <a:effectLst/>
        </p:spPr>
        <p:txBody>
          <a:bodyPr lIns="107944" tIns="71963" rIns="107944" bIns="71963" rtlCol="0" anchor="t" anchorCtr="0"/>
          <a:lstStyle/>
          <a:p>
            <a:pPr>
              <a:buClr>
                <a:schemeClr val="bg1"/>
              </a:buClr>
            </a:pPr>
            <a:r>
              <a:rPr lang="en-US" sz="1599" b="1" dirty="0">
                <a:ea typeface="Arial Unicode MS"/>
              </a:rPr>
              <a:t>Takima sanctus</a:t>
            </a:r>
          </a:p>
          <a:p>
            <a:pPr marL="179910" indent="-179910">
              <a:spcBef>
                <a:spcPts val="300"/>
              </a:spcBef>
              <a:buSzPct val="100000"/>
              <a:buFont typeface="Arial" panose="020B0604020202020204" pitchFamily="34" charset="0"/>
              <a:buChar char="•"/>
            </a:pPr>
            <a:r>
              <a:rPr lang="en-US" sz="1599" dirty="0">
                <a:ea typeface="Arial Unicode MS"/>
              </a:rPr>
              <a:t>Stet clita kasd gubergren</a:t>
            </a:r>
          </a:p>
          <a:p>
            <a:pPr marL="179910" indent="-179910">
              <a:spcBef>
                <a:spcPts val="300"/>
              </a:spcBef>
              <a:buSzPct val="100000"/>
              <a:buFont typeface="Arial" panose="020B0604020202020204" pitchFamily="34" charset="0"/>
              <a:buChar char="•"/>
            </a:pPr>
            <a:r>
              <a:rPr lang="en-US" sz="1599" dirty="0">
                <a:ea typeface="Arial Unicode MS"/>
              </a:rPr>
              <a:t>Sea takimata sanctus est</a:t>
            </a:r>
          </a:p>
        </p:txBody>
      </p:sp>
      <p:sp>
        <p:nvSpPr>
          <p:cNvPr id="13" name="Rectangle 3">
            <a:extLst>
              <a:ext uri="{FF2B5EF4-FFF2-40B4-BE49-F238E27FC236}">
                <a16:creationId xmlns:a16="http://schemas.microsoft.com/office/drawing/2014/main" id="{7EF22DC3-960D-2649-BDA7-BB8AC7295721}"/>
              </a:ext>
            </a:extLst>
          </p:cNvPr>
          <p:cNvSpPr>
            <a:spLocks noChangeArrowheads="1"/>
          </p:cNvSpPr>
          <p:nvPr/>
        </p:nvSpPr>
        <p:spPr bwMode="auto">
          <a:xfrm>
            <a:off x="4298400" y="1415849"/>
            <a:ext cx="3600000" cy="1487549"/>
          </a:xfrm>
          <a:prstGeom prst="rect">
            <a:avLst/>
          </a:prstGeom>
          <a:solidFill>
            <a:srgbClr val="00FFB9"/>
          </a:solidFill>
          <a:ln w="19050">
            <a:noFill/>
          </a:ln>
          <a:effectLst/>
        </p:spPr>
        <p:txBody>
          <a:bodyPr lIns="107944" tIns="71963" rIns="107944" bIns="71963" rtlCol="0" anchor="t" anchorCtr="0"/>
          <a:lstStyle/>
          <a:p>
            <a:pPr>
              <a:buClr>
                <a:schemeClr val="bg1"/>
              </a:buClr>
            </a:pPr>
            <a:r>
              <a:rPr lang="en-US" sz="1599" b="1" dirty="0">
                <a:solidFill>
                  <a:schemeClr val="bg2"/>
                </a:solidFill>
                <a:ea typeface="Arial Unicode MS"/>
              </a:rPr>
              <a:t>Vero eos et accusam</a:t>
            </a:r>
          </a:p>
          <a:p>
            <a:pPr marL="179910" indent="-179910">
              <a:spcBef>
                <a:spcPts val="300"/>
              </a:spcBef>
              <a:buSzPct val="100000"/>
              <a:buFont typeface="Arial" panose="020B0604020202020204" pitchFamily="34" charset="0"/>
              <a:buChar char="•"/>
            </a:pPr>
            <a:r>
              <a:rPr lang="en-US" sz="1599" dirty="0">
                <a:solidFill>
                  <a:schemeClr val="bg2"/>
                </a:solidFill>
                <a:ea typeface="Arial Unicode MS"/>
              </a:rPr>
              <a:t>Stet clita kasd gubergren</a:t>
            </a:r>
          </a:p>
          <a:p>
            <a:pPr marL="179910" indent="-179910">
              <a:spcBef>
                <a:spcPts val="300"/>
              </a:spcBef>
              <a:buSzPct val="100000"/>
              <a:buFont typeface="Arial" panose="020B0604020202020204" pitchFamily="34" charset="0"/>
              <a:buChar char="•"/>
            </a:pPr>
            <a:r>
              <a:rPr lang="en-US" sz="1599" dirty="0">
                <a:solidFill>
                  <a:schemeClr val="bg2"/>
                </a:solidFill>
                <a:ea typeface="Arial Unicode MS"/>
              </a:rPr>
              <a:t>No sea takimata sanctus est lorem ipsum dolor sit amet</a:t>
            </a:r>
          </a:p>
        </p:txBody>
      </p:sp>
      <p:sp>
        <p:nvSpPr>
          <p:cNvPr id="24" name="Rectangle 3">
            <a:extLst>
              <a:ext uri="{FF2B5EF4-FFF2-40B4-BE49-F238E27FC236}">
                <a16:creationId xmlns:a16="http://schemas.microsoft.com/office/drawing/2014/main" id="{8AC91AB4-850D-AC49-AEB0-58A15F3F2E8C}"/>
              </a:ext>
            </a:extLst>
          </p:cNvPr>
          <p:cNvSpPr>
            <a:spLocks noChangeArrowheads="1"/>
          </p:cNvSpPr>
          <p:nvPr/>
        </p:nvSpPr>
        <p:spPr bwMode="auto">
          <a:xfrm>
            <a:off x="8186400" y="1415849"/>
            <a:ext cx="3600000" cy="1487549"/>
          </a:xfrm>
          <a:prstGeom prst="rect">
            <a:avLst/>
          </a:prstGeom>
          <a:solidFill>
            <a:srgbClr val="00FFB9"/>
          </a:solidFill>
          <a:ln w="19050">
            <a:noFill/>
          </a:ln>
          <a:effectLst/>
        </p:spPr>
        <p:txBody>
          <a:bodyPr lIns="107944" tIns="71963" rIns="107944" bIns="71963" rtlCol="0" anchor="t" anchorCtr="0"/>
          <a:lstStyle/>
          <a:p>
            <a:pPr>
              <a:buClr>
                <a:schemeClr val="bg1"/>
              </a:buClr>
            </a:pPr>
            <a:r>
              <a:rPr lang="en-US" sz="1599" b="1" dirty="0">
                <a:solidFill>
                  <a:schemeClr val="bg2"/>
                </a:solidFill>
                <a:ea typeface="Arial Unicode MS"/>
              </a:rPr>
              <a:t>At vero eos et accusam</a:t>
            </a:r>
          </a:p>
          <a:p>
            <a:pPr marL="179910" indent="-179910">
              <a:spcBef>
                <a:spcPts val="300"/>
              </a:spcBef>
              <a:buSzPct val="100000"/>
              <a:buFont typeface="Arial" panose="020B0604020202020204" pitchFamily="34" charset="0"/>
              <a:buChar char="•"/>
            </a:pPr>
            <a:r>
              <a:rPr lang="en-US" sz="1599" dirty="0">
                <a:solidFill>
                  <a:schemeClr val="bg2"/>
                </a:solidFill>
                <a:ea typeface="Arial Unicode MS"/>
              </a:rPr>
              <a:t>Stet clita kasd gubergren, no sea takimata sanctus est lorem ipsum dolor sit amet</a:t>
            </a:r>
          </a:p>
        </p:txBody>
      </p:sp>
      <p:sp>
        <p:nvSpPr>
          <p:cNvPr id="28" name="Rectangle 3">
            <a:extLst>
              <a:ext uri="{FF2B5EF4-FFF2-40B4-BE49-F238E27FC236}">
                <a16:creationId xmlns:a16="http://schemas.microsoft.com/office/drawing/2014/main" id="{7B68E5D0-E3BE-DE47-81D0-4056CD7846E2}"/>
              </a:ext>
            </a:extLst>
          </p:cNvPr>
          <p:cNvSpPr>
            <a:spLocks noChangeArrowheads="1"/>
          </p:cNvSpPr>
          <p:nvPr/>
        </p:nvSpPr>
        <p:spPr bwMode="auto">
          <a:xfrm>
            <a:off x="410400" y="3042633"/>
            <a:ext cx="3600000" cy="1487549"/>
          </a:xfrm>
          <a:prstGeom prst="rect">
            <a:avLst/>
          </a:prstGeom>
          <a:solidFill>
            <a:srgbClr val="333353"/>
          </a:solidFill>
          <a:ln w="19050">
            <a:noFill/>
          </a:ln>
          <a:effectLst/>
        </p:spPr>
        <p:txBody>
          <a:bodyPr lIns="107944" tIns="71963" rIns="107944" bIns="71963" rtlCol="0" anchor="t" anchorCtr="0"/>
          <a:lstStyle/>
          <a:p>
            <a:pPr>
              <a:buClr>
                <a:srgbClr val="3C464B"/>
              </a:buClr>
            </a:pPr>
            <a:r>
              <a:rPr lang="en-US" sz="1599" b="1" dirty="0">
                <a:solidFill>
                  <a:schemeClr val="tx2"/>
                </a:solidFill>
                <a:ea typeface="Arial Unicode MS"/>
              </a:rPr>
              <a:t>Consetetur sadipscing elitr, seddiam nonumy</a:t>
            </a:r>
          </a:p>
          <a:p>
            <a:pPr marL="179910" indent="-179910">
              <a:spcBef>
                <a:spcPts val="300"/>
              </a:spcBef>
              <a:buSzPct val="100000"/>
              <a:buFont typeface="Arial" panose="020B0604020202020204" pitchFamily="34" charset="0"/>
              <a:buChar char="•"/>
            </a:pPr>
            <a:r>
              <a:rPr lang="en-US" sz="1599" dirty="0">
                <a:solidFill>
                  <a:schemeClr val="tx2"/>
                </a:solidFill>
                <a:ea typeface="Arial Unicode MS"/>
              </a:rPr>
              <a:t>Stet clita kasd gubergren, no sea takimata sanctus est lorem ipsum dolor sit amet</a:t>
            </a:r>
          </a:p>
        </p:txBody>
      </p:sp>
      <p:sp>
        <p:nvSpPr>
          <p:cNvPr id="29" name="Rectangle 3">
            <a:extLst>
              <a:ext uri="{FF2B5EF4-FFF2-40B4-BE49-F238E27FC236}">
                <a16:creationId xmlns:a16="http://schemas.microsoft.com/office/drawing/2014/main" id="{821058D5-B93F-3240-8C59-8144A73045A0}"/>
              </a:ext>
            </a:extLst>
          </p:cNvPr>
          <p:cNvSpPr>
            <a:spLocks noChangeArrowheads="1"/>
          </p:cNvSpPr>
          <p:nvPr/>
        </p:nvSpPr>
        <p:spPr bwMode="auto">
          <a:xfrm>
            <a:off x="4298400" y="3042633"/>
            <a:ext cx="3600000" cy="1487549"/>
          </a:xfrm>
          <a:prstGeom prst="rect">
            <a:avLst/>
          </a:prstGeom>
          <a:solidFill>
            <a:srgbClr val="00646E"/>
          </a:solidFill>
          <a:ln w="19050">
            <a:noFill/>
          </a:ln>
          <a:effectLst/>
        </p:spPr>
        <p:txBody>
          <a:bodyPr lIns="107944" tIns="71963" rIns="107944" bIns="71963" rtlCol="0" anchor="t" anchorCtr="0"/>
          <a:lstStyle/>
          <a:p>
            <a:pPr>
              <a:buClr>
                <a:schemeClr val="bg1"/>
              </a:buClr>
            </a:pPr>
            <a:r>
              <a:rPr lang="en-US" sz="1599" b="1" dirty="0">
                <a:ea typeface="Arial Unicode MS"/>
              </a:rPr>
              <a:t>Takima sanctus</a:t>
            </a:r>
          </a:p>
          <a:p>
            <a:pPr marL="179910" indent="-179910">
              <a:spcBef>
                <a:spcPts val="300"/>
              </a:spcBef>
              <a:buSzPct val="100000"/>
              <a:buFont typeface="Arial" panose="020B0604020202020204" pitchFamily="34" charset="0"/>
              <a:buChar char="•"/>
            </a:pPr>
            <a:r>
              <a:rPr lang="en-US" sz="1599" dirty="0"/>
              <a:t>Consetetur sadipscing elitr, seddiam nonumy</a:t>
            </a:r>
          </a:p>
          <a:p>
            <a:pPr marL="179910" indent="-179910">
              <a:spcBef>
                <a:spcPts val="300"/>
              </a:spcBef>
              <a:buSzPct val="100000"/>
              <a:buFont typeface="Arial" panose="020B0604020202020204" pitchFamily="34" charset="0"/>
              <a:buChar char="•"/>
            </a:pPr>
            <a:r>
              <a:rPr lang="en-US" sz="1599" dirty="0"/>
              <a:t>Cras ultricies mi </a:t>
            </a:r>
            <a:r>
              <a:rPr lang="en-US" sz="1599" dirty="0">
                <a:ea typeface="Arial Unicode MS"/>
              </a:rPr>
              <a:t>eu</a:t>
            </a:r>
          </a:p>
        </p:txBody>
      </p:sp>
      <p:sp>
        <p:nvSpPr>
          <p:cNvPr id="30" name="Rectangle 3">
            <a:extLst>
              <a:ext uri="{FF2B5EF4-FFF2-40B4-BE49-F238E27FC236}">
                <a16:creationId xmlns:a16="http://schemas.microsoft.com/office/drawing/2014/main" id="{8C125521-D541-454E-90BC-66F189E10414}"/>
              </a:ext>
            </a:extLst>
          </p:cNvPr>
          <p:cNvSpPr>
            <a:spLocks noChangeArrowheads="1"/>
          </p:cNvSpPr>
          <p:nvPr/>
        </p:nvSpPr>
        <p:spPr bwMode="auto">
          <a:xfrm>
            <a:off x="8186400" y="3042633"/>
            <a:ext cx="3600000" cy="1487549"/>
          </a:xfrm>
          <a:prstGeom prst="rect">
            <a:avLst/>
          </a:prstGeom>
          <a:solidFill>
            <a:srgbClr val="00FFB9"/>
          </a:solidFill>
          <a:ln w="19050">
            <a:noFill/>
          </a:ln>
          <a:effectLst/>
        </p:spPr>
        <p:txBody>
          <a:bodyPr lIns="107944" tIns="71963" rIns="107944" bIns="71963" rtlCol="0" anchor="t" anchorCtr="0"/>
          <a:lstStyle/>
          <a:p>
            <a:pPr>
              <a:buClr>
                <a:schemeClr val="bg1"/>
              </a:buClr>
            </a:pPr>
            <a:r>
              <a:rPr lang="en-US" sz="1599" b="1" dirty="0">
                <a:solidFill>
                  <a:schemeClr val="bg2"/>
                </a:solidFill>
                <a:ea typeface="Arial Unicode MS"/>
              </a:rPr>
              <a:t>Vero eos et accusam</a:t>
            </a:r>
          </a:p>
          <a:p>
            <a:pPr marL="179910" indent="-179910">
              <a:spcBef>
                <a:spcPts val="300"/>
              </a:spcBef>
              <a:buSzPct val="100000"/>
              <a:buFont typeface="Arial" panose="020B0604020202020204" pitchFamily="34" charset="0"/>
              <a:buChar char="•"/>
            </a:pPr>
            <a:r>
              <a:rPr lang="en-US" sz="1599" dirty="0">
                <a:solidFill>
                  <a:schemeClr val="bg2"/>
                </a:solidFill>
                <a:ea typeface="Arial Unicode MS"/>
              </a:rPr>
              <a:t>At vero eos et accusam</a:t>
            </a:r>
          </a:p>
          <a:p>
            <a:pPr marL="179910" indent="-179910">
              <a:spcBef>
                <a:spcPts val="300"/>
              </a:spcBef>
              <a:buSzPct val="100000"/>
              <a:buFont typeface="Arial" panose="020B0604020202020204" pitchFamily="34" charset="0"/>
              <a:buChar char="•"/>
            </a:pPr>
            <a:r>
              <a:rPr lang="en-US" sz="1599" dirty="0">
                <a:solidFill>
                  <a:schemeClr val="bg2"/>
                </a:solidFill>
                <a:ea typeface="Arial Unicode MS"/>
              </a:rPr>
              <a:t>Stet clita kasd gubergren, no sea takimata sanctus</a:t>
            </a:r>
          </a:p>
        </p:txBody>
      </p:sp>
      <p:sp>
        <p:nvSpPr>
          <p:cNvPr id="34" name="Rectangle 3">
            <a:extLst>
              <a:ext uri="{FF2B5EF4-FFF2-40B4-BE49-F238E27FC236}">
                <a16:creationId xmlns:a16="http://schemas.microsoft.com/office/drawing/2014/main" id="{BFD7F8E1-4B70-4341-9CEE-B4C86B987722}"/>
              </a:ext>
            </a:extLst>
          </p:cNvPr>
          <p:cNvSpPr>
            <a:spLocks noChangeArrowheads="1"/>
          </p:cNvSpPr>
          <p:nvPr/>
        </p:nvSpPr>
        <p:spPr bwMode="auto">
          <a:xfrm>
            <a:off x="410400" y="4678557"/>
            <a:ext cx="3600000" cy="1487549"/>
          </a:xfrm>
          <a:prstGeom prst="rect">
            <a:avLst/>
          </a:prstGeom>
          <a:solidFill>
            <a:srgbClr val="66667E"/>
          </a:solidFill>
          <a:ln w="19050">
            <a:noFill/>
          </a:ln>
          <a:effectLst/>
        </p:spPr>
        <p:txBody>
          <a:bodyPr lIns="107944" tIns="71963" rIns="107944" bIns="71963" rtlCol="0" anchor="t" anchorCtr="0"/>
          <a:lstStyle/>
          <a:p>
            <a:pPr>
              <a:buClr>
                <a:schemeClr val="bg1"/>
              </a:buClr>
            </a:pPr>
            <a:r>
              <a:rPr lang="en-US" sz="1599" b="1" dirty="0">
                <a:ea typeface="Arial Unicode MS"/>
              </a:rPr>
              <a:t>Takima sanctus</a:t>
            </a:r>
          </a:p>
          <a:p>
            <a:pPr marL="179910" indent="-179910">
              <a:spcBef>
                <a:spcPts val="300"/>
              </a:spcBef>
              <a:buSzPct val="100000"/>
              <a:buFont typeface="Arial" panose="020B0604020202020204" pitchFamily="34" charset="0"/>
              <a:buChar char="•"/>
            </a:pPr>
            <a:r>
              <a:rPr lang="en-US" sz="1599" dirty="0">
                <a:ea typeface="Arial Unicode MS"/>
              </a:rPr>
              <a:t>At vero eos et accusam</a:t>
            </a:r>
          </a:p>
          <a:p>
            <a:pPr marL="179910" indent="-179910">
              <a:spcBef>
                <a:spcPts val="300"/>
              </a:spcBef>
              <a:buSzPct val="100000"/>
              <a:buFont typeface="Arial" panose="020B0604020202020204" pitchFamily="34" charset="0"/>
              <a:buChar char="•"/>
            </a:pPr>
            <a:r>
              <a:rPr lang="en-US" sz="1599" dirty="0">
                <a:ea typeface="Arial Unicode MS"/>
              </a:rPr>
              <a:t>Sanctus est lorem ipsum dolor sit amet</a:t>
            </a:r>
          </a:p>
        </p:txBody>
      </p:sp>
      <p:sp>
        <p:nvSpPr>
          <p:cNvPr id="35" name="Rectangle 3">
            <a:extLst>
              <a:ext uri="{FF2B5EF4-FFF2-40B4-BE49-F238E27FC236}">
                <a16:creationId xmlns:a16="http://schemas.microsoft.com/office/drawing/2014/main" id="{CD6F5D9C-4471-8A4D-A383-A9C05633E5C3}"/>
              </a:ext>
            </a:extLst>
          </p:cNvPr>
          <p:cNvSpPr>
            <a:spLocks noChangeArrowheads="1"/>
          </p:cNvSpPr>
          <p:nvPr/>
        </p:nvSpPr>
        <p:spPr bwMode="auto">
          <a:xfrm>
            <a:off x="4298400" y="4678557"/>
            <a:ext cx="3600000" cy="1487549"/>
          </a:xfrm>
          <a:prstGeom prst="rect">
            <a:avLst/>
          </a:prstGeom>
          <a:solidFill>
            <a:srgbClr val="333353"/>
          </a:solidFill>
          <a:ln w="19050">
            <a:noFill/>
          </a:ln>
          <a:effectLst/>
        </p:spPr>
        <p:txBody>
          <a:bodyPr lIns="107944" tIns="71963" rIns="107944" bIns="71963" rtlCol="0" anchor="t" anchorCtr="0"/>
          <a:lstStyle/>
          <a:p>
            <a:pPr>
              <a:buClr>
                <a:srgbClr val="3C464B"/>
              </a:buClr>
            </a:pPr>
            <a:r>
              <a:rPr lang="en-US" sz="1599" b="1" dirty="0">
                <a:solidFill>
                  <a:schemeClr val="tx2"/>
                </a:solidFill>
                <a:ea typeface="Arial Unicode MS"/>
              </a:rPr>
              <a:t>Vero eos et accusam</a:t>
            </a:r>
          </a:p>
          <a:p>
            <a:pPr marL="179910" indent="-179910">
              <a:spcBef>
                <a:spcPts val="300"/>
              </a:spcBef>
              <a:buSzPct val="100000"/>
              <a:buFont typeface="Arial" panose="020B0604020202020204" pitchFamily="34" charset="0"/>
              <a:buChar char="•"/>
            </a:pPr>
            <a:r>
              <a:rPr lang="en-US" sz="1599" dirty="0">
                <a:solidFill>
                  <a:schemeClr val="tx2"/>
                </a:solidFill>
                <a:ea typeface="Arial Unicode MS"/>
              </a:rPr>
              <a:t>Stet clita kasd gubergren, no sea takimata sanctus</a:t>
            </a:r>
          </a:p>
          <a:p>
            <a:pPr marL="179910" indent="-179910">
              <a:spcBef>
                <a:spcPts val="300"/>
              </a:spcBef>
              <a:buSzPct val="100000"/>
              <a:buFont typeface="Arial" panose="020B0604020202020204" pitchFamily="34" charset="0"/>
              <a:buChar char="•"/>
            </a:pPr>
            <a:r>
              <a:rPr lang="en-US" sz="1599" dirty="0">
                <a:solidFill>
                  <a:schemeClr val="tx2"/>
                </a:solidFill>
                <a:ea typeface="Arial Unicode MS"/>
              </a:rPr>
              <a:t>At vero eos et accusam</a:t>
            </a:r>
          </a:p>
        </p:txBody>
      </p:sp>
      <p:sp>
        <p:nvSpPr>
          <p:cNvPr id="36" name="Rectangle 3">
            <a:extLst>
              <a:ext uri="{FF2B5EF4-FFF2-40B4-BE49-F238E27FC236}">
                <a16:creationId xmlns:a16="http://schemas.microsoft.com/office/drawing/2014/main" id="{9758AE74-9C65-5A44-8807-4F8F30984CA4}"/>
              </a:ext>
            </a:extLst>
          </p:cNvPr>
          <p:cNvSpPr>
            <a:spLocks noChangeArrowheads="1"/>
          </p:cNvSpPr>
          <p:nvPr/>
        </p:nvSpPr>
        <p:spPr bwMode="auto">
          <a:xfrm>
            <a:off x="8186400" y="4678557"/>
            <a:ext cx="3600000" cy="1487549"/>
          </a:xfrm>
          <a:prstGeom prst="rect">
            <a:avLst/>
          </a:prstGeom>
          <a:solidFill>
            <a:srgbClr val="00646E"/>
          </a:solidFill>
          <a:ln w="19050">
            <a:noFill/>
          </a:ln>
          <a:effectLst/>
        </p:spPr>
        <p:txBody>
          <a:bodyPr lIns="107944" tIns="71963" rIns="107944" bIns="71963" rtlCol="0" anchor="t" anchorCtr="0"/>
          <a:lstStyle/>
          <a:p>
            <a:pPr>
              <a:buClr>
                <a:schemeClr val="bg1"/>
              </a:buClr>
            </a:pPr>
            <a:r>
              <a:rPr lang="en-US" sz="1599" b="1" dirty="0">
                <a:ea typeface="Arial Unicode MS"/>
              </a:rPr>
              <a:t>Et accusam</a:t>
            </a:r>
          </a:p>
          <a:p>
            <a:pPr marL="179910" indent="-179910">
              <a:spcBef>
                <a:spcPts val="300"/>
              </a:spcBef>
              <a:buSzPct val="100000"/>
              <a:buFont typeface="Arial" panose="020B0604020202020204" pitchFamily="34" charset="0"/>
              <a:buChar char="•"/>
            </a:pPr>
            <a:r>
              <a:rPr lang="en-US" sz="1599" dirty="0">
                <a:ea typeface="Arial Unicode MS"/>
              </a:rPr>
              <a:t>Cras ultricies mi eu</a:t>
            </a:r>
          </a:p>
          <a:p>
            <a:pPr marL="179910" indent="-179910">
              <a:spcBef>
                <a:spcPts val="300"/>
              </a:spcBef>
              <a:buSzPct val="100000"/>
              <a:buFont typeface="Arial" panose="020B0604020202020204" pitchFamily="34" charset="0"/>
              <a:buChar char="•"/>
            </a:pPr>
            <a:r>
              <a:rPr lang="en-US" sz="1599" dirty="0">
                <a:ea typeface="Arial Unicode MS"/>
              </a:rPr>
              <a:t>Consetetur sadipscing elitr, seddiam nonumy</a:t>
            </a:r>
          </a:p>
        </p:txBody>
      </p:sp>
      <p:sp>
        <p:nvSpPr>
          <p:cNvPr id="3" name="Footer Placeholder 2">
            <a:extLst>
              <a:ext uri="{FF2B5EF4-FFF2-40B4-BE49-F238E27FC236}">
                <a16:creationId xmlns:a16="http://schemas.microsoft.com/office/drawing/2014/main" id="{FC668346-BE0B-4983-9BAE-28C7AC350611}"/>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7D812850-E642-4F03-8BE0-39A03B71323D}"/>
              </a:ext>
            </a:extLst>
          </p:cNvPr>
          <p:cNvSpPr>
            <a:spLocks noGrp="1"/>
          </p:cNvSpPr>
          <p:nvPr>
            <p:ph type="sldNum" sz="quarter" idx="11"/>
          </p:nvPr>
        </p:nvSpPr>
        <p:spPr/>
        <p:txBody>
          <a:bodyPr/>
          <a:lstStyle/>
          <a:p>
            <a:r>
              <a:rPr lang="en-US" dirty="0"/>
              <a:t>Page </a:t>
            </a:r>
            <a:fld id="{15EBE321-CBB1-4E91-BD14-37C8D44326FB}" type="slidenum">
              <a:rPr lang="en-US" smtClean="0"/>
              <a:pPr/>
              <a:t>145</a:t>
            </a:fld>
            <a:endParaRPr lang="en-US" dirty="0"/>
          </a:p>
        </p:txBody>
      </p:sp>
    </p:spTree>
    <p:extLst>
      <p:ext uri="{BB962C8B-B14F-4D97-AF65-F5344CB8AC3E}">
        <p14:creationId xmlns:p14="http://schemas.microsoft.com/office/powerpoint/2010/main" val="1074952470"/>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10400" y="478800"/>
            <a:ext cx="9863997" cy="576000"/>
          </a:xfrm>
        </p:spPr>
        <p:txBody>
          <a:bodyPr/>
          <a:lstStyle/>
          <a:p>
            <a:r>
              <a:rPr lang="en-US" dirty="0"/>
              <a:t>Matrix – six boxes, with text</a:t>
            </a:r>
          </a:p>
        </p:txBody>
      </p:sp>
      <p:sp>
        <p:nvSpPr>
          <p:cNvPr id="4" name="Rechteck 3"/>
          <p:cNvSpPr>
            <a:spLocks/>
          </p:cNvSpPr>
          <p:nvPr/>
        </p:nvSpPr>
        <p:spPr bwMode="gray">
          <a:xfrm>
            <a:off x="8186400" y="1415848"/>
            <a:ext cx="3598207" cy="2302261"/>
          </a:xfrm>
          <a:prstGeom prst="rect">
            <a:avLst/>
          </a:prstGeom>
          <a:solidFill>
            <a:srgbClr val="E5E5E9"/>
          </a:solidFill>
          <a:ln w="19050">
            <a:noFill/>
          </a:ln>
          <a:effectLst/>
        </p:spPr>
        <p:txBody>
          <a:bodyPr lIns="143925" tIns="143925" rIns="143925" bIns="143925" rtlCol="0" anchor="t" anchorCtr="0"/>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spcBef>
                <a:spcPts val="0"/>
              </a:spcBef>
              <a:spcAft>
                <a:spcPts val="0"/>
              </a:spcAft>
            </a:pPr>
            <a:r>
              <a:rPr lang="en-US" sz="1799" dirty="0">
                <a:solidFill>
                  <a:srgbClr val="333353"/>
                </a:solidFill>
                <a:latin typeface="+mn-lt"/>
                <a:ea typeface="Arial Unicode MS"/>
              </a:rPr>
              <a:t>Stet clita kasd gubergren, no sea takimata sanctus est lorem ipsum dolor sit amet</a:t>
            </a:r>
          </a:p>
        </p:txBody>
      </p:sp>
      <p:sp>
        <p:nvSpPr>
          <p:cNvPr id="5" name="Rechteck 4"/>
          <p:cNvSpPr>
            <a:spLocks/>
          </p:cNvSpPr>
          <p:nvPr/>
        </p:nvSpPr>
        <p:spPr bwMode="gray">
          <a:xfrm>
            <a:off x="8186400" y="3864084"/>
            <a:ext cx="3598207" cy="2302264"/>
          </a:xfrm>
          <a:prstGeom prst="rect">
            <a:avLst/>
          </a:prstGeom>
          <a:solidFill>
            <a:srgbClr val="009999"/>
          </a:solidFill>
          <a:ln w="19050">
            <a:noFill/>
          </a:ln>
          <a:effectLst/>
        </p:spPr>
        <p:txBody>
          <a:bodyPr lIns="143925" tIns="143925" rIns="143925" bIns="143925" rtlCol="0" anchor="t" anchorCtr="0"/>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spcBef>
                <a:spcPts val="0"/>
              </a:spcBef>
              <a:spcAft>
                <a:spcPts val="0"/>
              </a:spcAft>
            </a:pPr>
            <a:r>
              <a:rPr lang="en-US" sz="1799" dirty="0">
                <a:solidFill>
                  <a:schemeClr val="bg1"/>
                </a:solidFill>
                <a:latin typeface="+mn-lt"/>
                <a:ea typeface="Arial Unicode MS"/>
              </a:rPr>
              <a:t>Cras ultricies mi eu</a:t>
            </a:r>
          </a:p>
        </p:txBody>
      </p:sp>
      <p:sp>
        <p:nvSpPr>
          <p:cNvPr id="6" name="Rechteck 5"/>
          <p:cNvSpPr>
            <a:spLocks/>
          </p:cNvSpPr>
          <p:nvPr/>
        </p:nvSpPr>
        <p:spPr bwMode="gray">
          <a:xfrm>
            <a:off x="4298400" y="3864084"/>
            <a:ext cx="3598207" cy="2302264"/>
          </a:xfrm>
          <a:prstGeom prst="rect">
            <a:avLst/>
          </a:prstGeom>
          <a:solidFill>
            <a:srgbClr val="E5E5E9"/>
          </a:solidFill>
          <a:ln w="19050">
            <a:noFill/>
          </a:ln>
          <a:effectLst/>
        </p:spPr>
        <p:txBody>
          <a:bodyPr lIns="143925" tIns="143925" rIns="143925" bIns="143925" rtlCol="0" anchor="t" anchorCtr="0"/>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spcBef>
                <a:spcPts val="0"/>
              </a:spcBef>
              <a:spcAft>
                <a:spcPts val="0"/>
              </a:spcAft>
            </a:pPr>
            <a:r>
              <a:rPr lang="en-US" sz="1799" dirty="0">
                <a:solidFill>
                  <a:srgbClr val="333353"/>
                </a:solidFill>
                <a:latin typeface="+mn-lt"/>
                <a:ea typeface="Arial Unicode MS"/>
              </a:rPr>
              <a:t>At vero eos et accusam</a:t>
            </a:r>
          </a:p>
        </p:txBody>
      </p:sp>
      <p:sp>
        <p:nvSpPr>
          <p:cNvPr id="7" name="Rechteck 6"/>
          <p:cNvSpPr>
            <a:spLocks/>
          </p:cNvSpPr>
          <p:nvPr/>
        </p:nvSpPr>
        <p:spPr bwMode="gray">
          <a:xfrm>
            <a:off x="410400" y="1415848"/>
            <a:ext cx="3598207" cy="2302261"/>
          </a:xfrm>
          <a:prstGeom prst="rect">
            <a:avLst/>
          </a:prstGeom>
          <a:solidFill>
            <a:srgbClr val="E5E5E9"/>
          </a:solidFill>
          <a:ln w="19050">
            <a:noFill/>
          </a:ln>
          <a:effectLst/>
        </p:spPr>
        <p:txBody>
          <a:bodyPr lIns="143925" tIns="143925" rIns="143925" bIns="143925" rtlCol="0" anchor="t" anchorCtr="0"/>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spcBef>
                <a:spcPts val="0"/>
              </a:spcBef>
              <a:spcAft>
                <a:spcPts val="0"/>
              </a:spcAft>
            </a:pPr>
            <a:r>
              <a:rPr lang="en-US" sz="1799" dirty="0">
                <a:solidFill>
                  <a:srgbClr val="333353"/>
                </a:solidFill>
                <a:latin typeface="+mn-lt"/>
                <a:ea typeface="Arial Unicode MS"/>
              </a:rPr>
              <a:t>Duis arcu tortor, suscipit eget</a:t>
            </a:r>
          </a:p>
        </p:txBody>
      </p:sp>
      <p:sp>
        <p:nvSpPr>
          <p:cNvPr id="8" name="Rechteck 7"/>
          <p:cNvSpPr>
            <a:spLocks/>
          </p:cNvSpPr>
          <p:nvPr/>
        </p:nvSpPr>
        <p:spPr bwMode="gray">
          <a:xfrm>
            <a:off x="410400" y="3864084"/>
            <a:ext cx="3598207" cy="2302264"/>
          </a:xfrm>
          <a:prstGeom prst="rect">
            <a:avLst/>
          </a:prstGeom>
          <a:solidFill>
            <a:srgbClr val="009999"/>
          </a:solidFill>
          <a:ln w="19050">
            <a:noFill/>
          </a:ln>
          <a:effectLst/>
        </p:spPr>
        <p:txBody>
          <a:bodyPr lIns="143925" tIns="143925" rIns="143925" bIns="143925" rtlCol="0" anchor="t" anchorCtr="0"/>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spcBef>
                <a:spcPts val="0"/>
              </a:spcBef>
              <a:spcAft>
                <a:spcPts val="0"/>
              </a:spcAft>
            </a:pPr>
            <a:r>
              <a:rPr lang="en-US" sz="1799" dirty="0">
                <a:solidFill>
                  <a:schemeClr val="bg1"/>
                </a:solidFill>
                <a:latin typeface="+mn-lt"/>
                <a:ea typeface="Arial Unicode MS"/>
              </a:rPr>
              <a:t>Stet clita kasd gubergren, no sea takimata sanctus est lorem ipsum dolor sit amet</a:t>
            </a:r>
          </a:p>
        </p:txBody>
      </p:sp>
      <p:sp>
        <p:nvSpPr>
          <p:cNvPr id="45" name="Rechteck 44"/>
          <p:cNvSpPr>
            <a:spLocks/>
          </p:cNvSpPr>
          <p:nvPr/>
        </p:nvSpPr>
        <p:spPr bwMode="gray">
          <a:xfrm>
            <a:off x="4298400" y="1415849"/>
            <a:ext cx="3598207" cy="2302261"/>
          </a:xfrm>
          <a:prstGeom prst="rect">
            <a:avLst/>
          </a:prstGeom>
          <a:solidFill>
            <a:srgbClr val="009999"/>
          </a:solidFill>
          <a:ln w="19050">
            <a:noFill/>
          </a:ln>
          <a:effectLst/>
        </p:spPr>
        <p:txBody>
          <a:bodyPr lIns="143925" tIns="143925" rIns="143925" bIns="143925" rtlCol="0" anchor="t" anchorCtr="0"/>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spcBef>
                <a:spcPts val="0"/>
              </a:spcBef>
              <a:spcAft>
                <a:spcPts val="0"/>
              </a:spcAft>
            </a:pPr>
            <a:r>
              <a:rPr lang="en-US" sz="1799" dirty="0">
                <a:solidFill>
                  <a:schemeClr val="bg1"/>
                </a:solidFill>
                <a:latin typeface="+mn-lt"/>
                <a:ea typeface="Arial Unicode MS"/>
              </a:rPr>
              <a:t>Consetetur sadipscing elitr, seddiam nonumy</a:t>
            </a:r>
          </a:p>
        </p:txBody>
      </p:sp>
      <p:sp>
        <p:nvSpPr>
          <p:cNvPr id="3" name="Footer Placeholder 2">
            <a:extLst>
              <a:ext uri="{FF2B5EF4-FFF2-40B4-BE49-F238E27FC236}">
                <a16:creationId xmlns:a16="http://schemas.microsoft.com/office/drawing/2014/main" id="{C326E3EE-0259-4A8A-A006-F1823320ECEA}"/>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9" name="Slide Number Placeholder 8">
            <a:extLst>
              <a:ext uri="{FF2B5EF4-FFF2-40B4-BE49-F238E27FC236}">
                <a16:creationId xmlns:a16="http://schemas.microsoft.com/office/drawing/2014/main" id="{46F3346E-AD9C-4F51-9A07-E5867BF7A76E}"/>
              </a:ext>
            </a:extLst>
          </p:cNvPr>
          <p:cNvSpPr>
            <a:spLocks noGrp="1"/>
          </p:cNvSpPr>
          <p:nvPr>
            <p:ph type="sldNum" sz="quarter" idx="11"/>
          </p:nvPr>
        </p:nvSpPr>
        <p:spPr/>
        <p:txBody>
          <a:bodyPr/>
          <a:lstStyle/>
          <a:p>
            <a:r>
              <a:rPr lang="en-US" dirty="0"/>
              <a:t>Page </a:t>
            </a:r>
            <a:fld id="{15EBE321-CBB1-4E91-BD14-37C8D44326FB}" type="slidenum">
              <a:rPr lang="en-US" smtClean="0"/>
              <a:pPr/>
              <a:t>146</a:t>
            </a:fld>
            <a:endParaRPr lang="en-US" dirty="0"/>
          </a:p>
        </p:txBody>
      </p:sp>
    </p:spTree>
    <p:extLst>
      <p:ext uri="{BB962C8B-B14F-4D97-AF65-F5344CB8AC3E}">
        <p14:creationId xmlns:p14="http://schemas.microsoft.com/office/powerpoint/2010/main" val="3331603059"/>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Matrix – six boxes, with text</a:t>
            </a:r>
          </a:p>
        </p:txBody>
      </p:sp>
      <p:sp>
        <p:nvSpPr>
          <p:cNvPr id="4" name="Rechteck 3"/>
          <p:cNvSpPr>
            <a:spLocks/>
          </p:cNvSpPr>
          <p:nvPr/>
        </p:nvSpPr>
        <p:spPr bwMode="gray">
          <a:xfrm>
            <a:off x="8186400" y="1415848"/>
            <a:ext cx="3598207" cy="2302261"/>
          </a:xfrm>
          <a:prstGeom prst="rect">
            <a:avLst/>
          </a:prstGeom>
          <a:solidFill>
            <a:srgbClr val="333353"/>
          </a:solidFill>
          <a:ln w="19050">
            <a:noFill/>
          </a:ln>
          <a:effectLst/>
        </p:spPr>
        <p:txBody>
          <a:bodyPr lIns="143925" tIns="143925" rIns="143925" bIns="143925" rtlCol="0" anchor="t" anchorCtr="0"/>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spcBef>
                <a:spcPts val="0"/>
              </a:spcBef>
              <a:spcAft>
                <a:spcPts val="0"/>
              </a:spcAft>
            </a:pPr>
            <a:r>
              <a:rPr lang="en-US" sz="1799" dirty="0">
                <a:solidFill>
                  <a:schemeClr val="tx2"/>
                </a:solidFill>
                <a:latin typeface="+mn-lt"/>
                <a:ea typeface="Arial Unicode MS"/>
              </a:rPr>
              <a:t>Stet clita kasd gubergren, no sea takimata sanctus est lorem ipsum dolor sit amet</a:t>
            </a:r>
          </a:p>
        </p:txBody>
      </p:sp>
      <p:sp>
        <p:nvSpPr>
          <p:cNvPr id="5" name="Rechteck 4"/>
          <p:cNvSpPr>
            <a:spLocks/>
          </p:cNvSpPr>
          <p:nvPr/>
        </p:nvSpPr>
        <p:spPr bwMode="gray">
          <a:xfrm>
            <a:off x="8186400" y="3864084"/>
            <a:ext cx="3598207" cy="2302264"/>
          </a:xfrm>
          <a:prstGeom prst="rect">
            <a:avLst/>
          </a:prstGeom>
          <a:solidFill>
            <a:srgbClr val="00FFB9"/>
          </a:solidFill>
          <a:ln w="19050">
            <a:noFill/>
          </a:ln>
          <a:effectLst/>
        </p:spPr>
        <p:txBody>
          <a:bodyPr lIns="143925" tIns="143925" rIns="143925" bIns="143925" rtlCol="0" anchor="t" anchorCtr="0"/>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spcBef>
                <a:spcPts val="0"/>
              </a:spcBef>
              <a:spcAft>
                <a:spcPts val="0"/>
              </a:spcAft>
            </a:pPr>
            <a:r>
              <a:rPr lang="en-US" sz="1799" dirty="0">
                <a:latin typeface="+mn-lt"/>
                <a:ea typeface="Arial Unicode MS"/>
              </a:rPr>
              <a:t>Cras ultricies mi eu</a:t>
            </a:r>
          </a:p>
        </p:txBody>
      </p:sp>
      <p:sp>
        <p:nvSpPr>
          <p:cNvPr id="6" name="Rechteck 5"/>
          <p:cNvSpPr>
            <a:spLocks/>
          </p:cNvSpPr>
          <p:nvPr/>
        </p:nvSpPr>
        <p:spPr bwMode="gray">
          <a:xfrm>
            <a:off x="4298400" y="3864084"/>
            <a:ext cx="3598207" cy="2302264"/>
          </a:xfrm>
          <a:prstGeom prst="rect">
            <a:avLst/>
          </a:prstGeom>
          <a:solidFill>
            <a:srgbClr val="333353"/>
          </a:solidFill>
          <a:ln w="19050">
            <a:noFill/>
          </a:ln>
          <a:effectLst/>
        </p:spPr>
        <p:txBody>
          <a:bodyPr lIns="143925" tIns="143925" rIns="143925" bIns="143925" rtlCol="0" anchor="t" anchorCtr="0"/>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spcBef>
                <a:spcPts val="0"/>
              </a:spcBef>
              <a:spcAft>
                <a:spcPts val="0"/>
              </a:spcAft>
            </a:pPr>
            <a:r>
              <a:rPr lang="en-US" sz="1799" dirty="0">
                <a:solidFill>
                  <a:schemeClr val="tx2"/>
                </a:solidFill>
                <a:latin typeface="+mn-lt"/>
                <a:ea typeface="Arial Unicode MS"/>
              </a:rPr>
              <a:t>At vero eos et accusam</a:t>
            </a:r>
          </a:p>
        </p:txBody>
      </p:sp>
      <p:sp>
        <p:nvSpPr>
          <p:cNvPr id="7" name="Rechteck 6"/>
          <p:cNvSpPr>
            <a:spLocks/>
          </p:cNvSpPr>
          <p:nvPr/>
        </p:nvSpPr>
        <p:spPr bwMode="gray">
          <a:xfrm>
            <a:off x="410400" y="1415848"/>
            <a:ext cx="3598207" cy="2302261"/>
          </a:xfrm>
          <a:prstGeom prst="rect">
            <a:avLst/>
          </a:prstGeom>
          <a:solidFill>
            <a:srgbClr val="333353"/>
          </a:solidFill>
          <a:ln w="19050">
            <a:noFill/>
          </a:ln>
          <a:effectLst/>
        </p:spPr>
        <p:txBody>
          <a:bodyPr lIns="143925" tIns="143925" rIns="143925" bIns="143925" rtlCol="0" anchor="t" anchorCtr="0"/>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spcBef>
                <a:spcPts val="0"/>
              </a:spcBef>
              <a:spcAft>
                <a:spcPts val="0"/>
              </a:spcAft>
            </a:pPr>
            <a:r>
              <a:rPr lang="en-US" sz="1799" dirty="0">
                <a:solidFill>
                  <a:schemeClr val="tx2"/>
                </a:solidFill>
                <a:latin typeface="+mn-lt"/>
                <a:ea typeface="Arial Unicode MS"/>
              </a:rPr>
              <a:t>Duis arcu tortor, suscipit eget</a:t>
            </a:r>
          </a:p>
        </p:txBody>
      </p:sp>
      <p:sp>
        <p:nvSpPr>
          <p:cNvPr id="8" name="Rechteck 7"/>
          <p:cNvSpPr>
            <a:spLocks/>
          </p:cNvSpPr>
          <p:nvPr/>
        </p:nvSpPr>
        <p:spPr bwMode="gray">
          <a:xfrm>
            <a:off x="410400" y="3864084"/>
            <a:ext cx="3598207" cy="2302264"/>
          </a:xfrm>
          <a:prstGeom prst="rect">
            <a:avLst/>
          </a:prstGeom>
          <a:solidFill>
            <a:srgbClr val="00FFB9"/>
          </a:solidFill>
          <a:ln w="19050">
            <a:noFill/>
          </a:ln>
          <a:effectLst/>
        </p:spPr>
        <p:txBody>
          <a:bodyPr lIns="143925" tIns="143925" rIns="143925" bIns="143925" rtlCol="0" anchor="t" anchorCtr="0"/>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spcBef>
                <a:spcPts val="0"/>
              </a:spcBef>
              <a:spcAft>
                <a:spcPts val="0"/>
              </a:spcAft>
            </a:pPr>
            <a:r>
              <a:rPr lang="en-US" sz="1799" dirty="0">
                <a:latin typeface="+mn-lt"/>
                <a:ea typeface="Arial Unicode MS"/>
              </a:rPr>
              <a:t>Stet clita kasd gubergren, no sea takimata sanctus est lorem ipsum dolor sit amet</a:t>
            </a:r>
          </a:p>
        </p:txBody>
      </p:sp>
      <p:sp>
        <p:nvSpPr>
          <p:cNvPr id="45" name="Rechteck 44"/>
          <p:cNvSpPr>
            <a:spLocks/>
          </p:cNvSpPr>
          <p:nvPr/>
        </p:nvSpPr>
        <p:spPr bwMode="gray">
          <a:xfrm>
            <a:off x="4298400" y="1415849"/>
            <a:ext cx="3598207" cy="2302261"/>
          </a:xfrm>
          <a:prstGeom prst="rect">
            <a:avLst/>
          </a:prstGeom>
          <a:solidFill>
            <a:srgbClr val="00FFB9"/>
          </a:solidFill>
          <a:ln w="19050">
            <a:noFill/>
          </a:ln>
          <a:effectLst/>
        </p:spPr>
        <p:txBody>
          <a:bodyPr lIns="143925" tIns="143925" rIns="143925" bIns="143925" rtlCol="0" anchor="t" anchorCtr="0"/>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spcBef>
                <a:spcPts val="0"/>
              </a:spcBef>
              <a:spcAft>
                <a:spcPts val="0"/>
              </a:spcAft>
            </a:pPr>
            <a:r>
              <a:rPr lang="en-US" sz="1799" dirty="0">
                <a:latin typeface="+mn-lt"/>
                <a:ea typeface="Arial Unicode MS"/>
              </a:rPr>
              <a:t>Consetetur sadipscing elitr, seddiam nonumy</a:t>
            </a:r>
          </a:p>
        </p:txBody>
      </p:sp>
      <p:sp>
        <p:nvSpPr>
          <p:cNvPr id="3" name="Footer Placeholder 2">
            <a:extLst>
              <a:ext uri="{FF2B5EF4-FFF2-40B4-BE49-F238E27FC236}">
                <a16:creationId xmlns:a16="http://schemas.microsoft.com/office/drawing/2014/main" id="{94879296-D06B-49DA-AD32-BBF8B8B524EF}"/>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9" name="Slide Number Placeholder 8">
            <a:extLst>
              <a:ext uri="{FF2B5EF4-FFF2-40B4-BE49-F238E27FC236}">
                <a16:creationId xmlns:a16="http://schemas.microsoft.com/office/drawing/2014/main" id="{98FFBD17-1F63-44AC-A894-3BDBC942A1B5}"/>
              </a:ext>
            </a:extLst>
          </p:cNvPr>
          <p:cNvSpPr>
            <a:spLocks noGrp="1"/>
          </p:cNvSpPr>
          <p:nvPr>
            <p:ph type="sldNum" sz="quarter" idx="11"/>
          </p:nvPr>
        </p:nvSpPr>
        <p:spPr/>
        <p:txBody>
          <a:bodyPr/>
          <a:lstStyle/>
          <a:p>
            <a:r>
              <a:rPr lang="en-US" dirty="0"/>
              <a:t>Page </a:t>
            </a:r>
            <a:fld id="{15EBE321-CBB1-4E91-BD14-37C8D44326FB}" type="slidenum">
              <a:rPr lang="en-US" smtClean="0"/>
              <a:pPr/>
              <a:t>147</a:t>
            </a:fld>
            <a:endParaRPr lang="en-US" dirty="0"/>
          </a:p>
        </p:txBody>
      </p:sp>
    </p:spTree>
    <p:extLst>
      <p:ext uri="{BB962C8B-B14F-4D97-AF65-F5344CB8AC3E}">
        <p14:creationId xmlns:p14="http://schemas.microsoft.com/office/powerpoint/2010/main" val="3160265054"/>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10400" y="478800"/>
            <a:ext cx="9863997" cy="576000"/>
          </a:xfrm>
        </p:spPr>
        <p:txBody>
          <a:bodyPr/>
          <a:lstStyle/>
          <a:p>
            <a:r>
              <a:rPr lang="en-US" dirty="0"/>
              <a:t>Matrix – factors leading to goals / outcomes</a:t>
            </a:r>
          </a:p>
        </p:txBody>
      </p:sp>
      <p:cxnSp>
        <p:nvCxnSpPr>
          <p:cNvPr id="5" name="Straight Connector 4"/>
          <p:cNvCxnSpPr/>
          <p:nvPr/>
        </p:nvCxnSpPr>
        <p:spPr bwMode="auto">
          <a:xfrm>
            <a:off x="2606400" y="3612225"/>
            <a:ext cx="6984000" cy="0"/>
          </a:xfrm>
          <a:prstGeom prst="line">
            <a:avLst/>
          </a:prstGeom>
          <a:solidFill>
            <a:schemeClr val="tx2"/>
          </a:solidFill>
          <a:ln w="12700" cap="flat" cmpd="sng" algn="ctr">
            <a:solidFill>
              <a:srgbClr val="66667E"/>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Straight Connector 26"/>
          <p:cNvCxnSpPr/>
          <p:nvPr/>
        </p:nvCxnSpPr>
        <p:spPr bwMode="auto">
          <a:xfrm rot="5400000">
            <a:off x="4297650" y="3611324"/>
            <a:ext cx="3600000" cy="0"/>
          </a:xfrm>
          <a:prstGeom prst="line">
            <a:avLst/>
          </a:prstGeom>
          <a:solidFill>
            <a:schemeClr val="tx2"/>
          </a:solidFill>
          <a:ln w="12700" cap="flat" cmpd="sng" algn="ctr">
            <a:solidFill>
              <a:srgbClr val="66667E"/>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8" name="Rectangle 3"/>
          <p:cNvSpPr>
            <a:spLocks noChangeArrowheads="1"/>
          </p:cNvSpPr>
          <p:nvPr/>
        </p:nvSpPr>
        <p:spPr bwMode="auto">
          <a:xfrm>
            <a:off x="6314400" y="3722400"/>
            <a:ext cx="2878501" cy="1439250"/>
          </a:xfrm>
          <a:prstGeom prst="rect">
            <a:avLst/>
          </a:prstGeom>
          <a:solidFill>
            <a:schemeClr val="accent1"/>
          </a:solidFill>
          <a:ln w="19050">
            <a:noFill/>
          </a:ln>
          <a:effectLst/>
        </p:spPr>
        <p:txBody>
          <a:bodyPr lIns="143925" tIns="143925" rIns="143925" bIns="143925" rtlCol="0" anchor="t" anchorCtr="0"/>
          <a:lstStyle/>
          <a:p>
            <a:pPr>
              <a:lnSpc>
                <a:spcPct val="90000"/>
              </a:lnSpc>
              <a:buClr>
                <a:schemeClr val="bg1"/>
              </a:buClr>
            </a:pPr>
            <a:r>
              <a:rPr lang="en-US" sz="1599" b="1" dirty="0">
                <a:solidFill>
                  <a:schemeClr val="bg1"/>
                </a:solidFill>
                <a:ea typeface="Arial Unicode MS"/>
              </a:rPr>
              <a:t>Phasellus nec sem</a:t>
            </a:r>
          </a:p>
          <a:p>
            <a:pPr marL="179910" indent="-179910">
              <a:lnSpc>
                <a:spcPct val="90000"/>
              </a:lnSpc>
              <a:spcBef>
                <a:spcPts val="300"/>
              </a:spcBef>
              <a:buClr>
                <a:schemeClr val="bg1"/>
              </a:buClr>
              <a:buSzPct val="100000"/>
              <a:buFont typeface="Arial" pitchFamily="34" charset="0"/>
              <a:buChar char="•"/>
            </a:pPr>
            <a:r>
              <a:rPr lang="en-US" sz="1599" dirty="0">
                <a:solidFill>
                  <a:schemeClr val="bg1"/>
                </a:solidFill>
              </a:rPr>
              <a:t>Stet clita kasd gubergren</a:t>
            </a:r>
          </a:p>
          <a:p>
            <a:pPr marL="179910" indent="-179910">
              <a:lnSpc>
                <a:spcPct val="90000"/>
              </a:lnSpc>
              <a:spcBef>
                <a:spcPts val="300"/>
              </a:spcBef>
              <a:buClr>
                <a:schemeClr val="bg1"/>
              </a:buClr>
              <a:buSzPct val="100000"/>
              <a:buFont typeface="Arial" pitchFamily="34" charset="0"/>
              <a:buChar char="•"/>
            </a:pPr>
            <a:r>
              <a:rPr lang="en-US" sz="1599" dirty="0">
                <a:solidFill>
                  <a:schemeClr val="bg1"/>
                </a:solidFill>
              </a:rPr>
              <a:t>At vero eos et accusam</a:t>
            </a:r>
          </a:p>
        </p:txBody>
      </p:sp>
      <p:sp>
        <p:nvSpPr>
          <p:cNvPr id="20" name="Rectangle 3"/>
          <p:cNvSpPr>
            <a:spLocks noChangeArrowheads="1"/>
          </p:cNvSpPr>
          <p:nvPr/>
        </p:nvSpPr>
        <p:spPr bwMode="auto">
          <a:xfrm>
            <a:off x="3002400" y="2062800"/>
            <a:ext cx="2878501" cy="1439250"/>
          </a:xfrm>
          <a:prstGeom prst="rect">
            <a:avLst/>
          </a:prstGeom>
          <a:solidFill>
            <a:srgbClr val="E5E5E9"/>
          </a:solidFill>
          <a:ln w="19050">
            <a:noFill/>
          </a:ln>
          <a:effectLst/>
        </p:spPr>
        <p:txBody>
          <a:bodyPr lIns="143925" tIns="143925" rIns="143925" bIns="143925" rtlCol="0" anchor="t" anchorCtr="0"/>
          <a:lstStyle/>
          <a:p>
            <a:pPr>
              <a:lnSpc>
                <a:spcPct val="90000"/>
              </a:lnSpc>
              <a:buClr>
                <a:schemeClr val="bg1"/>
              </a:buClr>
            </a:pPr>
            <a:r>
              <a:rPr lang="en-US" sz="1599" b="1" dirty="0">
                <a:solidFill>
                  <a:schemeClr val="accent1"/>
                </a:solidFill>
                <a:ea typeface="Arial Unicode MS"/>
              </a:rPr>
              <a:t>At vero eos et accusam</a:t>
            </a:r>
          </a:p>
          <a:p>
            <a:pPr marL="179910" indent="-179910">
              <a:lnSpc>
                <a:spcPct val="90000"/>
              </a:lnSpc>
              <a:spcBef>
                <a:spcPts val="300"/>
              </a:spcBef>
              <a:buClr>
                <a:srgbClr val="009999"/>
              </a:buClr>
              <a:buSzPct val="100000"/>
              <a:buFont typeface="Arial" pitchFamily="34" charset="0"/>
              <a:buChar char="•"/>
            </a:pPr>
            <a:r>
              <a:rPr lang="en-US" sz="1599" dirty="0">
                <a:solidFill>
                  <a:srgbClr val="333353"/>
                </a:solidFill>
              </a:rPr>
              <a:t>Cras ultricies mi eu</a:t>
            </a:r>
          </a:p>
          <a:p>
            <a:pPr marL="179910" indent="-179910">
              <a:lnSpc>
                <a:spcPct val="90000"/>
              </a:lnSpc>
              <a:spcBef>
                <a:spcPts val="300"/>
              </a:spcBef>
              <a:buClr>
                <a:srgbClr val="009999"/>
              </a:buClr>
              <a:buSzPct val="100000"/>
              <a:buFont typeface="Arial" pitchFamily="34" charset="0"/>
              <a:buChar char="•"/>
            </a:pPr>
            <a:r>
              <a:rPr lang="en-US" sz="1599" dirty="0">
                <a:solidFill>
                  <a:srgbClr val="333353"/>
                </a:solidFill>
              </a:rPr>
              <a:t>At vero eos et accusam</a:t>
            </a:r>
          </a:p>
          <a:p>
            <a:pPr marL="179910" indent="-179910">
              <a:lnSpc>
                <a:spcPct val="90000"/>
              </a:lnSpc>
              <a:spcBef>
                <a:spcPts val="300"/>
              </a:spcBef>
              <a:buClr>
                <a:srgbClr val="009999"/>
              </a:buClr>
              <a:buSzPct val="100000"/>
              <a:buFont typeface="Arial" pitchFamily="34" charset="0"/>
              <a:buChar char="•"/>
            </a:pPr>
            <a:r>
              <a:rPr lang="en-US" sz="1599" dirty="0">
                <a:solidFill>
                  <a:srgbClr val="333353"/>
                </a:solidFill>
              </a:rPr>
              <a:t>Stet clita</a:t>
            </a:r>
          </a:p>
        </p:txBody>
      </p:sp>
      <p:sp>
        <p:nvSpPr>
          <p:cNvPr id="21" name="Rectangle 3"/>
          <p:cNvSpPr>
            <a:spLocks noChangeArrowheads="1"/>
          </p:cNvSpPr>
          <p:nvPr/>
        </p:nvSpPr>
        <p:spPr bwMode="auto">
          <a:xfrm>
            <a:off x="6314400" y="2062800"/>
            <a:ext cx="2878501" cy="1439250"/>
          </a:xfrm>
          <a:prstGeom prst="rect">
            <a:avLst/>
          </a:prstGeom>
          <a:solidFill>
            <a:srgbClr val="E5E5E9"/>
          </a:solidFill>
          <a:ln w="19050">
            <a:noFill/>
          </a:ln>
          <a:effectLst/>
        </p:spPr>
        <p:txBody>
          <a:bodyPr lIns="143925" tIns="143925" rIns="143925" bIns="143925" rtlCol="0" anchor="t" anchorCtr="0"/>
          <a:lstStyle/>
          <a:p>
            <a:pPr>
              <a:lnSpc>
                <a:spcPct val="90000"/>
              </a:lnSpc>
              <a:buClr>
                <a:schemeClr val="bg1"/>
              </a:buClr>
            </a:pPr>
            <a:r>
              <a:rPr lang="en-US" sz="1599" b="1" dirty="0">
                <a:solidFill>
                  <a:schemeClr val="accent1"/>
                </a:solidFill>
                <a:ea typeface="Arial Unicode MS"/>
              </a:rPr>
              <a:t>Cras ultricies mi eu</a:t>
            </a:r>
          </a:p>
          <a:p>
            <a:pPr marL="179910" indent="-179910">
              <a:lnSpc>
                <a:spcPct val="90000"/>
              </a:lnSpc>
              <a:spcBef>
                <a:spcPts val="300"/>
              </a:spcBef>
              <a:buClr>
                <a:srgbClr val="009999"/>
              </a:buClr>
              <a:buSzPct val="100000"/>
              <a:buFont typeface="Arial" pitchFamily="34" charset="0"/>
              <a:buChar char="•"/>
            </a:pPr>
            <a:r>
              <a:rPr lang="en-US" sz="1599" dirty="0">
                <a:solidFill>
                  <a:srgbClr val="333353"/>
                </a:solidFill>
              </a:rPr>
              <a:t>Consetetur sadipscing elitr, seddiam nonumy</a:t>
            </a:r>
          </a:p>
          <a:p>
            <a:pPr marL="179910" indent="-179910">
              <a:lnSpc>
                <a:spcPct val="90000"/>
              </a:lnSpc>
              <a:spcBef>
                <a:spcPts val="300"/>
              </a:spcBef>
              <a:buClr>
                <a:srgbClr val="009999"/>
              </a:buClr>
              <a:buSzPct val="100000"/>
              <a:buFont typeface="Arial" pitchFamily="34" charset="0"/>
              <a:buChar char="•"/>
            </a:pPr>
            <a:r>
              <a:rPr lang="en-US" sz="1599" dirty="0">
                <a:solidFill>
                  <a:srgbClr val="333353"/>
                </a:solidFill>
              </a:rPr>
              <a:t>Cras ultricies mi eu</a:t>
            </a:r>
          </a:p>
        </p:txBody>
      </p:sp>
      <p:sp>
        <p:nvSpPr>
          <p:cNvPr id="22" name="Rectangle 3"/>
          <p:cNvSpPr>
            <a:spLocks noChangeArrowheads="1"/>
          </p:cNvSpPr>
          <p:nvPr/>
        </p:nvSpPr>
        <p:spPr bwMode="auto">
          <a:xfrm>
            <a:off x="3002400" y="3722400"/>
            <a:ext cx="2878501" cy="1439250"/>
          </a:xfrm>
          <a:prstGeom prst="rect">
            <a:avLst/>
          </a:prstGeom>
          <a:solidFill>
            <a:srgbClr val="E5E5E9"/>
          </a:solidFill>
          <a:ln w="19050">
            <a:noFill/>
          </a:ln>
          <a:effectLst/>
        </p:spPr>
        <p:txBody>
          <a:bodyPr lIns="143925" tIns="143925" rIns="143925" bIns="143925" rtlCol="0" anchor="t" anchorCtr="0"/>
          <a:lstStyle/>
          <a:p>
            <a:pPr>
              <a:lnSpc>
                <a:spcPct val="90000"/>
              </a:lnSpc>
              <a:buClr>
                <a:schemeClr val="bg1"/>
              </a:buClr>
            </a:pPr>
            <a:r>
              <a:rPr lang="en-US" sz="1599" b="1" dirty="0">
                <a:solidFill>
                  <a:schemeClr val="accent1"/>
                </a:solidFill>
                <a:ea typeface="Arial Unicode MS"/>
              </a:rPr>
              <a:t>Takima sanctus</a:t>
            </a:r>
          </a:p>
          <a:p>
            <a:pPr marL="179910" indent="-179910">
              <a:lnSpc>
                <a:spcPct val="90000"/>
              </a:lnSpc>
              <a:spcBef>
                <a:spcPts val="300"/>
              </a:spcBef>
              <a:buClr>
                <a:srgbClr val="009999"/>
              </a:buClr>
              <a:buSzPct val="100000"/>
              <a:buFont typeface="Arial" pitchFamily="34" charset="0"/>
              <a:buChar char="•"/>
            </a:pPr>
            <a:r>
              <a:rPr lang="en-US" sz="1599" dirty="0">
                <a:solidFill>
                  <a:srgbClr val="333353"/>
                </a:solidFill>
              </a:rPr>
              <a:t>Duis arcu tortor</a:t>
            </a:r>
          </a:p>
          <a:p>
            <a:pPr marL="179910" indent="-179910">
              <a:lnSpc>
                <a:spcPct val="90000"/>
              </a:lnSpc>
              <a:spcBef>
                <a:spcPts val="300"/>
              </a:spcBef>
              <a:buClr>
                <a:srgbClr val="009999"/>
              </a:buClr>
              <a:buSzPct val="100000"/>
              <a:buFont typeface="Arial" pitchFamily="34" charset="0"/>
              <a:buChar char="•"/>
            </a:pPr>
            <a:r>
              <a:rPr lang="en-US" sz="1599" dirty="0">
                <a:solidFill>
                  <a:srgbClr val="333353"/>
                </a:solidFill>
              </a:rPr>
              <a:t>Consetetur sadipscing elitr, seddiam nonumy</a:t>
            </a:r>
          </a:p>
        </p:txBody>
      </p:sp>
      <p:sp>
        <p:nvSpPr>
          <p:cNvPr id="43" name="Textfeld 30"/>
          <p:cNvSpPr txBox="1">
            <a:spLocks/>
          </p:cNvSpPr>
          <p:nvPr/>
        </p:nvSpPr>
        <p:spPr bwMode="gray">
          <a:xfrm>
            <a:off x="9626400" y="3369351"/>
            <a:ext cx="2160000" cy="485747"/>
          </a:xfrm>
          <a:prstGeom prst="rect">
            <a:avLst/>
          </a:prstGeom>
          <a:noFill/>
          <a:ln>
            <a:noFill/>
          </a:ln>
          <a:scene3d>
            <a:camera prst="orthographicFront">
              <a:rot lat="0" lon="0" rev="0"/>
            </a:camera>
            <a:lightRig rig="threePt" dir="t"/>
          </a:scene3d>
        </p:spPr>
        <p:txBody>
          <a:bodyPr wrap="square" lIns="143925" tIns="0" rIns="0" bIns="0" rtlCol="0" anchor="ctr" anchorCtr="0">
            <a:noAutofit/>
          </a:bodyPr>
          <a:lstStyle/>
          <a:p>
            <a:pPr>
              <a:tabLst>
                <a:tab pos="1255085" algn="r"/>
              </a:tabLst>
              <a:defRPr/>
            </a:pPr>
            <a:r>
              <a:rPr lang="en-US" altLang="de-DE" sz="1399" b="1" dirty="0">
                <a:solidFill>
                  <a:srgbClr val="66667E"/>
                </a:solidFill>
                <a:ea typeface="Arial Unicode MS"/>
              </a:rPr>
              <a:t>Duis arcu eget</a:t>
            </a:r>
            <a:endParaRPr lang="en-US" altLang="de-DE" sz="1399" dirty="0">
              <a:solidFill>
                <a:srgbClr val="66667E"/>
              </a:solidFill>
              <a:ea typeface="Arial Unicode MS"/>
              <a:cs typeface="Arial" pitchFamily="34" charset="0"/>
            </a:endParaRPr>
          </a:p>
        </p:txBody>
      </p:sp>
      <p:sp>
        <p:nvSpPr>
          <p:cNvPr id="44" name="Textfeld 30"/>
          <p:cNvSpPr txBox="1">
            <a:spLocks/>
          </p:cNvSpPr>
          <p:nvPr/>
        </p:nvSpPr>
        <p:spPr bwMode="gray">
          <a:xfrm>
            <a:off x="410400" y="3369351"/>
            <a:ext cx="2160000" cy="485747"/>
          </a:xfrm>
          <a:prstGeom prst="rect">
            <a:avLst/>
          </a:prstGeom>
          <a:noFill/>
          <a:ln>
            <a:noFill/>
          </a:ln>
          <a:scene3d>
            <a:camera prst="orthographicFront">
              <a:rot lat="0" lon="0" rev="0"/>
            </a:camera>
            <a:lightRig rig="threePt" dir="t"/>
          </a:scene3d>
        </p:spPr>
        <p:txBody>
          <a:bodyPr wrap="square" lIns="0" tIns="0" rIns="143925" bIns="0" rtlCol="0" anchor="ctr" anchorCtr="0">
            <a:noAutofit/>
          </a:bodyPr>
          <a:lstStyle/>
          <a:p>
            <a:pPr algn="r">
              <a:tabLst>
                <a:tab pos="1255085" algn="r"/>
              </a:tabLst>
              <a:defRPr/>
            </a:pPr>
            <a:r>
              <a:rPr lang="en-US" altLang="de-DE" sz="1399" b="1" dirty="0">
                <a:solidFill>
                  <a:srgbClr val="66667E"/>
                </a:solidFill>
                <a:ea typeface="Arial Unicode MS"/>
              </a:rPr>
              <a:t>Phasellus</a:t>
            </a:r>
            <a:endParaRPr lang="en-US" altLang="de-DE" sz="1399" dirty="0">
              <a:solidFill>
                <a:srgbClr val="66667E"/>
              </a:solidFill>
              <a:ea typeface="Arial Unicode MS"/>
              <a:cs typeface="Arial" pitchFamily="34" charset="0"/>
            </a:endParaRPr>
          </a:p>
        </p:txBody>
      </p:sp>
      <p:sp>
        <p:nvSpPr>
          <p:cNvPr id="45" name="Textfeld 30"/>
          <p:cNvSpPr txBox="1">
            <a:spLocks/>
          </p:cNvSpPr>
          <p:nvPr/>
        </p:nvSpPr>
        <p:spPr bwMode="gray">
          <a:xfrm>
            <a:off x="3075704" y="1415849"/>
            <a:ext cx="6040592" cy="360000"/>
          </a:xfrm>
          <a:prstGeom prst="rect">
            <a:avLst/>
          </a:prstGeom>
          <a:noFill/>
          <a:ln>
            <a:noFill/>
          </a:ln>
          <a:scene3d>
            <a:camera prst="orthographicFront">
              <a:rot lat="0" lon="0" rev="0"/>
            </a:camera>
            <a:lightRig rig="threePt" dir="t"/>
          </a:scene3d>
        </p:spPr>
        <p:txBody>
          <a:bodyPr wrap="square" lIns="0" tIns="0" rIns="0" bIns="71963" rtlCol="0" anchor="b" anchorCtr="0">
            <a:noAutofit/>
          </a:bodyPr>
          <a:lstStyle/>
          <a:p>
            <a:pPr algn="ctr">
              <a:tabLst>
                <a:tab pos="1255085" algn="r"/>
              </a:tabLst>
              <a:defRPr/>
            </a:pPr>
            <a:r>
              <a:rPr lang="en-US" altLang="de-DE" sz="1399" b="1" dirty="0">
                <a:solidFill>
                  <a:srgbClr val="66667E"/>
                </a:solidFill>
                <a:ea typeface="Arial Unicode MS"/>
              </a:rPr>
              <a:t>Suscipit</a:t>
            </a:r>
            <a:endParaRPr lang="en-US" altLang="de-DE" sz="1399" dirty="0">
              <a:solidFill>
                <a:srgbClr val="66667E"/>
              </a:solidFill>
              <a:ea typeface="Arial Unicode MS"/>
              <a:cs typeface="Arial" pitchFamily="34" charset="0"/>
            </a:endParaRPr>
          </a:p>
        </p:txBody>
      </p:sp>
      <p:sp>
        <p:nvSpPr>
          <p:cNvPr id="47" name="Textfeld 30"/>
          <p:cNvSpPr txBox="1">
            <a:spLocks/>
          </p:cNvSpPr>
          <p:nvPr/>
        </p:nvSpPr>
        <p:spPr bwMode="gray">
          <a:xfrm>
            <a:off x="3075704" y="5446800"/>
            <a:ext cx="6040592" cy="360000"/>
          </a:xfrm>
          <a:prstGeom prst="rect">
            <a:avLst/>
          </a:prstGeom>
          <a:noFill/>
          <a:ln>
            <a:noFill/>
          </a:ln>
          <a:scene3d>
            <a:camera prst="orthographicFront">
              <a:rot lat="0" lon="0" rev="0"/>
            </a:camera>
            <a:lightRig rig="threePt" dir="t"/>
          </a:scene3d>
        </p:spPr>
        <p:txBody>
          <a:bodyPr wrap="square" lIns="0" tIns="71963" rIns="0" bIns="0" rtlCol="0" anchor="t" anchorCtr="0">
            <a:noAutofit/>
          </a:bodyPr>
          <a:lstStyle/>
          <a:p>
            <a:pPr algn="ctr">
              <a:tabLst>
                <a:tab pos="1255085" algn="r"/>
              </a:tabLst>
              <a:defRPr/>
            </a:pPr>
            <a:r>
              <a:rPr lang="en-US" altLang="de-DE" sz="1399" b="1" dirty="0">
                <a:solidFill>
                  <a:srgbClr val="66667E"/>
                </a:solidFill>
                <a:ea typeface="Arial Unicode MS"/>
              </a:rPr>
              <a:t>Gubergren</a:t>
            </a:r>
            <a:endParaRPr lang="en-US" altLang="de-DE" sz="1399" dirty="0">
              <a:solidFill>
                <a:srgbClr val="66667E"/>
              </a:solidFill>
              <a:ea typeface="Arial Unicode MS"/>
              <a:cs typeface="Arial" pitchFamily="34" charset="0"/>
            </a:endParaRPr>
          </a:p>
        </p:txBody>
      </p:sp>
      <p:sp>
        <p:nvSpPr>
          <p:cNvPr id="2" name="Footer Placeholder 1">
            <a:extLst>
              <a:ext uri="{FF2B5EF4-FFF2-40B4-BE49-F238E27FC236}">
                <a16:creationId xmlns:a16="http://schemas.microsoft.com/office/drawing/2014/main" id="{554ED691-A6F9-499B-B652-E50A5424FB89}"/>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3" name="Slide Number Placeholder 2">
            <a:extLst>
              <a:ext uri="{FF2B5EF4-FFF2-40B4-BE49-F238E27FC236}">
                <a16:creationId xmlns:a16="http://schemas.microsoft.com/office/drawing/2014/main" id="{8C0CA8D9-2D0D-4841-8DD7-DB15E482CA9D}"/>
              </a:ext>
            </a:extLst>
          </p:cNvPr>
          <p:cNvSpPr>
            <a:spLocks noGrp="1"/>
          </p:cNvSpPr>
          <p:nvPr>
            <p:ph type="sldNum" sz="quarter" idx="11"/>
          </p:nvPr>
        </p:nvSpPr>
        <p:spPr/>
        <p:txBody>
          <a:bodyPr/>
          <a:lstStyle/>
          <a:p>
            <a:r>
              <a:rPr lang="en-US" dirty="0"/>
              <a:t>Page </a:t>
            </a:r>
            <a:fld id="{15EBE321-CBB1-4E91-BD14-37C8D44326FB}" type="slidenum">
              <a:rPr lang="en-US" smtClean="0"/>
              <a:pPr/>
              <a:t>148</a:t>
            </a:fld>
            <a:endParaRPr lang="en-US" dirty="0"/>
          </a:p>
        </p:txBody>
      </p:sp>
    </p:spTree>
    <p:extLst>
      <p:ext uri="{BB962C8B-B14F-4D97-AF65-F5344CB8AC3E}">
        <p14:creationId xmlns:p14="http://schemas.microsoft.com/office/powerpoint/2010/main" val="4046155271"/>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atrix – factors leading to goals / outcomes</a:t>
            </a:r>
          </a:p>
        </p:txBody>
      </p:sp>
      <p:cxnSp>
        <p:nvCxnSpPr>
          <p:cNvPr id="5" name="Straight Connector 4"/>
          <p:cNvCxnSpPr/>
          <p:nvPr/>
        </p:nvCxnSpPr>
        <p:spPr bwMode="auto">
          <a:xfrm>
            <a:off x="2606400" y="3612225"/>
            <a:ext cx="6984000" cy="0"/>
          </a:xfrm>
          <a:prstGeom prst="line">
            <a:avLst/>
          </a:prstGeom>
          <a:solidFill>
            <a:schemeClr val="tx2"/>
          </a:solidFill>
          <a:ln w="12700" cap="flat" cmpd="sng" algn="ctr">
            <a:solidFill>
              <a:srgbClr val="9999A9"/>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Straight Connector 26"/>
          <p:cNvCxnSpPr/>
          <p:nvPr/>
        </p:nvCxnSpPr>
        <p:spPr bwMode="auto">
          <a:xfrm rot="5400000">
            <a:off x="4297650" y="3611324"/>
            <a:ext cx="3600000" cy="0"/>
          </a:xfrm>
          <a:prstGeom prst="line">
            <a:avLst/>
          </a:prstGeom>
          <a:solidFill>
            <a:schemeClr val="tx2"/>
          </a:solidFill>
          <a:ln w="12700" cap="flat" cmpd="sng" algn="ctr">
            <a:solidFill>
              <a:srgbClr val="9999A9"/>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8" name="Rectangle 3"/>
          <p:cNvSpPr>
            <a:spLocks noChangeArrowheads="1"/>
          </p:cNvSpPr>
          <p:nvPr/>
        </p:nvSpPr>
        <p:spPr bwMode="auto">
          <a:xfrm>
            <a:off x="6314400" y="3722400"/>
            <a:ext cx="2878501" cy="1439250"/>
          </a:xfrm>
          <a:prstGeom prst="rect">
            <a:avLst/>
          </a:prstGeom>
          <a:solidFill>
            <a:schemeClr val="accent2"/>
          </a:solidFill>
          <a:ln w="19050">
            <a:noFill/>
          </a:ln>
          <a:effectLst/>
        </p:spPr>
        <p:txBody>
          <a:bodyPr lIns="143925" tIns="143925" rIns="143925" bIns="143925" rtlCol="0" anchor="t" anchorCtr="0"/>
          <a:lstStyle/>
          <a:p>
            <a:pPr>
              <a:lnSpc>
                <a:spcPct val="90000"/>
              </a:lnSpc>
              <a:buClr>
                <a:schemeClr val="bg1"/>
              </a:buClr>
            </a:pPr>
            <a:r>
              <a:rPr lang="en-US" sz="1599" b="1" dirty="0">
                <a:solidFill>
                  <a:schemeClr val="bg2"/>
                </a:solidFill>
                <a:ea typeface="Arial Unicode MS"/>
              </a:rPr>
              <a:t>Phasellus nec sem</a:t>
            </a:r>
          </a:p>
          <a:p>
            <a:pPr marL="179910" indent="-179910">
              <a:lnSpc>
                <a:spcPct val="90000"/>
              </a:lnSpc>
              <a:spcBef>
                <a:spcPts val="300"/>
              </a:spcBef>
              <a:buClr>
                <a:schemeClr val="bg1"/>
              </a:buClr>
              <a:buSzPct val="100000"/>
              <a:buFont typeface="Arial" pitchFamily="34" charset="0"/>
              <a:buChar char="•"/>
            </a:pPr>
            <a:r>
              <a:rPr lang="en-US" sz="1599" dirty="0">
                <a:solidFill>
                  <a:schemeClr val="bg2"/>
                </a:solidFill>
              </a:rPr>
              <a:t>Stet clita kasd gubergren</a:t>
            </a:r>
          </a:p>
          <a:p>
            <a:pPr marL="179910" indent="-179910">
              <a:lnSpc>
                <a:spcPct val="90000"/>
              </a:lnSpc>
              <a:spcBef>
                <a:spcPts val="300"/>
              </a:spcBef>
              <a:buClr>
                <a:schemeClr val="bg1"/>
              </a:buClr>
              <a:buSzPct val="100000"/>
              <a:buFont typeface="Arial" pitchFamily="34" charset="0"/>
              <a:buChar char="•"/>
            </a:pPr>
            <a:r>
              <a:rPr lang="en-US" sz="1599" dirty="0">
                <a:solidFill>
                  <a:schemeClr val="bg2"/>
                </a:solidFill>
              </a:rPr>
              <a:t>At vero eos et accusam</a:t>
            </a:r>
          </a:p>
        </p:txBody>
      </p:sp>
      <p:sp>
        <p:nvSpPr>
          <p:cNvPr id="20" name="Rectangle 3"/>
          <p:cNvSpPr>
            <a:spLocks noChangeArrowheads="1"/>
          </p:cNvSpPr>
          <p:nvPr/>
        </p:nvSpPr>
        <p:spPr bwMode="auto">
          <a:xfrm>
            <a:off x="3002400" y="2062800"/>
            <a:ext cx="2878501" cy="1439250"/>
          </a:xfrm>
          <a:prstGeom prst="rect">
            <a:avLst/>
          </a:prstGeom>
          <a:solidFill>
            <a:srgbClr val="333353"/>
          </a:solidFill>
          <a:ln w="19050">
            <a:noFill/>
          </a:ln>
          <a:effectLst/>
        </p:spPr>
        <p:txBody>
          <a:bodyPr lIns="143925" tIns="143925" rIns="143925" bIns="143925" rtlCol="0" anchor="t" anchorCtr="0"/>
          <a:lstStyle/>
          <a:p>
            <a:pPr>
              <a:lnSpc>
                <a:spcPct val="90000"/>
              </a:lnSpc>
              <a:buClr>
                <a:schemeClr val="bg1"/>
              </a:buClr>
            </a:pPr>
            <a:r>
              <a:rPr lang="en-US" sz="1599" b="1" dirty="0">
                <a:solidFill>
                  <a:srgbClr val="00FFB9"/>
                </a:solidFill>
                <a:ea typeface="Arial Unicode MS"/>
              </a:rPr>
              <a:t>At vero eos et accusam</a:t>
            </a:r>
          </a:p>
          <a:p>
            <a:pPr marL="179910" indent="-179910">
              <a:lnSpc>
                <a:spcPct val="90000"/>
              </a:lnSpc>
              <a:spcBef>
                <a:spcPts val="300"/>
              </a:spcBef>
              <a:buClr>
                <a:schemeClr val="accent2"/>
              </a:buClr>
              <a:buSzPct val="100000"/>
              <a:buFont typeface="Arial" pitchFamily="34" charset="0"/>
              <a:buChar char="•"/>
            </a:pPr>
            <a:r>
              <a:rPr lang="en-US" sz="1599" dirty="0">
                <a:solidFill>
                  <a:schemeClr val="tx2"/>
                </a:solidFill>
              </a:rPr>
              <a:t>Cras ultricies mi eu</a:t>
            </a:r>
          </a:p>
          <a:p>
            <a:pPr marL="179910" indent="-179910">
              <a:lnSpc>
                <a:spcPct val="90000"/>
              </a:lnSpc>
              <a:spcBef>
                <a:spcPts val="300"/>
              </a:spcBef>
              <a:buClr>
                <a:schemeClr val="accent2"/>
              </a:buClr>
              <a:buSzPct val="100000"/>
              <a:buFont typeface="Arial" pitchFamily="34" charset="0"/>
              <a:buChar char="•"/>
            </a:pPr>
            <a:r>
              <a:rPr lang="en-US" sz="1599" dirty="0">
                <a:solidFill>
                  <a:schemeClr val="tx2"/>
                </a:solidFill>
              </a:rPr>
              <a:t>At vero eos et accusam</a:t>
            </a:r>
          </a:p>
          <a:p>
            <a:pPr marL="179910" indent="-179910">
              <a:lnSpc>
                <a:spcPct val="90000"/>
              </a:lnSpc>
              <a:spcBef>
                <a:spcPts val="300"/>
              </a:spcBef>
              <a:buClr>
                <a:schemeClr val="accent2"/>
              </a:buClr>
              <a:buSzPct val="100000"/>
              <a:buFont typeface="Arial" pitchFamily="34" charset="0"/>
              <a:buChar char="•"/>
            </a:pPr>
            <a:r>
              <a:rPr lang="en-US" sz="1599" dirty="0">
                <a:solidFill>
                  <a:schemeClr val="tx2"/>
                </a:solidFill>
              </a:rPr>
              <a:t>Stet clita</a:t>
            </a:r>
          </a:p>
        </p:txBody>
      </p:sp>
      <p:sp>
        <p:nvSpPr>
          <p:cNvPr id="21" name="Rectangle 3"/>
          <p:cNvSpPr>
            <a:spLocks noChangeArrowheads="1"/>
          </p:cNvSpPr>
          <p:nvPr/>
        </p:nvSpPr>
        <p:spPr bwMode="auto">
          <a:xfrm>
            <a:off x="6314400" y="2062800"/>
            <a:ext cx="2878501" cy="1439250"/>
          </a:xfrm>
          <a:prstGeom prst="rect">
            <a:avLst/>
          </a:prstGeom>
          <a:solidFill>
            <a:srgbClr val="333353"/>
          </a:solidFill>
          <a:ln w="19050">
            <a:noFill/>
          </a:ln>
          <a:effectLst/>
        </p:spPr>
        <p:txBody>
          <a:bodyPr lIns="143925" tIns="143925" rIns="143925" bIns="143925" rtlCol="0" anchor="t" anchorCtr="0"/>
          <a:lstStyle/>
          <a:p>
            <a:pPr>
              <a:lnSpc>
                <a:spcPct val="90000"/>
              </a:lnSpc>
              <a:buClr>
                <a:schemeClr val="bg1"/>
              </a:buClr>
            </a:pPr>
            <a:r>
              <a:rPr lang="en-US" sz="1599" b="1" dirty="0">
                <a:solidFill>
                  <a:srgbClr val="00FFB9"/>
                </a:solidFill>
                <a:ea typeface="Arial Unicode MS"/>
              </a:rPr>
              <a:t>Cras ultricies mi eu</a:t>
            </a:r>
          </a:p>
          <a:p>
            <a:pPr marL="179910" indent="-179910">
              <a:lnSpc>
                <a:spcPct val="90000"/>
              </a:lnSpc>
              <a:spcBef>
                <a:spcPts val="300"/>
              </a:spcBef>
              <a:buClr>
                <a:schemeClr val="accent2"/>
              </a:buClr>
              <a:buSzPct val="100000"/>
              <a:buFont typeface="Arial" pitchFamily="34" charset="0"/>
              <a:buChar char="•"/>
            </a:pPr>
            <a:r>
              <a:rPr lang="en-US" sz="1599" dirty="0">
                <a:solidFill>
                  <a:schemeClr val="tx2"/>
                </a:solidFill>
              </a:rPr>
              <a:t>Consetetur sadipscing elitr, seddiam nonumy</a:t>
            </a:r>
          </a:p>
          <a:p>
            <a:pPr marL="179910" indent="-179910">
              <a:lnSpc>
                <a:spcPct val="90000"/>
              </a:lnSpc>
              <a:spcBef>
                <a:spcPts val="300"/>
              </a:spcBef>
              <a:buClr>
                <a:schemeClr val="accent2"/>
              </a:buClr>
              <a:buSzPct val="100000"/>
              <a:buFont typeface="Arial" pitchFamily="34" charset="0"/>
              <a:buChar char="•"/>
            </a:pPr>
            <a:r>
              <a:rPr lang="en-US" sz="1599" dirty="0">
                <a:solidFill>
                  <a:schemeClr val="tx2"/>
                </a:solidFill>
              </a:rPr>
              <a:t>Cras ultricies mi eu</a:t>
            </a:r>
          </a:p>
        </p:txBody>
      </p:sp>
      <p:sp>
        <p:nvSpPr>
          <p:cNvPr id="22" name="Rectangle 3"/>
          <p:cNvSpPr>
            <a:spLocks noChangeArrowheads="1"/>
          </p:cNvSpPr>
          <p:nvPr/>
        </p:nvSpPr>
        <p:spPr bwMode="auto">
          <a:xfrm>
            <a:off x="3002400" y="3722400"/>
            <a:ext cx="2878501" cy="1439250"/>
          </a:xfrm>
          <a:prstGeom prst="rect">
            <a:avLst/>
          </a:prstGeom>
          <a:solidFill>
            <a:srgbClr val="333353"/>
          </a:solidFill>
          <a:ln w="19050">
            <a:noFill/>
          </a:ln>
          <a:effectLst/>
        </p:spPr>
        <p:txBody>
          <a:bodyPr lIns="143925" tIns="143925" rIns="143925" bIns="143925" rtlCol="0" anchor="t" anchorCtr="0"/>
          <a:lstStyle/>
          <a:p>
            <a:pPr>
              <a:lnSpc>
                <a:spcPct val="90000"/>
              </a:lnSpc>
              <a:buClr>
                <a:schemeClr val="bg1"/>
              </a:buClr>
            </a:pPr>
            <a:r>
              <a:rPr lang="en-US" sz="1599" b="1" dirty="0">
                <a:solidFill>
                  <a:srgbClr val="00FFB9"/>
                </a:solidFill>
                <a:ea typeface="Arial Unicode MS"/>
              </a:rPr>
              <a:t>Takima sanctus</a:t>
            </a:r>
          </a:p>
          <a:p>
            <a:pPr marL="179910" indent="-179910">
              <a:lnSpc>
                <a:spcPct val="90000"/>
              </a:lnSpc>
              <a:spcBef>
                <a:spcPts val="300"/>
              </a:spcBef>
              <a:buClr>
                <a:schemeClr val="accent2"/>
              </a:buClr>
              <a:buSzPct val="100000"/>
              <a:buFont typeface="Arial" pitchFamily="34" charset="0"/>
              <a:buChar char="•"/>
            </a:pPr>
            <a:r>
              <a:rPr lang="en-US" sz="1599" dirty="0">
                <a:solidFill>
                  <a:schemeClr val="tx2"/>
                </a:solidFill>
              </a:rPr>
              <a:t>Duis arcu tortor</a:t>
            </a:r>
          </a:p>
          <a:p>
            <a:pPr marL="179910" indent="-179910">
              <a:lnSpc>
                <a:spcPct val="90000"/>
              </a:lnSpc>
              <a:spcBef>
                <a:spcPts val="300"/>
              </a:spcBef>
              <a:buClr>
                <a:schemeClr val="accent2"/>
              </a:buClr>
              <a:buSzPct val="100000"/>
              <a:buFont typeface="Arial" pitchFamily="34" charset="0"/>
              <a:buChar char="•"/>
            </a:pPr>
            <a:r>
              <a:rPr lang="en-US" sz="1599" dirty="0">
                <a:solidFill>
                  <a:schemeClr val="tx2"/>
                </a:solidFill>
              </a:rPr>
              <a:t>Consetetur sadipscing elitr, seddiam nonumy</a:t>
            </a:r>
          </a:p>
        </p:txBody>
      </p:sp>
      <p:sp>
        <p:nvSpPr>
          <p:cNvPr id="43" name="Textfeld 30"/>
          <p:cNvSpPr txBox="1">
            <a:spLocks/>
          </p:cNvSpPr>
          <p:nvPr/>
        </p:nvSpPr>
        <p:spPr bwMode="gray">
          <a:xfrm>
            <a:off x="9626400" y="3369351"/>
            <a:ext cx="2160000" cy="485747"/>
          </a:xfrm>
          <a:prstGeom prst="rect">
            <a:avLst/>
          </a:prstGeom>
          <a:noFill/>
          <a:ln>
            <a:noFill/>
          </a:ln>
          <a:scene3d>
            <a:camera prst="orthographicFront">
              <a:rot lat="0" lon="0" rev="0"/>
            </a:camera>
            <a:lightRig rig="threePt" dir="t"/>
          </a:scene3d>
        </p:spPr>
        <p:txBody>
          <a:bodyPr wrap="square" lIns="143925" tIns="0" rIns="0" bIns="0" rtlCol="0" anchor="ctr" anchorCtr="0">
            <a:noAutofit/>
          </a:bodyPr>
          <a:lstStyle/>
          <a:p>
            <a:pPr>
              <a:tabLst>
                <a:tab pos="1255085" algn="r"/>
              </a:tabLst>
              <a:defRPr/>
            </a:pPr>
            <a:r>
              <a:rPr lang="en-US" altLang="de-DE" sz="1399" b="1" dirty="0">
                <a:solidFill>
                  <a:srgbClr val="9999A9"/>
                </a:solidFill>
                <a:ea typeface="Arial Unicode MS"/>
              </a:rPr>
              <a:t>Duis arcu eget</a:t>
            </a:r>
            <a:endParaRPr lang="en-US" altLang="de-DE" sz="1399" dirty="0">
              <a:solidFill>
                <a:srgbClr val="9999A9"/>
              </a:solidFill>
              <a:ea typeface="Arial Unicode MS"/>
              <a:cs typeface="Arial" pitchFamily="34" charset="0"/>
            </a:endParaRPr>
          </a:p>
        </p:txBody>
      </p:sp>
      <p:sp>
        <p:nvSpPr>
          <p:cNvPr id="44" name="Textfeld 30"/>
          <p:cNvSpPr txBox="1">
            <a:spLocks/>
          </p:cNvSpPr>
          <p:nvPr/>
        </p:nvSpPr>
        <p:spPr bwMode="gray">
          <a:xfrm>
            <a:off x="410400" y="3369351"/>
            <a:ext cx="2160000" cy="485747"/>
          </a:xfrm>
          <a:prstGeom prst="rect">
            <a:avLst/>
          </a:prstGeom>
          <a:noFill/>
          <a:ln>
            <a:noFill/>
          </a:ln>
          <a:scene3d>
            <a:camera prst="orthographicFront">
              <a:rot lat="0" lon="0" rev="0"/>
            </a:camera>
            <a:lightRig rig="threePt" dir="t"/>
          </a:scene3d>
        </p:spPr>
        <p:txBody>
          <a:bodyPr wrap="square" lIns="0" tIns="0" rIns="143925" bIns="0" rtlCol="0" anchor="ctr" anchorCtr="0">
            <a:noAutofit/>
          </a:bodyPr>
          <a:lstStyle/>
          <a:p>
            <a:pPr algn="r">
              <a:tabLst>
                <a:tab pos="1255085" algn="r"/>
              </a:tabLst>
              <a:defRPr/>
            </a:pPr>
            <a:r>
              <a:rPr lang="en-US" altLang="de-DE" sz="1399" b="1" dirty="0">
                <a:solidFill>
                  <a:srgbClr val="9999A9"/>
                </a:solidFill>
                <a:ea typeface="Arial Unicode MS"/>
              </a:rPr>
              <a:t>Phasellus</a:t>
            </a:r>
            <a:endParaRPr lang="en-US" altLang="de-DE" sz="1399" dirty="0">
              <a:solidFill>
                <a:srgbClr val="9999A9"/>
              </a:solidFill>
              <a:ea typeface="Arial Unicode MS"/>
              <a:cs typeface="Arial" pitchFamily="34" charset="0"/>
            </a:endParaRPr>
          </a:p>
        </p:txBody>
      </p:sp>
      <p:sp>
        <p:nvSpPr>
          <p:cNvPr id="45" name="Textfeld 30"/>
          <p:cNvSpPr txBox="1">
            <a:spLocks/>
          </p:cNvSpPr>
          <p:nvPr/>
        </p:nvSpPr>
        <p:spPr bwMode="gray">
          <a:xfrm>
            <a:off x="3075704" y="1415849"/>
            <a:ext cx="6040592" cy="360000"/>
          </a:xfrm>
          <a:prstGeom prst="rect">
            <a:avLst/>
          </a:prstGeom>
          <a:noFill/>
          <a:ln>
            <a:noFill/>
          </a:ln>
          <a:scene3d>
            <a:camera prst="orthographicFront">
              <a:rot lat="0" lon="0" rev="0"/>
            </a:camera>
            <a:lightRig rig="threePt" dir="t"/>
          </a:scene3d>
        </p:spPr>
        <p:txBody>
          <a:bodyPr wrap="square" lIns="0" tIns="0" rIns="0" bIns="71963" rtlCol="0" anchor="b" anchorCtr="0">
            <a:noAutofit/>
          </a:bodyPr>
          <a:lstStyle/>
          <a:p>
            <a:pPr algn="ctr">
              <a:tabLst>
                <a:tab pos="1255085" algn="r"/>
              </a:tabLst>
              <a:defRPr/>
            </a:pPr>
            <a:r>
              <a:rPr lang="en-US" altLang="de-DE" sz="1399" b="1" dirty="0">
                <a:solidFill>
                  <a:srgbClr val="9999A9"/>
                </a:solidFill>
                <a:ea typeface="Arial Unicode MS"/>
              </a:rPr>
              <a:t>Suscipit</a:t>
            </a:r>
            <a:endParaRPr lang="en-US" altLang="de-DE" sz="1399" dirty="0">
              <a:solidFill>
                <a:srgbClr val="9999A9"/>
              </a:solidFill>
              <a:ea typeface="Arial Unicode MS"/>
              <a:cs typeface="Arial" pitchFamily="34" charset="0"/>
            </a:endParaRPr>
          </a:p>
        </p:txBody>
      </p:sp>
      <p:sp>
        <p:nvSpPr>
          <p:cNvPr id="47" name="Textfeld 30"/>
          <p:cNvSpPr txBox="1">
            <a:spLocks/>
          </p:cNvSpPr>
          <p:nvPr/>
        </p:nvSpPr>
        <p:spPr bwMode="gray">
          <a:xfrm>
            <a:off x="3075704" y="5446800"/>
            <a:ext cx="6040592" cy="360000"/>
          </a:xfrm>
          <a:prstGeom prst="rect">
            <a:avLst/>
          </a:prstGeom>
          <a:noFill/>
          <a:ln>
            <a:noFill/>
          </a:ln>
          <a:scene3d>
            <a:camera prst="orthographicFront">
              <a:rot lat="0" lon="0" rev="0"/>
            </a:camera>
            <a:lightRig rig="threePt" dir="t"/>
          </a:scene3d>
        </p:spPr>
        <p:txBody>
          <a:bodyPr wrap="square" lIns="0" tIns="71963" rIns="0" bIns="0" rtlCol="0" anchor="t" anchorCtr="0">
            <a:noAutofit/>
          </a:bodyPr>
          <a:lstStyle/>
          <a:p>
            <a:pPr algn="ctr">
              <a:tabLst>
                <a:tab pos="1255085" algn="r"/>
              </a:tabLst>
              <a:defRPr/>
            </a:pPr>
            <a:r>
              <a:rPr lang="en-US" altLang="de-DE" sz="1399" b="1" dirty="0">
                <a:solidFill>
                  <a:srgbClr val="9999A9"/>
                </a:solidFill>
                <a:ea typeface="Arial Unicode MS"/>
              </a:rPr>
              <a:t>Gubergren</a:t>
            </a:r>
            <a:endParaRPr lang="en-US" altLang="de-DE" sz="1399" dirty="0">
              <a:solidFill>
                <a:srgbClr val="9999A9"/>
              </a:solidFill>
              <a:ea typeface="Arial Unicode MS"/>
              <a:cs typeface="Arial" pitchFamily="34" charset="0"/>
            </a:endParaRPr>
          </a:p>
        </p:txBody>
      </p:sp>
      <p:sp>
        <p:nvSpPr>
          <p:cNvPr id="2" name="Footer Placeholder 1">
            <a:extLst>
              <a:ext uri="{FF2B5EF4-FFF2-40B4-BE49-F238E27FC236}">
                <a16:creationId xmlns:a16="http://schemas.microsoft.com/office/drawing/2014/main" id="{64C60D92-E1FB-4769-9C61-8DB0CD05B1E6}"/>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3" name="Slide Number Placeholder 2">
            <a:extLst>
              <a:ext uri="{FF2B5EF4-FFF2-40B4-BE49-F238E27FC236}">
                <a16:creationId xmlns:a16="http://schemas.microsoft.com/office/drawing/2014/main" id="{943A8CB5-9B16-4867-A5C2-F3394E7C6D44}"/>
              </a:ext>
            </a:extLst>
          </p:cNvPr>
          <p:cNvSpPr>
            <a:spLocks noGrp="1"/>
          </p:cNvSpPr>
          <p:nvPr>
            <p:ph type="sldNum" sz="quarter" idx="11"/>
          </p:nvPr>
        </p:nvSpPr>
        <p:spPr/>
        <p:txBody>
          <a:bodyPr/>
          <a:lstStyle/>
          <a:p>
            <a:r>
              <a:rPr lang="en-US" dirty="0"/>
              <a:t>Page </a:t>
            </a:r>
            <a:fld id="{15EBE321-CBB1-4E91-BD14-37C8D44326FB}" type="slidenum">
              <a:rPr lang="en-US" smtClean="0"/>
              <a:pPr/>
              <a:t>149</a:t>
            </a:fld>
            <a:endParaRPr lang="en-US" dirty="0"/>
          </a:p>
        </p:txBody>
      </p:sp>
    </p:spTree>
    <p:extLst>
      <p:ext uri="{BB962C8B-B14F-4D97-AF65-F5344CB8AC3E}">
        <p14:creationId xmlns:p14="http://schemas.microsoft.com/office/powerpoint/2010/main" val="39132027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Inhaltsplatzhalter 2">
            <a:extLst>
              <a:ext uri="{FF2B5EF4-FFF2-40B4-BE49-F238E27FC236}">
                <a16:creationId xmlns:a16="http://schemas.microsoft.com/office/drawing/2014/main" id="{95789268-B0BD-48D2-A9E2-5472976E01FA}"/>
              </a:ext>
            </a:extLst>
          </p:cNvPr>
          <p:cNvSpPr txBox="1">
            <a:spLocks/>
          </p:cNvSpPr>
          <p:nvPr/>
        </p:nvSpPr>
        <p:spPr>
          <a:xfrm>
            <a:off x="6315075" y="1414463"/>
            <a:ext cx="5472113" cy="4752000"/>
          </a:xfrm>
          <a:prstGeom prst="rect">
            <a:avLst/>
          </a:prstGeom>
          <a:solidFill>
            <a:srgbClr val="E5E5E9"/>
          </a:solidFill>
        </p:spPr>
        <p:txBody>
          <a:bodyPr vert="horz" lIns="432000" tIns="360000" rIns="432000" bIns="36000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r>
              <a:rPr lang="en-US" b="1" dirty="0">
                <a:solidFill>
                  <a:schemeClr val="bg2"/>
                </a:solidFill>
              </a:rPr>
              <a:t>Contra</a:t>
            </a:r>
          </a:p>
          <a:p>
            <a:pPr lvl="1"/>
            <a:r>
              <a:rPr lang="en-US" dirty="0">
                <a:solidFill>
                  <a:schemeClr val="bg2"/>
                </a:solidFill>
              </a:rPr>
              <a:t>Cras ultricies mi eu</a:t>
            </a:r>
          </a:p>
          <a:p>
            <a:pPr lvl="1"/>
            <a:r>
              <a:rPr lang="en-US" dirty="0">
                <a:solidFill>
                  <a:schemeClr val="bg2"/>
                </a:solidFill>
              </a:rPr>
              <a:t>Duis arcu tortor, suscipit eget, imperdiet nec, imperdiet iaculis, ipsum</a:t>
            </a:r>
          </a:p>
        </p:txBody>
      </p:sp>
      <p:sp>
        <p:nvSpPr>
          <p:cNvPr id="17" name="Inhaltsplatzhalter 2">
            <a:extLst>
              <a:ext uri="{FF2B5EF4-FFF2-40B4-BE49-F238E27FC236}">
                <a16:creationId xmlns:a16="http://schemas.microsoft.com/office/drawing/2014/main" id="{74220BBB-432A-494D-B5B6-FDBDF93EA35E}"/>
              </a:ext>
            </a:extLst>
          </p:cNvPr>
          <p:cNvSpPr txBox="1">
            <a:spLocks/>
          </p:cNvSpPr>
          <p:nvPr/>
        </p:nvSpPr>
        <p:spPr>
          <a:xfrm>
            <a:off x="410400" y="1414463"/>
            <a:ext cx="5471288" cy="4752000"/>
          </a:xfrm>
          <a:prstGeom prst="rect">
            <a:avLst/>
          </a:prstGeom>
          <a:solidFill>
            <a:srgbClr val="333353"/>
          </a:solidFill>
        </p:spPr>
        <p:txBody>
          <a:bodyPr vert="horz" lIns="432000" tIns="360000" rIns="432000" bIns="36000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r>
              <a:rPr lang="en-US" b="1" dirty="0">
                <a:solidFill>
                  <a:schemeClr val="tx2"/>
                </a:solidFill>
              </a:rPr>
              <a:t>Pro</a:t>
            </a:r>
          </a:p>
          <a:p>
            <a:pPr lvl="1"/>
            <a:r>
              <a:rPr lang="en-US" dirty="0">
                <a:solidFill>
                  <a:schemeClr val="tx2"/>
                </a:solidFill>
              </a:rPr>
              <a:t>Cras ultricies mi eu</a:t>
            </a:r>
          </a:p>
          <a:p>
            <a:pPr lvl="1"/>
            <a:r>
              <a:rPr lang="en-US" dirty="0">
                <a:solidFill>
                  <a:schemeClr val="tx2"/>
                </a:solidFill>
              </a:rPr>
              <a:t>At vero eos et accusam</a:t>
            </a:r>
          </a:p>
        </p:txBody>
      </p:sp>
      <p:sp>
        <p:nvSpPr>
          <p:cNvPr id="9" name="Titel 8">
            <a:extLst>
              <a:ext uri="{FF2B5EF4-FFF2-40B4-BE49-F238E27FC236}">
                <a16:creationId xmlns:a16="http://schemas.microsoft.com/office/drawing/2014/main" id="{30916218-0FE7-DA40-850A-7231E8C46B1B}"/>
              </a:ext>
            </a:extLst>
          </p:cNvPr>
          <p:cNvSpPr>
            <a:spLocks noGrp="1"/>
          </p:cNvSpPr>
          <p:nvPr>
            <p:ph type="title"/>
          </p:nvPr>
        </p:nvSpPr>
        <p:spPr/>
        <p:txBody>
          <a:bodyPr/>
          <a:lstStyle/>
          <a:p>
            <a:r>
              <a:rPr lang="en-US" dirty="0"/>
              <a:t>Comparison – pro and contra</a:t>
            </a:r>
          </a:p>
        </p:txBody>
      </p:sp>
      <p:sp>
        <p:nvSpPr>
          <p:cNvPr id="3" name="Fußzeilenplatzhalter 2">
            <a:extLst>
              <a:ext uri="{FF2B5EF4-FFF2-40B4-BE49-F238E27FC236}">
                <a16:creationId xmlns:a16="http://schemas.microsoft.com/office/drawing/2014/main" id="{6944935C-0A56-F643-B740-58DF1DF54D92}"/>
              </a:ext>
            </a:extLst>
          </p:cNvPr>
          <p:cNvSpPr>
            <a:spLocks noGrp="1"/>
          </p:cNvSpPr>
          <p:nvPr>
            <p:ph type="ftr" sz="quarter" idx="10"/>
          </p:nvPr>
        </p:nvSpPr>
        <p:spPr/>
        <p:txBody>
          <a:bodyPr/>
          <a:lstStyle/>
          <a:p>
            <a:r>
              <a:rPr lang="en-US" dirty="0"/>
              <a:t>Restricted | © Siemens 20XX | Author | Department | YYYY-MM-DD</a:t>
            </a:r>
          </a:p>
        </p:txBody>
      </p:sp>
      <p:sp>
        <p:nvSpPr>
          <p:cNvPr id="4" name="Foliennummernplatzhalter 3">
            <a:extLst>
              <a:ext uri="{FF2B5EF4-FFF2-40B4-BE49-F238E27FC236}">
                <a16:creationId xmlns:a16="http://schemas.microsoft.com/office/drawing/2014/main" id="{47EA469E-CFF4-9C45-9AEE-0BE7E3565C9B}"/>
              </a:ext>
            </a:extLst>
          </p:cNvPr>
          <p:cNvSpPr>
            <a:spLocks noGrp="1"/>
          </p:cNvSpPr>
          <p:nvPr>
            <p:ph type="sldNum" sz="quarter" idx="11"/>
          </p:nvPr>
        </p:nvSpPr>
        <p:spPr/>
        <p:txBody>
          <a:bodyPr/>
          <a:lstStyle/>
          <a:p>
            <a:r>
              <a:rPr lang="en-US" dirty="0"/>
              <a:t>Page </a:t>
            </a:r>
            <a:fld id="{15EBE321-CBB1-4E91-BD14-37C8D44326FB}" type="slidenum">
              <a:rPr lang="en-US" smtClean="0"/>
              <a:pPr/>
              <a:t>15</a:t>
            </a:fld>
            <a:endParaRPr lang="en-US" dirty="0"/>
          </a:p>
        </p:txBody>
      </p:sp>
      <p:sp>
        <p:nvSpPr>
          <p:cNvPr id="10" name="Rectangle 67">
            <a:extLst>
              <a:ext uri="{FF2B5EF4-FFF2-40B4-BE49-F238E27FC236}">
                <a16:creationId xmlns:a16="http://schemas.microsoft.com/office/drawing/2014/main" id="{0797F3CA-3262-4595-8A0A-AA7E26F89A77}"/>
              </a:ext>
            </a:extLst>
          </p:cNvPr>
          <p:cNvSpPr>
            <a:spLocks noChangeAspect="1" noChangeArrowheads="1"/>
          </p:cNvSpPr>
          <p:nvPr/>
        </p:nvSpPr>
        <p:spPr bwMode="auto">
          <a:xfrm>
            <a:off x="10346400" y="5130867"/>
            <a:ext cx="1080000" cy="288000"/>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solidFill>
                <a:srgbClr val="BECDD7"/>
              </a:solidFill>
            </a:endParaRPr>
          </a:p>
        </p:txBody>
      </p:sp>
      <p:sp>
        <p:nvSpPr>
          <p:cNvPr id="11" name="Freeform 62">
            <a:extLst>
              <a:ext uri="{FF2B5EF4-FFF2-40B4-BE49-F238E27FC236}">
                <a16:creationId xmlns:a16="http://schemas.microsoft.com/office/drawing/2014/main" id="{4C3F61E1-AEA9-4DE5-AA96-42FBF80A35CE}"/>
              </a:ext>
            </a:extLst>
          </p:cNvPr>
          <p:cNvSpPr>
            <a:spLocks noChangeAspect="1"/>
          </p:cNvSpPr>
          <p:nvPr/>
        </p:nvSpPr>
        <p:spPr bwMode="auto">
          <a:xfrm>
            <a:off x="4442400" y="4734867"/>
            <a:ext cx="1080000" cy="1080000"/>
          </a:xfrm>
          <a:custGeom>
            <a:avLst/>
            <a:gdLst>
              <a:gd name="T0" fmla="*/ 132 w 132"/>
              <a:gd name="T1" fmla="*/ 53 h 131"/>
              <a:gd name="T2" fmla="*/ 83 w 132"/>
              <a:gd name="T3" fmla="*/ 49 h 131"/>
              <a:gd name="T4" fmla="*/ 79 w 132"/>
              <a:gd name="T5" fmla="*/ 0 h 131"/>
              <a:gd name="T6" fmla="*/ 53 w 132"/>
              <a:gd name="T7" fmla="*/ 0 h 131"/>
              <a:gd name="T8" fmla="*/ 49 w 132"/>
              <a:gd name="T9" fmla="*/ 49 h 131"/>
              <a:gd name="T10" fmla="*/ 0 w 132"/>
              <a:gd name="T11" fmla="*/ 53 h 131"/>
              <a:gd name="T12" fmla="*/ 0 w 132"/>
              <a:gd name="T13" fmla="*/ 79 h 131"/>
              <a:gd name="T14" fmla="*/ 49 w 132"/>
              <a:gd name="T15" fmla="*/ 82 h 131"/>
              <a:gd name="T16" fmla="*/ 53 w 132"/>
              <a:gd name="T17" fmla="*/ 131 h 131"/>
              <a:gd name="T18" fmla="*/ 79 w 132"/>
              <a:gd name="T19" fmla="*/ 131 h 131"/>
              <a:gd name="T20" fmla="*/ 83 w 132"/>
              <a:gd name="T21" fmla="*/ 82 h 131"/>
              <a:gd name="T22" fmla="*/ 132 w 132"/>
              <a:gd name="T23" fmla="*/ 79 h 131"/>
              <a:gd name="T24" fmla="*/ 132 w 132"/>
              <a:gd name="T25" fmla="*/ 53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2" h="131">
                <a:moveTo>
                  <a:pt x="132" y="53"/>
                </a:moveTo>
                <a:lnTo>
                  <a:pt x="83" y="49"/>
                </a:lnTo>
                <a:lnTo>
                  <a:pt x="79" y="0"/>
                </a:lnTo>
                <a:lnTo>
                  <a:pt x="53" y="0"/>
                </a:lnTo>
                <a:lnTo>
                  <a:pt x="49" y="49"/>
                </a:lnTo>
                <a:lnTo>
                  <a:pt x="0" y="53"/>
                </a:lnTo>
                <a:lnTo>
                  <a:pt x="0" y="79"/>
                </a:lnTo>
                <a:lnTo>
                  <a:pt x="49" y="82"/>
                </a:lnTo>
                <a:lnTo>
                  <a:pt x="53" y="131"/>
                </a:lnTo>
                <a:lnTo>
                  <a:pt x="79" y="131"/>
                </a:lnTo>
                <a:lnTo>
                  <a:pt x="83" y="82"/>
                </a:lnTo>
                <a:lnTo>
                  <a:pt x="132" y="79"/>
                </a:lnTo>
                <a:lnTo>
                  <a:pt x="132"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rgbClr val="BECDD7"/>
              </a:solidFill>
            </a:endParaRPr>
          </a:p>
        </p:txBody>
      </p:sp>
    </p:spTree>
    <p:extLst>
      <p:ext uri="{BB962C8B-B14F-4D97-AF65-F5344CB8AC3E}">
        <p14:creationId xmlns:p14="http://schemas.microsoft.com/office/powerpoint/2010/main" val="457043544"/>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atrix – high low matrix</a:t>
            </a:r>
          </a:p>
        </p:txBody>
      </p:sp>
      <p:sp>
        <p:nvSpPr>
          <p:cNvPr id="22" name="Rectangle 3"/>
          <p:cNvSpPr>
            <a:spLocks noChangeArrowheads="1"/>
          </p:cNvSpPr>
          <p:nvPr/>
        </p:nvSpPr>
        <p:spPr bwMode="auto">
          <a:xfrm>
            <a:off x="3902400" y="1415848"/>
            <a:ext cx="4392000" cy="4392000"/>
          </a:xfrm>
          <a:prstGeom prst="rect">
            <a:avLst/>
          </a:prstGeom>
          <a:solidFill>
            <a:srgbClr val="E5E5E9"/>
          </a:solidFill>
          <a:ln w="19050">
            <a:noFill/>
          </a:ln>
          <a:effectLst/>
        </p:spPr>
        <p:txBody>
          <a:bodyPr lIns="143925" tIns="143925" rIns="143925" bIns="143925" rtlCol="0" anchor="t" anchorCtr="0"/>
          <a:lstStyle/>
          <a:p>
            <a:pPr>
              <a:lnSpc>
                <a:spcPct val="90000"/>
              </a:lnSpc>
              <a:spcAft>
                <a:spcPts val="600"/>
              </a:spcAft>
              <a:buClr>
                <a:schemeClr val="bg1"/>
              </a:buClr>
            </a:pPr>
            <a:endParaRPr lang="en-US" sz="1599" dirty="0">
              <a:solidFill>
                <a:srgbClr val="3C464B"/>
              </a:solidFill>
            </a:endParaRPr>
          </a:p>
        </p:txBody>
      </p:sp>
      <p:cxnSp>
        <p:nvCxnSpPr>
          <p:cNvPr id="5" name="Straight Connector 4"/>
          <p:cNvCxnSpPr>
            <a:cxnSpLocks/>
            <a:stCxn id="22" idx="1"/>
            <a:endCxn id="22" idx="3"/>
          </p:cNvCxnSpPr>
          <p:nvPr/>
        </p:nvCxnSpPr>
        <p:spPr bwMode="auto">
          <a:xfrm>
            <a:off x="3902400" y="3611848"/>
            <a:ext cx="4392000" cy="0"/>
          </a:xfrm>
          <a:prstGeom prst="line">
            <a:avLst/>
          </a:prstGeom>
          <a:solidFill>
            <a:schemeClr val="tx2"/>
          </a:solidFill>
          <a:ln w="12700" cap="flat" cmpd="sng" algn="ctr">
            <a:solidFill>
              <a:schemeClr val="bg1"/>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Straight Connector 26"/>
          <p:cNvCxnSpPr>
            <a:cxnSpLocks/>
            <a:stCxn id="22" idx="0"/>
            <a:endCxn id="22" idx="2"/>
          </p:cNvCxnSpPr>
          <p:nvPr/>
        </p:nvCxnSpPr>
        <p:spPr bwMode="auto">
          <a:xfrm>
            <a:off x="6098400" y="1415848"/>
            <a:ext cx="0" cy="4392000"/>
          </a:xfrm>
          <a:prstGeom prst="line">
            <a:avLst/>
          </a:prstGeom>
          <a:solidFill>
            <a:schemeClr val="tx2"/>
          </a:solidFill>
          <a:ln w="12700" cap="flat" cmpd="sng" algn="ctr">
            <a:solidFill>
              <a:schemeClr val="bg1"/>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4" name="Textfeld 30"/>
          <p:cNvSpPr txBox="1">
            <a:spLocks/>
          </p:cNvSpPr>
          <p:nvPr/>
        </p:nvSpPr>
        <p:spPr bwMode="gray">
          <a:xfrm>
            <a:off x="2462400" y="1415848"/>
            <a:ext cx="1439250" cy="4392000"/>
          </a:xfrm>
          <a:prstGeom prst="rect">
            <a:avLst/>
          </a:prstGeom>
          <a:noFill/>
          <a:ln>
            <a:noFill/>
          </a:ln>
          <a:scene3d>
            <a:camera prst="orthographicFront">
              <a:rot lat="0" lon="0" rev="0"/>
            </a:camera>
            <a:lightRig rig="threePt" dir="t"/>
          </a:scene3d>
        </p:spPr>
        <p:txBody>
          <a:bodyPr wrap="square" lIns="0" tIns="0" rIns="107944" bIns="0" rtlCol="0" anchor="ctr" anchorCtr="0">
            <a:noAutofit/>
          </a:bodyPr>
          <a:lstStyle/>
          <a:p>
            <a:pPr algn="r">
              <a:tabLst>
                <a:tab pos="1255085" algn="r"/>
              </a:tabLst>
              <a:defRPr/>
            </a:pPr>
            <a:r>
              <a:rPr lang="en-US" altLang="de-DE" sz="1399" b="1" dirty="0">
                <a:solidFill>
                  <a:srgbClr val="00646E"/>
                </a:solidFill>
                <a:ea typeface="Arial Unicode MS"/>
              </a:rPr>
              <a:t>Ipsum</a:t>
            </a:r>
          </a:p>
        </p:txBody>
      </p:sp>
      <p:sp>
        <p:nvSpPr>
          <p:cNvPr id="45" name="Textfeld 30"/>
          <p:cNvSpPr txBox="1">
            <a:spLocks/>
          </p:cNvSpPr>
          <p:nvPr/>
        </p:nvSpPr>
        <p:spPr bwMode="gray">
          <a:xfrm flipH="1">
            <a:off x="3182400" y="1415849"/>
            <a:ext cx="719625" cy="423083"/>
          </a:xfrm>
          <a:prstGeom prst="rect">
            <a:avLst/>
          </a:prstGeom>
          <a:noFill/>
          <a:ln>
            <a:noFill/>
          </a:ln>
          <a:scene3d>
            <a:camera prst="orthographicFront">
              <a:rot lat="0" lon="0" rev="0"/>
            </a:camera>
            <a:lightRig rig="threePt" dir="t"/>
          </a:scene3d>
        </p:spPr>
        <p:txBody>
          <a:bodyPr wrap="square" lIns="0" tIns="0" rIns="107944" bIns="0" rtlCol="0" anchor="t" anchorCtr="0">
            <a:noAutofit/>
          </a:bodyPr>
          <a:lstStyle/>
          <a:p>
            <a:pPr algn="r">
              <a:tabLst>
                <a:tab pos="1255085" algn="r"/>
              </a:tabLst>
              <a:defRPr/>
            </a:pPr>
            <a:r>
              <a:rPr lang="en-US" altLang="de-DE" sz="1399" dirty="0">
                <a:solidFill>
                  <a:srgbClr val="9999A9"/>
                </a:solidFill>
                <a:ea typeface="Arial Unicode MS"/>
              </a:rPr>
              <a:t>High</a:t>
            </a:r>
          </a:p>
        </p:txBody>
      </p:sp>
      <p:sp>
        <p:nvSpPr>
          <p:cNvPr id="47" name="Textfeld 30"/>
          <p:cNvSpPr txBox="1">
            <a:spLocks/>
          </p:cNvSpPr>
          <p:nvPr/>
        </p:nvSpPr>
        <p:spPr bwMode="gray">
          <a:xfrm>
            <a:off x="3902400" y="5806800"/>
            <a:ext cx="4392000" cy="359813"/>
          </a:xfrm>
          <a:prstGeom prst="rect">
            <a:avLst/>
          </a:prstGeom>
          <a:noFill/>
          <a:ln>
            <a:noFill/>
          </a:ln>
          <a:scene3d>
            <a:camera prst="orthographicFront">
              <a:rot lat="0" lon="0" rev="0"/>
            </a:camera>
            <a:lightRig rig="threePt" dir="t"/>
          </a:scene3d>
        </p:spPr>
        <p:txBody>
          <a:bodyPr wrap="square" lIns="0" tIns="71963" rIns="0" bIns="0" rtlCol="0" anchor="t" anchorCtr="0">
            <a:noAutofit/>
          </a:bodyPr>
          <a:lstStyle/>
          <a:p>
            <a:pPr algn="ctr">
              <a:tabLst>
                <a:tab pos="1255085" algn="r"/>
              </a:tabLst>
              <a:defRPr/>
            </a:pPr>
            <a:r>
              <a:rPr lang="en-US" altLang="de-DE" sz="1399" b="1" dirty="0">
                <a:solidFill>
                  <a:srgbClr val="00646E"/>
                </a:solidFill>
                <a:ea typeface="Arial Unicode MS"/>
              </a:rPr>
              <a:t>Lorem</a:t>
            </a:r>
          </a:p>
        </p:txBody>
      </p:sp>
      <p:sp>
        <p:nvSpPr>
          <p:cNvPr id="13" name="Textfeld 30">
            <a:extLst>
              <a:ext uri="{FF2B5EF4-FFF2-40B4-BE49-F238E27FC236}">
                <a16:creationId xmlns:a16="http://schemas.microsoft.com/office/drawing/2014/main" id="{49615764-A731-554E-A29A-550D55D4C02B}"/>
              </a:ext>
            </a:extLst>
          </p:cNvPr>
          <p:cNvSpPr txBox="1">
            <a:spLocks/>
          </p:cNvSpPr>
          <p:nvPr/>
        </p:nvSpPr>
        <p:spPr bwMode="gray">
          <a:xfrm flipH="1">
            <a:off x="3182400" y="5448035"/>
            <a:ext cx="719625" cy="359813"/>
          </a:xfrm>
          <a:prstGeom prst="rect">
            <a:avLst/>
          </a:prstGeom>
          <a:noFill/>
          <a:ln>
            <a:noFill/>
          </a:ln>
          <a:scene3d>
            <a:camera prst="orthographicFront">
              <a:rot lat="0" lon="0" rev="0"/>
            </a:camera>
            <a:lightRig rig="threePt" dir="t"/>
          </a:scene3d>
        </p:spPr>
        <p:txBody>
          <a:bodyPr wrap="square" lIns="0" tIns="0" rIns="107944" bIns="0" rtlCol="0" anchor="b" anchorCtr="0">
            <a:noAutofit/>
          </a:bodyPr>
          <a:lstStyle/>
          <a:p>
            <a:pPr algn="r">
              <a:tabLst>
                <a:tab pos="1255085" algn="r"/>
              </a:tabLst>
              <a:defRPr/>
            </a:pPr>
            <a:r>
              <a:rPr lang="en-US" altLang="de-DE" sz="1399" dirty="0">
                <a:solidFill>
                  <a:srgbClr val="9999A9"/>
                </a:solidFill>
                <a:ea typeface="Arial Unicode MS"/>
              </a:rPr>
              <a:t>Low</a:t>
            </a:r>
          </a:p>
        </p:txBody>
      </p:sp>
      <p:sp>
        <p:nvSpPr>
          <p:cNvPr id="14" name="Textfeld 30">
            <a:extLst>
              <a:ext uri="{FF2B5EF4-FFF2-40B4-BE49-F238E27FC236}">
                <a16:creationId xmlns:a16="http://schemas.microsoft.com/office/drawing/2014/main" id="{3BF83967-EC46-C24D-A4D3-68F16B850B55}"/>
              </a:ext>
            </a:extLst>
          </p:cNvPr>
          <p:cNvSpPr txBox="1">
            <a:spLocks/>
          </p:cNvSpPr>
          <p:nvPr/>
        </p:nvSpPr>
        <p:spPr bwMode="gray">
          <a:xfrm flipH="1">
            <a:off x="3902400" y="5806800"/>
            <a:ext cx="719625" cy="359813"/>
          </a:xfrm>
          <a:prstGeom prst="rect">
            <a:avLst/>
          </a:prstGeom>
          <a:noFill/>
          <a:ln>
            <a:noFill/>
          </a:ln>
          <a:scene3d>
            <a:camera prst="orthographicFront">
              <a:rot lat="0" lon="0" rev="0"/>
            </a:camera>
            <a:lightRig rig="threePt" dir="t"/>
          </a:scene3d>
        </p:spPr>
        <p:txBody>
          <a:bodyPr wrap="square" lIns="0" tIns="71963" rIns="0" bIns="0" rtlCol="0" anchor="t" anchorCtr="0">
            <a:noAutofit/>
          </a:bodyPr>
          <a:lstStyle/>
          <a:p>
            <a:pPr>
              <a:tabLst>
                <a:tab pos="1255085" algn="r"/>
              </a:tabLst>
              <a:defRPr/>
            </a:pPr>
            <a:r>
              <a:rPr lang="en-US" altLang="de-DE" sz="1399" dirty="0">
                <a:solidFill>
                  <a:srgbClr val="9999A9"/>
                </a:solidFill>
                <a:ea typeface="Arial Unicode MS"/>
              </a:rPr>
              <a:t>Low</a:t>
            </a:r>
          </a:p>
        </p:txBody>
      </p:sp>
      <p:sp>
        <p:nvSpPr>
          <p:cNvPr id="15" name="Textfeld 30">
            <a:extLst>
              <a:ext uri="{FF2B5EF4-FFF2-40B4-BE49-F238E27FC236}">
                <a16:creationId xmlns:a16="http://schemas.microsoft.com/office/drawing/2014/main" id="{18F9F340-083A-4C49-A09A-CDB60FAA8F59}"/>
              </a:ext>
            </a:extLst>
          </p:cNvPr>
          <p:cNvSpPr txBox="1">
            <a:spLocks/>
          </p:cNvSpPr>
          <p:nvPr/>
        </p:nvSpPr>
        <p:spPr bwMode="gray">
          <a:xfrm flipH="1">
            <a:off x="7574775" y="5806800"/>
            <a:ext cx="719625" cy="359813"/>
          </a:xfrm>
          <a:prstGeom prst="rect">
            <a:avLst/>
          </a:prstGeom>
          <a:noFill/>
          <a:ln>
            <a:noFill/>
          </a:ln>
          <a:scene3d>
            <a:camera prst="orthographicFront">
              <a:rot lat="0" lon="0" rev="0"/>
            </a:camera>
            <a:lightRig rig="threePt" dir="t"/>
          </a:scene3d>
        </p:spPr>
        <p:txBody>
          <a:bodyPr wrap="square" lIns="0" tIns="71963" rIns="0" bIns="0" rtlCol="0" anchor="t" anchorCtr="0">
            <a:noAutofit/>
          </a:bodyPr>
          <a:lstStyle/>
          <a:p>
            <a:pPr algn="r">
              <a:tabLst>
                <a:tab pos="1255085" algn="r"/>
              </a:tabLst>
              <a:defRPr/>
            </a:pPr>
            <a:r>
              <a:rPr lang="en-US" altLang="de-DE" sz="1399" dirty="0">
                <a:solidFill>
                  <a:srgbClr val="9999A9"/>
                </a:solidFill>
                <a:ea typeface="Arial Unicode MS"/>
              </a:rPr>
              <a:t>High</a:t>
            </a:r>
          </a:p>
        </p:txBody>
      </p:sp>
      <p:sp>
        <p:nvSpPr>
          <p:cNvPr id="17" name="Oval 16">
            <a:extLst>
              <a:ext uri="{FF2B5EF4-FFF2-40B4-BE49-F238E27FC236}">
                <a16:creationId xmlns:a16="http://schemas.microsoft.com/office/drawing/2014/main" id="{56A83D9B-DC8A-4CDC-A14A-A14C5804BD5A}"/>
              </a:ext>
            </a:extLst>
          </p:cNvPr>
          <p:cNvSpPr/>
          <p:nvPr/>
        </p:nvSpPr>
        <p:spPr bwMode="auto">
          <a:xfrm>
            <a:off x="6617338" y="1999947"/>
            <a:ext cx="251869" cy="251869"/>
          </a:xfrm>
          <a:prstGeom prst="ellipse">
            <a:avLst/>
          </a:prstGeom>
          <a:solidFill>
            <a:srgbClr val="333353"/>
          </a:solidFill>
          <a:ln w="38100">
            <a:solidFill>
              <a:schemeClr val="bg1"/>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8" name="Oval 17">
            <a:extLst>
              <a:ext uri="{FF2B5EF4-FFF2-40B4-BE49-F238E27FC236}">
                <a16:creationId xmlns:a16="http://schemas.microsoft.com/office/drawing/2014/main" id="{9C785009-C348-4CDA-BFB0-FE57B2824122}"/>
              </a:ext>
            </a:extLst>
          </p:cNvPr>
          <p:cNvSpPr/>
          <p:nvPr/>
        </p:nvSpPr>
        <p:spPr bwMode="auto">
          <a:xfrm>
            <a:off x="7516870" y="2607430"/>
            <a:ext cx="251869" cy="251869"/>
          </a:xfrm>
          <a:prstGeom prst="ellipse">
            <a:avLst/>
          </a:prstGeom>
          <a:solidFill>
            <a:srgbClr val="333353"/>
          </a:solidFill>
          <a:ln w="38100">
            <a:solidFill>
              <a:schemeClr val="bg1"/>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9" name="Oval 18">
            <a:extLst>
              <a:ext uri="{FF2B5EF4-FFF2-40B4-BE49-F238E27FC236}">
                <a16:creationId xmlns:a16="http://schemas.microsoft.com/office/drawing/2014/main" id="{3113E7D7-EE4C-4454-87CF-84E4AAE71330}"/>
              </a:ext>
            </a:extLst>
          </p:cNvPr>
          <p:cNvSpPr/>
          <p:nvPr/>
        </p:nvSpPr>
        <p:spPr bwMode="auto">
          <a:xfrm>
            <a:off x="6805746" y="2405331"/>
            <a:ext cx="251869" cy="251869"/>
          </a:xfrm>
          <a:prstGeom prst="ellipse">
            <a:avLst/>
          </a:prstGeom>
          <a:solidFill>
            <a:srgbClr val="00FFB9"/>
          </a:solidFill>
          <a:ln w="38100">
            <a:solidFill>
              <a:schemeClr val="bg1"/>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0" name="Oval 19">
            <a:extLst>
              <a:ext uri="{FF2B5EF4-FFF2-40B4-BE49-F238E27FC236}">
                <a16:creationId xmlns:a16="http://schemas.microsoft.com/office/drawing/2014/main" id="{92418A7D-471B-4A26-B401-4CA1BC87CAFE}"/>
              </a:ext>
            </a:extLst>
          </p:cNvPr>
          <p:cNvSpPr/>
          <p:nvPr/>
        </p:nvSpPr>
        <p:spPr bwMode="auto">
          <a:xfrm>
            <a:off x="4728323" y="2900074"/>
            <a:ext cx="251869" cy="251869"/>
          </a:xfrm>
          <a:prstGeom prst="ellipse">
            <a:avLst/>
          </a:prstGeom>
          <a:solidFill>
            <a:srgbClr val="333353"/>
          </a:solidFill>
          <a:ln w="38100">
            <a:solidFill>
              <a:schemeClr val="bg1"/>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1" name="Oval 20">
            <a:extLst>
              <a:ext uri="{FF2B5EF4-FFF2-40B4-BE49-F238E27FC236}">
                <a16:creationId xmlns:a16="http://schemas.microsoft.com/office/drawing/2014/main" id="{121F88FB-F8E2-4D96-89C4-DEEEF81A7F47}"/>
              </a:ext>
            </a:extLst>
          </p:cNvPr>
          <p:cNvSpPr/>
          <p:nvPr/>
        </p:nvSpPr>
        <p:spPr bwMode="auto">
          <a:xfrm>
            <a:off x="5192950" y="2900074"/>
            <a:ext cx="251869" cy="251869"/>
          </a:xfrm>
          <a:prstGeom prst="ellipse">
            <a:avLst/>
          </a:prstGeom>
          <a:solidFill>
            <a:srgbClr val="333353"/>
          </a:solidFill>
          <a:ln w="38100">
            <a:solidFill>
              <a:schemeClr val="bg1"/>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3" name="Oval 22">
            <a:extLst>
              <a:ext uri="{FF2B5EF4-FFF2-40B4-BE49-F238E27FC236}">
                <a16:creationId xmlns:a16="http://schemas.microsoft.com/office/drawing/2014/main" id="{2274E46F-1F71-459E-BB20-2609C6B49DD2}"/>
              </a:ext>
            </a:extLst>
          </p:cNvPr>
          <p:cNvSpPr/>
          <p:nvPr/>
        </p:nvSpPr>
        <p:spPr bwMode="auto">
          <a:xfrm>
            <a:off x="4803411" y="4879642"/>
            <a:ext cx="251869" cy="251869"/>
          </a:xfrm>
          <a:prstGeom prst="ellipse">
            <a:avLst/>
          </a:prstGeom>
          <a:solidFill>
            <a:srgbClr val="333353"/>
          </a:solidFill>
          <a:ln w="38100">
            <a:solidFill>
              <a:schemeClr val="bg1"/>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4" name="Oval 23">
            <a:extLst>
              <a:ext uri="{FF2B5EF4-FFF2-40B4-BE49-F238E27FC236}">
                <a16:creationId xmlns:a16="http://schemas.microsoft.com/office/drawing/2014/main" id="{9427C083-63CA-40CF-964C-4D4218A3FED4}"/>
              </a:ext>
            </a:extLst>
          </p:cNvPr>
          <p:cNvSpPr/>
          <p:nvPr/>
        </p:nvSpPr>
        <p:spPr bwMode="auto">
          <a:xfrm>
            <a:off x="4986708" y="4424982"/>
            <a:ext cx="251869" cy="251869"/>
          </a:xfrm>
          <a:prstGeom prst="ellipse">
            <a:avLst/>
          </a:prstGeom>
          <a:solidFill>
            <a:srgbClr val="333353"/>
          </a:solidFill>
          <a:ln w="38100">
            <a:solidFill>
              <a:schemeClr val="bg1"/>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5" name="Oval 24">
            <a:extLst>
              <a:ext uri="{FF2B5EF4-FFF2-40B4-BE49-F238E27FC236}">
                <a16:creationId xmlns:a16="http://schemas.microsoft.com/office/drawing/2014/main" id="{E4BB53D8-A617-49A9-93AE-D214CAFAC1B6}"/>
              </a:ext>
            </a:extLst>
          </p:cNvPr>
          <p:cNvSpPr/>
          <p:nvPr/>
        </p:nvSpPr>
        <p:spPr bwMode="auto">
          <a:xfrm>
            <a:off x="5305586" y="4395648"/>
            <a:ext cx="251869" cy="251869"/>
          </a:xfrm>
          <a:prstGeom prst="ellipse">
            <a:avLst/>
          </a:prstGeom>
          <a:solidFill>
            <a:srgbClr val="333353"/>
          </a:solidFill>
          <a:ln w="38100">
            <a:solidFill>
              <a:schemeClr val="bg1"/>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6" name="Oval 25">
            <a:extLst>
              <a:ext uri="{FF2B5EF4-FFF2-40B4-BE49-F238E27FC236}">
                <a16:creationId xmlns:a16="http://schemas.microsoft.com/office/drawing/2014/main" id="{79F4E84A-7CF5-4B94-9D7D-2CC7504F363C}"/>
              </a:ext>
            </a:extLst>
          </p:cNvPr>
          <p:cNvSpPr/>
          <p:nvPr/>
        </p:nvSpPr>
        <p:spPr bwMode="auto">
          <a:xfrm>
            <a:off x="7123647" y="4474256"/>
            <a:ext cx="251869" cy="251869"/>
          </a:xfrm>
          <a:prstGeom prst="ellipse">
            <a:avLst/>
          </a:prstGeom>
          <a:solidFill>
            <a:srgbClr val="333353"/>
          </a:solidFill>
          <a:ln w="38100">
            <a:solidFill>
              <a:schemeClr val="bg1"/>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8" name="Oval 27">
            <a:extLst>
              <a:ext uri="{FF2B5EF4-FFF2-40B4-BE49-F238E27FC236}">
                <a16:creationId xmlns:a16="http://schemas.microsoft.com/office/drawing/2014/main" id="{390F2BB8-F25E-4CD4-9404-1C85E0B45707}"/>
              </a:ext>
            </a:extLst>
          </p:cNvPr>
          <p:cNvSpPr/>
          <p:nvPr/>
        </p:nvSpPr>
        <p:spPr bwMode="auto">
          <a:xfrm>
            <a:off x="7426917" y="4717727"/>
            <a:ext cx="251869" cy="251869"/>
          </a:xfrm>
          <a:prstGeom prst="ellipse">
            <a:avLst/>
          </a:prstGeom>
          <a:solidFill>
            <a:srgbClr val="333353"/>
          </a:solidFill>
          <a:ln w="38100">
            <a:solidFill>
              <a:schemeClr val="bg1"/>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 name="Footer Placeholder 1">
            <a:extLst>
              <a:ext uri="{FF2B5EF4-FFF2-40B4-BE49-F238E27FC236}">
                <a16:creationId xmlns:a16="http://schemas.microsoft.com/office/drawing/2014/main" id="{18CAA508-84E1-4191-A371-7565BF67B86F}"/>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3" name="Slide Number Placeholder 2">
            <a:extLst>
              <a:ext uri="{FF2B5EF4-FFF2-40B4-BE49-F238E27FC236}">
                <a16:creationId xmlns:a16="http://schemas.microsoft.com/office/drawing/2014/main" id="{356FDD95-62BC-48A2-81FB-FB43932F443E}"/>
              </a:ext>
            </a:extLst>
          </p:cNvPr>
          <p:cNvSpPr>
            <a:spLocks noGrp="1"/>
          </p:cNvSpPr>
          <p:nvPr>
            <p:ph type="sldNum" sz="quarter" idx="11"/>
          </p:nvPr>
        </p:nvSpPr>
        <p:spPr/>
        <p:txBody>
          <a:bodyPr/>
          <a:lstStyle/>
          <a:p>
            <a:r>
              <a:rPr lang="en-US" dirty="0"/>
              <a:t>Page </a:t>
            </a:r>
            <a:fld id="{15EBE321-CBB1-4E91-BD14-37C8D44326FB}" type="slidenum">
              <a:rPr lang="en-US" smtClean="0"/>
              <a:pPr/>
              <a:t>150</a:t>
            </a:fld>
            <a:endParaRPr lang="en-US" dirty="0"/>
          </a:p>
        </p:txBody>
      </p:sp>
    </p:spTree>
    <p:extLst>
      <p:ext uri="{BB962C8B-B14F-4D97-AF65-F5344CB8AC3E}">
        <p14:creationId xmlns:p14="http://schemas.microsoft.com/office/powerpoint/2010/main" val="1204778574"/>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atrix – high low matrix</a:t>
            </a:r>
          </a:p>
        </p:txBody>
      </p:sp>
      <p:sp>
        <p:nvSpPr>
          <p:cNvPr id="22" name="Rectangle 3"/>
          <p:cNvSpPr>
            <a:spLocks noChangeArrowheads="1"/>
          </p:cNvSpPr>
          <p:nvPr/>
        </p:nvSpPr>
        <p:spPr bwMode="auto">
          <a:xfrm>
            <a:off x="3902400" y="1415848"/>
            <a:ext cx="4392000" cy="4392000"/>
          </a:xfrm>
          <a:prstGeom prst="rect">
            <a:avLst/>
          </a:prstGeom>
          <a:solidFill>
            <a:srgbClr val="333353"/>
          </a:solidFill>
          <a:ln w="19050">
            <a:noFill/>
          </a:ln>
          <a:effectLst/>
        </p:spPr>
        <p:txBody>
          <a:bodyPr lIns="143925" tIns="143925" rIns="143925" bIns="143925" rtlCol="0" anchor="t" anchorCtr="0"/>
          <a:lstStyle/>
          <a:p>
            <a:pPr>
              <a:lnSpc>
                <a:spcPct val="90000"/>
              </a:lnSpc>
              <a:spcAft>
                <a:spcPts val="600"/>
              </a:spcAft>
              <a:buClr>
                <a:schemeClr val="bg1"/>
              </a:buClr>
            </a:pPr>
            <a:endParaRPr lang="en-US" sz="1599" dirty="0">
              <a:solidFill>
                <a:srgbClr val="3C464B"/>
              </a:solidFill>
            </a:endParaRPr>
          </a:p>
        </p:txBody>
      </p:sp>
      <p:cxnSp>
        <p:nvCxnSpPr>
          <p:cNvPr id="5" name="Straight Connector 4"/>
          <p:cNvCxnSpPr>
            <a:cxnSpLocks/>
            <a:stCxn id="22" idx="1"/>
            <a:endCxn id="22" idx="3"/>
          </p:cNvCxnSpPr>
          <p:nvPr/>
        </p:nvCxnSpPr>
        <p:spPr bwMode="auto">
          <a:xfrm>
            <a:off x="3902400" y="3611848"/>
            <a:ext cx="4392000" cy="0"/>
          </a:xfrm>
          <a:prstGeom prst="line">
            <a:avLst/>
          </a:prstGeom>
          <a:solidFill>
            <a:schemeClr val="tx2"/>
          </a:solidFill>
          <a:ln w="12700" cap="flat" cmpd="sng" algn="ctr">
            <a:solidFill>
              <a:schemeClr val="bg1"/>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Straight Connector 26"/>
          <p:cNvCxnSpPr>
            <a:cxnSpLocks/>
            <a:stCxn id="22" idx="0"/>
            <a:endCxn id="22" idx="2"/>
          </p:cNvCxnSpPr>
          <p:nvPr/>
        </p:nvCxnSpPr>
        <p:spPr bwMode="auto">
          <a:xfrm>
            <a:off x="6098400" y="1415848"/>
            <a:ext cx="0" cy="4392000"/>
          </a:xfrm>
          <a:prstGeom prst="line">
            <a:avLst/>
          </a:prstGeom>
          <a:solidFill>
            <a:schemeClr val="tx2"/>
          </a:solidFill>
          <a:ln w="12700" cap="flat" cmpd="sng" algn="ctr">
            <a:solidFill>
              <a:schemeClr val="bg1"/>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4" name="Textfeld 30"/>
          <p:cNvSpPr txBox="1">
            <a:spLocks/>
          </p:cNvSpPr>
          <p:nvPr/>
        </p:nvSpPr>
        <p:spPr bwMode="gray">
          <a:xfrm>
            <a:off x="2462400" y="1415848"/>
            <a:ext cx="1439250" cy="4392000"/>
          </a:xfrm>
          <a:prstGeom prst="rect">
            <a:avLst/>
          </a:prstGeom>
          <a:noFill/>
          <a:ln>
            <a:noFill/>
          </a:ln>
          <a:scene3d>
            <a:camera prst="orthographicFront">
              <a:rot lat="0" lon="0" rev="0"/>
            </a:camera>
            <a:lightRig rig="threePt" dir="t"/>
          </a:scene3d>
        </p:spPr>
        <p:txBody>
          <a:bodyPr wrap="square" lIns="0" tIns="0" rIns="107944" bIns="0" rtlCol="0" anchor="ctr" anchorCtr="0">
            <a:noAutofit/>
          </a:bodyPr>
          <a:lstStyle/>
          <a:p>
            <a:pPr algn="r">
              <a:tabLst>
                <a:tab pos="1255085" algn="r"/>
              </a:tabLst>
              <a:defRPr/>
            </a:pPr>
            <a:r>
              <a:rPr lang="en-US" altLang="de-DE" sz="1399" b="1" dirty="0">
                <a:solidFill>
                  <a:srgbClr val="00FFB9"/>
                </a:solidFill>
                <a:ea typeface="Arial Unicode MS"/>
              </a:rPr>
              <a:t>Ipsum</a:t>
            </a:r>
          </a:p>
        </p:txBody>
      </p:sp>
      <p:sp>
        <p:nvSpPr>
          <p:cNvPr id="45" name="Textfeld 30"/>
          <p:cNvSpPr txBox="1">
            <a:spLocks/>
          </p:cNvSpPr>
          <p:nvPr/>
        </p:nvSpPr>
        <p:spPr bwMode="gray">
          <a:xfrm flipH="1">
            <a:off x="3182400" y="1415849"/>
            <a:ext cx="719625" cy="423083"/>
          </a:xfrm>
          <a:prstGeom prst="rect">
            <a:avLst/>
          </a:prstGeom>
          <a:noFill/>
          <a:ln>
            <a:noFill/>
          </a:ln>
          <a:scene3d>
            <a:camera prst="orthographicFront">
              <a:rot lat="0" lon="0" rev="0"/>
            </a:camera>
            <a:lightRig rig="threePt" dir="t"/>
          </a:scene3d>
        </p:spPr>
        <p:txBody>
          <a:bodyPr wrap="square" lIns="0" tIns="0" rIns="107944" bIns="0" rtlCol="0" anchor="t" anchorCtr="0">
            <a:noAutofit/>
          </a:bodyPr>
          <a:lstStyle/>
          <a:p>
            <a:pPr algn="r">
              <a:tabLst>
                <a:tab pos="1255085" algn="r"/>
              </a:tabLst>
              <a:defRPr/>
            </a:pPr>
            <a:r>
              <a:rPr lang="en-US" altLang="de-DE" sz="1399" dirty="0">
                <a:solidFill>
                  <a:srgbClr val="333353"/>
                </a:solidFill>
                <a:ea typeface="Arial Unicode MS"/>
              </a:rPr>
              <a:t>High</a:t>
            </a:r>
          </a:p>
        </p:txBody>
      </p:sp>
      <p:sp>
        <p:nvSpPr>
          <p:cNvPr id="47" name="Textfeld 30"/>
          <p:cNvSpPr txBox="1">
            <a:spLocks/>
          </p:cNvSpPr>
          <p:nvPr/>
        </p:nvSpPr>
        <p:spPr bwMode="gray">
          <a:xfrm>
            <a:off x="3902400" y="5806800"/>
            <a:ext cx="4392000" cy="359813"/>
          </a:xfrm>
          <a:prstGeom prst="rect">
            <a:avLst/>
          </a:prstGeom>
          <a:noFill/>
          <a:ln>
            <a:noFill/>
          </a:ln>
          <a:scene3d>
            <a:camera prst="orthographicFront">
              <a:rot lat="0" lon="0" rev="0"/>
            </a:camera>
            <a:lightRig rig="threePt" dir="t"/>
          </a:scene3d>
        </p:spPr>
        <p:txBody>
          <a:bodyPr wrap="square" lIns="0" tIns="71963" rIns="0" bIns="0" rtlCol="0" anchor="t" anchorCtr="0">
            <a:noAutofit/>
          </a:bodyPr>
          <a:lstStyle/>
          <a:p>
            <a:pPr algn="ctr">
              <a:tabLst>
                <a:tab pos="1255085" algn="r"/>
              </a:tabLst>
              <a:defRPr/>
            </a:pPr>
            <a:r>
              <a:rPr lang="en-US" altLang="de-DE" sz="1399" b="1" dirty="0">
                <a:solidFill>
                  <a:srgbClr val="00FFB9"/>
                </a:solidFill>
                <a:ea typeface="Arial Unicode MS"/>
              </a:rPr>
              <a:t>Lorem</a:t>
            </a:r>
          </a:p>
        </p:txBody>
      </p:sp>
      <p:sp>
        <p:nvSpPr>
          <p:cNvPr id="13" name="Textfeld 30">
            <a:extLst>
              <a:ext uri="{FF2B5EF4-FFF2-40B4-BE49-F238E27FC236}">
                <a16:creationId xmlns:a16="http://schemas.microsoft.com/office/drawing/2014/main" id="{49615764-A731-554E-A29A-550D55D4C02B}"/>
              </a:ext>
            </a:extLst>
          </p:cNvPr>
          <p:cNvSpPr txBox="1">
            <a:spLocks/>
          </p:cNvSpPr>
          <p:nvPr/>
        </p:nvSpPr>
        <p:spPr bwMode="gray">
          <a:xfrm flipH="1">
            <a:off x="3182400" y="5448035"/>
            <a:ext cx="719625" cy="359813"/>
          </a:xfrm>
          <a:prstGeom prst="rect">
            <a:avLst/>
          </a:prstGeom>
          <a:noFill/>
          <a:ln>
            <a:noFill/>
          </a:ln>
          <a:scene3d>
            <a:camera prst="orthographicFront">
              <a:rot lat="0" lon="0" rev="0"/>
            </a:camera>
            <a:lightRig rig="threePt" dir="t"/>
          </a:scene3d>
        </p:spPr>
        <p:txBody>
          <a:bodyPr wrap="square" lIns="0" tIns="0" rIns="107944" bIns="0" rtlCol="0" anchor="b" anchorCtr="0">
            <a:noAutofit/>
          </a:bodyPr>
          <a:lstStyle/>
          <a:p>
            <a:pPr algn="r">
              <a:tabLst>
                <a:tab pos="1255085" algn="r"/>
              </a:tabLst>
              <a:defRPr/>
            </a:pPr>
            <a:r>
              <a:rPr lang="en-US" altLang="de-DE" sz="1399" dirty="0">
                <a:solidFill>
                  <a:srgbClr val="333353"/>
                </a:solidFill>
                <a:ea typeface="Arial Unicode MS"/>
              </a:rPr>
              <a:t>Low</a:t>
            </a:r>
          </a:p>
        </p:txBody>
      </p:sp>
      <p:sp>
        <p:nvSpPr>
          <p:cNvPr id="14" name="Textfeld 30">
            <a:extLst>
              <a:ext uri="{FF2B5EF4-FFF2-40B4-BE49-F238E27FC236}">
                <a16:creationId xmlns:a16="http://schemas.microsoft.com/office/drawing/2014/main" id="{3BF83967-EC46-C24D-A4D3-68F16B850B55}"/>
              </a:ext>
            </a:extLst>
          </p:cNvPr>
          <p:cNvSpPr txBox="1">
            <a:spLocks/>
          </p:cNvSpPr>
          <p:nvPr/>
        </p:nvSpPr>
        <p:spPr bwMode="gray">
          <a:xfrm flipH="1">
            <a:off x="3902400" y="5806800"/>
            <a:ext cx="719625" cy="359813"/>
          </a:xfrm>
          <a:prstGeom prst="rect">
            <a:avLst/>
          </a:prstGeom>
          <a:noFill/>
          <a:ln>
            <a:noFill/>
          </a:ln>
          <a:scene3d>
            <a:camera prst="orthographicFront">
              <a:rot lat="0" lon="0" rev="0"/>
            </a:camera>
            <a:lightRig rig="threePt" dir="t"/>
          </a:scene3d>
        </p:spPr>
        <p:txBody>
          <a:bodyPr wrap="square" lIns="0" tIns="71963" rIns="0" bIns="0" rtlCol="0" anchor="t" anchorCtr="0">
            <a:noAutofit/>
          </a:bodyPr>
          <a:lstStyle/>
          <a:p>
            <a:pPr>
              <a:tabLst>
                <a:tab pos="1255085" algn="r"/>
              </a:tabLst>
              <a:defRPr/>
            </a:pPr>
            <a:r>
              <a:rPr lang="en-US" altLang="de-DE" sz="1399" dirty="0">
                <a:solidFill>
                  <a:srgbClr val="333353"/>
                </a:solidFill>
                <a:ea typeface="Arial Unicode MS"/>
              </a:rPr>
              <a:t>Low</a:t>
            </a:r>
          </a:p>
        </p:txBody>
      </p:sp>
      <p:sp>
        <p:nvSpPr>
          <p:cNvPr id="15" name="Textfeld 30">
            <a:extLst>
              <a:ext uri="{FF2B5EF4-FFF2-40B4-BE49-F238E27FC236}">
                <a16:creationId xmlns:a16="http://schemas.microsoft.com/office/drawing/2014/main" id="{18F9F340-083A-4C49-A09A-CDB60FAA8F59}"/>
              </a:ext>
            </a:extLst>
          </p:cNvPr>
          <p:cNvSpPr txBox="1">
            <a:spLocks/>
          </p:cNvSpPr>
          <p:nvPr/>
        </p:nvSpPr>
        <p:spPr bwMode="gray">
          <a:xfrm flipH="1">
            <a:off x="7574775" y="5806800"/>
            <a:ext cx="719625" cy="359813"/>
          </a:xfrm>
          <a:prstGeom prst="rect">
            <a:avLst/>
          </a:prstGeom>
          <a:noFill/>
          <a:ln>
            <a:noFill/>
          </a:ln>
          <a:scene3d>
            <a:camera prst="orthographicFront">
              <a:rot lat="0" lon="0" rev="0"/>
            </a:camera>
            <a:lightRig rig="threePt" dir="t"/>
          </a:scene3d>
        </p:spPr>
        <p:txBody>
          <a:bodyPr wrap="square" lIns="0" tIns="71963" rIns="0" bIns="0" rtlCol="0" anchor="t" anchorCtr="0">
            <a:noAutofit/>
          </a:bodyPr>
          <a:lstStyle/>
          <a:p>
            <a:pPr algn="r">
              <a:tabLst>
                <a:tab pos="1255085" algn="r"/>
              </a:tabLst>
              <a:defRPr/>
            </a:pPr>
            <a:r>
              <a:rPr lang="en-US" altLang="de-DE" sz="1399" dirty="0">
                <a:solidFill>
                  <a:srgbClr val="333353"/>
                </a:solidFill>
                <a:ea typeface="Arial Unicode MS"/>
              </a:rPr>
              <a:t>High</a:t>
            </a:r>
          </a:p>
        </p:txBody>
      </p:sp>
      <p:sp>
        <p:nvSpPr>
          <p:cNvPr id="17" name="Oval 16">
            <a:extLst>
              <a:ext uri="{FF2B5EF4-FFF2-40B4-BE49-F238E27FC236}">
                <a16:creationId xmlns:a16="http://schemas.microsoft.com/office/drawing/2014/main" id="{56A83D9B-DC8A-4CDC-A14A-A14C5804BD5A}"/>
              </a:ext>
            </a:extLst>
          </p:cNvPr>
          <p:cNvSpPr/>
          <p:nvPr/>
        </p:nvSpPr>
        <p:spPr bwMode="auto">
          <a:xfrm>
            <a:off x="6617338" y="1999947"/>
            <a:ext cx="251869" cy="251869"/>
          </a:xfrm>
          <a:prstGeom prst="ellipse">
            <a:avLst/>
          </a:prstGeom>
          <a:solidFill>
            <a:srgbClr val="CCCCD4"/>
          </a:solidFill>
          <a:ln w="38100">
            <a:solidFill>
              <a:schemeClr val="bg2"/>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8" name="Oval 17">
            <a:extLst>
              <a:ext uri="{FF2B5EF4-FFF2-40B4-BE49-F238E27FC236}">
                <a16:creationId xmlns:a16="http://schemas.microsoft.com/office/drawing/2014/main" id="{9C785009-C348-4CDA-BFB0-FE57B2824122}"/>
              </a:ext>
            </a:extLst>
          </p:cNvPr>
          <p:cNvSpPr/>
          <p:nvPr/>
        </p:nvSpPr>
        <p:spPr bwMode="auto">
          <a:xfrm>
            <a:off x="7516870" y="2607430"/>
            <a:ext cx="251869" cy="251869"/>
          </a:xfrm>
          <a:prstGeom prst="ellipse">
            <a:avLst/>
          </a:prstGeom>
          <a:solidFill>
            <a:srgbClr val="CCCCD4"/>
          </a:solidFill>
          <a:ln w="38100">
            <a:solidFill>
              <a:schemeClr val="bg2"/>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9" name="Oval 18">
            <a:extLst>
              <a:ext uri="{FF2B5EF4-FFF2-40B4-BE49-F238E27FC236}">
                <a16:creationId xmlns:a16="http://schemas.microsoft.com/office/drawing/2014/main" id="{3113E7D7-EE4C-4454-87CF-84E4AAE71330}"/>
              </a:ext>
            </a:extLst>
          </p:cNvPr>
          <p:cNvSpPr/>
          <p:nvPr/>
        </p:nvSpPr>
        <p:spPr bwMode="auto">
          <a:xfrm>
            <a:off x="6805746" y="2405331"/>
            <a:ext cx="251869" cy="251869"/>
          </a:xfrm>
          <a:prstGeom prst="ellipse">
            <a:avLst/>
          </a:prstGeom>
          <a:solidFill>
            <a:srgbClr val="00FFB9"/>
          </a:solidFill>
          <a:ln w="38100">
            <a:solidFill>
              <a:schemeClr val="bg2"/>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0" name="Oval 19">
            <a:extLst>
              <a:ext uri="{FF2B5EF4-FFF2-40B4-BE49-F238E27FC236}">
                <a16:creationId xmlns:a16="http://schemas.microsoft.com/office/drawing/2014/main" id="{92418A7D-471B-4A26-B401-4CA1BC87CAFE}"/>
              </a:ext>
            </a:extLst>
          </p:cNvPr>
          <p:cNvSpPr/>
          <p:nvPr/>
        </p:nvSpPr>
        <p:spPr bwMode="auto">
          <a:xfrm>
            <a:off x="4728323" y="2900074"/>
            <a:ext cx="251869" cy="251869"/>
          </a:xfrm>
          <a:prstGeom prst="ellipse">
            <a:avLst/>
          </a:prstGeom>
          <a:solidFill>
            <a:srgbClr val="CCCCD4"/>
          </a:solidFill>
          <a:ln w="38100">
            <a:solidFill>
              <a:schemeClr val="bg2"/>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1" name="Oval 20">
            <a:extLst>
              <a:ext uri="{FF2B5EF4-FFF2-40B4-BE49-F238E27FC236}">
                <a16:creationId xmlns:a16="http://schemas.microsoft.com/office/drawing/2014/main" id="{121F88FB-F8E2-4D96-89C4-DEEEF81A7F47}"/>
              </a:ext>
            </a:extLst>
          </p:cNvPr>
          <p:cNvSpPr/>
          <p:nvPr/>
        </p:nvSpPr>
        <p:spPr bwMode="auto">
          <a:xfrm>
            <a:off x="5192950" y="2900074"/>
            <a:ext cx="251869" cy="251869"/>
          </a:xfrm>
          <a:prstGeom prst="ellipse">
            <a:avLst/>
          </a:prstGeom>
          <a:solidFill>
            <a:srgbClr val="CCCCD4"/>
          </a:solidFill>
          <a:ln w="38100">
            <a:solidFill>
              <a:schemeClr val="bg2"/>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3" name="Oval 22">
            <a:extLst>
              <a:ext uri="{FF2B5EF4-FFF2-40B4-BE49-F238E27FC236}">
                <a16:creationId xmlns:a16="http://schemas.microsoft.com/office/drawing/2014/main" id="{2274E46F-1F71-459E-BB20-2609C6B49DD2}"/>
              </a:ext>
            </a:extLst>
          </p:cNvPr>
          <p:cNvSpPr/>
          <p:nvPr/>
        </p:nvSpPr>
        <p:spPr bwMode="auto">
          <a:xfrm>
            <a:off x="4803411" y="4879642"/>
            <a:ext cx="251869" cy="251869"/>
          </a:xfrm>
          <a:prstGeom prst="ellipse">
            <a:avLst/>
          </a:prstGeom>
          <a:solidFill>
            <a:srgbClr val="CCCCD4"/>
          </a:solidFill>
          <a:ln w="38100">
            <a:solidFill>
              <a:schemeClr val="bg2"/>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4" name="Oval 23">
            <a:extLst>
              <a:ext uri="{FF2B5EF4-FFF2-40B4-BE49-F238E27FC236}">
                <a16:creationId xmlns:a16="http://schemas.microsoft.com/office/drawing/2014/main" id="{9427C083-63CA-40CF-964C-4D4218A3FED4}"/>
              </a:ext>
            </a:extLst>
          </p:cNvPr>
          <p:cNvSpPr/>
          <p:nvPr/>
        </p:nvSpPr>
        <p:spPr bwMode="auto">
          <a:xfrm>
            <a:off x="4986708" y="4424982"/>
            <a:ext cx="251869" cy="251869"/>
          </a:xfrm>
          <a:prstGeom prst="ellipse">
            <a:avLst/>
          </a:prstGeom>
          <a:solidFill>
            <a:srgbClr val="CCCCD4"/>
          </a:solidFill>
          <a:ln w="38100">
            <a:solidFill>
              <a:schemeClr val="bg2"/>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5" name="Oval 24">
            <a:extLst>
              <a:ext uri="{FF2B5EF4-FFF2-40B4-BE49-F238E27FC236}">
                <a16:creationId xmlns:a16="http://schemas.microsoft.com/office/drawing/2014/main" id="{E4BB53D8-A617-49A9-93AE-D214CAFAC1B6}"/>
              </a:ext>
            </a:extLst>
          </p:cNvPr>
          <p:cNvSpPr/>
          <p:nvPr/>
        </p:nvSpPr>
        <p:spPr bwMode="auto">
          <a:xfrm>
            <a:off x="5305586" y="4395648"/>
            <a:ext cx="251869" cy="251869"/>
          </a:xfrm>
          <a:prstGeom prst="ellipse">
            <a:avLst/>
          </a:prstGeom>
          <a:solidFill>
            <a:srgbClr val="CCCCD4"/>
          </a:solidFill>
          <a:ln w="38100">
            <a:solidFill>
              <a:schemeClr val="bg2"/>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6" name="Oval 25">
            <a:extLst>
              <a:ext uri="{FF2B5EF4-FFF2-40B4-BE49-F238E27FC236}">
                <a16:creationId xmlns:a16="http://schemas.microsoft.com/office/drawing/2014/main" id="{79F4E84A-7CF5-4B94-9D7D-2CC7504F363C}"/>
              </a:ext>
            </a:extLst>
          </p:cNvPr>
          <p:cNvSpPr/>
          <p:nvPr/>
        </p:nvSpPr>
        <p:spPr bwMode="auto">
          <a:xfrm>
            <a:off x="7123647" y="4474256"/>
            <a:ext cx="251869" cy="251869"/>
          </a:xfrm>
          <a:prstGeom prst="ellipse">
            <a:avLst/>
          </a:prstGeom>
          <a:solidFill>
            <a:srgbClr val="CCCCD4"/>
          </a:solidFill>
          <a:ln w="38100">
            <a:solidFill>
              <a:schemeClr val="bg2"/>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8" name="Oval 27">
            <a:extLst>
              <a:ext uri="{FF2B5EF4-FFF2-40B4-BE49-F238E27FC236}">
                <a16:creationId xmlns:a16="http://schemas.microsoft.com/office/drawing/2014/main" id="{390F2BB8-F25E-4CD4-9404-1C85E0B45707}"/>
              </a:ext>
            </a:extLst>
          </p:cNvPr>
          <p:cNvSpPr/>
          <p:nvPr/>
        </p:nvSpPr>
        <p:spPr bwMode="auto">
          <a:xfrm>
            <a:off x="7426917" y="4717727"/>
            <a:ext cx="251869" cy="251869"/>
          </a:xfrm>
          <a:prstGeom prst="ellipse">
            <a:avLst/>
          </a:prstGeom>
          <a:solidFill>
            <a:srgbClr val="CCCCD4"/>
          </a:solidFill>
          <a:ln w="38100">
            <a:solidFill>
              <a:schemeClr val="bg2"/>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6" name="Footer Placeholder 5">
            <a:extLst>
              <a:ext uri="{FF2B5EF4-FFF2-40B4-BE49-F238E27FC236}">
                <a16:creationId xmlns:a16="http://schemas.microsoft.com/office/drawing/2014/main" id="{50DF76D6-DBF6-4C51-B832-47DEACD874D6}"/>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7" name="Slide Number Placeholder 6">
            <a:extLst>
              <a:ext uri="{FF2B5EF4-FFF2-40B4-BE49-F238E27FC236}">
                <a16:creationId xmlns:a16="http://schemas.microsoft.com/office/drawing/2014/main" id="{39B6D59E-DF56-49D9-B016-BBC91B342231}"/>
              </a:ext>
            </a:extLst>
          </p:cNvPr>
          <p:cNvSpPr>
            <a:spLocks noGrp="1"/>
          </p:cNvSpPr>
          <p:nvPr>
            <p:ph type="sldNum" sz="quarter" idx="11"/>
          </p:nvPr>
        </p:nvSpPr>
        <p:spPr/>
        <p:txBody>
          <a:bodyPr/>
          <a:lstStyle/>
          <a:p>
            <a:r>
              <a:rPr lang="en-US" dirty="0"/>
              <a:t>Page </a:t>
            </a:r>
            <a:fld id="{15EBE321-CBB1-4E91-BD14-37C8D44326FB}" type="slidenum">
              <a:rPr lang="en-US" smtClean="0"/>
              <a:pPr/>
              <a:t>151</a:t>
            </a:fld>
            <a:endParaRPr lang="en-US" dirty="0"/>
          </a:p>
        </p:txBody>
      </p:sp>
    </p:spTree>
    <p:extLst>
      <p:ext uri="{BB962C8B-B14F-4D97-AF65-F5344CB8AC3E}">
        <p14:creationId xmlns:p14="http://schemas.microsoft.com/office/powerpoint/2010/main" val="558719164"/>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B4AE858F-38F7-4577-807A-4E0D91140069}"/>
              </a:ext>
            </a:extLst>
          </p:cNvPr>
          <p:cNvGrpSpPr/>
          <p:nvPr/>
        </p:nvGrpSpPr>
        <p:grpSpPr>
          <a:xfrm>
            <a:off x="4298400" y="2037600"/>
            <a:ext cx="3600000" cy="3600000"/>
            <a:chOff x="4447187" y="2085651"/>
            <a:chExt cx="3452238" cy="3460698"/>
          </a:xfrm>
        </p:grpSpPr>
        <p:grpSp>
          <p:nvGrpSpPr>
            <p:cNvPr id="11" name="Group 10">
              <a:extLst>
                <a:ext uri="{FF2B5EF4-FFF2-40B4-BE49-F238E27FC236}">
                  <a16:creationId xmlns:a16="http://schemas.microsoft.com/office/drawing/2014/main" id="{CA9A9A98-D190-4478-8A13-129119F7B407}"/>
                </a:ext>
              </a:extLst>
            </p:cNvPr>
            <p:cNvGrpSpPr/>
            <p:nvPr/>
          </p:nvGrpSpPr>
          <p:grpSpPr>
            <a:xfrm>
              <a:off x="4447187" y="2085651"/>
              <a:ext cx="3452238" cy="3460698"/>
              <a:chOff x="4447187" y="2085651"/>
              <a:chExt cx="3452238" cy="3460698"/>
            </a:xfrm>
          </p:grpSpPr>
          <p:sp>
            <p:nvSpPr>
              <p:cNvPr id="15" name="Rectangle 3">
                <a:extLst>
                  <a:ext uri="{FF2B5EF4-FFF2-40B4-BE49-F238E27FC236}">
                    <a16:creationId xmlns:a16="http://schemas.microsoft.com/office/drawing/2014/main" id="{1D2CA000-99D6-456E-9051-DCD7839830E8}"/>
                  </a:ext>
                </a:extLst>
              </p:cNvPr>
              <p:cNvSpPr>
                <a:spLocks noChangeArrowheads="1"/>
              </p:cNvSpPr>
              <p:nvPr/>
            </p:nvSpPr>
            <p:spPr bwMode="auto">
              <a:xfrm>
                <a:off x="4447187" y="2085651"/>
                <a:ext cx="1726119" cy="1726119"/>
              </a:xfrm>
              <a:prstGeom prst="rect">
                <a:avLst/>
              </a:prstGeom>
              <a:solidFill>
                <a:srgbClr val="E5E5E9"/>
              </a:solidFill>
              <a:ln w="19050">
                <a:noFill/>
              </a:ln>
              <a:effectLst/>
            </p:spPr>
            <p:txBody>
              <a:bodyPr lIns="143925" tIns="143925" rIns="143925" bIns="143925" rtlCol="0" anchor="t" anchorCtr="0"/>
              <a:lstStyle/>
              <a:p>
                <a:pPr>
                  <a:lnSpc>
                    <a:spcPct val="90000"/>
                  </a:lnSpc>
                  <a:spcAft>
                    <a:spcPts val="600"/>
                  </a:spcAft>
                  <a:buClr>
                    <a:schemeClr val="bg1"/>
                  </a:buClr>
                </a:pPr>
                <a:endParaRPr lang="en-US" sz="1799" dirty="0">
                  <a:solidFill>
                    <a:srgbClr val="3C464B"/>
                  </a:solidFill>
                </a:endParaRPr>
              </a:p>
            </p:txBody>
          </p:sp>
          <p:sp>
            <p:nvSpPr>
              <p:cNvPr id="16" name="Rectangle 3">
                <a:extLst>
                  <a:ext uri="{FF2B5EF4-FFF2-40B4-BE49-F238E27FC236}">
                    <a16:creationId xmlns:a16="http://schemas.microsoft.com/office/drawing/2014/main" id="{45501256-AFCA-4359-9BC2-2CCEC44BA8BA}"/>
                  </a:ext>
                </a:extLst>
              </p:cNvPr>
              <p:cNvSpPr>
                <a:spLocks noChangeArrowheads="1"/>
              </p:cNvSpPr>
              <p:nvPr/>
            </p:nvSpPr>
            <p:spPr bwMode="auto">
              <a:xfrm>
                <a:off x="6173306" y="2085651"/>
                <a:ext cx="1726119" cy="1726119"/>
              </a:xfrm>
              <a:prstGeom prst="rect">
                <a:avLst/>
              </a:prstGeom>
              <a:solidFill>
                <a:srgbClr val="E5E5E9"/>
              </a:solidFill>
              <a:ln w="19050">
                <a:noFill/>
              </a:ln>
              <a:effectLst/>
            </p:spPr>
            <p:txBody>
              <a:bodyPr lIns="143925" tIns="143925" rIns="143925" bIns="143925" rtlCol="0" anchor="t" anchorCtr="0"/>
              <a:lstStyle/>
              <a:p>
                <a:pPr>
                  <a:lnSpc>
                    <a:spcPct val="90000"/>
                  </a:lnSpc>
                  <a:spcAft>
                    <a:spcPts val="600"/>
                  </a:spcAft>
                  <a:buClr>
                    <a:schemeClr val="bg1"/>
                  </a:buClr>
                </a:pPr>
                <a:endParaRPr lang="en-US" sz="1799" dirty="0">
                  <a:solidFill>
                    <a:srgbClr val="3C464B"/>
                  </a:solidFill>
                </a:endParaRPr>
              </a:p>
            </p:txBody>
          </p:sp>
          <p:sp>
            <p:nvSpPr>
              <p:cNvPr id="17" name="Rectangle 3">
                <a:extLst>
                  <a:ext uri="{FF2B5EF4-FFF2-40B4-BE49-F238E27FC236}">
                    <a16:creationId xmlns:a16="http://schemas.microsoft.com/office/drawing/2014/main" id="{C03DE56D-C58D-4B0A-93AB-D8CE7BE9A134}"/>
                  </a:ext>
                </a:extLst>
              </p:cNvPr>
              <p:cNvSpPr>
                <a:spLocks noChangeArrowheads="1"/>
              </p:cNvSpPr>
              <p:nvPr/>
            </p:nvSpPr>
            <p:spPr bwMode="auto">
              <a:xfrm>
                <a:off x="4447187" y="3820230"/>
                <a:ext cx="1726119" cy="1726119"/>
              </a:xfrm>
              <a:prstGeom prst="rect">
                <a:avLst/>
              </a:prstGeom>
              <a:solidFill>
                <a:srgbClr val="E5E5E9"/>
              </a:solidFill>
              <a:ln w="19050">
                <a:noFill/>
              </a:ln>
              <a:effectLst/>
            </p:spPr>
            <p:txBody>
              <a:bodyPr lIns="143925" tIns="143925" rIns="143925" bIns="143925" rtlCol="0" anchor="t" anchorCtr="0"/>
              <a:lstStyle/>
              <a:p>
                <a:pPr>
                  <a:lnSpc>
                    <a:spcPct val="90000"/>
                  </a:lnSpc>
                  <a:spcAft>
                    <a:spcPts val="600"/>
                  </a:spcAft>
                  <a:buClr>
                    <a:schemeClr val="bg1"/>
                  </a:buClr>
                </a:pPr>
                <a:endParaRPr lang="en-US" sz="1799" dirty="0">
                  <a:solidFill>
                    <a:srgbClr val="3C464B"/>
                  </a:solidFill>
                </a:endParaRPr>
              </a:p>
            </p:txBody>
          </p:sp>
          <p:sp>
            <p:nvSpPr>
              <p:cNvPr id="18" name="Rectangle 3">
                <a:extLst>
                  <a:ext uri="{FF2B5EF4-FFF2-40B4-BE49-F238E27FC236}">
                    <a16:creationId xmlns:a16="http://schemas.microsoft.com/office/drawing/2014/main" id="{3229FC37-4E0C-4D4E-83D9-CC633D0BC9FD}"/>
                  </a:ext>
                </a:extLst>
              </p:cNvPr>
              <p:cNvSpPr>
                <a:spLocks noChangeArrowheads="1"/>
              </p:cNvSpPr>
              <p:nvPr/>
            </p:nvSpPr>
            <p:spPr bwMode="auto">
              <a:xfrm>
                <a:off x="6173306" y="3820230"/>
                <a:ext cx="1726119" cy="1726119"/>
              </a:xfrm>
              <a:prstGeom prst="rect">
                <a:avLst/>
              </a:prstGeom>
              <a:solidFill>
                <a:srgbClr val="E5E5E9"/>
              </a:solidFill>
              <a:ln w="19050">
                <a:noFill/>
              </a:ln>
              <a:effectLst/>
            </p:spPr>
            <p:txBody>
              <a:bodyPr lIns="143925" tIns="143925" rIns="143925" bIns="143925" rtlCol="0" anchor="t" anchorCtr="0"/>
              <a:lstStyle/>
              <a:p>
                <a:pPr>
                  <a:lnSpc>
                    <a:spcPct val="90000"/>
                  </a:lnSpc>
                  <a:spcAft>
                    <a:spcPts val="600"/>
                  </a:spcAft>
                  <a:buClr>
                    <a:schemeClr val="bg1"/>
                  </a:buClr>
                </a:pPr>
                <a:endParaRPr lang="en-US" sz="1799" dirty="0">
                  <a:solidFill>
                    <a:srgbClr val="3C464B"/>
                  </a:solidFill>
                </a:endParaRPr>
              </a:p>
            </p:txBody>
          </p:sp>
        </p:grpSp>
        <p:cxnSp>
          <p:nvCxnSpPr>
            <p:cNvPr id="12" name="Straight Connector 11">
              <a:extLst>
                <a:ext uri="{FF2B5EF4-FFF2-40B4-BE49-F238E27FC236}">
                  <a16:creationId xmlns:a16="http://schemas.microsoft.com/office/drawing/2014/main" id="{7621C28F-4A86-47FA-A439-2A63937B246B}"/>
                </a:ext>
              </a:extLst>
            </p:cNvPr>
            <p:cNvCxnSpPr>
              <a:cxnSpLocks/>
            </p:cNvCxnSpPr>
            <p:nvPr/>
          </p:nvCxnSpPr>
          <p:spPr bwMode="auto">
            <a:xfrm>
              <a:off x="4447187" y="3816000"/>
              <a:ext cx="3452238" cy="0"/>
            </a:xfrm>
            <a:prstGeom prst="line">
              <a:avLst/>
            </a:prstGeom>
            <a:solidFill>
              <a:schemeClr val="tx2"/>
            </a:solidFill>
            <a:ln w="12700" cap="flat" cmpd="sng" algn="ctr">
              <a:solidFill>
                <a:srgbClr val="FFFFFF"/>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Straight Connector 13">
              <a:extLst>
                <a:ext uri="{FF2B5EF4-FFF2-40B4-BE49-F238E27FC236}">
                  <a16:creationId xmlns:a16="http://schemas.microsoft.com/office/drawing/2014/main" id="{D4D80410-638A-42EF-BBA6-F4D4E3549F8F}"/>
                </a:ext>
              </a:extLst>
            </p:cNvPr>
            <p:cNvCxnSpPr>
              <a:cxnSpLocks/>
            </p:cNvCxnSpPr>
            <p:nvPr/>
          </p:nvCxnSpPr>
          <p:spPr bwMode="auto">
            <a:xfrm>
              <a:off x="6171175" y="2085651"/>
              <a:ext cx="0" cy="3460698"/>
            </a:xfrm>
            <a:prstGeom prst="line">
              <a:avLst/>
            </a:prstGeom>
            <a:solidFill>
              <a:schemeClr val="tx2"/>
            </a:solidFill>
            <a:ln w="12700" cap="flat" cmpd="sng" algn="ctr">
              <a:solidFill>
                <a:srgbClr val="FFFFFF"/>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aphicFrame>
        <p:nvGraphicFramePr>
          <p:cNvPr id="21" name="Object 3">
            <a:extLst>
              <a:ext uri="{FF2B5EF4-FFF2-40B4-BE49-F238E27FC236}">
                <a16:creationId xmlns:a16="http://schemas.microsoft.com/office/drawing/2014/main" id="{8039715B-4523-4DBD-B42B-1F2D0BB30AA5}"/>
              </a:ext>
            </a:extLst>
          </p:cNvPr>
          <p:cNvGraphicFramePr>
            <a:graphicFrameLocks noChangeAspect="1"/>
          </p:cNvGraphicFramePr>
          <p:nvPr>
            <p:custDataLst>
              <p:tags r:id="rId1"/>
            </p:custDataLst>
            <p:extLst>
              <p:ext uri="{D42A27DB-BD31-4B8C-83A1-F6EECF244321}">
                <p14:modId xmlns:p14="http://schemas.microsoft.com/office/powerpoint/2010/main" val="1149194216"/>
              </p:ext>
            </p:extLst>
          </p:nvPr>
        </p:nvGraphicFramePr>
        <p:xfrm>
          <a:off x="4010026" y="1415849"/>
          <a:ext cx="7777162" cy="4749526"/>
        </p:xfrm>
        <a:graphic>
          <a:graphicData uri="http://schemas.openxmlformats.org/drawingml/2006/chart">
            <c:chart xmlns:c="http://schemas.openxmlformats.org/drawingml/2006/chart" xmlns:r="http://schemas.openxmlformats.org/officeDocument/2006/relationships" r:id="rId4"/>
          </a:graphicData>
        </a:graphic>
      </p:graphicFrame>
      <p:sp>
        <p:nvSpPr>
          <p:cNvPr id="4" name="Title 3"/>
          <p:cNvSpPr>
            <a:spLocks noGrp="1"/>
          </p:cNvSpPr>
          <p:nvPr>
            <p:ph type="title"/>
          </p:nvPr>
        </p:nvSpPr>
        <p:spPr/>
        <p:txBody>
          <a:bodyPr/>
          <a:lstStyle/>
          <a:p>
            <a:r>
              <a:rPr lang="en-US" dirty="0"/>
              <a:t>Matrix – cardinal points diagram</a:t>
            </a:r>
          </a:p>
        </p:txBody>
      </p:sp>
      <p:sp>
        <p:nvSpPr>
          <p:cNvPr id="45" name="Textfeld 30"/>
          <p:cNvSpPr txBox="1">
            <a:spLocks/>
          </p:cNvSpPr>
          <p:nvPr/>
        </p:nvSpPr>
        <p:spPr bwMode="gray">
          <a:xfrm>
            <a:off x="4298950" y="1415849"/>
            <a:ext cx="3600000" cy="485747"/>
          </a:xfrm>
          <a:prstGeom prst="rect">
            <a:avLst/>
          </a:prstGeom>
          <a:noFill/>
          <a:ln>
            <a:noFill/>
          </a:ln>
          <a:scene3d>
            <a:camera prst="orthographicFront">
              <a:rot lat="0" lon="0" rev="0"/>
            </a:camera>
            <a:lightRig rig="threePt" dir="t"/>
          </a:scene3d>
        </p:spPr>
        <p:txBody>
          <a:bodyPr wrap="square" lIns="0" tIns="0" rIns="0" bIns="71963" rtlCol="0" anchor="t" anchorCtr="0">
            <a:noAutofit/>
          </a:bodyPr>
          <a:lstStyle/>
          <a:p>
            <a:pPr algn="ctr">
              <a:defRPr/>
            </a:pPr>
            <a:r>
              <a:rPr lang="en-US" altLang="de-DE" sz="1599" b="1" dirty="0">
                <a:solidFill>
                  <a:schemeClr val="accent1"/>
                </a:solidFill>
                <a:ea typeface="Arial Unicode MS"/>
              </a:rPr>
              <a:t>Duis arcu tortor</a:t>
            </a:r>
          </a:p>
          <a:p>
            <a:pPr marL="0" lvl="1" algn="ctr">
              <a:spcBef>
                <a:spcPts val="300"/>
              </a:spcBef>
              <a:buClr>
                <a:srgbClr val="3C464B"/>
              </a:buClr>
              <a:defRPr/>
            </a:pPr>
            <a:r>
              <a:rPr lang="en-US" altLang="de-DE" sz="1199" dirty="0">
                <a:solidFill>
                  <a:srgbClr val="66667E"/>
                </a:solidFill>
                <a:ea typeface="Arial Unicode MS"/>
                <a:cs typeface="Arial" pitchFamily="34" charset="0"/>
              </a:rPr>
              <a:t>At vero eos et accusam</a:t>
            </a:r>
          </a:p>
        </p:txBody>
      </p:sp>
      <p:sp>
        <p:nvSpPr>
          <p:cNvPr id="44" name="Textfeld 30"/>
          <p:cNvSpPr txBox="1">
            <a:spLocks/>
          </p:cNvSpPr>
          <p:nvPr/>
        </p:nvSpPr>
        <p:spPr bwMode="gray">
          <a:xfrm>
            <a:off x="2426400" y="3719513"/>
            <a:ext cx="1583175" cy="1007475"/>
          </a:xfrm>
          <a:prstGeom prst="rect">
            <a:avLst/>
          </a:prstGeom>
          <a:noFill/>
          <a:ln>
            <a:noFill/>
          </a:ln>
          <a:scene3d>
            <a:camera prst="orthographicFront">
              <a:rot lat="0" lon="0" rev="0"/>
            </a:camera>
            <a:lightRig rig="threePt" dir="t"/>
          </a:scene3d>
        </p:spPr>
        <p:txBody>
          <a:bodyPr wrap="square" lIns="0" tIns="0" rIns="143925" bIns="0" rtlCol="0" anchor="t" anchorCtr="0">
            <a:noAutofit/>
          </a:bodyPr>
          <a:lstStyle/>
          <a:p>
            <a:pPr algn="r">
              <a:defRPr/>
            </a:pPr>
            <a:r>
              <a:rPr lang="en-US" altLang="de-DE" sz="1599" b="1" dirty="0">
                <a:solidFill>
                  <a:schemeClr val="accent1"/>
                </a:solidFill>
                <a:ea typeface="Arial Unicode MS"/>
              </a:rPr>
              <a:t>Cras ultricies</a:t>
            </a:r>
          </a:p>
          <a:p>
            <a:pPr marL="0" lvl="1" algn="r">
              <a:spcBef>
                <a:spcPts val="300"/>
              </a:spcBef>
              <a:buClr>
                <a:srgbClr val="3C464B"/>
              </a:buClr>
              <a:defRPr/>
            </a:pPr>
            <a:r>
              <a:rPr lang="en-US" altLang="de-DE" sz="1199" dirty="0">
                <a:solidFill>
                  <a:srgbClr val="66667E"/>
                </a:solidFill>
                <a:ea typeface="Arial Unicode MS"/>
                <a:cs typeface="Arial" pitchFamily="34" charset="0"/>
              </a:rPr>
              <a:t>Consetetur sadipscing elitr, seddiam nonumy</a:t>
            </a:r>
          </a:p>
        </p:txBody>
      </p:sp>
      <p:sp>
        <p:nvSpPr>
          <p:cNvPr id="43" name="Textfeld 30"/>
          <p:cNvSpPr txBox="1">
            <a:spLocks/>
          </p:cNvSpPr>
          <p:nvPr/>
        </p:nvSpPr>
        <p:spPr bwMode="gray">
          <a:xfrm>
            <a:off x="8186400" y="3718800"/>
            <a:ext cx="1583175" cy="1007475"/>
          </a:xfrm>
          <a:prstGeom prst="rect">
            <a:avLst/>
          </a:prstGeom>
          <a:noFill/>
          <a:ln>
            <a:noFill/>
          </a:ln>
          <a:scene3d>
            <a:camera prst="orthographicFront">
              <a:rot lat="0" lon="0" rev="0"/>
            </a:camera>
            <a:lightRig rig="threePt" dir="t"/>
          </a:scene3d>
        </p:spPr>
        <p:txBody>
          <a:bodyPr wrap="square" lIns="143925" tIns="0" rIns="0" bIns="0" rtlCol="0" anchor="t" anchorCtr="0">
            <a:noAutofit/>
          </a:bodyPr>
          <a:lstStyle/>
          <a:p>
            <a:pPr>
              <a:tabLst>
                <a:tab pos="1339180" algn="r"/>
              </a:tabLst>
              <a:defRPr/>
            </a:pPr>
            <a:r>
              <a:rPr lang="en-US" altLang="de-DE" sz="1599" b="1" dirty="0">
                <a:solidFill>
                  <a:schemeClr val="accent1"/>
                </a:solidFill>
                <a:ea typeface="Arial Unicode MS"/>
              </a:rPr>
              <a:t>Phasellus sem</a:t>
            </a:r>
          </a:p>
          <a:p>
            <a:pPr marL="0" lvl="1">
              <a:spcBef>
                <a:spcPts val="300"/>
              </a:spcBef>
              <a:buClr>
                <a:srgbClr val="3C464B"/>
              </a:buClr>
              <a:defRPr/>
            </a:pPr>
            <a:r>
              <a:rPr lang="en-US" altLang="de-DE" sz="1199" dirty="0">
                <a:solidFill>
                  <a:srgbClr val="66667E"/>
                </a:solidFill>
                <a:ea typeface="Arial Unicode MS"/>
                <a:cs typeface="Arial" pitchFamily="34" charset="0"/>
              </a:rPr>
              <a:t>Stet clita kasd gubergren, no sea takimata sanctus est lorem ipsum</a:t>
            </a:r>
          </a:p>
        </p:txBody>
      </p:sp>
      <p:sp>
        <p:nvSpPr>
          <p:cNvPr id="47" name="Textfeld 30"/>
          <p:cNvSpPr txBox="1">
            <a:spLocks/>
          </p:cNvSpPr>
          <p:nvPr/>
        </p:nvSpPr>
        <p:spPr bwMode="gray">
          <a:xfrm>
            <a:off x="4298951" y="5679628"/>
            <a:ext cx="3600000" cy="485747"/>
          </a:xfrm>
          <a:prstGeom prst="rect">
            <a:avLst/>
          </a:prstGeom>
          <a:noFill/>
          <a:ln>
            <a:noFill/>
          </a:ln>
          <a:scene3d>
            <a:camera prst="orthographicFront">
              <a:rot lat="0" lon="0" rev="0"/>
            </a:camera>
            <a:lightRig rig="threePt" dir="t"/>
          </a:scene3d>
        </p:spPr>
        <p:txBody>
          <a:bodyPr wrap="square" lIns="0" tIns="71963" rIns="0" bIns="0" rtlCol="0" anchor="t" anchorCtr="0">
            <a:noAutofit/>
          </a:bodyPr>
          <a:lstStyle/>
          <a:p>
            <a:pPr algn="ctr">
              <a:defRPr/>
            </a:pPr>
            <a:r>
              <a:rPr lang="en-US" altLang="de-DE" sz="1599" b="1" dirty="0">
                <a:solidFill>
                  <a:schemeClr val="accent1"/>
                </a:solidFill>
                <a:ea typeface="Arial Unicode MS"/>
              </a:rPr>
              <a:t>At vero eos et accusam</a:t>
            </a:r>
          </a:p>
          <a:p>
            <a:pPr marL="0" lvl="1" algn="ctr">
              <a:spcBef>
                <a:spcPts val="300"/>
              </a:spcBef>
              <a:buClr>
                <a:srgbClr val="3C464B"/>
              </a:buClr>
              <a:defRPr/>
            </a:pPr>
            <a:r>
              <a:rPr lang="en-US" altLang="de-DE" sz="1199" dirty="0">
                <a:solidFill>
                  <a:srgbClr val="66667E"/>
                </a:solidFill>
                <a:ea typeface="Arial Unicode MS"/>
                <a:cs typeface="Arial" pitchFamily="34" charset="0"/>
              </a:rPr>
              <a:t>Cras ultricies mi eu</a:t>
            </a:r>
          </a:p>
        </p:txBody>
      </p:sp>
      <p:sp>
        <p:nvSpPr>
          <p:cNvPr id="2" name="Footer Placeholder 1">
            <a:extLst>
              <a:ext uri="{FF2B5EF4-FFF2-40B4-BE49-F238E27FC236}">
                <a16:creationId xmlns:a16="http://schemas.microsoft.com/office/drawing/2014/main" id="{F96E13A0-7837-406D-9A0D-2249FA4C889A}"/>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3" name="Slide Number Placeholder 2">
            <a:extLst>
              <a:ext uri="{FF2B5EF4-FFF2-40B4-BE49-F238E27FC236}">
                <a16:creationId xmlns:a16="http://schemas.microsoft.com/office/drawing/2014/main" id="{0396F8B3-A233-4766-A252-4028BFFBD680}"/>
              </a:ext>
            </a:extLst>
          </p:cNvPr>
          <p:cNvSpPr>
            <a:spLocks noGrp="1"/>
          </p:cNvSpPr>
          <p:nvPr>
            <p:ph type="sldNum" sz="quarter" idx="11"/>
          </p:nvPr>
        </p:nvSpPr>
        <p:spPr/>
        <p:txBody>
          <a:bodyPr/>
          <a:lstStyle/>
          <a:p>
            <a:r>
              <a:rPr lang="en-US" dirty="0"/>
              <a:t>Page </a:t>
            </a:r>
            <a:fld id="{15EBE321-CBB1-4E91-BD14-37C8D44326FB}" type="slidenum">
              <a:rPr lang="en-US" smtClean="0"/>
              <a:pPr/>
              <a:t>152</a:t>
            </a:fld>
            <a:endParaRPr lang="en-US" dirty="0"/>
          </a:p>
        </p:txBody>
      </p:sp>
    </p:spTree>
    <p:extLst>
      <p:ext uri="{BB962C8B-B14F-4D97-AF65-F5344CB8AC3E}">
        <p14:creationId xmlns:p14="http://schemas.microsoft.com/office/powerpoint/2010/main" val="3470833234"/>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B4AE858F-38F7-4577-807A-4E0D91140069}"/>
              </a:ext>
            </a:extLst>
          </p:cNvPr>
          <p:cNvGrpSpPr/>
          <p:nvPr/>
        </p:nvGrpSpPr>
        <p:grpSpPr>
          <a:xfrm>
            <a:off x="4298400" y="2037600"/>
            <a:ext cx="3600000" cy="3600000"/>
            <a:chOff x="4447187" y="2085651"/>
            <a:chExt cx="3452238" cy="3460698"/>
          </a:xfrm>
        </p:grpSpPr>
        <p:grpSp>
          <p:nvGrpSpPr>
            <p:cNvPr id="11" name="Group 10">
              <a:extLst>
                <a:ext uri="{FF2B5EF4-FFF2-40B4-BE49-F238E27FC236}">
                  <a16:creationId xmlns:a16="http://schemas.microsoft.com/office/drawing/2014/main" id="{CA9A9A98-D190-4478-8A13-129119F7B407}"/>
                </a:ext>
              </a:extLst>
            </p:cNvPr>
            <p:cNvGrpSpPr/>
            <p:nvPr/>
          </p:nvGrpSpPr>
          <p:grpSpPr>
            <a:xfrm>
              <a:off x="4447187" y="2085651"/>
              <a:ext cx="3452238" cy="3460698"/>
              <a:chOff x="4447187" y="2085651"/>
              <a:chExt cx="3452238" cy="3460698"/>
            </a:xfrm>
          </p:grpSpPr>
          <p:sp>
            <p:nvSpPr>
              <p:cNvPr id="15" name="Rectangle 3">
                <a:extLst>
                  <a:ext uri="{FF2B5EF4-FFF2-40B4-BE49-F238E27FC236}">
                    <a16:creationId xmlns:a16="http://schemas.microsoft.com/office/drawing/2014/main" id="{1D2CA000-99D6-456E-9051-DCD7839830E8}"/>
                  </a:ext>
                </a:extLst>
              </p:cNvPr>
              <p:cNvSpPr>
                <a:spLocks noChangeArrowheads="1"/>
              </p:cNvSpPr>
              <p:nvPr/>
            </p:nvSpPr>
            <p:spPr bwMode="auto">
              <a:xfrm>
                <a:off x="4447187" y="2085651"/>
                <a:ext cx="1726119" cy="1726119"/>
              </a:xfrm>
              <a:prstGeom prst="rect">
                <a:avLst/>
              </a:prstGeom>
              <a:solidFill>
                <a:srgbClr val="333353"/>
              </a:solidFill>
              <a:ln w="19050">
                <a:noFill/>
              </a:ln>
              <a:effectLst/>
            </p:spPr>
            <p:txBody>
              <a:bodyPr lIns="143925" tIns="143925" rIns="143925" bIns="143925" rtlCol="0" anchor="t" anchorCtr="0"/>
              <a:lstStyle/>
              <a:p>
                <a:pPr>
                  <a:lnSpc>
                    <a:spcPct val="90000"/>
                  </a:lnSpc>
                  <a:spcAft>
                    <a:spcPts val="600"/>
                  </a:spcAft>
                  <a:buClr>
                    <a:schemeClr val="bg1"/>
                  </a:buClr>
                </a:pPr>
                <a:endParaRPr lang="en-US" sz="1799" dirty="0">
                  <a:solidFill>
                    <a:srgbClr val="3C464B"/>
                  </a:solidFill>
                </a:endParaRPr>
              </a:p>
            </p:txBody>
          </p:sp>
          <p:sp>
            <p:nvSpPr>
              <p:cNvPr id="16" name="Rectangle 3">
                <a:extLst>
                  <a:ext uri="{FF2B5EF4-FFF2-40B4-BE49-F238E27FC236}">
                    <a16:creationId xmlns:a16="http://schemas.microsoft.com/office/drawing/2014/main" id="{45501256-AFCA-4359-9BC2-2CCEC44BA8BA}"/>
                  </a:ext>
                </a:extLst>
              </p:cNvPr>
              <p:cNvSpPr>
                <a:spLocks noChangeArrowheads="1"/>
              </p:cNvSpPr>
              <p:nvPr/>
            </p:nvSpPr>
            <p:spPr bwMode="auto">
              <a:xfrm>
                <a:off x="6173306" y="2085651"/>
                <a:ext cx="1726119" cy="1726119"/>
              </a:xfrm>
              <a:prstGeom prst="rect">
                <a:avLst/>
              </a:prstGeom>
              <a:solidFill>
                <a:srgbClr val="333353"/>
              </a:solidFill>
              <a:ln w="19050">
                <a:noFill/>
              </a:ln>
              <a:effectLst/>
            </p:spPr>
            <p:txBody>
              <a:bodyPr lIns="143925" tIns="143925" rIns="143925" bIns="143925" rtlCol="0" anchor="t" anchorCtr="0"/>
              <a:lstStyle/>
              <a:p>
                <a:pPr>
                  <a:lnSpc>
                    <a:spcPct val="90000"/>
                  </a:lnSpc>
                  <a:spcAft>
                    <a:spcPts val="600"/>
                  </a:spcAft>
                  <a:buClr>
                    <a:schemeClr val="bg1"/>
                  </a:buClr>
                </a:pPr>
                <a:endParaRPr lang="en-US" sz="1799" dirty="0">
                  <a:solidFill>
                    <a:srgbClr val="3C464B"/>
                  </a:solidFill>
                </a:endParaRPr>
              </a:p>
            </p:txBody>
          </p:sp>
          <p:sp>
            <p:nvSpPr>
              <p:cNvPr id="17" name="Rectangle 3">
                <a:extLst>
                  <a:ext uri="{FF2B5EF4-FFF2-40B4-BE49-F238E27FC236}">
                    <a16:creationId xmlns:a16="http://schemas.microsoft.com/office/drawing/2014/main" id="{C03DE56D-C58D-4B0A-93AB-D8CE7BE9A134}"/>
                  </a:ext>
                </a:extLst>
              </p:cNvPr>
              <p:cNvSpPr>
                <a:spLocks noChangeArrowheads="1"/>
              </p:cNvSpPr>
              <p:nvPr/>
            </p:nvSpPr>
            <p:spPr bwMode="auto">
              <a:xfrm>
                <a:off x="4447187" y="3820230"/>
                <a:ext cx="1726119" cy="1726119"/>
              </a:xfrm>
              <a:prstGeom prst="rect">
                <a:avLst/>
              </a:prstGeom>
              <a:solidFill>
                <a:srgbClr val="333353"/>
              </a:solidFill>
              <a:ln w="19050">
                <a:noFill/>
              </a:ln>
              <a:effectLst/>
            </p:spPr>
            <p:txBody>
              <a:bodyPr lIns="143925" tIns="143925" rIns="143925" bIns="143925" rtlCol="0" anchor="t" anchorCtr="0"/>
              <a:lstStyle/>
              <a:p>
                <a:pPr>
                  <a:lnSpc>
                    <a:spcPct val="90000"/>
                  </a:lnSpc>
                  <a:spcAft>
                    <a:spcPts val="600"/>
                  </a:spcAft>
                  <a:buClr>
                    <a:schemeClr val="bg1"/>
                  </a:buClr>
                </a:pPr>
                <a:endParaRPr lang="en-US" sz="1799" dirty="0">
                  <a:solidFill>
                    <a:srgbClr val="3C464B"/>
                  </a:solidFill>
                </a:endParaRPr>
              </a:p>
            </p:txBody>
          </p:sp>
          <p:sp>
            <p:nvSpPr>
              <p:cNvPr id="18" name="Rectangle 3">
                <a:extLst>
                  <a:ext uri="{FF2B5EF4-FFF2-40B4-BE49-F238E27FC236}">
                    <a16:creationId xmlns:a16="http://schemas.microsoft.com/office/drawing/2014/main" id="{3229FC37-4E0C-4D4E-83D9-CC633D0BC9FD}"/>
                  </a:ext>
                </a:extLst>
              </p:cNvPr>
              <p:cNvSpPr>
                <a:spLocks noChangeArrowheads="1"/>
              </p:cNvSpPr>
              <p:nvPr/>
            </p:nvSpPr>
            <p:spPr bwMode="auto">
              <a:xfrm>
                <a:off x="6173306" y="3820230"/>
                <a:ext cx="1726119" cy="1726119"/>
              </a:xfrm>
              <a:prstGeom prst="rect">
                <a:avLst/>
              </a:prstGeom>
              <a:solidFill>
                <a:srgbClr val="333353"/>
              </a:solidFill>
              <a:ln w="19050">
                <a:noFill/>
              </a:ln>
              <a:effectLst/>
            </p:spPr>
            <p:txBody>
              <a:bodyPr lIns="143925" tIns="143925" rIns="143925" bIns="143925" rtlCol="0" anchor="t" anchorCtr="0"/>
              <a:lstStyle/>
              <a:p>
                <a:pPr>
                  <a:lnSpc>
                    <a:spcPct val="90000"/>
                  </a:lnSpc>
                  <a:spcAft>
                    <a:spcPts val="600"/>
                  </a:spcAft>
                  <a:buClr>
                    <a:schemeClr val="bg1"/>
                  </a:buClr>
                </a:pPr>
                <a:endParaRPr lang="en-US" sz="1799" dirty="0">
                  <a:solidFill>
                    <a:srgbClr val="3C464B"/>
                  </a:solidFill>
                </a:endParaRPr>
              </a:p>
            </p:txBody>
          </p:sp>
        </p:grpSp>
        <p:cxnSp>
          <p:nvCxnSpPr>
            <p:cNvPr id="12" name="Straight Connector 11">
              <a:extLst>
                <a:ext uri="{FF2B5EF4-FFF2-40B4-BE49-F238E27FC236}">
                  <a16:creationId xmlns:a16="http://schemas.microsoft.com/office/drawing/2014/main" id="{7621C28F-4A86-47FA-A439-2A63937B246B}"/>
                </a:ext>
              </a:extLst>
            </p:cNvPr>
            <p:cNvCxnSpPr>
              <a:cxnSpLocks/>
            </p:cNvCxnSpPr>
            <p:nvPr/>
          </p:nvCxnSpPr>
          <p:spPr bwMode="auto">
            <a:xfrm>
              <a:off x="4447187" y="3816000"/>
              <a:ext cx="3452238" cy="0"/>
            </a:xfrm>
            <a:prstGeom prst="line">
              <a:avLst/>
            </a:prstGeom>
            <a:solidFill>
              <a:schemeClr val="tx2"/>
            </a:solidFill>
            <a:ln w="12700" cap="flat" cmpd="sng" algn="ctr">
              <a:solidFill>
                <a:schemeClr val="bg2"/>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Straight Connector 13">
              <a:extLst>
                <a:ext uri="{FF2B5EF4-FFF2-40B4-BE49-F238E27FC236}">
                  <a16:creationId xmlns:a16="http://schemas.microsoft.com/office/drawing/2014/main" id="{D4D80410-638A-42EF-BBA6-F4D4E3549F8F}"/>
                </a:ext>
              </a:extLst>
            </p:cNvPr>
            <p:cNvCxnSpPr>
              <a:cxnSpLocks/>
            </p:cNvCxnSpPr>
            <p:nvPr/>
          </p:nvCxnSpPr>
          <p:spPr bwMode="auto">
            <a:xfrm>
              <a:off x="6171175" y="2085651"/>
              <a:ext cx="0" cy="3460698"/>
            </a:xfrm>
            <a:prstGeom prst="line">
              <a:avLst/>
            </a:prstGeom>
            <a:solidFill>
              <a:schemeClr val="tx2"/>
            </a:solidFill>
            <a:ln w="12700" cap="flat" cmpd="sng" algn="ctr">
              <a:solidFill>
                <a:schemeClr val="bg2"/>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aphicFrame>
        <p:nvGraphicFramePr>
          <p:cNvPr id="21" name="Object 3">
            <a:extLst>
              <a:ext uri="{FF2B5EF4-FFF2-40B4-BE49-F238E27FC236}">
                <a16:creationId xmlns:a16="http://schemas.microsoft.com/office/drawing/2014/main" id="{8039715B-4523-4DBD-B42B-1F2D0BB30AA5}"/>
              </a:ext>
            </a:extLst>
          </p:cNvPr>
          <p:cNvGraphicFramePr>
            <a:graphicFrameLocks noChangeAspect="1"/>
          </p:cNvGraphicFramePr>
          <p:nvPr>
            <p:custDataLst>
              <p:tags r:id="rId1"/>
            </p:custDataLst>
            <p:extLst>
              <p:ext uri="{D42A27DB-BD31-4B8C-83A1-F6EECF244321}">
                <p14:modId xmlns:p14="http://schemas.microsoft.com/office/powerpoint/2010/main" val="1546239830"/>
              </p:ext>
            </p:extLst>
          </p:nvPr>
        </p:nvGraphicFramePr>
        <p:xfrm>
          <a:off x="4010026" y="1415849"/>
          <a:ext cx="7777162" cy="4749526"/>
        </p:xfrm>
        <a:graphic>
          <a:graphicData uri="http://schemas.openxmlformats.org/drawingml/2006/chart">
            <c:chart xmlns:c="http://schemas.openxmlformats.org/drawingml/2006/chart" xmlns:r="http://schemas.openxmlformats.org/officeDocument/2006/relationships" r:id="rId4"/>
          </a:graphicData>
        </a:graphic>
      </p:graphicFrame>
      <p:sp>
        <p:nvSpPr>
          <p:cNvPr id="4" name="Title 3"/>
          <p:cNvSpPr>
            <a:spLocks noGrp="1"/>
          </p:cNvSpPr>
          <p:nvPr>
            <p:ph type="title"/>
          </p:nvPr>
        </p:nvSpPr>
        <p:spPr/>
        <p:txBody>
          <a:bodyPr/>
          <a:lstStyle/>
          <a:p>
            <a:r>
              <a:rPr lang="en-US" dirty="0"/>
              <a:t>Matrix – cardinal points diagram</a:t>
            </a:r>
          </a:p>
        </p:txBody>
      </p:sp>
      <p:sp>
        <p:nvSpPr>
          <p:cNvPr id="45" name="Textfeld 30"/>
          <p:cNvSpPr txBox="1">
            <a:spLocks/>
          </p:cNvSpPr>
          <p:nvPr/>
        </p:nvSpPr>
        <p:spPr bwMode="gray">
          <a:xfrm>
            <a:off x="4298950" y="1415849"/>
            <a:ext cx="3600000" cy="485747"/>
          </a:xfrm>
          <a:prstGeom prst="rect">
            <a:avLst/>
          </a:prstGeom>
          <a:noFill/>
          <a:ln>
            <a:noFill/>
          </a:ln>
          <a:scene3d>
            <a:camera prst="orthographicFront">
              <a:rot lat="0" lon="0" rev="0"/>
            </a:camera>
            <a:lightRig rig="threePt" dir="t"/>
          </a:scene3d>
        </p:spPr>
        <p:txBody>
          <a:bodyPr wrap="square" lIns="0" tIns="0" rIns="0" bIns="71963" rtlCol="0" anchor="t" anchorCtr="0">
            <a:noAutofit/>
          </a:bodyPr>
          <a:lstStyle/>
          <a:p>
            <a:pPr algn="ctr">
              <a:defRPr/>
            </a:pPr>
            <a:r>
              <a:rPr lang="en-US" altLang="de-DE" sz="1599" b="1" dirty="0">
                <a:solidFill>
                  <a:srgbClr val="00FFB9"/>
                </a:solidFill>
                <a:ea typeface="Arial Unicode MS"/>
              </a:rPr>
              <a:t>Duis arcu tortor</a:t>
            </a:r>
          </a:p>
          <a:p>
            <a:pPr marL="0" lvl="1" algn="ctr">
              <a:spcBef>
                <a:spcPts val="300"/>
              </a:spcBef>
              <a:buClr>
                <a:srgbClr val="3C464B"/>
              </a:buClr>
              <a:defRPr/>
            </a:pPr>
            <a:r>
              <a:rPr lang="en-US" altLang="de-DE" sz="1199" dirty="0">
                <a:solidFill>
                  <a:srgbClr val="9999A9"/>
                </a:solidFill>
                <a:ea typeface="Arial Unicode MS"/>
                <a:cs typeface="Arial" pitchFamily="34" charset="0"/>
              </a:rPr>
              <a:t>At vero eos et accusam</a:t>
            </a:r>
          </a:p>
        </p:txBody>
      </p:sp>
      <p:sp>
        <p:nvSpPr>
          <p:cNvPr id="44" name="Textfeld 30"/>
          <p:cNvSpPr txBox="1">
            <a:spLocks/>
          </p:cNvSpPr>
          <p:nvPr/>
        </p:nvSpPr>
        <p:spPr bwMode="gray">
          <a:xfrm>
            <a:off x="2426400" y="3719513"/>
            <a:ext cx="1583175" cy="1007475"/>
          </a:xfrm>
          <a:prstGeom prst="rect">
            <a:avLst/>
          </a:prstGeom>
          <a:noFill/>
          <a:ln>
            <a:noFill/>
          </a:ln>
          <a:scene3d>
            <a:camera prst="orthographicFront">
              <a:rot lat="0" lon="0" rev="0"/>
            </a:camera>
            <a:lightRig rig="threePt" dir="t"/>
          </a:scene3d>
        </p:spPr>
        <p:txBody>
          <a:bodyPr wrap="square" lIns="0" tIns="0" rIns="143925" bIns="0" rtlCol="0" anchor="t" anchorCtr="0">
            <a:noAutofit/>
          </a:bodyPr>
          <a:lstStyle/>
          <a:p>
            <a:pPr algn="r">
              <a:defRPr/>
            </a:pPr>
            <a:r>
              <a:rPr lang="en-US" altLang="de-DE" sz="1599" b="1" dirty="0">
                <a:solidFill>
                  <a:srgbClr val="00FFB9"/>
                </a:solidFill>
                <a:ea typeface="Arial Unicode MS"/>
              </a:rPr>
              <a:t>Cras ultricies</a:t>
            </a:r>
          </a:p>
          <a:p>
            <a:pPr marL="0" lvl="1" algn="r">
              <a:spcBef>
                <a:spcPts val="300"/>
              </a:spcBef>
              <a:buClr>
                <a:srgbClr val="3C464B"/>
              </a:buClr>
              <a:defRPr/>
            </a:pPr>
            <a:r>
              <a:rPr lang="en-US" altLang="de-DE" sz="1199" dirty="0">
                <a:solidFill>
                  <a:srgbClr val="9999A9"/>
                </a:solidFill>
                <a:ea typeface="Arial Unicode MS"/>
                <a:cs typeface="Arial" pitchFamily="34" charset="0"/>
              </a:rPr>
              <a:t>Consetetur sadipscing elitr, seddiam nonumy</a:t>
            </a:r>
          </a:p>
        </p:txBody>
      </p:sp>
      <p:sp>
        <p:nvSpPr>
          <p:cNvPr id="43" name="Textfeld 30"/>
          <p:cNvSpPr txBox="1">
            <a:spLocks/>
          </p:cNvSpPr>
          <p:nvPr/>
        </p:nvSpPr>
        <p:spPr bwMode="gray">
          <a:xfrm>
            <a:off x="8186400" y="3718800"/>
            <a:ext cx="1583175" cy="1007475"/>
          </a:xfrm>
          <a:prstGeom prst="rect">
            <a:avLst/>
          </a:prstGeom>
          <a:noFill/>
          <a:ln>
            <a:noFill/>
          </a:ln>
          <a:scene3d>
            <a:camera prst="orthographicFront">
              <a:rot lat="0" lon="0" rev="0"/>
            </a:camera>
            <a:lightRig rig="threePt" dir="t"/>
          </a:scene3d>
        </p:spPr>
        <p:txBody>
          <a:bodyPr wrap="square" lIns="143925" tIns="0" rIns="0" bIns="0" rtlCol="0" anchor="t" anchorCtr="0">
            <a:noAutofit/>
          </a:bodyPr>
          <a:lstStyle/>
          <a:p>
            <a:pPr>
              <a:tabLst>
                <a:tab pos="1339180" algn="r"/>
              </a:tabLst>
              <a:defRPr/>
            </a:pPr>
            <a:r>
              <a:rPr lang="en-US" altLang="de-DE" sz="1599" b="1" dirty="0">
                <a:solidFill>
                  <a:srgbClr val="00FFB9"/>
                </a:solidFill>
                <a:ea typeface="Arial Unicode MS"/>
              </a:rPr>
              <a:t>Phasellus sem</a:t>
            </a:r>
          </a:p>
          <a:p>
            <a:pPr marL="0" lvl="1">
              <a:spcBef>
                <a:spcPts val="300"/>
              </a:spcBef>
              <a:buClr>
                <a:srgbClr val="3C464B"/>
              </a:buClr>
              <a:defRPr/>
            </a:pPr>
            <a:r>
              <a:rPr lang="en-US" altLang="de-DE" sz="1199" dirty="0">
                <a:solidFill>
                  <a:srgbClr val="9999A9"/>
                </a:solidFill>
                <a:ea typeface="Arial Unicode MS"/>
                <a:cs typeface="Arial" pitchFamily="34" charset="0"/>
              </a:rPr>
              <a:t>Stet clita kasd gubergren, no sea takimata sanctus est lorem ipsum</a:t>
            </a:r>
          </a:p>
        </p:txBody>
      </p:sp>
      <p:sp>
        <p:nvSpPr>
          <p:cNvPr id="47" name="Textfeld 30"/>
          <p:cNvSpPr txBox="1">
            <a:spLocks/>
          </p:cNvSpPr>
          <p:nvPr/>
        </p:nvSpPr>
        <p:spPr bwMode="gray">
          <a:xfrm>
            <a:off x="4298951" y="5679628"/>
            <a:ext cx="3600000" cy="485747"/>
          </a:xfrm>
          <a:prstGeom prst="rect">
            <a:avLst/>
          </a:prstGeom>
          <a:noFill/>
          <a:ln>
            <a:noFill/>
          </a:ln>
          <a:scene3d>
            <a:camera prst="orthographicFront">
              <a:rot lat="0" lon="0" rev="0"/>
            </a:camera>
            <a:lightRig rig="threePt" dir="t"/>
          </a:scene3d>
        </p:spPr>
        <p:txBody>
          <a:bodyPr wrap="square" lIns="0" tIns="71963" rIns="0" bIns="0" rtlCol="0" anchor="t" anchorCtr="0">
            <a:noAutofit/>
          </a:bodyPr>
          <a:lstStyle/>
          <a:p>
            <a:pPr algn="ctr">
              <a:defRPr/>
            </a:pPr>
            <a:r>
              <a:rPr lang="en-US" altLang="de-DE" sz="1599" b="1" dirty="0">
                <a:solidFill>
                  <a:srgbClr val="00FFB9"/>
                </a:solidFill>
                <a:ea typeface="Arial Unicode MS"/>
              </a:rPr>
              <a:t>At vero eos et accusam</a:t>
            </a:r>
          </a:p>
          <a:p>
            <a:pPr marL="0" lvl="1" algn="ctr">
              <a:spcBef>
                <a:spcPts val="300"/>
              </a:spcBef>
              <a:buClr>
                <a:srgbClr val="3C464B"/>
              </a:buClr>
              <a:defRPr/>
            </a:pPr>
            <a:r>
              <a:rPr lang="en-US" altLang="de-DE" sz="1199" dirty="0">
                <a:solidFill>
                  <a:srgbClr val="9999A9"/>
                </a:solidFill>
                <a:ea typeface="Arial Unicode MS"/>
                <a:cs typeface="Arial" pitchFamily="34" charset="0"/>
              </a:rPr>
              <a:t>Cras ultricies mi eu</a:t>
            </a:r>
          </a:p>
        </p:txBody>
      </p:sp>
      <p:sp>
        <p:nvSpPr>
          <p:cNvPr id="2" name="Footer Placeholder 1">
            <a:extLst>
              <a:ext uri="{FF2B5EF4-FFF2-40B4-BE49-F238E27FC236}">
                <a16:creationId xmlns:a16="http://schemas.microsoft.com/office/drawing/2014/main" id="{8ECECB3A-38F0-447D-9C5F-8B28857D2644}"/>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3" name="Slide Number Placeholder 2">
            <a:extLst>
              <a:ext uri="{FF2B5EF4-FFF2-40B4-BE49-F238E27FC236}">
                <a16:creationId xmlns:a16="http://schemas.microsoft.com/office/drawing/2014/main" id="{06903109-6AB3-4B35-A59B-6CE4CA968A2B}"/>
              </a:ext>
            </a:extLst>
          </p:cNvPr>
          <p:cNvSpPr>
            <a:spLocks noGrp="1"/>
          </p:cNvSpPr>
          <p:nvPr>
            <p:ph type="sldNum" sz="quarter" idx="11"/>
          </p:nvPr>
        </p:nvSpPr>
        <p:spPr/>
        <p:txBody>
          <a:bodyPr/>
          <a:lstStyle/>
          <a:p>
            <a:r>
              <a:rPr lang="en-US" dirty="0"/>
              <a:t>Page </a:t>
            </a:r>
            <a:fld id="{15EBE321-CBB1-4E91-BD14-37C8D44326FB}" type="slidenum">
              <a:rPr lang="en-US" smtClean="0"/>
              <a:pPr/>
              <a:t>153</a:t>
            </a:fld>
            <a:endParaRPr lang="en-US" dirty="0"/>
          </a:p>
        </p:txBody>
      </p:sp>
    </p:spTree>
    <p:extLst>
      <p:ext uri="{BB962C8B-B14F-4D97-AF65-F5344CB8AC3E}">
        <p14:creationId xmlns:p14="http://schemas.microsoft.com/office/powerpoint/2010/main" val="1423303360"/>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3" name="Rectangle 7"/>
          <p:cNvSpPr>
            <a:spLocks noGrp="1" noChangeArrowheads="1"/>
          </p:cNvSpPr>
          <p:nvPr>
            <p:ph type="title"/>
          </p:nvPr>
        </p:nvSpPr>
        <p:spPr/>
        <p:txBody>
          <a:bodyPr/>
          <a:lstStyle/>
          <a:p>
            <a:r>
              <a:rPr lang="en-US" dirty="0"/>
              <a:t>Gears</a:t>
            </a:r>
            <a:endParaRPr lang="en-US" b="0" dirty="0"/>
          </a:p>
        </p:txBody>
      </p:sp>
      <p:graphicFrame>
        <p:nvGraphicFramePr>
          <p:cNvPr id="9" name="Diagram 8">
            <a:extLst>
              <a:ext uri="{FF2B5EF4-FFF2-40B4-BE49-F238E27FC236}">
                <a16:creationId xmlns:a16="http://schemas.microsoft.com/office/drawing/2014/main" id="{49044DD6-8F05-45D5-A926-15F7395CCB4E}"/>
              </a:ext>
            </a:extLst>
          </p:cNvPr>
          <p:cNvGraphicFramePr/>
          <p:nvPr>
            <p:extLst>
              <p:ext uri="{D42A27DB-BD31-4B8C-83A1-F6EECF244321}">
                <p14:modId xmlns:p14="http://schemas.microsoft.com/office/powerpoint/2010/main" val="2970767705"/>
              </p:ext>
            </p:extLst>
          </p:nvPr>
        </p:nvGraphicFramePr>
        <p:xfrm>
          <a:off x="1459886" y="1113606"/>
          <a:ext cx="7658918" cy="510594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6" name="Rectangle 20">
            <a:extLst>
              <a:ext uri="{FF2B5EF4-FFF2-40B4-BE49-F238E27FC236}">
                <a16:creationId xmlns:a16="http://schemas.microsoft.com/office/drawing/2014/main" id="{49CBDED7-1F3A-4FCA-9BAC-DCD859EA2CB7}"/>
              </a:ext>
            </a:extLst>
          </p:cNvPr>
          <p:cNvSpPr>
            <a:spLocks noChangeArrowheads="1"/>
          </p:cNvSpPr>
          <p:nvPr>
            <p:custDataLst>
              <p:tags r:id="rId1"/>
            </p:custDataLst>
          </p:nvPr>
        </p:nvSpPr>
        <p:spPr bwMode="gray">
          <a:xfrm>
            <a:off x="411164" y="5807075"/>
            <a:ext cx="11376024" cy="358300"/>
          </a:xfrm>
          <a:prstGeom prst="rect">
            <a:avLst/>
          </a:prstGeom>
          <a:solidFill>
            <a:srgbClr val="66667E"/>
          </a:solidFill>
          <a:ln>
            <a:noFill/>
          </a:ln>
          <a:effectLst/>
        </p:spPr>
        <p:txBody>
          <a:bodyPr wrap="none" lIns="143925" tIns="71963" rIns="143925" bIns="71963" anchor="ctr"/>
          <a:lstStyle/>
          <a:p>
            <a:pPr>
              <a:spcBef>
                <a:spcPct val="0"/>
              </a:spcBef>
            </a:pPr>
            <a:r>
              <a:rPr lang="en-US" altLang="de-DE" sz="1599" dirty="0">
                <a:solidFill>
                  <a:schemeClr val="bg1"/>
                </a:solidFill>
                <a:cs typeface="Arial" charset="0"/>
              </a:rPr>
              <a:t>Summary</a:t>
            </a:r>
          </a:p>
        </p:txBody>
      </p:sp>
      <p:sp>
        <p:nvSpPr>
          <p:cNvPr id="2" name="Footer Placeholder 1">
            <a:extLst>
              <a:ext uri="{FF2B5EF4-FFF2-40B4-BE49-F238E27FC236}">
                <a16:creationId xmlns:a16="http://schemas.microsoft.com/office/drawing/2014/main" id="{19433E56-106F-4BED-938E-48E2151D3BE1}"/>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3" name="Slide Number Placeholder 2">
            <a:extLst>
              <a:ext uri="{FF2B5EF4-FFF2-40B4-BE49-F238E27FC236}">
                <a16:creationId xmlns:a16="http://schemas.microsoft.com/office/drawing/2014/main" id="{8F489DA2-493E-4D0D-8DCC-A98AEF5B1550}"/>
              </a:ext>
            </a:extLst>
          </p:cNvPr>
          <p:cNvSpPr>
            <a:spLocks noGrp="1"/>
          </p:cNvSpPr>
          <p:nvPr>
            <p:ph type="sldNum" sz="quarter" idx="11"/>
          </p:nvPr>
        </p:nvSpPr>
        <p:spPr/>
        <p:txBody>
          <a:bodyPr/>
          <a:lstStyle/>
          <a:p>
            <a:r>
              <a:rPr lang="en-US" dirty="0"/>
              <a:t>Page </a:t>
            </a:r>
            <a:fld id="{15EBE321-CBB1-4E91-BD14-37C8D44326FB}" type="slidenum">
              <a:rPr lang="en-US" smtClean="0"/>
              <a:pPr/>
              <a:t>154</a:t>
            </a:fld>
            <a:endParaRPr lang="en-US" dirty="0"/>
          </a:p>
        </p:txBody>
      </p:sp>
    </p:spTree>
    <p:extLst>
      <p:ext uri="{BB962C8B-B14F-4D97-AF65-F5344CB8AC3E}">
        <p14:creationId xmlns:p14="http://schemas.microsoft.com/office/powerpoint/2010/main" val="135559491"/>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3" name="Rectangle 7"/>
          <p:cNvSpPr>
            <a:spLocks noGrp="1" noChangeArrowheads="1"/>
          </p:cNvSpPr>
          <p:nvPr>
            <p:ph type="title"/>
          </p:nvPr>
        </p:nvSpPr>
        <p:spPr/>
        <p:txBody>
          <a:bodyPr/>
          <a:lstStyle/>
          <a:p>
            <a:r>
              <a:rPr lang="en-US" dirty="0"/>
              <a:t>Gears</a:t>
            </a:r>
            <a:endParaRPr lang="en-US" b="0" dirty="0"/>
          </a:p>
        </p:txBody>
      </p:sp>
      <p:graphicFrame>
        <p:nvGraphicFramePr>
          <p:cNvPr id="9" name="Diagram 8">
            <a:extLst>
              <a:ext uri="{FF2B5EF4-FFF2-40B4-BE49-F238E27FC236}">
                <a16:creationId xmlns:a16="http://schemas.microsoft.com/office/drawing/2014/main" id="{49044DD6-8F05-45D5-A926-15F7395CCB4E}"/>
              </a:ext>
            </a:extLst>
          </p:cNvPr>
          <p:cNvGraphicFramePr/>
          <p:nvPr>
            <p:extLst>
              <p:ext uri="{D42A27DB-BD31-4B8C-83A1-F6EECF244321}">
                <p14:modId xmlns:p14="http://schemas.microsoft.com/office/powerpoint/2010/main" val="329917974"/>
              </p:ext>
            </p:extLst>
          </p:nvPr>
        </p:nvGraphicFramePr>
        <p:xfrm>
          <a:off x="1459886" y="1113606"/>
          <a:ext cx="7658918" cy="510594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6" name="Rectangle 20">
            <a:extLst>
              <a:ext uri="{FF2B5EF4-FFF2-40B4-BE49-F238E27FC236}">
                <a16:creationId xmlns:a16="http://schemas.microsoft.com/office/drawing/2014/main" id="{49CBDED7-1F3A-4FCA-9BAC-DCD859EA2CB7}"/>
              </a:ext>
            </a:extLst>
          </p:cNvPr>
          <p:cNvSpPr>
            <a:spLocks noChangeArrowheads="1"/>
          </p:cNvSpPr>
          <p:nvPr>
            <p:custDataLst>
              <p:tags r:id="rId1"/>
            </p:custDataLst>
          </p:nvPr>
        </p:nvSpPr>
        <p:spPr bwMode="gray">
          <a:xfrm>
            <a:off x="411164" y="5807075"/>
            <a:ext cx="11376024" cy="358300"/>
          </a:xfrm>
          <a:prstGeom prst="rect">
            <a:avLst/>
          </a:prstGeom>
          <a:solidFill>
            <a:srgbClr val="9999A9"/>
          </a:solidFill>
          <a:ln>
            <a:noFill/>
          </a:ln>
          <a:effectLst/>
        </p:spPr>
        <p:txBody>
          <a:bodyPr wrap="none" lIns="143925" tIns="71963" rIns="143925" bIns="71963" anchor="ctr"/>
          <a:lstStyle/>
          <a:p>
            <a:pPr>
              <a:spcBef>
                <a:spcPct val="0"/>
              </a:spcBef>
            </a:pPr>
            <a:r>
              <a:rPr lang="en-US" altLang="de-DE" sz="1599" dirty="0">
                <a:solidFill>
                  <a:schemeClr val="bg2"/>
                </a:solidFill>
                <a:cs typeface="Arial" charset="0"/>
              </a:rPr>
              <a:t>Summary</a:t>
            </a:r>
          </a:p>
        </p:txBody>
      </p:sp>
      <p:sp>
        <p:nvSpPr>
          <p:cNvPr id="2" name="Footer Placeholder 1">
            <a:extLst>
              <a:ext uri="{FF2B5EF4-FFF2-40B4-BE49-F238E27FC236}">
                <a16:creationId xmlns:a16="http://schemas.microsoft.com/office/drawing/2014/main" id="{90119A9F-B8A2-4685-BFE5-AED31B3437D1}"/>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3" name="Slide Number Placeholder 2">
            <a:extLst>
              <a:ext uri="{FF2B5EF4-FFF2-40B4-BE49-F238E27FC236}">
                <a16:creationId xmlns:a16="http://schemas.microsoft.com/office/drawing/2014/main" id="{A50820EE-D84B-401E-A9B0-A0F071A2E7DF}"/>
              </a:ext>
            </a:extLst>
          </p:cNvPr>
          <p:cNvSpPr>
            <a:spLocks noGrp="1"/>
          </p:cNvSpPr>
          <p:nvPr>
            <p:ph type="sldNum" sz="quarter" idx="11"/>
          </p:nvPr>
        </p:nvSpPr>
        <p:spPr/>
        <p:txBody>
          <a:bodyPr/>
          <a:lstStyle/>
          <a:p>
            <a:r>
              <a:rPr lang="en-US" dirty="0"/>
              <a:t>Page </a:t>
            </a:r>
            <a:fld id="{15EBE321-CBB1-4E91-BD14-37C8D44326FB}" type="slidenum">
              <a:rPr lang="en-US" smtClean="0"/>
              <a:pPr/>
              <a:t>155</a:t>
            </a:fld>
            <a:endParaRPr lang="en-US" dirty="0"/>
          </a:p>
        </p:txBody>
      </p:sp>
    </p:spTree>
    <p:extLst>
      <p:ext uri="{BB962C8B-B14F-4D97-AF65-F5344CB8AC3E}">
        <p14:creationId xmlns:p14="http://schemas.microsoft.com/office/powerpoint/2010/main" val="3563967606"/>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3" name="Rectangle 7"/>
          <p:cNvSpPr>
            <a:spLocks noGrp="1" noChangeArrowheads="1"/>
          </p:cNvSpPr>
          <p:nvPr>
            <p:ph type="title"/>
          </p:nvPr>
        </p:nvSpPr>
        <p:spPr>
          <a:xfrm>
            <a:off x="410400" y="478800"/>
            <a:ext cx="9863997" cy="576000"/>
          </a:xfrm>
        </p:spPr>
        <p:txBody>
          <a:bodyPr/>
          <a:lstStyle/>
          <a:p>
            <a:r>
              <a:rPr lang="en-US" dirty="0"/>
              <a:t>Pentagon chart</a:t>
            </a:r>
            <a:endParaRPr lang="en-US" b="0" dirty="0"/>
          </a:p>
        </p:txBody>
      </p:sp>
      <p:graphicFrame>
        <p:nvGraphicFramePr>
          <p:cNvPr id="7" name="Diagramm 6"/>
          <p:cNvGraphicFramePr/>
          <p:nvPr>
            <p:extLst>
              <p:ext uri="{D42A27DB-BD31-4B8C-83A1-F6EECF244321}">
                <p14:modId xmlns:p14="http://schemas.microsoft.com/office/powerpoint/2010/main" val="614086611"/>
              </p:ext>
            </p:extLst>
          </p:nvPr>
        </p:nvGraphicFramePr>
        <p:xfrm>
          <a:off x="410400" y="1418886"/>
          <a:ext cx="7776338" cy="4388189"/>
        </p:xfrm>
        <a:graphic>
          <a:graphicData uri="http://schemas.openxmlformats.org/drawingml/2006/chart">
            <c:chart xmlns:c="http://schemas.openxmlformats.org/drawingml/2006/chart" xmlns:r="http://schemas.openxmlformats.org/officeDocument/2006/relationships" r:id="rId4"/>
          </a:graphicData>
        </a:graphic>
      </p:graphicFrame>
      <p:sp>
        <p:nvSpPr>
          <p:cNvPr id="9" name="Rectangle 20">
            <a:extLst>
              <a:ext uri="{FF2B5EF4-FFF2-40B4-BE49-F238E27FC236}">
                <a16:creationId xmlns:a16="http://schemas.microsoft.com/office/drawing/2014/main" id="{7D4D44E1-EE9B-4921-96FD-F9D7861FDD48}"/>
              </a:ext>
            </a:extLst>
          </p:cNvPr>
          <p:cNvSpPr>
            <a:spLocks noChangeArrowheads="1"/>
          </p:cNvSpPr>
          <p:nvPr>
            <p:custDataLst>
              <p:tags r:id="rId1"/>
            </p:custDataLst>
          </p:nvPr>
        </p:nvSpPr>
        <p:spPr bwMode="gray">
          <a:xfrm>
            <a:off x="411164" y="5807075"/>
            <a:ext cx="11376024" cy="358300"/>
          </a:xfrm>
          <a:prstGeom prst="rect">
            <a:avLst/>
          </a:prstGeom>
          <a:solidFill>
            <a:srgbClr val="66667E"/>
          </a:solidFill>
          <a:ln>
            <a:noFill/>
          </a:ln>
          <a:effectLst/>
        </p:spPr>
        <p:txBody>
          <a:bodyPr wrap="none" lIns="143925" tIns="71963" rIns="143925" bIns="71963" anchor="ctr"/>
          <a:lstStyle/>
          <a:p>
            <a:pPr>
              <a:spcBef>
                <a:spcPct val="0"/>
              </a:spcBef>
            </a:pPr>
            <a:r>
              <a:rPr lang="en-US" altLang="de-DE" sz="1599" dirty="0">
                <a:solidFill>
                  <a:schemeClr val="bg1"/>
                </a:solidFill>
                <a:cs typeface="Arial" charset="0"/>
              </a:rPr>
              <a:t>Summary</a:t>
            </a:r>
          </a:p>
        </p:txBody>
      </p:sp>
      <p:sp>
        <p:nvSpPr>
          <p:cNvPr id="11" name="Content Placeholder 2">
            <a:extLst>
              <a:ext uri="{FF2B5EF4-FFF2-40B4-BE49-F238E27FC236}">
                <a16:creationId xmlns:a16="http://schemas.microsoft.com/office/drawing/2014/main" id="{8506414E-FFC8-4ED2-8423-DE6BF1B0AEF6}"/>
              </a:ext>
            </a:extLst>
          </p:cNvPr>
          <p:cNvSpPr txBox="1">
            <a:spLocks/>
          </p:cNvSpPr>
          <p:nvPr/>
        </p:nvSpPr>
        <p:spPr>
          <a:xfrm>
            <a:off x="8186738" y="1414800"/>
            <a:ext cx="3600450" cy="2087223"/>
          </a:xfrm>
          <a:prstGeom prst="rect">
            <a:avLst/>
          </a:prstGeom>
        </p:spPr>
        <p:txBody>
          <a:bodyPr lIns="0" tIns="0" rIns="0" bIns="0"/>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2pPr>
            <a:lvl3pPr marL="358775"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3pPr>
            <a:lvl4pPr marL="538163"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4pPr>
            <a:lvl5pPr marL="720000" indent="-180000" algn="l" rtl="0" eaLnBrk="1" fontAlgn="base" hangingPunct="1">
              <a:lnSpc>
                <a:spcPct val="110000"/>
              </a:lnSpc>
              <a:spcBef>
                <a:spcPct val="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a:lstStyle>
          <a:p>
            <a:pPr>
              <a:spcAft>
                <a:spcPts val="300"/>
              </a:spcAft>
            </a:pPr>
            <a:r>
              <a:rPr lang="en-US" b="1" kern="0" dirty="0">
                <a:solidFill>
                  <a:schemeClr val="accent1"/>
                </a:solidFill>
                <a:latin typeface="+mn-lt"/>
              </a:rPr>
              <a:t>Takima sanctus</a:t>
            </a:r>
          </a:p>
          <a:p>
            <a:pPr lvl="1">
              <a:spcAft>
                <a:spcPts val="300"/>
              </a:spcAft>
              <a:buClr>
                <a:schemeClr val="accent1"/>
              </a:buClr>
            </a:pPr>
            <a:r>
              <a:rPr lang="en-US" kern="0" dirty="0">
                <a:solidFill>
                  <a:srgbClr val="66667E"/>
                </a:solidFill>
                <a:latin typeface="+mn-lt"/>
              </a:rPr>
              <a:t>Consetetur sadipscing elitr, </a:t>
            </a:r>
            <a:br>
              <a:rPr lang="en-US" kern="0" dirty="0">
                <a:solidFill>
                  <a:srgbClr val="66667E"/>
                </a:solidFill>
                <a:latin typeface="+mn-lt"/>
              </a:rPr>
            </a:br>
            <a:r>
              <a:rPr lang="en-US" kern="0" dirty="0">
                <a:solidFill>
                  <a:srgbClr val="66667E"/>
                </a:solidFill>
                <a:latin typeface="+mn-lt"/>
              </a:rPr>
              <a:t>seddiam nonumy</a:t>
            </a:r>
          </a:p>
          <a:p>
            <a:pPr lvl="1">
              <a:spcAft>
                <a:spcPts val="300"/>
              </a:spcAft>
              <a:buClr>
                <a:schemeClr val="accent1"/>
              </a:buClr>
            </a:pPr>
            <a:r>
              <a:rPr lang="en-US" kern="0" dirty="0">
                <a:solidFill>
                  <a:srgbClr val="66667E"/>
                </a:solidFill>
                <a:latin typeface="+mn-lt"/>
              </a:rPr>
              <a:t>Cras ultricies mi eu</a:t>
            </a:r>
          </a:p>
          <a:p>
            <a:pPr lvl="1">
              <a:spcAft>
                <a:spcPts val="300"/>
              </a:spcAft>
              <a:buClr>
                <a:schemeClr val="accent1"/>
              </a:buClr>
            </a:pPr>
            <a:r>
              <a:rPr lang="en-US" kern="0" dirty="0">
                <a:solidFill>
                  <a:srgbClr val="66667E"/>
                </a:solidFill>
                <a:latin typeface="+mn-lt"/>
              </a:rPr>
              <a:t>At vero eos et accusam</a:t>
            </a:r>
          </a:p>
        </p:txBody>
      </p:sp>
      <p:sp>
        <p:nvSpPr>
          <p:cNvPr id="2" name="Footer Placeholder 1">
            <a:extLst>
              <a:ext uri="{FF2B5EF4-FFF2-40B4-BE49-F238E27FC236}">
                <a16:creationId xmlns:a16="http://schemas.microsoft.com/office/drawing/2014/main" id="{770B4087-BD0A-4681-B189-24563458A83D}"/>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3" name="Slide Number Placeholder 2">
            <a:extLst>
              <a:ext uri="{FF2B5EF4-FFF2-40B4-BE49-F238E27FC236}">
                <a16:creationId xmlns:a16="http://schemas.microsoft.com/office/drawing/2014/main" id="{469FB93A-EEF6-4EBD-B241-E7E005618CE4}"/>
              </a:ext>
            </a:extLst>
          </p:cNvPr>
          <p:cNvSpPr>
            <a:spLocks noGrp="1"/>
          </p:cNvSpPr>
          <p:nvPr>
            <p:ph type="sldNum" sz="quarter" idx="11"/>
          </p:nvPr>
        </p:nvSpPr>
        <p:spPr/>
        <p:txBody>
          <a:bodyPr/>
          <a:lstStyle/>
          <a:p>
            <a:r>
              <a:rPr lang="en-US" dirty="0"/>
              <a:t>Page </a:t>
            </a:r>
            <a:fld id="{15EBE321-CBB1-4E91-BD14-37C8D44326FB}" type="slidenum">
              <a:rPr lang="en-US" smtClean="0"/>
              <a:pPr/>
              <a:t>156</a:t>
            </a:fld>
            <a:endParaRPr lang="en-US" dirty="0"/>
          </a:p>
        </p:txBody>
      </p:sp>
    </p:spTree>
    <p:extLst>
      <p:ext uri="{BB962C8B-B14F-4D97-AF65-F5344CB8AC3E}">
        <p14:creationId xmlns:p14="http://schemas.microsoft.com/office/powerpoint/2010/main" val="2866496327"/>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3" name="Rectangle 7"/>
          <p:cNvSpPr>
            <a:spLocks noGrp="1" noChangeArrowheads="1"/>
          </p:cNvSpPr>
          <p:nvPr>
            <p:ph type="title"/>
          </p:nvPr>
        </p:nvSpPr>
        <p:spPr/>
        <p:txBody>
          <a:bodyPr/>
          <a:lstStyle/>
          <a:p>
            <a:r>
              <a:rPr lang="en-US" dirty="0"/>
              <a:t>Pentagon chart</a:t>
            </a:r>
            <a:endParaRPr lang="en-US" b="0" dirty="0"/>
          </a:p>
        </p:txBody>
      </p:sp>
      <p:graphicFrame>
        <p:nvGraphicFramePr>
          <p:cNvPr id="7" name="Diagramm 6"/>
          <p:cNvGraphicFramePr/>
          <p:nvPr>
            <p:extLst>
              <p:ext uri="{D42A27DB-BD31-4B8C-83A1-F6EECF244321}">
                <p14:modId xmlns:p14="http://schemas.microsoft.com/office/powerpoint/2010/main" val="911688761"/>
              </p:ext>
            </p:extLst>
          </p:nvPr>
        </p:nvGraphicFramePr>
        <p:xfrm>
          <a:off x="410400" y="1418886"/>
          <a:ext cx="7776338" cy="4388189"/>
        </p:xfrm>
        <a:graphic>
          <a:graphicData uri="http://schemas.openxmlformats.org/drawingml/2006/chart">
            <c:chart xmlns:c="http://schemas.openxmlformats.org/drawingml/2006/chart" xmlns:r="http://schemas.openxmlformats.org/officeDocument/2006/relationships" r:id="rId4"/>
          </a:graphicData>
        </a:graphic>
      </p:graphicFrame>
      <p:sp>
        <p:nvSpPr>
          <p:cNvPr id="11" name="Content Placeholder 2">
            <a:extLst>
              <a:ext uri="{FF2B5EF4-FFF2-40B4-BE49-F238E27FC236}">
                <a16:creationId xmlns:a16="http://schemas.microsoft.com/office/drawing/2014/main" id="{8506414E-FFC8-4ED2-8423-DE6BF1B0AEF6}"/>
              </a:ext>
            </a:extLst>
          </p:cNvPr>
          <p:cNvSpPr txBox="1">
            <a:spLocks/>
          </p:cNvSpPr>
          <p:nvPr/>
        </p:nvSpPr>
        <p:spPr>
          <a:xfrm>
            <a:off x="8186738" y="1414800"/>
            <a:ext cx="3600450" cy="2087223"/>
          </a:xfrm>
          <a:prstGeom prst="rect">
            <a:avLst/>
          </a:prstGeom>
        </p:spPr>
        <p:txBody>
          <a:bodyPr lIns="0" tIns="0" rIns="0" bIns="0"/>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2pPr>
            <a:lvl3pPr marL="358775"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3pPr>
            <a:lvl4pPr marL="538163"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4pPr>
            <a:lvl5pPr marL="720000" indent="-180000" algn="l" rtl="0" eaLnBrk="1" fontAlgn="base" hangingPunct="1">
              <a:lnSpc>
                <a:spcPct val="110000"/>
              </a:lnSpc>
              <a:spcBef>
                <a:spcPct val="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a:lstStyle>
          <a:p>
            <a:pPr>
              <a:spcAft>
                <a:spcPts val="300"/>
              </a:spcAft>
            </a:pPr>
            <a:r>
              <a:rPr lang="en-US" b="1" kern="0" dirty="0">
                <a:solidFill>
                  <a:srgbClr val="00FFB9"/>
                </a:solidFill>
                <a:latin typeface="+mn-lt"/>
              </a:rPr>
              <a:t>Takima sanctus</a:t>
            </a:r>
          </a:p>
          <a:p>
            <a:pPr lvl="1">
              <a:spcAft>
                <a:spcPts val="300"/>
              </a:spcAft>
              <a:buClr>
                <a:schemeClr val="accent1"/>
              </a:buClr>
            </a:pPr>
            <a:r>
              <a:rPr lang="en-US" kern="0" dirty="0">
                <a:solidFill>
                  <a:srgbClr val="9999A9"/>
                </a:solidFill>
                <a:latin typeface="+mn-lt"/>
              </a:rPr>
              <a:t>Consetetur sadipscing elitr, </a:t>
            </a:r>
            <a:br>
              <a:rPr lang="en-US" kern="0" dirty="0">
                <a:solidFill>
                  <a:srgbClr val="9999A9"/>
                </a:solidFill>
                <a:latin typeface="+mn-lt"/>
              </a:rPr>
            </a:br>
            <a:r>
              <a:rPr lang="en-US" kern="0" dirty="0">
                <a:solidFill>
                  <a:srgbClr val="9999A9"/>
                </a:solidFill>
                <a:latin typeface="+mn-lt"/>
              </a:rPr>
              <a:t>seddiam nonumy</a:t>
            </a:r>
          </a:p>
          <a:p>
            <a:pPr lvl="1">
              <a:spcAft>
                <a:spcPts val="300"/>
              </a:spcAft>
              <a:buClr>
                <a:schemeClr val="accent1"/>
              </a:buClr>
            </a:pPr>
            <a:r>
              <a:rPr lang="en-US" kern="0" dirty="0">
                <a:solidFill>
                  <a:srgbClr val="9999A9"/>
                </a:solidFill>
                <a:latin typeface="+mn-lt"/>
              </a:rPr>
              <a:t>Cras ultricies mi eu</a:t>
            </a:r>
          </a:p>
          <a:p>
            <a:pPr lvl="1">
              <a:spcAft>
                <a:spcPts val="300"/>
              </a:spcAft>
              <a:buClr>
                <a:schemeClr val="accent1"/>
              </a:buClr>
            </a:pPr>
            <a:r>
              <a:rPr lang="en-US" kern="0" dirty="0">
                <a:solidFill>
                  <a:srgbClr val="9999A9"/>
                </a:solidFill>
                <a:latin typeface="+mn-lt"/>
              </a:rPr>
              <a:t>At vero eos et accusam</a:t>
            </a:r>
          </a:p>
        </p:txBody>
      </p:sp>
      <p:sp>
        <p:nvSpPr>
          <p:cNvPr id="6" name="Rectangle 20">
            <a:extLst>
              <a:ext uri="{FF2B5EF4-FFF2-40B4-BE49-F238E27FC236}">
                <a16:creationId xmlns:a16="http://schemas.microsoft.com/office/drawing/2014/main" id="{6681F945-7E22-4270-A41E-5F8738526954}"/>
              </a:ext>
            </a:extLst>
          </p:cNvPr>
          <p:cNvSpPr>
            <a:spLocks noChangeArrowheads="1"/>
          </p:cNvSpPr>
          <p:nvPr>
            <p:custDataLst>
              <p:tags r:id="rId1"/>
            </p:custDataLst>
          </p:nvPr>
        </p:nvSpPr>
        <p:spPr bwMode="gray">
          <a:xfrm>
            <a:off x="411164" y="5807075"/>
            <a:ext cx="11376024" cy="358300"/>
          </a:xfrm>
          <a:prstGeom prst="rect">
            <a:avLst/>
          </a:prstGeom>
          <a:solidFill>
            <a:srgbClr val="9999A9"/>
          </a:solidFill>
          <a:ln>
            <a:noFill/>
          </a:ln>
          <a:effectLst/>
        </p:spPr>
        <p:txBody>
          <a:bodyPr wrap="none" lIns="143925" tIns="71963" rIns="143925" bIns="71963" anchor="ctr"/>
          <a:lstStyle/>
          <a:p>
            <a:pPr>
              <a:spcBef>
                <a:spcPct val="0"/>
              </a:spcBef>
            </a:pPr>
            <a:r>
              <a:rPr lang="en-US" altLang="de-DE" sz="1599" dirty="0">
                <a:solidFill>
                  <a:schemeClr val="bg2"/>
                </a:solidFill>
                <a:cs typeface="Arial" charset="0"/>
              </a:rPr>
              <a:t>Summary</a:t>
            </a:r>
          </a:p>
        </p:txBody>
      </p:sp>
      <p:sp>
        <p:nvSpPr>
          <p:cNvPr id="2" name="Footer Placeholder 1">
            <a:extLst>
              <a:ext uri="{FF2B5EF4-FFF2-40B4-BE49-F238E27FC236}">
                <a16:creationId xmlns:a16="http://schemas.microsoft.com/office/drawing/2014/main" id="{76360679-7E10-4B0C-9A93-7D4B4D373C4B}"/>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3" name="Slide Number Placeholder 2">
            <a:extLst>
              <a:ext uri="{FF2B5EF4-FFF2-40B4-BE49-F238E27FC236}">
                <a16:creationId xmlns:a16="http://schemas.microsoft.com/office/drawing/2014/main" id="{C88CDEC2-A621-4A28-BC33-97A0C5DD3A77}"/>
              </a:ext>
            </a:extLst>
          </p:cNvPr>
          <p:cNvSpPr>
            <a:spLocks noGrp="1"/>
          </p:cNvSpPr>
          <p:nvPr>
            <p:ph type="sldNum" sz="quarter" idx="11"/>
          </p:nvPr>
        </p:nvSpPr>
        <p:spPr/>
        <p:txBody>
          <a:bodyPr/>
          <a:lstStyle/>
          <a:p>
            <a:r>
              <a:rPr lang="en-US" dirty="0"/>
              <a:t>Page </a:t>
            </a:r>
            <a:fld id="{15EBE321-CBB1-4E91-BD14-37C8D44326FB}" type="slidenum">
              <a:rPr lang="en-US" smtClean="0"/>
              <a:pPr/>
              <a:t>157</a:t>
            </a:fld>
            <a:endParaRPr lang="en-US" dirty="0"/>
          </a:p>
        </p:txBody>
      </p:sp>
    </p:spTree>
    <p:extLst>
      <p:ext uri="{BB962C8B-B14F-4D97-AF65-F5344CB8AC3E}">
        <p14:creationId xmlns:p14="http://schemas.microsoft.com/office/powerpoint/2010/main" val="1228523588"/>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30916218-0FE7-DA40-850A-7231E8C46B1B}"/>
              </a:ext>
            </a:extLst>
          </p:cNvPr>
          <p:cNvSpPr>
            <a:spLocks noGrp="1"/>
          </p:cNvSpPr>
          <p:nvPr>
            <p:ph type="title"/>
          </p:nvPr>
        </p:nvSpPr>
        <p:spPr>
          <a:xfrm>
            <a:off x="410400" y="478800"/>
            <a:ext cx="9863997" cy="576000"/>
          </a:xfrm>
        </p:spPr>
        <p:txBody>
          <a:bodyPr/>
          <a:lstStyle/>
          <a:p>
            <a:r>
              <a:rPr lang="en-US" dirty="0"/>
              <a:t>Radar chart</a:t>
            </a:r>
            <a:endParaRPr lang="de-DE" dirty="0"/>
          </a:p>
        </p:txBody>
      </p:sp>
      <p:sp>
        <p:nvSpPr>
          <p:cNvPr id="2" name="Fußzeilenplatzhalter 1">
            <a:extLst>
              <a:ext uri="{FF2B5EF4-FFF2-40B4-BE49-F238E27FC236}">
                <a16:creationId xmlns:a16="http://schemas.microsoft.com/office/drawing/2014/main" id="{A1BCED77-A89C-AE40-A643-7F7A0486D403}"/>
              </a:ext>
            </a:extLst>
          </p:cNvPr>
          <p:cNvSpPr>
            <a:spLocks noGrp="1"/>
          </p:cNvSpPr>
          <p:nvPr>
            <p:ph type="ftr" sz="quarter" idx="10"/>
          </p:nvPr>
        </p:nvSpPr>
        <p:spPr/>
        <p:txBody>
          <a:bodyPr/>
          <a:lstStyle/>
          <a:p>
            <a:r>
              <a:rPr lang="en-US" dirty="0"/>
              <a:t>Restricted | © Siemens 20XX | Author | Department | YYYY-MM-DD</a:t>
            </a:r>
          </a:p>
        </p:txBody>
      </p:sp>
      <p:sp>
        <p:nvSpPr>
          <p:cNvPr id="3" name="Foliennummernplatzhalter 2">
            <a:extLst>
              <a:ext uri="{FF2B5EF4-FFF2-40B4-BE49-F238E27FC236}">
                <a16:creationId xmlns:a16="http://schemas.microsoft.com/office/drawing/2014/main" id="{D6A17BDD-2A60-A84B-A117-136E901500DB}"/>
              </a:ext>
            </a:extLst>
          </p:cNvPr>
          <p:cNvSpPr>
            <a:spLocks noGrp="1"/>
          </p:cNvSpPr>
          <p:nvPr>
            <p:ph type="sldNum" sz="quarter" idx="11"/>
          </p:nvPr>
        </p:nvSpPr>
        <p:spPr/>
        <p:txBody>
          <a:bodyPr/>
          <a:lstStyle/>
          <a:p>
            <a:r>
              <a:rPr lang="en-US" dirty="0"/>
              <a:t>Page </a:t>
            </a:r>
            <a:fld id="{15EBE321-CBB1-4E91-BD14-37C8D44326FB}" type="slidenum">
              <a:rPr lang="en-US" smtClean="0"/>
              <a:pPr/>
              <a:t>158</a:t>
            </a:fld>
            <a:endParaRPr lang="en-US" dirty="0"/>
          </a:p>
        </p:txBody>
      </p:sp>
      <p:graphicFrame>
        <p:nvGraphicFramePr>
          <p:cNvPr id="35" name="Diagramm 34">
            <a:extLst>
              <a:ext uri="{FF2B5EF4-FFF2-40B4-BE49-F238E27FC236}">
                <a16:creationId xmlns:a16="http://schemas.microsoft.com/office/drawing/2014/main" id="{23B26C9B-1FFE-C541-967E-2B8AFCE19B14}"/>
              </a:ext>
            </a:extLst>
          </p:cNvPr>
          <p:cNvGraphicFramePr/>
          <p:nvPr>
            <p:extLst>
              <p:ext uri="{D42A27DB-BD31-4B8C-83A1-F6EECF244321}">
                <p14:modId xmlns:p14="http://schemas.microsoft.com/office/powerpoint/2010/main" val="2643077127"/>
              </p:ext>
            </p:extLst>
          </p:nvPr>
        </p:nvGraphicFramePr>
        <p:xfrm>
          <a:off x="410400" y="1414800"/>
          <a:ext cx="7776338" cy="4754426"/>
        </p:xfrm>
        <a:graphic>
          <a:graphicData uri="http://schemas.openxmlformats.org/drawingml/2006/chart">
            <c:chart xmlns:c="http://schemas.openxmlformats.org/drawingml/2006/chart" xmlns:r="http://schemas.openxmlformats.org/officeDocument/2006/relationships" r:id="rId3"/>
          </a:graphicData>
        </a:graphic>
      </p:graphicFrame>
      <p:grpSp>
        <p:nvGrpSpPr>
          <p:cNvPr id="36" name="Group 1">
            <a:extLst>
              <a:ext uri="{FF2B5EF4-FFF2-40B4-BE49-F238E27FC236}">
                <a16:creationId xmlns:a16="http://schemas.microsoft.com/office/drawing/2014/main" id="{047AF516-8106-614B-A661-40AF9C7DCF7E}"/>
              </a:ext>
            </a:extLst>
          </p:cNvPr>
          <p:cNvGrpSpPr/>
          <p:nvPr/>
        </p:nvGrpSpPr>
        <p:grpSpPr>
          <a:xfrm>
            <a:off x="6932868" y="5498593"/>
            <a:ext cx="1253870" cy="670633"/>
            <a:chOff x="7395353" y="5237791"/>
            <a:chExt cx="1253870" cy="670633"/>
          </a:xfrm>
        </p:grpSpPr>
        <p:sp>
          <p:nvSpPr>
            <p:cNvPr id="37" name="TextBox 7">
              <a:extLst>
                <a:ext uri="{FF2B5EF4-FFF2-40B4-BE49-F238E27FC236}">
                  <a16:creationId xmlns:a16="http://schemas.microsoft.com/office/drawing/2014/main" id="{8FAD9116-53C3-8746-AE25-0B6B895E0537}"/>
                </a:ext>
              </a:extLst>
            </p:cNvPr>
            <p:cNvSpPr txBox="1"/>
            <p:nvPr/>
          </p:nvSpPr>
          <p:spPr>
            <a:xfrm>
              <a:off x="7704001" y="5237791"/>
              <a:ext cx="945222" cy="670633"/>
            </a:xfrm>
            <a:prstGeom prst="rect">
              <a:avLst/>
            </a:prstGeom>
            <a:noFill/>
          </p:spPr>
          <p:txBody>
            <a:bodyPr wrap="square" lIns="0" tIns="0" rIns="0" bIns="0" rtlCol="0">
              <a:noAutofit/>
            </a:bodyPr>
            <a:lstStyle/>
            <a:p>
              <a:pPr>
                <a:lnSpc>
                  <a:spcPct val="110000"/>
                </a:lnSpc>
                <a:spcBef>
                  <a:spcPts val="300"/>
                </a:spcBef>
              </a:pPr>
              <a:r>
                <a:rPr lang="en-US" sz="1200" dirty="0">
                  <a:solidFill>
                    <a:srgbClr val="66667E"/>
                  </a:solidFill>
                  <a:latin typeface="+mn-lt"/>
                  <a:ea typeface="Arial Unicode MS" panose="020B0604020202020204" pitchFamily="34" charset="-128"/>
                  <a:cs typeface="Arial Unicode MS" panose="020B0604020202020204" pitchFamily="34" charset="-128"/>
                </a:rPr>
                <a:t>Data series 1</a:t>
              </a:r>
            </a:p>
            <a:p>
              <a:pPr>
                <a:lnSpc>
                  <a:spcPct val="110000"/>
                </a:lnSpc>
                <a:spcBef>
                  <a:spcPts val="300"/>
                </a:spcBef>
              </a:pPr>
              <a:r>
                <a:rPr lang="en-US" sz="1200" dirty="0">
                  <a:solidFill>
                    <a:srgbClr val="66667E"/>
                  </a:solidFill>
                  <a:ea typeface="Arial Unicode MS" panose="020B0604020202020204" pitchFamily="34" charset="-128"/>
                  <a:cs typeface="Arial Unicode MS" panose="020B0604020202020204" pitchFamily="34" charset="-128"/>
                </a:rPr>
                <a:t>Data series 2</a:t>
              </a:r>
            </a:p>
            <a:p>
              <a:pPr>
                <a:lnSpc>
                  <a:spcPct val="110000"/>
                </a:lnSpc>
                <a:spcBef>
                  <a:spcPts val="300"/>
                </a:spcBef>
              </a:pPr>
              <a:r>
                <a:rPr lang="en-US" sz="1200" dirty="0">
                  <a:solidFill>
                    <a:srgbClr val="66667E"/>
                  </a:solidFill>
                  <a:ea typeface="Arial Unicode MS" panose="020B0604020202020204" pitchFamily="34" charset="-128"/>
                  <a:cs typeface="Arial Unicode MS" panose="020B0604020202020204" pitchFamily="34" charset="-128"/>
                </a:rPr>
                <a:t>Data series 3</a:t>
              </a:r>
            </a:p>
          </p:txBody>
        </p:sp>
        <p:cxnSp>
          <p:nvCxnSpPr>
            <p:cNvPr id="38" name="Straight Connector 9">
              <a:extLst>
                <a:ext uri="{FF2B5EF4-FFF2-40B4-BE49-F238E27FC236}">
                  <a16:creationId xmlns:a16="http://schemas.microsoft.com/office/drawing/2014/main" id="{5B49E090-ED40-D144-A09E-11AAAB2DC60A}"/>
                </a:ext>
              </a:extLst>
            </p:cNvPr>
            <p:cNvCxnSpPr/>
            <p:nvPr/>
          </p:nvCxnSpPr>
          <p:spPr bwMode="auto">
            <a:xfrm>
              <a:off x="7395353" y="5355516"/>
              <a:ext cx="216000" cy="0"/>
            </a:xfrm>
            <a:prstGeom prst="line">
              <a:avLst/>
            </a:prstGeom>
            <a:solidFill>
              <a:schemeClr val="tx2"/>
            </a:solidFill>
            <a:ln w="22225" cap="rnd" cmpd="sng" algn="ctr">
              <a:solidFill>
                <a:srgbClr val="00FFB9"/>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Straight Connector 10">
              <a:extLst>
                <a:ext uri="{FF2B5EF4-FFF2-40B4-BE49-F238E27FC236}">
                  <a16:creationId xmlns:a16="http://schemas.microsoft.com/office/drawing/2014/main" id="{5F207FAC-90C2-F141-BB07-4C5CB61F828D}"/>
                </a:ext>
              </a:extLst>
            </p:cNvPr>
            <p:cNvCxnSpPr/>
            <p:nvPr/>
          </p:nvCxnSpPr>
          <p:spPr bwMode="auto">
            <a:xfrm>
              <a:off x="7395353" y="5819593"/>
              <a:ext cx="216000" cy="0"/>
            </a:xfrm>
            <a:prstGeom prst="line">
              <a:avLst/>
            </a:prstGeom>
            <a:solidFill>
              <a:schemeClr val="tx2"/>
            </a:solidFill>
            <a:ln w="22225" cap="rnd" cmpd="sng" algn="ctr">
              <a:solidFill>
                <a:srgbClr val="66667E"/>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Straight Connector 11">
              <a:extLst>
                <a:ext uri="{FF2B5EF4-FFF2-40B4-BE49-F238E27FC236}">
                  <a16:creationId xmlns:a16="http://schemas.microsoft.com/office/drawing/2014/main" id="{89B92D87-F660-6F41-9303-D83E20373052}"/>
                </a:ext>
              </a:extLst>
            </p:cNvPr>
            <p:cNvCxnSpPr/>
            <p:nvPr/>
          </p:nvCxnSpPr>
          <p:spPr bwMode="auto">
            <a:xfrm>
              <a:off x="7395353" y="5587554"/>
              <a:ext cx="216000" cy="0"/>
            </a:xfrm>
            <a:prstGeom prst="line">
              <a:avLst/>
            </a:prstGeom>
            <a:solidFill>
              <a:schemeClr val="tx2"/>
            </a:solidFill>
            <a:ln w="22225" cap="rnd" cmpd="sng" algn="ctr">
              <a:solidFill>
                <a:srgbClr val="00AF8E"/>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41" name="Content Placeholder 2">
            <a:extLst>
              <a:ext uri="{FF2B5EF4-FFF2-40B4-BE49-F238E27FC236}">
                <a16:creationId xmlns:a16="http://schemas.microsoft.com/office/drawing/2014/main" id="{49B9A24C-BDBE-F643-A3CA-56B952672150}"/>
              </a:ext>
            </a:extLst>
          </p:cNvPr>
          <p:cNvSpPr txBox="1">
            <a:spLocks/>
          </p:cNvSpPr>
          <p:nvPr/>
        </p:nvSpPr>
        <p:spPr>
          <a:xfrm>
            <a:off x="8186738" y="1414800"/>
            <a:ext cx="3600450" cy="2087223"/>
          </a:xfrm>
          <a:prstGeom prst="rect">
            <a:avLst/>
          </a:prstGeom>
        </p:spPr>
        <p:txBody>
          <a:bodyPr lIns="0" tIns="0" rIns="0" bIns="0"/>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2pPr>
            <a:lvl3pPr marL="358775"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3pPr>
            <a:lvl4pPr marL="538163"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4pPr>
            <a:lvl5pPr marL="720000" indent="-180000" algn="l" rtl="0" eaLnBrk="1" fontAlgn="base" hangingPunct="1">
              <a:lnSpc>
                <a:spcPct val="110000"/>
              </a:lnSpc>
              <a:spcBef>
                <a:spcPct val="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a:lstStyle>
          <a:p>
            <a:pPr>
              <a:spcAft>
                <a:spcPts val="300"/>
              </a:spcAft>
            </a:pPr>
            <a:r>
              <a:rPr lang="en-US" b="1" kern="0" dirty="0">
                <a:solidFill>
                  <a:schemeClr val="accent1"/>
                </a:solidFill>
                <a:latin typeface="+mn-lt"/>
              </a:rPr>
              <a:t>Takima sanctus</a:t>
            </a:r>
          </a:p>
          <a:p>
            <a:pPr lvl="1">
              <a:spcAft>
                <a:spcPts val="300"/>
              </a:spcAft>
              <a:buClr>
                <a:schemeClr val="accent1"/>
              </a:buClr>
            </a:pPr>
            <a:r>
              <a:rPr lang="en-US" kern="0" dirty="0">
                <a:solidFill>
                  <a:srgbClr val="66667E"/>
                </a:solidFill>
                <a:latin typeface="+mn-lt"/>
              </a:rPr>
              <a:t>Consetetur sadipscing elitr, </a:t>
            </a:r>
            <a:br>
              <a:rPr lang="en-US" kern="0" dirty="0">
                <a:solidFill>
                  <a:srgbClr val="66667E"/>
                </a:solidFill>
                <a:latin typeface="+mn-lt"/>
              </a:rPr>
            </a:br>
            <a:r>
              <a:rPr lang="en-US" kern="0" dirty="0">
                <a:solidFill>
                  <a:srgbClr val="66667E"/>
                </a:solidFill>
                <a:latin typeface="+mn-lt"/>
              </a:rPr>
              <a:t>seddiam nonumy</a:t>
            </a:r>
          </a:p>
          <a:p>
            <a:pPr lvl="1">
              <a:spcAft>
                <a:spcPts val="300"/>
              </a:spcAft>
              <a:buClr>
                <a:schemeClr val="accent1"/>
              </a:buClr>
            </a:pPr>
            <a:r>
              <a:rPr lang="en-US" kern="0" dirty="0">
                <a:solidFill>
                  <a:srgbClr val="66667E"/>
                </a:solidFill>
                <a:latin typeface="+mn-lt"/>
              </a:rPr>
              <a:t>Cras ultricies mi eu</a:t>
            </a:r>
          </a:p>
          <a:p>
            <a:pPr lvl="1">
              <a:spcAft>
                <a:spcPts val="300"/>
              </a:spcAft>
              <a:buClr>
                <a:schemeClr val="accent1"/>
              </a:buClr>
            </a:pPr>
            <a:r>
              <a:rPr lang="en-US" kern="0" dirty="0">
                <a:solidFill>
                  <a:srgbClr val="66667E"/>
                </a:solidFill>
                <a:latin typeface="+mn-lt"/>
              </a:rPr>
              <a:t>At vero eos et accusam</a:t>
            </a:r>
          </a:p>
        </p:txBody>
      </p:sp>
    </p:spTree>
    <p:extLst>
      <p:ext uri="{BB962C8B-B14F-4D97-AF65-F5344CB8AC3E}">
        <p14:creationId xmlns:p14="http://schemas.microsoft.com/office/powerpoint/2010/main" val="1064375716"/>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30916218-0FE7-DA40-850A-7231E8C46B1B}"/>
              </a:ext>
            </a:extLst>
          </p:cNvPr>
          <p:cNvSpPr>
            <a:spLocks noGrp="1"/>
          </p:cNvSpPr>
          <p:nvPr>
            <p:ph type="title"/>
          </p:nvPr>
        </p:nvSpPr>
        <p:spPr/>
        <p:txBody>
          <a:bodyPr/>
          <a:lstStyle/>
          <a:p>
            <a:r>
              <a:rPr lang="en-US" dirty="0"/>
              <a:t>Radar chart</a:t>
            </a:r>
            <a:endParaRPr lang="de-DE" dirty="0"/>
          </a:p>
        </p:txBody>
      </p:sp>
      <p:sp>
        <p:nvSpPr>
          <p:cNvPr id="2" name="Fußzeilenplatzhalter 1">
            <a:extLst>
              <a:ext uri="{FF2B5EF4-FFF2-40B4-BE49-F238E27FC236}">
                <a16:creationId xmlns:a16="http://schemas.microsoft.com/office/drawing/2014/main" id="{A1BCED77-A89C-AE40-A643-7F7A0486D403}"/>
              </a:ext>
            </a:extLst>
          </p:cNvPr>
          <p:cNvSpPr>
            <a:spLocks noGrp="1"/>
          </p:cNvSpPr>
          <p:nvPr>
            <p:ph type="ftr" sz="quarter" idx="10"/>
          </p:nvPr>
        </p:nvSpPr>
        <p:spPr/>
        <p:txBody>
          <a:bodyPr/>
          <a:lstStyle/>
          <a:p>
            <a:r>
              <a:rPr lang="en-US" dirty="0"/>
              <a:t>Restricted | © Siemens 20XX | Author | Department | YYYY-MM-DD</a:t>
            </a:r>
          </a:p>
        </p:txBody>
      </p:sp>
      <p:sp>
        <p:nvSpPr>
          <p:cNvPr id="3" name="Foliennummernplatzhalter 2">
            <a:extLst>
              <a:ext uri="{FF2B5EF4-FFF2-40B4-BE49-F238E27FC236}">
                <a16:creationId xmlns:a16="http://schemas.microsoft.com/office/drawing/2014/main" id="{D6A17BDD-2A60-A84B-A117-136E901500DB}"/>
              </a:ext>
            </a:extLst>
          </p:cNvPr>
          <p:cNvSpPr>
            <a:spLocks noGrp="1"/>
          </p:cNvSpPr>
          <p:nvPr>
            <p:ph type="sldNum" sz="quarter" idx="11"/>
          </p:nvPr>
        </p:nvSpPr>
        <p:spPr/>
        <p:txBody>
          <a:bodyPr/>
          <a:lstStyle/>
          <a:p>
            <a:r>
              <a:rPr lang="en-US" dirty="0"/>
              <a:t>Page </a:t>
            </a:r>
            <a:fld id="{15EBE321-CBB1-4E91-BD14-37C8D44326FB}" type="slidenum">
              <a:rPr lang="en-US" smtClean="0"/>
              <a:pPr/>
              <a:t>159</a:t>
            </a:fld>
            <a:endParaRPr lang="en-US" dirty="0"/>
          </a:p>
        </p:txBody>
      </p:sp>
      <p:graphicFrame>
        <p:nvGraphicFramePr>
          <p:cNvPr id="35" name="Diagramm 34">
            <a:extLst>
              <a:ext uri="{FF2B5EF4-FFF2-40B4-BE49-F238E27FC236}">
                <a16:creationId xmlns:a16="http://schemas.microsoft.com/office/drawing/2014/main" id="{23B26C9B-1FFE-C541-967E-2B8AFCE19B14}"/>
              </a:ext>
            </a:extLst>
          </p:cNvPr>
          <p:cNvGraphicFramePr/>
          <p:nvPr>
            <p:extLst>
              <p:ext uri="{D42A27DB-BD31-4B8C-83A1-F6EECF244321}">
                <p14:modId xmlns:p14="http://schemas.microsoft.com/office/powerpoint/2010/main" val="3371341833"/>
              </p:ext>
            </p:extLst>
          </p:nvPr>
        </p:nvGraphicFramePr>
        <p:xfrm>
          <a:off x="410400" y="1414800"/>
          <a:ext cx="7776338" cy="4754426"/>
        </p:xfrm>
        <a:graphic>
          <a:graphicData uri="http://schemas.openxmlformats.org/drawingml/2006/chart">
            <c:chart xmlns:c="http://schemas.openxmlformats.org/drawingml/2006/chart" xmlns:r="http://schemas.openxmlformats.org/officeDocument/2006/relationships" r:id="rId3"/>
          </a:graphicData>
        </a:graphic>
      </p:graphicFrame>
      <p:sp>
        <p:nvSpPr>
          <p:cNvPr id="41" name="Content Placeholder 2">
            <a:extLst>
              <a:ext uri="{FF2B5EF4-FFF2-40B4-BE49-F238E27FC236}">
                <a16:creationId xmlns:a16="http://schemas.microsoft.com/office/drawing/2014/main" id="{49B9A24C-BDBE-F643-A3CA-56B952672150}"/>
              </a:ext>
            </a:extLst>
          </p:cNvPr>
          <p:cNvSpPr txBox="1">
            <a:spLocks/>
          </p:cNvSpPr>
          <p:nvPr/>
        </p:nvSpPr>
        <p:spPr>
          <a:xfrm>
            <a:off x="8186738" y="1414800"/>
            <a:ext cx="3600449" cy="2087223"/>
          </a:xfrm>
          <a:prstGeom prst="rect">
            <a:avLst/>
          </a:prstGeom>
        </p:spPr>
        <p:txBody>
          <a:bodyPr lIns="0" tIns="0" rIns="0" bIns="0"/>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2pPr>
            <a:lvl3pPr marL="358775"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3pPr>
            <a:lvl4pPr marL="538163"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4pPr>
            <a:lvl5pPr marL="720000" indent="-180000" algn="l" rtl="0" eaLnBrk="1" fontAlgn="base" hangingPunct="1">
              <a:lnSpc>
                <a:spcPct val="110000"/>
              </a:lnSpc>
              <a:spcBef>
                <a:spcPct val="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a:lstStyle>
          <a:p>
            <a:pPr>
              <a:spcAft>
                <a:spcPts val="300"/>
              </a:spcAft>
            </a:pPr>
            <a:r>
              <a:rPr lang="en-US" b="1" kern="0" dirty="0">
                <a:solidFill>
                  <a:srgbClr val="00FFB9"/>
                </a:solidFill>
                <a:latin typeface="+mn-lt"/>
              </a:rPr>
              <a:t>Takima sanctus</a:t>
            </a:r>
          </a:p>
          <a:p>
            <a:pPr lvl="1">
              <a:spcAft>
                <a:spcPts val="300"/>
              </a:spcAft>
              <a:buClrTx/>
            </a:pPr>
            <a:r>
              <a:rPr lang="en-US" kern="0" dirty="0">
                <a:solidFill>
                  <a:srgbClr val="9999A9"/>
                </a:solidFill>
                <a:latin typeface="+mn-lt"/>
              </a:rPr>
              <a:t>Consetetur sadipscing elitr, </a:t>
            </a:r>
            <a:br>
              <a:rPr lang="en-US" kern="0" dirty="0">
                <a:solidFill>
                  <a:srgbClr val="9999A9"/>
                </a:solidFill>
                <a:latin typeface="+mn-lt"/>
              </a:rPr>
            </a:br>
            <a:r>
              <a:rPr lang="en-US" kern="0" dirty="0">
                <a:solidFill>
                  <a:srgbClr val="9999A9"/>
                </a:solidFill>
                <a:latin typeface="+mn-lt"/>
              </a:rPr>
              <a:t>seddiam nonumy</a:t>
            </a:r>
          </a:p>
          <a:p>
            <a:pPr lvl="1">
              <a:spcAft>
                <a:spcPts val="300"/>
              </a:spcAft>
              <a:buClrTx/>
            </a:pPr>
            <a:r>
              <a:rPr lang="en-US" kern="0" dirty="0">
                <a:solidFill>
                  <a:srgbClr val="9999A9"/>
                </a:solidFill>
                <a:latin typeface="+mn-lt"/>
              </a:rPr>
              <a:t>Cras ultricies mi eu</a:t>
            </a:r>
          </a:p>
          <a:p>
            <a:pPr lvl="1">
              <a:spcAft>
                <a:spcPts val="300"/>
              </a:spcAft>
              <a:buClrTx/>
            </a:pPr>
            <a:r>
              <a:rPr lang="en-US" kern="0" dirty="0">
                <a:solidFill>
                  <a:srgbClr val="9999A9"/>
                </a:solidFill>
                <a:latin typeface="+mn-lt"/>
              </a:rPr>
              <a:t>At vero eos et accusam</a:t>
            </a:r>
          </a:p>
        </p:txBody>
      </p:sp>
      <p:grpSp>
        <p:nvGrpSpPr>
          <p:cNvPr id="12" name="Group 1">
            <a:extLst>
              <a:ext uri="{FF2B5EF4-FFF2-40B4-BE49-F238E27FC236}">
                <a16:creationId xmlns:a16="http://schemas.microsoft.com/office/drawing/2014/main" id="{A67AC3ED-4F8F-4AAE-B445-D43E63F6CBF0}"/>
              </a:ext>
            </a:extLst>
          </p:cNvPr>
          <p:cNvGrpSpPr/>
          <p:nvPr/>
        </p:nvGrpSpPr>
        <p:grpSpPr>
          <a:xfrm>
            <a:off x="6932868" y="5498593"/>
            <a:ext cx="1253870" cy="670633"/>
            <a:chOff x="7395353" y="5237791"/>
            <a:chExt cx="1253870" cy="670633"/>
          </a:xfrm>
        </p:grpSpPr>
        <p:sp>
          <p:nvSpPr>
            <p:cNvPr id="13" name="TextBox 7">
              <a:extLst>
                <a:ext uri="{FF2B5EF4-FFF2-40B4-BE49-F238E27FC236}">
                  <a16:creationId xmlns:a16="http://schemas.microsoft.com/office/drawing/2014/main" id="{D118F8C9-F63C-4D84-AE55-DBFE21B1FE56}"/>
                </a:ext>
              </a:extLst>
            </p:cNvPr>
            <p:cNvSpPr txBox="1"/>
            <p:nvPr/>
          </p:nvSpPr>
          <p:spPr>
            <a:xfrm>
              <a:off x="7704001" y="5237791"/>
              <a:ext cx="945222" cy="670633"/>
            </a:xfrm>
            <a:prstGeom prst="rect">
              <a:avLst/>
            </a:prstGeom>
            <a:noFill/>
          </p:spPr>
          <p:txBody>
            <a:bodyPr wrap="square" lIns="0" tIns="0" rIns="0" bIns="0" rtlCol="0">
              <a:noAutofit/>
            </a:bodyPr>
            <a:lstStyle/>
            <a:p>
              <a:pPr>
                <a:lnSpc>
                  <a:spcPct val="110000"/>
                </a:lnSpc>
                <a:spcBef>
                  <a:spcPts val="300"/>
                </a:spcBef>
              </a:pPr>
              <a:r>
                <a:rPr lang="en-US" sz="1200" dirty="0">
                  <a:solidFill>
                    <a:srgbClr val="9999A9"/>
                  </a:solidFill>
                  <a:latin typeface="+mn-lt"/>
                  <a:ea typeface="Arial Unicode MS" panose="020B0604020202020204" pitchFamily="34" charset="-128"/>
                  <a:cs typeface="Arial Unicode MS" panose="020B0604020202020204" pitchFamily="34" charset="-128"/>
                </a:rPr>
                <a:t>Data series 1</a:t>
              </a:r>
            </a:p>
            <a:p>
              <a:pPr>
                <a:lnSpc>
                  <a:spcPct val="110000"/>
                </a:lnSpc>
                <a:spcBef>
                  <a:spcPts val="300"/>
                </a:spcBef>
              </a:pPr>
              <a:r>
                <a:rPr lang="en-US" sz="1200" dirty="0">
                  <a:solidFill>
                    <a:srgbClr val="9999A9"/>
                  </a:solidFill>
                  <a:ea typeface="Arial Unicode MS" panose="020B0604020202020204" pitchFamily="34" charset="-128"/>
                  <a:cs typeface="Arial Unicode MS" panose="020B0604020202020204" pitchFamily="34" charset="-128"/>
                </a:rPr>
                <a:t>Data series 2</a:t>
              </a:r>
            </a:p>
            <a:p>
              <a:pPr>
                <a:lnSpc>
                  <a:spcPct val="110000"/>
                </a:lnSpc>
                <a:spcBef>
                  <a:spcPts val="300"/>
                </a:spcBef>
              </a:pPr>
              <a:r>
                <a:rPr lang="en-US" sz="1200" dirty="0">
                  <a:solidFill>
                    <a:srgbClr val="9999A9"/>
                  </a:solidFill>
                  <a:ea typeface="Arial Unicode MS" panose="020B0604020202020204" pitchFamily="34" charset="-128"/>
                  <a:cs typeface="Arial Unicode MS" panose="020B0604020202020204" pitchFamily="34" charset="-128"/>
                </a:rPr>
                <a:t>Data series 3</a:t>
              </a:r>
            </a:p>
          </p:txBody>
        </p:sp>
        <p:cxnSp>
          <p:nvCxnSpPr>
            <p:cNvPr id="14" name="Straight Connector 9">
              <a:extLst>
                <a:ext uri="{FF2B5EF4-FFF2-40B4-BE49-F238E27FC236}">
                  <a16:creationId xmlns:a16="http://schemas.microsoft.com/office/drawing/2014/main" id="{40E3144E-2CC9-4D4B-B5E8-7F7B31F1376D}"/>
                </a:ext>
              </a:extLst>
            </p:cNvPr>
            <p:cNvCxnSpPr/>
            <p:nvPr/>
          </p:nvCxnSpPr>
          <p:spPr bwMode="auto">
            <a:xfrm>
              <a:off x="7395353" y="5355516"/>
              <a:ext cx="216000" cy="0"/>
            </a:xfrm>
            <a:prstGeom prst="line">
              <a:avLst/>
            </a:prstGeom>
            <a:solidFill>
              <a:schemeClr val="tx2"/>
            </a:solidFill>
            <a:ln w="22225" cap="rnd" cmpd="sng" algn="ctr">
              <a:solidFill>
                <a:srgbClr val="00FFB9"/>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 name="Straight Connector 10">
              <a:extLst>
                <a:ext uri="{FF2B5EF4-FFF2-40B4-BE49-F238E27FC236}">
                  <a16:creationId xmlns:a16="http://schemas.microsoft.com/office/drawing/2014/main" id="{49DBBF6E-FC59-4C7D-B55B-AE774E9EDE99}"/>
                </a:ext>
              </a:extLst>
            </p:cNvPr>
            <p:cNvCxnSpPr/>
            <p:nvPr/>
          </p:nvCxnSpPr>
          <p:spPr bwMode="auto">
            <a:xfrm>
              <a:off x="7395353" y="5819593"/>
              <a:ext cx="216000" cy="0"/>
            </a:xfrm>
            <a:prstGeom prst="line">
              <a:avLst/>
            </a:prstGeom>
            <a:solidFill>
              <a:schemeClr val="tx2"/>
            </a:solidFill>
            <a:ln w="22225" cap="rnd" cmpd="sng" algn="ctr">
              <a:solidFill>
                <a:srgbClr val="9999A9"/>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 name="Straight Connector 11">
              <a:extLst>
                <a:ext uri="{FF2B5EF4-FFF2-40B4-BE49-F238E27FC236}">
                  <a16:creationId xmlns:a16="http://schemas.microsoft.com/office/drawing/2014/main" id="{061DC8C9-E251-40F6-8C23-0792668BE138}"/>
                </a:ext>
              </a:extLst>
            </p:cNvPr>
            <p:cNvCxnSpPr/>
            <p:nvPr/>
          </p:nvCxnSpPr>
          <p:spPr bwMode="auto">
            <a:xfrm>
              <a:off x="7395353" y="5587554"/>
              <a:ext cx="216000" cy="0"/>
            </a:xfrm>
            <a:prstGeom prst="line">
              <a:avLst/>
            </a:prstGeom>
            <a:solidFill>
              <a:schemeClr val="tx2"/>
            </a:solidFill>
            <a:ln w="22225" cap="rnd" cmpd="sng" algn="ctr">
              <a:solidFill>
                <a:srgbClr val="00646E"/>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10284489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hange</a:t>
            </a:r>
          </a:p>
        </p:txBody>
      </p:sp>
      <p:sp>
        <p:nvSpPr>
          <p:cNvPr id="55" name="AutoShape 5"/>
          <p:cNvSpPr>
            <a:spLocks noChangeArrowheads="1"/>
          </p:cNvSpPr>
          <p:nvPr>
            <p:custDataLst>
              <p:tags r:id="rId1"/>
            </p:custDataLst>
          </p:nvPr>
        </p:nvSpPr>
        <p:spPr bwMode="auto">
          <a:xfrm>
            <a:off x="4298400" y="1415849"/>
            <a:ext cx="3603624" cy="485747"/>
          </a:xfrm>
          <a:prstGeom prst="roundRect">
            <a:avLst>
              <a:gd name="adj" fmla="val 0"/>
            </a:avLst>
          </a:prstGeom>
          <a:noFill/>
          <a:ln w="12700">
            <a:noFill/>
          </a:ln>
          <a:effectLst/>
        </p:spPr>
        <p:txBody>
          <a:bodyPr lIns="215888" tIns="107944" rIns="215888" bIns="143925"/>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eaLnBrk="1" hangingPunct="1">
              <a:spcBef>
                <a:spcPct val="0"/>
              </a:spcBef>
              <a:buClrTx/>
              <a:buFontTx/>
              <a:buNone/>
            </a:pPr>
            <a:r>
              <a:rPr lang="en-US" altLang="de-DE" sz="1799" b="1" dirty="0">
                <a:solidFill>
                  <a:schemeClr val="accent1"/>
                </a:solidFill>
                <a:latin typeface="+mn-lt"/>
              </a:rPr>
              <a:t>Actual</a:t>
            </a:r>
          </a:p>
        </p:txBody>
      </p:sp>
      <p:sp>
        <p:nvSpPr>
          <p:cNvPr id="50" name="Text Box 13"/>
          <p:cNvSpPr txBox="1">
            <a:spLocks noChangeArrowheads="1"/>
          </p:cNvSpPr>
          <p:nvPr>
            <p:custDataLst>
              <p:tags r:id="rId2"/>
            </p:custDataLst>
          </p:nvPr>
        </p:nvSpPr>
        <p:spPr bwMode="auto">
          <a:xfrm>
            <a:off x="4298400" y="1901598"/>
            <a:ext cx="3600000" cy="19800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215888" tIns="143925" rIns="143925" bIns="143925">
            <a:noAutofit/>
          </a:bodyPr>
          <a:lstStyle>
            <a:lvl1pPr marL="174625" indent="-174625" algn="l" defTabSz="703263" eaLnBrk="0" hangingPunct="0">
              <a:defRPr sz="2000">
                <a:solidFill>
                  <a:schemeClr val="tx1"/>
                </a:solidFill>
                <a:latin typeface="Arial" charset="0"/>
              </a:defRPr>
            </a:lvl1pPr>
            <a:lvl2pPr marL="742950" indent="-285750" algn="l" defTabSz="703263" eaLnBrk="0" hangingPunct="0">
              <a:defRPr>
                <a:solidFill>
                  <a:schemeClr val="tx1"/>
                </a:solidFill>
                <a:latin typeface="Arial" charset="0"/>
              </a:defRPr>
            </a:lvl2pPr>
            <a:lvl3pPr marL="1143000" indent="-228600" algn="l" defTabSz="703263" eaLnBrk="0" hangingPunct="0">
              <a:defRPr>
                <a:solidFill>
                  <a:schemeClr val="tx1"/>
                </a:solidFill>
                <a:latin typeface="Arial" charset="0"/>
              </a:defRPr>
            </a:lvl3pPr>
            <a:lvl4pPr marL="1600200" indent="-228600" algn="l" defTabSz="703263" eaLnBrk="0" hangingPunct="0">
              <a:defRPr>
                <a:solidFill>
                  <a:schemeClr val="tx1"/>
                </a:solidFill>
                <a:latin typeface="Arial" charset="0"/>
              </a:defRPr>
            </a:lvl4pPr>
            <a:lvl5pPr marL="2057400" indent="-228600" algn="l" defTabSz="703263" eaLnBrk="0" hangingPunct="0">
              <a:defRPr>
                <a:solidFill>
                  <a:schemeClr val="tx1"/>
                </a:solidFill>
                <a:latin typeface="Arial" charset="0"/>
              </a:defRPr>
            </a:lvl5pPr>
            <a:lvl6pPr marL="2514600" indent="-228600" defTabSz="703263"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defTabSz="703263"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defTabSz="703263"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defTabSz="703263"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marL="0" indent="0" eaLnBrk="1" hangingPunct="1">
              <a:spcBef>
                <a:spcPct val="20000"/>
              </a:spcBef>
            </a:pPr>
            <a:r>
              <a:rPr lang="en-US" altLang="de-DE" sz="1799" dirty="0">
                <a:solidFill>
                  <a:srgbClr val="66667E"/>
                </a:solidFill>
                <a:latin typeface="+mn-lt"/>
              </a:rPr>
              <a:t>Cras ultricies mi eu</a:t>
            </a:r>
          </a:p>
        </p:txBody>
      </p:sp>
      <p:sp>
        <p:nvSpPr>
          <p:cNvPr id="12" name="Text Box 13"/>
          <p:cNvSpPr txBox="1">
            <a:spLocks noChangeArrowheads="1"/>
          </p:cNvSpPr>
          <p:nvPr>
            <p:custDataLst>
              <p:tags r:id="rId3"/>
            </p:custDataLst>
          </p:nvPr>
        </p:nvSpPr>
        <p:spPr bwMode="auto">
          <a:xfrm>
            <a:off x="4298400" y="4042800"/>
            <a:ext cx="3603624" cy="19800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215888" tIns="143925" rIns="143925" bIns="143925">
            <a:noAutofit/>
          </a:bodyPr>
          <a:lstStyle>
            <a:lvl1pPr marL="174625" indent="-174625" algn="l" defTabSz="703263" eaLnBrk="0" hangingPunct="0">
              <a:defRPr sz="2000">
                <a:solidFill>
                  <a:schemeClr val="tx1"/>
                </a:solidFill>
                <a:latin typeface="Arial" charset="0"/>
              </a:defRPr>
            </a:lvl1pPr>
            <a:lvl2pPr marL="742950" indent="-285750" algn="l" defTabSz="703263" eaLnBrk="0" hangingPunct="0">
              <a:defRPr>
                <a:solidFill>
                  <a:schemeClr val="tx1"/>
                </a:solidFill>
                <a:latin typeface="Arial" charset="0"/>
              </a:defRPr>
            </a:lvl2pPr>
            <a:lvl3pPr marL="1143000" indent="-228600" algn="l" defTabSz="703263" eaLnBrk="0" hangingPunct="0">
              <a:defRPr>
                <a:solidFill>
                  <a:schemeClr val="tx1"/>
                </a:solidFill>
                <a:latin typeface="Arial" charset="0"/>
              </a:defRPr>
            </a:lvl3pPr>
            <a:lvl4pPr marL="1600200" indent="-228600" algn="l" defTabSz="703263" eaLnBrk="0" hangingPunct="0">
              <a:defRPr>
                <a:solidFill>
                  <a:schemeClr val="tx1"/>
                </a:solidFill>
                <a:latin typeface="Arial" charset="0"/>
              </a:defRPr>
            </a:lvl4pPr>
            <a:lvl5pPr marL="2057400" indent="-228600" algn="l" defTabSz="703263" eaLnBrk="0" hangingPunct="0">
              <a:defRPr>
                <a:solidFill>
                  <a:schemeClr val="tx1"/>
                </a:solidFill>
                <a:latin typeface="Arial" charset="0"/>
              </a:defRPr>
            </a:lvl5pPr>
            <a:lvl6pPr marL="2514600" indent="-228600" defTabSz="703263"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defTabSz="703263"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defTabSz="703263"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defTabSz="703263"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marL="0" indent="0" eaLnBrk="1" hangingPunct="1">
              <a:spcBef>
                <a:spcPct val="20000"/>
              </a:spcBef>
            </a:pPr>
            <a:r>
              <a:rPr lang="en-US" altLang="de-DE" sz="1799" dirty="0">
                <a:solidFill>
                  <a:srgbClr val="66667E"/>
                </a:solidFill>
                <a:latin typeface="+mn-lt"/>
              </a:rPr>
              <a:t>At vero eos et accusam</a:t>
            </a:r>
          </a:p>
        </p:txBody>
      </p:sp>
      <p:sp>
        <p:nvSpPr>
          <p:cNvPr id="20" name="Pentagon 19"/>
          <p:cNvSpPr>
            <a:spLocks noChangeArrowheads="1"/>
          </p:cNvSpPr>
          <p:nvPr>
            <p:custDataLst>
              <p:tags r:id="rId4"/>
            </p:custDataLst>
          </p:nvPr>
        </p:nvSpPr>
        <p:spPr bwMode="auto">
          <a:xfrm>
            <a:off x="411164" y="1901598"/>
            <a:ext cx="3600000" cy="1980000"/>
          </a:xfrm>
          <a:prstGeom prst="homePlate">
            <a:avLst>
              <a:gd name="adj" fmla="val 24145"/>
            </a:avLst>
          </a:prstGeom>
          <a:solidFill>
            <a:srgbClr val="E5E5E9"/>
          </a:solidFill>
          <a:ln>
            <a:noFill/>
          </a:ln>
          <a:effectLst/>
        </p:spPr>
        <p:txBody>
          <a:bodyPr wrap="square" lIns="215888" tIns="143925" rIns="359813" bIns="143925" anchor="t">
            <a:noAutofit/>
          </a:bodyPr>
          <a:lstStyle>
            <a:lvl1pPr algn="l" defTabSz="844550" eaLnBrk="0" hangingPunct="0">
              <a:defRPr sz="2000">
                <a:solidFill>
                  <a:schemeClr val="tx1"/>
                </a:solidFill>
                <a:latin typeface="Arial" charset="0"/>
              </a:defRPr>
            </a:lvl1pPr>
            <a:lvl2pPr marL="742950" indent="-285750" algn="l" defTabSz="844550" eaLnBrk="0" hangingPunct="0">
              <a:defRPr>
                <a:solidFill>
                  <a:schemeClr val="tx1"/>
                </a:solidFill>
                <a:latin typeface="Arial" charset="0"/>
              </a:defRPr>
            </a:lvl2pPr>
            <a:lvl3pPr marL="1143000" indent="-228600" algn="l" defTabSz="844550" eaLnBrk="0" hangingPunct="0">
              <a:defRPr>
                <a:solidFill>
                  <a:schemeClr val="tx1"/>
                </a:solidFill>
                <a:latin typeface="Arial" charset="0"/>
              </a:defRPr>
            </a:lvl3pPr>
            <a:lvl4pPr marL="1600200" indent="-228600" algn="l" defTabSz="844550" eaLnBrk="0" hangingPunct="0">
              <a:defRPr>
                <a:solidFill>
                  <a:schemeClr val="tx1"/>
                </a:solidFill>
                <a:latin typeface="Arial" charset="0"/>
              </a:defRPr>
            </a:lvl4pPr>
            <a:lvl5pPr marL="2057400" indent="-228600" algn="l" defTabSz="844550" eaLnBrk="0" hangingPunct="0">
              <a:defRPr>
                <a:solidFill>
                  <a:schemeClr val="tx1"/>
                </a:solidFill>
                <a:latin typeface="Arial" charset="0"/>
              </a:defRPr>
            </a:lvl5pPr>
            <a:lvl6pPr marL="2514600" indent="-228600" defTabSz="84455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defTabSz="84455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defTabSz="84455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defTabSz="84455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spcBef>
                <a:spcPct val="0"/>
              </a:spcBef>
              <a:buClrTx/>
              <a:buFontTx/>
              <a:buNone/>
            </a:pPr>
            <a:r>
              <a:rPr lang="en-US" altLang="de-DE" sz="1799" b="1" dirty="0">
                <a:solidFill>
                  <a:schemeClr val="tx2"/>
                </a:solidFill>
                <a:latin typeface="+mn-lt"/>
              </a:rPr>
              <a:t>Duis arcu tortor, suscipit eget, imperdiet nec, imperdiet</a:t>
            </a:r>
          </a:p>
        </p:txBody>
      </p:sp>
      <p:sp>
        <p:nvSpPr>
          <p:cNvPr id="18" name="Pentagon 17"/>
          <p:cNvSpPr>
            <a:spLocks noChangeArrowheads="1"/>
          </p:cNvSpPr>
          <p:nvPr>
            <p:custDataLst>
              <p:tags r:id="rId5"/>
            </p:custDataLst>
          </p:nvPr>
        </p:nvSpPr>
        <p:spPr bwMode="auto">
          <a:xfrm>
            <a:off x="411163" y="4042800"/>
            <a:ext cx="3600000" cy="1980000"/>
          </a:xfrm>
          <a:prstGeom prst="homePlate">
            <a:avLst>
              <a:gd name="adj" fmla="val 24145"/>
            </a:avLst>
          </a:prstGeom>
          <a:solidFill>
            <a:schemeClr val="tx2"/>
          </a:solidFill>
          <a:ln>
            <a:noFill/>
          </a:ln>
          <a:effectLst/>
        </p:spPr>
        <p:txBody>
          <a:bodyPr wrap="square" lIns="215888" tIns="143925" rIns="359813" bIns="143925" anchor="t">
            <a:noAutofit/>
          </a:bodyPr>
          <a:lstStyle>
            <a:lvl1pPr algn="l" defTabSz="844550" eaLnBrk="0" hangingPunct="0">
              <a:defRPr sz="2000">
                <a:solidFill>
                  <a:schemeClr val="tx1"/>
                </a:solidFill>
                <a:latin typeface="Arial" charset="0"/>
              </a:defRPr>
            </a:lvl1pPr>
            <a:lvl2pPr marL="742950" indent="-285750" algn="l" defTabSz="844550" eaLnBrk="0" hangingPunct="0">
              <a:defRPr>
                <a:solidFill>
                  <a:schemeClr val="tx1"/>
                </a:solidFill>
                <a:latin typeface="Arial" charset="0"/>
              </a:defRPr>
            </a:lvl2pPr>
            <a:lvl3pPr marL="1143000" indent="-228600" algn="l" defTabSz="844550" eaLnBrk="0" hangingPunct="0">
              <a:defRPr>
                <a:solidFill>
                  <a:schemeClr val="tx1"/>
                </a:solidFill>
                <a:latin typeface="Arial" charset="0"/>
              </a:defRPr>
            </a:lvl3pPr>
            <a:lvl4pPr marL="1600200" indent="-228600" algn="l" defTabSz="844550" eaLnBrk="0" hangingPunct="0">
              <a:defRPr>
                <a:solidFill>
                  <a:schemeClr val="tx1"/>
                </a:solidFill>
                <a:latin typeface="Arial" charset="0"/>
              </a:defRPr>
            </a:lvl4pPr>
            <a:lvl5pPr marL="2057400" indent="-228600" algn="l" defTabSz="844550" eaLnBrk="0" hangingPunct="0">
              <a:defRPr>
                <a:solidFill>
                  <a:schemeClr val="tx1"/>
                </a:solidFill>
                <a:latin typeface="Arial" charset="0"/>
              </a:defRPr>
            </a:lvl5pPr>
            <a:lvl6pPr marL="2514600" indent="-228600" defTabSz="84455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defTabSz="84455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defTabSz="84455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defTabSz="84455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spcBef>
                <a:spcPct val="0"/>
              </a:spcBef>
              <a:buClrTx/>
              <a:buFontTx/>
              <a:buNone/>
            </a:pPr>
            <a:r>
              <a:rPr lang="en-US" altLang="de-DE" sz="1799" b="1" dirty="0">
                <a:solidFill>
                  <a:schemeClr val="bg1"/>
                </a:solidFill>
                <a:latin typeface="+mn-lt"/>
              </a:rPr>
              <a:t>Cras ultricies mi eu res</a:t>
            </a:r>
          </a:p>
        </p:txBody>
      </p:sp>
      <p:sp>
        <p:nvSpPr>
          <p:cNvPr id="15" name="AutoShape 5">
            <a:extLst>
              <a:ext uri="{FF2B5EF4-FFF2-40B4-BE49-F238E27FC236}">
                <a16:creationId xmlns:a16="http://schemas.microsoft.com/office/drawing/2014/main" id="{861DBACD-3BF1-5844-B51D-F2EB6E78AB86}"/>
              </a:ext>
            </a:extLst>
          </p:cNvPr>
          <p:cNvSpPr>
            <a:spLocks noChangeArrowheads="1"/>
          </p:cNvSpPr>
          <p:nvPr>
            <p:custDataLst>
              <p:tags r:id="rId6"/>
            </p:custDataLst>
          </p:nvPr>
        </p:nvSpPr>
        <p:spPr bwMode="auto">
          <a:xfrm>
            <a:off x="8186400" y="1415849"/>
            <a:ext cx="3603624" cy="485747"/>
          </a:xfrm>
          <a:prstGeom prst="roundRect">
            <a:avLst>
              <a:gd name="adj" fmla="val 0"/>
            </a:avLst>
          </a:prstGeom>
          <a:noFill/>
          <a:ln w="12700">
            <a:noFill/>
          </a:ln>
          <a:effectLst/>
        </p:spPr>
        <p:txBody>
          <a:bodyPr lIns="215888" tIns="107944" rIns="215888" bIns="143925"/>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eaLnBrk="1" hangingPunct="1">
              <a:spcBef>
                <a:spcPct val="0"/>
              </a:spcBef>
              <a:buClrTx/>
              <a:buFontTx/>
              <a:buNone/>
            </a:pPr>
            <a:r>
              <a:rPr lang="en-US" altLang="de-DE" sz="1799" b="1" dirty="0">
                <a:solidFill>
                  <a:schemeClr val="accent1"/>
                </a:solidFill>
                <a:latin typeface="+mn-lt"/>
              </a:rPr>
              <a:t>Planned</a:t>
            </a:r>
          </a:p>
        </p:txBody>
      </p:sp>
      <p:sp>
        <p:nvSpPr>
          <p:cNvPr id="16" name="Text Box 13">
            <a:extLst>
              <a:ext uri="{FF2B5EF4-FFF2-40B4-BE49-F238E27FC236}">
                <a16:creationId xmlns:a16="http://schemas.microsoft.com/office/drawing/2014/main" id="{483E9395-3511-384F-A63D-9FA0C73AF223}"/>
              </a:ext>
            </a:extLst>
          </p:cNvPr>
          <p:cNvSpPr txBox="1">
            <a:spLocks noChangeArrowheads="1"/>
          </p:cNvSpPr>
          <p:nvPr>
            <p:custDataLst>
              <p:tags r:id="rId7"/>
            </p:custDataLst>
          </p:nvPr>
        </p:nvSpPr>
        <p:spPr bwMode="auto">
          <a:xfrm>
            <a:off x="8186400" y="1901598"/>
            <a:ext cx="3600000" cy="19800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215888" tIns="143925" rIns="143925" bIns="143925">
            <a:noAutofit/>
          </a:bodyPr>
          <a:lstStyle>
            <a:lvl1pPr marL="174625" indent="-174625" algn="l" defTabSz="703263" eaLnBrk="0" hangingPunct="0">
              <a:defRPr sz="2000">
                <a:solidFill>
                  <a:schemeClr val="tx1"/>
                </a:solidFill>
                <a:latin typeface="Arial" charset="0"/>
              </a:defRPr>
            </a:lvl1pPr>
            <a:lvl2pPr marL="742950" indent="-285750" algn="l" defTabSz="703263" eaLnBrk="0" hangingPunct="0">
              <a:defRPr>
                <a:solidFill>
                  <a:schemeClr val="tx1"/>
                </a:solidFill>
                <a:latin typeface="Arial" charset="0"/>
              </a:defRPr>
            </a:lvl2pPr>
            <a:lvl3pPr marL="1143000" indent="-228600" algn="l" defTabSz="703263" eaLnBrk="0" hangingPunct="0">
              <a:defRPr>
                <a:solidFill>
                  <a:schemeClr val="tx1"/>
                </a:solidFill>
                <a:latin typeface="Arial" charset="0"/>
              </a:defRPr>
            </a:lvl3pPr>
            <a:lvl4pPr marL="1600200" indent="-228600" algn="l" defTabSz="703263" eaLnBrk="0" hangingPunct="0">
              <a:defRPr>
                <a:solidFill>
                  <a:schemeClr val="tx1"/>
                </a:solidFill>
                <a:latin typeface="Arial" charset="0"/>
              </a:defRPr>
            </a:lvl4pPr>
            <a:lvl5pPr marL="2057400" indent="-228600" algn="l" defTabSz="703263" eaLnBrk="0" hangingPunct="0">
              <a:defRPr>
                <a:solidFill>
                  <a:schemeClr val="tx1"/>
                </a:solidFill>
                <a:latin typeface="Arial" charset="0"/>
              </a:defRPr>
            </a:lvl5pPr>
            <a:lvl6pPr marL="2514600" indent="-228600" defTabSz="703263"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defTabSz="703263"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defTabSz="703263"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defTabSz="703263"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marL="0" indent="0" eaLnBrk="1" hangingPunct="1">
              <a:spcBef>
                <a:spcPct val="20000"/>
              </a:spcBef>
            </a:pPr>
            <a:r>
              <a:rPr lang="en-US" altLang="de-DE" sz="1799" dirty="0">
                <a:solidFill>
                  <a:srgbClr val="66667E"/>
                </a:solidFill>
                <a:latin typeface="+mn-lt"/>
              </a:rPr>
              <a:t>Duis arcu tortor, suscipit eget, imperdiet nec, imperdiet iaculis, ipsum</a:t>
            </a:r>
          </a:p>
        </p:txBody>
      </p:sp>
      <p:sp>
        <p:nvSpPr>
          <p:cNvPr id="17" name="Text Box 13">
            <a:extLst>
              <a:ext uri="{FF2B5EF4-FFF2-40B4-BE49-F238E27FC236}">
                <a16:creationId xmlns:a16="http://schemas.microsoft.com/office/drawing/2014/main" id="{AD984606-7CF0-3C4A-950A-570299853F5F}"/>
              </a:ext>
            </a:extLst>
          </p:cNvPr>
          <p:cNvSpPr txBox="1">
            <a:spLocks noChangeArrowheads="1"/>
          </p:cNvSpPr>
          <p:nvPr>
            <p:custDataLst>
              <p:tags r:id="rId8"/>
            </p:custDataLst>
          </p:nvPr>
        </p:nvSpPr>
        <p:spPr bwMode="auto">
          <a:xfrm>
            <a:off x="8186400" y="4042800"/>
            <a:ext cx="3603624" cy="19800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215888" tIns="143925" rIns="143925" bIns="143925">
            <a:noAutofit/>
          </a:bodyPr>
          <a:lstStyle>
            <a:lvl1pPr marL="174625" indent="-174625" algn="l" defTabSz="703263" eaLnBrk="0" hangingPunct="0">
              <a:defRPr sz="2000">
                <a:solidFill>
                  <a:schemeClr val="tx1"/>
                </a:solidFill>
                <a:latin typeface="Arial" charset="0"/>
              </a:defRPr>
            </a:lvl1pPr>
            <a:lvl2pPr marL="742950" indent="-285750" algn="l" defTabSz="703263" eaLnBrk="0" hangingPunct="0">
              <a:defRPr>
                <a:solidFill>
                  <a:schemeClr val="tx1"/>
                </a:solidFill>
                <a:latin typeface="Arial" charset="0"/>
              </a:defRPr>
            </a:lvl2pPr>
            <a:lvl3pPr marL="1143000" indent="-228600" algn="l" defTabSz="703263" eaLnBrk="0" hangingPunct="0">
              <a:defRPr>
                <a:solidFill>
                  <a:schemeClr val="tx1"/>
                </a:solidFill>
                <a:latin typeface="Arial" charset="0"/>
              </a:defRPr>
            </a:lvl3pPr>
            <a:lvl4pPr marL="1600200" indent="-228600" algn="l" defTabSz="703263" eaLnBrk="0" hangingPunct="0">
              <a:defRPr>
                <a:solidFill>
                  <a:schemeClr val="tx1"/>
                </a:solidFill>
                <a:latin typeface="Arial" charset="0"/>
              </a:defRPr>
            </a:lvl4pPr>
            <a:lvl5pPr marL="2057400" indent="-228600" algn="l" defTabSz="703263" eaLnBrk="0" hangingPunct="0">
              <a:defRPr>
                <a:solidFill>
                  <a:schemeClr val="tx1"/>
                </a:solidFill>
                <a:latin typeface="Arial" charset="0"/>
              </a:defRPr>
            </a:lvl5pPr>
            <a:lvl6pPr marL="2514600" indent="-228600" defTabSz="703263"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defTabSz="703263"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defTabSz="703263"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defTabSz="703263"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marL="0" indent="0" eaLnBrk="1" hangingPunct="1">
              <a:spcBef>
                <a:spcPct val="20000"/>
              </a:spcBef>
            </a:pPr>
            <a:r>
              <a:rPr lang="en-US" altLang="de-DE" sz="1799" dirty="0">
                <a:solidFill>
                  <a:srgbClr val="66667E"/>
                </a:solidFill>
                <a:latin typeface="+mn-lt"/>
              </a:rPr>
              <a:t>Phasellus nec sem</a:t>
            </a:r>
          </a:p>
        </p:txBody>
      </p:sp>
      <p:cxnSp>
        <p:nvCxnSpPr>
          <p:cNvPr id="4" name="Straight Connector 3"/>
          <p:cNvCxnSpPr/>
          <p:nvPr/>
        </p:nvCxnSpPr>
        <p:spPr bwMode="auto">
          <a:xfrm>
            <a:off x="4292702" y="1901599"/>
            <a:ext cx="3603624" cy="0"/>
          </a:xfrm>
          <a:prstGeom prst="line">
            <a:avLst/>
          </a:prstGeom>
          <a:solidFill>
            <a:schemeClr val="tx2"/>
          </a:solidFill>
          <a:ln w="12700" cap="flat" cmpd="sng" algn="ctr">
            <a:solidFill>
              <a:schemeClr val="accent1"/>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Straight Connector 12"/>
          <p:cNvCxnSpPr/>
          <p:nvPr/>
        </p:nvCxnSpPr>
        <p:spPr bwMode="auto">
          <a:xfrm>
            <a:off x="8183564" y="1901599"/>
            <a:ext cx="3603624" cy="0"/>
          </a:xfrm>
          <a:prstGeom prst="line">
            <a:avLst/>
          </a:prstGeom>
          <a:solidFill>
            <a:schemeClr val="tx2"/>
          </a:solidFill>
          <a:ln w="12700" cap="flat" cmpd="sng" algn="ctr">
            <a:solidFill>
              <a:schemeClr val="accent1"/>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7" name="Footer Placeholder 6">
            <a:extLst>
              <a:ext uri="{FF2B5EF4-FFF2-40B4-BE49-F238E27FC236}">
                <a16:creationId xmlns:a16="http://schemas.microsoft.com/office/drawing/2014/main" id="{6A32203C-1B00-41C7-B67B-39C0F67CD98A}"/>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8" name="Slide Number Placeholder 7">
            <a:extLst>
              <a:ext uri="{FF2B5EF4-FFF2-40B4-BE49-F238E27FC236}">
                <a16:creationId xmlns:a16="http://schemas.microsoft.com/office/drawing/2014/main" id="{73BEAB13-963F-40FF-AFA4-76C9E758B064}"/>
              </a:ext>
            </a:extLst>
          </p:cNvPr>
          <p:cNvSpPr>
            <a:spLocks noGrp="1"/>
          </p:cNvSpPr>
          <p:nvPr>
            <p:ph type="sldNum" sz="quarter" idx="11"/>
          </p:nvPr>
        </p:nvSpPr>
        <p:spPr/>
        <p:txBody>
          <a:bodyPr/>
          <a:lstStyle/>
          <a:p>
            <a:r>
              <a:rPr lang="en-US" dirty="0"/>
              <a:t>Page </a:t>
            </a:r>
            <a:fld id="{15EBE321-CBB1-4E91-BD14-37C8D44326FB}" type="slidenum">
              <a:rPr lang="en-US" smtClean="0"/>
              <a:pPr/>
              <a:t>16</a:t>
            </a:fld>
            <a:endParaRPr lang="en-US" dirty="0"/>
          </a:p>
        </p:txBody>
      </p:sp>
    </p:spTree>
    <p:extLst>
      <p:ext uri="{BB962C8B-B14F-4D97-AF65-F5344CB8AC3E}">
        <p14:creationId xmlns:p14="http://schemas.microsoft.com/office/powerpoint/2010/main" val="1070159578"/>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3" name="Rectangle 7"/>
          <p:cNvSpPr>
            <a:spLocks noGrp="1" noChangeArrowheads="1"/>
          </p:cNvSpPr>
          <p:nvPr>
            <p:ph type="title"/>
          </p:nvPr>
        </p:nvSpPr>
        <p:spPr>
          <a:xfrm>
            <a:off x="410400" y="478800"/>
            <a:ext cx="9863997" cy="576000"/>
          </a:xfrm>
        </p:spPr>
        <p:txBody>
          <a:bodyPr/>
          <a:lstStyle/>
          <a:p>
            <a:r>
              <a:rPr lang="en-US" dirty="0"/>
              <a:t>Column chart</a:t>
            </a:r>
            <a:endParaRPr lang="en-US" b="0" dirty="0"/>
          </a:p>
        </p:txBody>
      </p:sp>
      <p:graphicFrame>
        <p:nvGraphicFramePr>
          <p:cNvPr id="8" name="Diagramm 7"/>
          <p:cNvGraphicFramePr/>
          <p:nvPr>
            <p:extLst>
              <p:ext uri="{D42A27DB-BD31-4B8C-83A1-F6EECF244321}">
                <p14:modId xmlns:p14="http://schemas.microsoft.com/office/powerpoint/2010/main" val="317008422"/>
              </p:ext>
            </p:extLst>
          </p:nvPr>
        </p:nvGraphicFramePr>
        <p:xfrm>
          <a:off x="410400" y="1415848"/>
          <a:ext cx="11376788" cy="4748913"/>
        </p:xfrm>
        <a:graphic>
          <a:graphicData uri="http://schemas.openxmlformats.org/drawingml/2006/chart">
            <c:chart xmlns:c="http://schemas.openxmlformats.org/drawingml/2006/chart" xmlns:r="http://schemas.openxmlformats.org/officeDocument/2006/relationships" r:id="rId3"/>
          </a:graphicData>
        </a:graphic>
      </p:graphicFrame>
      <p:sp>
        <p:nvSpPr>
          <p:cNvPr id="2" name="Footer Placeholder 1">
            <a:extLst>
              <a:ext uri="{FF2B5EF4-FFF2-40B4-BE49-F238E27FC236}">
                <a16:creationId xmlns:a16="http://schemas.microsoft.com/office/drawing/2014/main" id="{C61F0E94-3595-4D61-98DE-C3DD250FC744}"/>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3" name="Slide Number Placeholder 2">
            <a:extLst>
              <a:ext uri="{FF2B5EF4-FFF2-40B4-BE49-F238E27FC236}">
                <a16:creationId xmlns:a16="http://schemas.microsoft.com/office/drawing/2014/main" id="{3BD903DB-4BC2-408E-A146-F563CD04BF0C}"/>
              </a:ext>
            </a:extLst>
          </p:cNvPr>
          <p:cNvSpPr>
            <a:spLocks noGrp="1"/>
          </p:cNvSpPr>
          <p:nvPr>
            <p:ph type="sldNum" sz="quarter" idx="11"/>
          </p:nvPr>
        </p:nvSpPr>
        <p:spPr/>
        <p:txBody>
          <a:bodyPr/>
          <a:lstStyle/>
          <a:p>
            <a:r>
              <a:rPr lang="en-US" dirty="0"/>
              <a:t>Page </a:t>
            </a:r>
            <a:fld id="{15EBE321-CBB1-4E91-BD14-37C8D44326FB}" type="slidenum">
              <a:rPr lang="en-US" smtClean="0"/>
              <a:pPr/>
              <a:t>160</a:t>
            </a:fld>
            <a:endParaRPr lang="en-US" dirty="0"/>
          </a:p>
        </p:txBody>
      </p:sp>
    </p:spTree>
    <p:extLst>
      <p:ext uri="{BB962C8B-B14F-4D97-AF65-F5344CB8AC3E}">
        <p14:creationId xmlns:p14="http://schemas.microsoft.com/office/powerpoint/2010/main" val="2972329419"/>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3" name="Rectangle 7"/>
          <p:cNvSpPr>
            <a:spLocks noGrp="1" noChangeArrowheads="1"/>
          </p:cNvSpPr>
          <p:nvPr>
            <p:ph type="title"/>
          </p:nvPr>
        </p:nvSpPr>
        <p:spPr/>
        <p:txBody>
          <a:bodyPr/>
          <a:lstStyle/>
          <a:p>
            <a:r>
              <a:rPr lang="en-US" dirty="0"/>
              <a:t>Column chart</a:t>
            </a:r>
            <a:endParaRPr lang="en-US" b="0" dirty="0"/>
          </a:p>
        </p:txBody>
      </p:sp>
      <p:graphicFrame>
        <p:nvGraphicFramePr>
          <p:cNvPr id="8" name="Diagramm 7"/>
          <p:cNvGraphicFramePr/>
          <p:nvPr>
            <p:extLst>
              <p:ext uri="{D42A27DB-BD31-4B8C-83A1-F6EECF244321}">
                <p14:modId xmlns:p14="http://schemas.microsoft.com/office/powerpoint/2010/main" val="991626752"/>
              </p:ext>
            </p:extLst>
          </p:nvPr>
        </p:nvGraphicFramePr>
        <p:xfrm>
          <a:off x="410400" y="1415848"/>
          <a:ext cx="11376788" cy="4748913"/>
        </p:xfrm>
        <a:graphic>
          <a:graphicData uri="http://schemas.openxmlformats.org/drawingml/2006/chart">
            <c:chart xmlns:c="http://schemas.openxmlformats.org/drawingml/2006/chart" xmlns:r="http://schemas.openxmlformats.org/officeDocument/2006/relationships" r:id="rId3"/>
          </a:graphicData>
        </a:graphic>
      </p:graphicFrame>
      <p:sp>
        <p:nvSpPr>
          <p:cNvPr id="2" name="Footer Placeholder 1">
            <a:extLst>
              <a:ext uri="{FF2B5EF4-FFF2-40B4-BE49-F238E27FC236}">
                <a16:creationId xmlns:a16="http://schemas.microsoft.com/office/drawing/2014/main" id="{93DB53C1-7AC6-47F8-8589-697A5AE15C1C}"/>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3" name="Slide Number Placeholder 2">
            <a:extLst>
              <a:ext uri="{FF2B5EF4-FFF2-40B4-BE49-F238E27FC236}">
                <a16:creationId xmlns:a16="http://schemas.microsoft.com/office/drawing/2014/main" id="{C73ABA41-C9DF-4F7C-9F61-F600E52DB46F}"/>
              </a:ext>
            </a:extLst>
          </p:cNvPr>
          <p:cNvSpPr>
            <a:spLocks noGrp="1"/>
          </p:cNvSpPr>
          <p:nvPr>
            <p:ph type="sldNum" sz="quarter" idx="11"/>
          </p:nvPr>
        </p:nvSpPr>
        <p:spPr/>
        <p:txBody>
          <a:bodyPr/>
          <a:lstStyle/>
          <a:p>
            <a:r>
              <a:rPr lang="en-US" dirty="0"/>
              <a:t>Page </a:t>
            </a:r>
            <a:fld id="{15EBE321-CBB1-4E91-BD14-37C8D44326FB}" type="slidenum">
              <a:rPr lang="en-US" smtClean="0"/>
              <a:pPr/>
              <a:t>161</a:t>
            </a:fld>
            <a:endParaRPr lang="en-US" dirty="0"/>
          </a:p>
        </p:txBody>
      </p:sp>
    </p:spTree>
    <p:extLst>
      <p:ext uri="{BB962C8B-B14F-4D97-AF65-F5344CB8AC3E}">
        <p14:creationId xmlns:p14="http://schemas.microsoft.com/office/powerpoint/2010/main" val="2693086885"/>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3" name="Rectangle 7"/>
          <p:cNvSpPr>
            <a:spLocks noGrp="1" noChangeArrowheads="1"/>
          </p:cNvSpPr>
          <p:nvPr>
            <p:ph type="title"/>
          </p:nvPr>
        </p:nvSpPr>
        <p:spPr>
          <a:xfrm>
            <a:off x="410400" y="478800"/>
            <a:ext cx="9863997" cy="576000"/>
          </a:xfrm>
        </p:spPr>
        <p:txBody>
          <a:bodyPr/>
          <a:lstStyle/>
          <a:p>
            <a:r>
              <a:rPr lang="en-US" noProof="0" dirty="0"/>
              <a:t>Column chart – stacked</a:t>
            </a:r>
            <a:endParaRPr lang="en-US" b="0" noProof="0" dirty="0"/>
          </a:p>
        </p:txBody>
      </p:sp>
      <p:graphicFrame>
        <p:nvGraphicFramePr>
          <p:cNvPr id="8" name="Diagramm 7"/>
          <p:cNvGraphicFramePr/>
          <p:nvPr>
            <p:extLst>
              <p:ext uri="{D42A27DB-BD31-4B8C-83A1-F6EECF244321}">
                <p14:modId xmlns:p14="http://schemas.microsoft.com/office/powerpoint/2010/main" val="1585506410"/>
              </p:ext>
            </p:extLst>
          </p:nvPr>
        </p:nvGraphicFramePr>
        <p:xfrm>
          <a:off x="410400" y="1415849"/>
          <a:ext cx="11376788" cy="4751951"/>
        </p:xfrm>
        <a:graphic>
          <a:graphicData uri="http://schemas.openxmlformats.org/drawingml/2006/chart">
            <c:chart xmlns:c="http://schemas.openxmlformats.org/drawingml/2006/chart" xmlns:r="http://schemas.openxmlformats.org/officeDocument/2006/relationships" r:id="rId3"/>
          </a:graphicData>
        </a:graphic>
      </p:graphicFrame>
      <p:sp>
        <p:nvSpPr>
          <p:cNvPr id="2" name="Footer Placeholder 1">
            <a:extLst>
              <a:ext uri="{FF2B5EF4-FFF2-40B4-BE49-F238E27FC236}">
                <a16:creationId xmlns:a16="http://schemas.microsoft.com/office/drawing/2014/main" id="{511FF16B-9C85-4B66-9114-81CBBC584A48}"/>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3" name="Slide Number Placeholder 2">
            <a:extLst>
              <a:ext uri="{FF2B5EF4-FFF2-40B4-BE49-F238E27FC236}">
                <a16:creationId xmlns:a16="http://schemas.microsoft.com/office/drawing/2014/main" id="{43580A58-09F8-4161-B756-BA8C36DEB404}"/>
              </a:ext>
            </a:extLst>
          </p:cNvPr>
          <p:cNvSpPr>
            <a:spLocks noGrp="1"/>
          </p:cNvSpPr>
          <p:nvPr>
            <p:ph type="sldNum" sz="quarter" idx="11"/>
          </p:nvPr>
        </p:nvSpPr>
        <p:spPr/>
        <p:txBody>
          <a:bodyPr/>
          <a:lstStyle/>
          <a:p>
            <a:r>
              <a:rPr lang="en-US" dirty="0"/>
              <a:t>Page </a:t>
            </a:r>
            <a:fld id="{15EBE321-CBB1-4E91-BD14-37C8D44326FB}" type="slidenum">
              <a:rPr lang="en-US" smtClean="0"/>
              <a:pPr/>
              <a:t>162</a:t>
            </a:fld>
            <a:endParaRPr lang="en-US" dirty="0"/>
          </a:p>
        </p:txBody>
      </p:sp>
    </p:spTree>
    <p:extLst>
      <p:ext uri="{BB962C8B-B14F-4D97-AF65-F5344CB8AC3E}">
        <p14:creationId xmlns:p14="http://schemas.microsoft.com/office/powerpoint/2010/main" val="4242307449"/>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3" name="Rectangle 7"/>
          <p:cNvSpPr>
            <a:spLocks noGrp="1" noChangeArrowheads="1"/>
          </p:cNvSpPr>
          <p:nvPr>
            <p:ph type="title"/>
          </p:nvPr>
        </p:nvSpPr>
        <p:spPr/>
        <p:txBody>
          <a:bodyPr/>
          <a:lstStyle/>
          <a:p>
            <a:r>
              <a:rPr lang="en-US" noProof="0" dirty="0"/>
              <a:t>Column chart – stacked</a:t>
            </a:r>
            <a:endParaRPr lang="en-US" b="0" noProof="0" dirty="0"/>
          </a:p>
        </p:txBody>
      </p:sp>
      <p:graphicFrame>
        <p:nvGraphicFramePr>
          <p:cNvPr id="8" name="Diagramm 7"/>
          <p:cNvGraphicFramePr/>
          <p:nvPr>
            <p:extLst>
              <p:ext uri="{D42A27DB-BD31-4B8C-83A1-F6EECF244321}">
                <p14:modId xmlns:p14="http://schemas.microsoft.com/office/powerpoint/2010/main" val="3600850503"/>
              </p:ext>
            </p:extLst>
          </p:nvPr>
        </p:nvGraphicFramePr>
        <p:xfrm>
          <a:off x="410400" y="1415849"/>
          <a:ext cx="11376788" cy="4751951"/>
        </p:xfrm>
        <a:graphic>
          <a:graphicData uri="http://schemas.openxmlformats.org/drawingml/2006/chart">
            <c:chart xmlns:c="http://schemas.openxmlformats.org/drawingml/2006/chart" xmlns:r="http://schemas.openxmlformats.org/officeDocument/2006/relationships" r:id="rId3"/>
          </a:graphicData>
        </a:graphic>
      </p:graphicFrame>
      <p:sp>
        <p:nvSpPr>
          <p:cNvPr id="2" name="Footer Placeholder 1">
            <a:extLst>
              <a:ext uri="{FF2B5EF4-FFF2-40B4-BE49-F238E27FC236}">
                <a16:creationId xmlns:a16="http://schemas.microsoft.com/office/drawing/2014/main" id="{B2722E88-CC2F-4180-96A9-5E9C49418FDF}"/>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3" name="Slide Number Placeholder 2">
            <a:extLst>
              <a:ext uri="{FF2B5EF4-FFF2-40B4-BE49-F238E27FC236}">
                <a16:creationId xmlns:a16="http://schemas.microsoft.com/office/drawing/2014/main" id="{37CC22C2-E149-4B63-80D6-A958EB6EFA5B}"/>
              </a:ext>
            </a:extLst>
          </p:cNvPr>
          <p:cNvSpPr>
            <a:spLocks noGrp="1"/>
          </p:cNvSpPr>
          <p:nvPr>
            <p:ph type="sldNum" sz="quarter" idx="11"/>
          </p:nvPr>
        </p:nvSpPr>
        <p:spPr/>
        <p:txBody>
          <a:bodyPr/>
          <a:lstStyle/>
          <a:p>
            <a:r>
              <a:rPr lang="en-US" dirty="0"/>
              <a:t>Page </a:t>
            </a:r>
            <a:fld id="{15EBE321-CBB1-4E91-BD14-37C8D44326FB}" type="slidenum">
              <a:rPr lang="en-US" smtClean="0"/>
              <a:pPr/>
              <a:t>163</a:t>
            </a:fld>
            <a:endParaRPr lang="en-US" dirty="0"/>
          </a:p>
        </p:txBody>
      </p:sp>
    </p:spTree>
    <p:extLst>
      <p:ext uri="{BB962C8B-B14F-4D97-AF65-F5344CB8AC3E}">
        <p14:creationId xmlns:p14="http://schemas.microsoft.com/office/powerpoint/2010/main" val="1039227596"/>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3" name="Rectangle 7"/>
          <p:cNvSpPr>
            <a:spLocks noGrp="1" noChangeArrowheads="1"/>
          </p:cNvSpPr>
          <p:nvPr>
            <p:ph type="title"/>
          </p:nvPr>
        </p:nvSpPr>
        <p:spPr>
          <a:xfrm>
            <a:off x="410400" y="478800"/>
            <a:ext cx="9863997" cy="576000"/>
          </a:xfrm>
        </p:spPr>
        <p:txBody>
          <a:bodyPr/>
          <a:lstStyle/>
          <a:p>
            <a:r>
              <a:rPr lang="en-US" noProof="0" dirty="0"/>
              <a:t>Bar chart – stacked</a:t>
            </a:r>
            <a:endParaRPr lang="en-US" b="0" noProof="0" dirty="0"/>
          </a:p>
        </p:txBody>
      </p:sp>
      <p:graphicFrame>
        <p:nvGraphicFramePr>
          <p:cNvPr id="8" name="Diagramm 7"/>
          <p:cNvGraphicFramePr/>
          <p:nvPr>
            <p:extLst>
              <p:ext uri="{D42A27DB-BD31-4B8C-83A1-F6EECF244321}">
                <p14:modId xmlns:p14="http://schemas.microsoft.com/office/powerpoint/2010/main" val="2818950601"/>
              </p:ext>
            </p:extLst>
          </p:nvPr>
        </p:nvGraphicFramePr>
        <p:xfrm>
          <a:off x="410400" y="1415848"/>
          <a:ext cx="11376788" cy="4748913"/>
        </p:xfrm>
        <a:graphic>
          <a:graphicData uri="http://schemas.openxmlformats.org/drawingml/2006/chart">
            <c:chart xmlns:c="http://schemas.openxmlformats.org/drawingml/2006/chart" xmlns:r="http://schemas.openxmlformats.org/officeDocument/2006/relationships" r:id="rId3"/>
          </a:graphicData>
        </a:graphic>
      </p:graphicFrame>
      <p:sp>
        <p:nvSpPr>
          <p:cNvPr id="2" name="Footer Placeholder 1">
            <a:extLst>
              <a:ext uri="{FF2B5EF4-FFF2-40B4-BE49-F238E27FC236}">
                <a16:creationId xmlns:a16="http://schemas.microsoft.com/office/drawing/2014/main" id="{EE6BDDA8-A7B5-421B-B24B-58424832BE0D}"/>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3" name="Slide Number Placeholder 2">
            <a:extLst>
              <a:ext uri="{FF2B5EF4-FFF2-40B4-BE49-F238E27FC236}">
                <a16:creationId xmlns:a16="http://schemas.microsoft.com/office/drawing/2014/main" id="{DD5DCAA1-AC01-44AE-BD7E-5DC867D40061}"/>
              </a:ext>
            </a:extLst>
          </p:cNvPr>
          <p:cNvSpPr>
            <a:spLocks noGrp="1"/>
          </p:cNvSpPr>
          <p:nvPr>
            <p:ph type="sldNum" sz="quarter" idx="11"/>
          </p:nvPr>
        </p:nvSpPr>
        <p:spPr/>
        <p:txBody>
          <a:bodyPr/>
          <a:lstStyle/>
          <a:p>
            <a:r>
              <a:rPr lang="en-US" dirty="0"/>
              <a:t>Page </a:t>
            </a:r>
            <a:fld id="{15EBE321-CBB1-4E91-BD14-37C8D44326FB}" type="slidenum">
              <a:rPr lang="en-US" smtClean="0"/>
              <a:pPr/>
              <a:t>164</a:t>
            </a:fld>
            <a:endParaRPr lang="en-US" dirty="0"/>
          </a:p>
        </p:txBody>
      </p:sp>
    </p:spTree>
    <p:extLst>
      <p:ext uri="{BB962C8B-B14F-4D97-AF65-F5344CB8AC3E}">
        <p14:creationId xmlns:p14="http://schemas.microsoft.com/office/powerpoint/2010/main" val="3114415255"/>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3" name="Rectangle 7"/>
          <p:cNvSpPr>
            <a:spLocks noGrp="1" noChangeArrowheads="1"/>
          </p:cNvSpPr>
          <p:nvPr>
            <p:ph type="title"/>
          </p:nvPr>
        </p:nvSpPr>
        <p:spPr/>
        <p:txBody>
          <a:bodyPr/>
          <a:lstStyle/>
          <a:p>
            <a:r>
              <a:rPr lang="en-US" noProof="0" dirty="0"/>
              <a:t>Bar chart – stacked</a:t>
            </a:r>
            <a:endParaRPr lang="en-US" b="0" noProof="0" dirty="0"/>
          </a:p>
        </p:txBody>
      </p:sp>
      <p:graphicFrame>
        <p:nvGraphicFramePr>
          <p:cNvPr id="8" name="Diagramm 7"/>
          <p:cNvGraphicFramePr/>
          <p:nvPr>
            <p:extLst>
              <p:ext uri="{D42A27DB-BD31-4B8C-83A1-F6EECF244321}">
                <p14:modId xmlns:p14="http://schemas.microsoft.com/office/powerpoint/2010/main" val="60852154"/>
              </p:ext>
            </p:extLst>
          </p:nvPr>
        </p:nvGraphicFramePr>
        <p:xfrm>
          <a:off x="410400" y="1415848"/>
          <a:ext cx="11376788" cy="4748913"/>
        </p:xfrm>
        <a:graphic>
          <a:graphicData uri="http://schemas.openxmlformats.org/drawingml/2006/chart">
            <c:chart xmlns:c="http://schemas.openxmlformats.org/drawingml/2006/chart" xmlns:r="http://schemas.openxmlformats.org/officeDocument/2006/relationships" r:id="rId3"/>
          </a:graphicData>
        </a:graphic>
      </p:graphicFrame>
      <p:sp>
        <p:nvSpPr>
          <p:cNvPr id="2" name="Footer Placeholder 1">
            <a:extLst>
              <a:ext uri="{FF2B5EF4-FFF2-40B4-BE49-F238E27FC236}">
                <a16:creationId xmlns:a16="http://schemas.microsoft.com/office/drawing/2014/main" id="{24EBE71E-246A-4BE0-B07D-AA06816216A8}"/>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3" name="Slide Number Placeholder 2">
            <a:extLst>
              <a:ext uri="{FF2B5EF4-FFF2-40B4-BE49-F238E27FC236}">
                <a16:creationId xmlns:a16="http://schemas.microsoft.com/office/drawing/2014/main" id="{6C526727-7459-4286-96E1-15265B129FB0}"/>
              </a:ext>
            </a:extLst>
          </p:cNvPr>
          <p:cNvSpPr>
            <a:spLocks noGrp="1"/>
          </p:cNvSpPr>
          <p:nvPr>
            <p:ph type="sldNum" sz="quarter" idx="11"/>
          </p:nvPr>
        </p:nvSpPr>
        <p:spPr/>
        <p:txBody>
          <a:bodyPr/>
          <a:lstStyle/>
          <a:p>
            <a:r>
              <a:rPr lang="en-US" dirty="0"/>
              <a:t>Page </a:t>
            </a:r>
            <a:fld id="{15EBE321-CBB1-4E91-BD14-37C8D44326FB}" type="slidenum">
              <a:rPr lang="en-US" smtClean="0"/>
              <a:pPr/>
              <a:t>165</a:t>
            </a:fld>
            <a:endParaRPr lang="en-US" dirty="0"/>
          </a:p>
        </p:txBody>
      </p:sp>
    </p:spTree>
    <p:extLst>
      <p:ext uri="{BB962C8B-B14F-4D97-AF65-F5344CB8AC3E}">
        <p14:creationId xmlns:p14="http://schemas.microsoft.com/office/powerpoint/2010/main" val="1540855742"/>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3" name="Rectangle 7"/>
          <p:cNvSpPr>
            <a:spLocks noGrp="1" noChangeArrowheads="1"/>
          </p:cNvSpPr>
          <p:nvPr>
            <p:ph type="title"/>
          </p:nvPr>
        </p:nvSpPr>
        <p:spPr>
          <a:xfrm>
            <a:off x="410400" y="478800"/>
            <a:ext cx="9863997" cy="576000"/>
          </a:xfrm>
        </p:spPr>
        <p:txBody>
          <a:bodyPr/>
          <a:lstStyle/>
          <a:p>
            <a:r>
              <a:rPr lang="en-US" noProof="0" dirty="0"/>
              <a:t>Bar chart – 100%, stacked</a:t>
            </a:r>
            <a:endParaRPr lang="en-US" b="0" noProof="0" dirty="0"/>
          </a:p>
        </p:txBody>
      </p:sp>
      <p:graphicFrame>
        <p:nvGraphicFramePr>
          <p:cNvPr id="8" name="Diagramm 7"/>
          <p:cNvGraphicFramePr/>
          <p:nvPr>
            <p:extLst>
              <p:ext uri="{D42A27DB-BD31-4B8C-83A1-F6EECF244321}">
                <p14:modId xmlns:p14="http://schemas.microsoft.com/office/powerpoint/2010/main" val="1661475519"/>
              </p:ext>
            </p:extLst>
          </p:nvPr>
        </p:nvGraphicFramePr>
        <p:xfrm>
          <a:off x="410400" y="1415848"/>
          <a:ext cx="11376788" cy="4748913"/>
        </p:xfrm>
        <a:graphic>
          <a:graphicData uri="http://schemas.openxmlformats.org/drawingml/2006/chart">
            <c:chart xmlns:c="http://schemas.openxmlformats.org/drawingml/2006/chart" xmlns:r="http://schemas.openxmlformats.org/officeDocument/2006/relationships" r:id="rId3"/>
          </a:graphicData>
        </a:graphic>
      </p:graphicFrame>
      <p:sp>
        <p:nvSpPr>
          <p:cNvPr id="2" name="Footer Placeholder 1">
            <a:extLst>
              <a:ext uri="{FF2B5EF4-FFF2-40B4-BE49-F238E27FC236}">
                <a16:creationId xmlns:a16="http://schemas.microsoft.com/office/drawing/2014/main" id="{039337BA-018D-4FE0-A5C0-3206A5EA3A8B}"/>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3" name="Slide Number Placeholder 2">
            <a:extLst>
              <a:ext uri="{FF2B5EF4-FFF2-40B4-BE49-F238E27FC236}">
                <a16:creationId xmlns:a16="http://schemas.microsoft.com/office/drawing/2014/main" id="{5557C233-49B5-4AD4-B6B9-16ED7C1DE8AF}"/>
              </a:ext>
            </a:extLst>
          </p:cNvPr>
          <p:cNvSpPr>
            <a:spLocks noGrp="1"/>
          </p:cNvSpPr>
          <p:nvPr>
            <p:ph type="sldNum" sz="quarter" idx="11"/>
          </p:nvPr>
        </p:nvSpPr>
        <p:spPr/>
        <p:txBody>
          <a:bodyPr/>
          <a:lstStyle/>
          <a:p>
            <a:r>
              <a:rPr lang="en-US" dirty="0"/>
              <a:t>Page </a:t>
            </a:r>
            <a:fld id="{15EBE321-CBB1-4E91-BD14-37C8D44326FB}" type="slidenum">
              <a:rPr lang="en-US" smtClean="0"/>
              <a:pPr/>
              <a:t>166</a:t>
            </a:fld>
            <a:endParaRPr lang="en-US" dirty="0"/>
          </a:p>
        </p:txBody>
      </p:sp>
    </p:spTree>
    <p:extLst>
      <p:ext uri="{BB962C8B-B14F-4D97-AF65-F5344CB8AC3E}">
        <p14:creationId xmlns:p14="http://schemas.microsoft.com/office/powerpoint/2010/main" val="3513709048"/>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3" name="Rectangle 7"/>
          <p:cNvSpPr>
            <a:spLocks noGrp="1" noChangeArrowheads="1"/>
          </p:cNvSpPr>
          <p:nvPr>
            <p:ph type="title"/>
          </p:nvPr>
        </p:nvSpPr>
        <p:spPr/>
        <p:txBody>
          <a:bodyPr/>
          <a:lstStyle/>
          <a:p>
            <a:r>
              <a:rPr lang="en-US" noProof="0" dirty="0"/>
              <a:t>Bar chart – 100%, stacked</a:t>
            </a:r>
            <a:endParaRPr lang="en-US" b="0" noProof="0" dirty="0"/>
          </a:p>
        </p:txBody>
      </p:sp>
      <p:graphicFrame>
        <p:nvGraphicFramePr>
          <p:cNvPr id="8" name="Diagramm 7"/>
          <p:cNvGraphicFramePr/>
          <p:nvPr>
            <p:extLst>
              <p:ext uri="{D42A27DB-BD31-4B8C-83A1-F6EECF244321}">
                <p14:modId xmlns:p14="http://schemas.microsoft.com/office/powerpoint/2010/main" val="4227780493"/>
              </p:ext>
            </p:extLst>
          </p:nvPr>
        </p:nvGraphicFramePr>
        <p:xfrm>
          <a:off x="410400" y="1415848"/>
          <a:ext cx="11376788" cy="4748913"/>
        </p:xfrm>
        <a:graphic>
          <a:graphicData uri="http://schemas.openxmlformats.org/drawingml/2006/chart">
            <c:chart xmlns:c="http://schemas.openxmlformats.org/drawingml/2006/chart" xmlns:r="http://schemas.openxmlformats.org/officeDocument/2006/relationships" r:id="rId3"/>
          </a:graphicData>
        </a:graphic>
      </p:graphicFrame>
      <p:sp>
        <p:nvSpPr>
          <p:cNvPr id="2" name="Footer Placeholder 1">
            <a:extLst>
              <a:ext uri="{FF2B5EF4-FFF2-40B4-BE49-F238E27FC236}">
                <a16:creationId xmlns:a16="http://schemas.microsoft.com/office/drawing/2014/main" id="{0768AA39-484B-43C7-A498-0FEEC165F757}"/>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3" name="Slide Number Placeholder 2">
            <a:extLst>
              <a:ext uri="{FF2B5EF4-FFF2-40B4-BE49-F238E27FC236}">
                <a16:creationId xmlns:a16="http://schemas.microsoft.com/office/drawing/2014/main" id="{EA2B78D2-E388-4135-A77E-2864EA87E810}"/>
              </a:ext>
            </a:extLst>
          </p:cNvPr>
          <p:cNvSpPr>
            <a:spLocks noGrp="1"/>
          </p:cNvSpPr>
          <p:nvPr>
            <p:ph type="sldNum" sz="quarter" idx="11"/>
          </p:nvPr>
        </p:nvSpPr>
        <p:spPr/>
        <p:txBody>
          <a:bodyPr/>
          <a:lstStyle/>
          <a:p>
            <a:r>
              <a:rPr lang="en-US" dirty="0"/>
              <a:t>Page </a:t>
            </a:r>
            <a:fld id="{15EBE321-CBB1-4E91-BD14-37C8D44326FB}" type="slidenum">
              <a:rPr lang="en-US" smtClean="0"/>
              <a:pPr/>
              <a:t>167</a:t>
            </a:fld>
            <a:endParaRPr lang="en-US" dirty="0"/>
          </a:p>
        </p:txBody>
      </p:sp>
    </p:spTree>
    <p:extLst>
      <p:ext uri="{BB962C8B-B14F-4D97-AF65-F5344CB8AC3E}">
        <p14:creationId xmlns:p14="http://schemas.microsoft.com/office/powerpoint/2010/main" val="3309014589"/>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3" name="Rectangle 7"/>
          <p:cNvSpPr>
            <a:spLocks noGrp="1" noChangeArrowheads="1"/>
          </p:cNvSpPr>
          <p:nvPr>
            <p:ph type="title"/>
          </p:nvPr>
        </p:nvSpPr>
        <p:spPr>
          <a:xfrm>
            <a:off x="410400" y="478800"/>
            <a:ext cx="9863997" cy="576000"/>
          </a:xfrm>
        </p:spPr>
        <p:txBody>
          <a:bodyPr/>
          <a:lstStyle/>
          <a:p>
            <a:r>
              <a:rPr lang="en-US" dirty="0"/>
              <a:t>Pie chart</a:t>
            </a:r>
            <a:endParaRPr lang="en-US" b="0" dirty="0"/>
          </a:p>
        </p:txBody>
      </p:sp>
      <p:graphicFrame>
        <p:nvGraphicFramePr>
          <p:cNvPr id="8" name="Diagramm 7"/>
          <p:cNvGraphicFramePr/>
          <p:nvPr>
            <p:extLst>
              <p:ext uri="{D42A27DB-BD31-4B8C-83A1-F6EECF244321}">
                <p14:modId xmlns:p14="http://schemas.microsoft.com/office/powerpoint/2010/main" val="1409394775"/>
              </p:ext>
            </p:extLst>
          </p:nvPr>
        </p:nvGraphicFramePr>
        <p:xfrm>
          <a:off x="410400" y="1415848"/>
          <a:ext cx="11376788" cy="4748913"/>
        </p:xfrm>
        <a:graphic>
          <a:graphicData uri="http://schemas.openxmlformats.org/drawingml/2006/chart">
            <c:chart xmlns:c="http://schemas.openxmlformats.org/drawingml/2006/chart" xmlns:r="http://schemas.openxmlformats.org/officeDocument/2006/relationships" r:id="rId3"/>
          </a:graphicData>
        </a:graphic>
      </p:graphicFrame>
      <p:sp>
        <p:nvSpPr>
          <p:cNvPr id="4" name="Rectangle 3"/>
          <p:cNvSpPr>
            <a:spLocks noChangeArrowheads="1"/>
          </p:cNvSpPr>
          <p:nvPr/>
        </p:nvSpPr>
        <p:spPr bwMode="auto">
          <a:xfrm>
            <a:off x="410400" y="1415847"/>
            <a:ext cx="2878501" cy="4391227"/>
          </a:xfrm>
          <a:prstGeom prst="rect">
            <a:avLst/>
          </a:prstGeom>
          <a:noFill/>
          <a:ln w="19050">
            <a:noFill/>
          </a:ln>
          <a:effectLst/>
        </p:spPr>
        <p:txBody>
          <a:bodyPr lIns="0" tIns="0" rIns="0" bIns="0" rtlCol="0" anchor="t" anchorCtr="0"/>
          <a:lstStyle/>
          <a:p>
            <a:pPr>
              <a:lnSpc>
                <a:spcPct val="90000"/>
              </a:lnSpc>
              <a:spcAft>
                <a:spcPts val="600"/>
              </a:spcAft>
              <a:buClr>
                <a:schemeClr val="bg1"/>
              </a:buClr>
            </a:pPr>
            <a:r>
              <a:rPr lang="en-US" sz="1799" b="1" dirty="0">
                <a:solidFill>
                  <a:schemeClr val="accent1"/>
                </a:solidFill>
                <a:ea typeface="Arial Unicode MS"/>
              </a:rPr>
              <a:t>Takima sanctus</a:t>
            </a:r>
          </a:p>
          <a:p>
            <a:pPr marL="179910" indent="-179910">
              <a:buClr>
                <a:schemeClr val="accent1"/>
              </a:buClr>
              <a:buSzPct val="100000"/>
              <a:buFont typeface="Arial" pitchFamily="34" charset="0"/>
              <a:buChar char="•"/>
            </a:pPr>
            <a:r>
              <a:rPr lang="en-US" sz="1799" dirty="0">
                <a:solidFill>
                  <a:srgbClr val="66667E"/>
                </a:solidFill>
              </a:rPr>
              <a:t>Cras ultricies mi eu</a:t>
            </a:r>
          </a:p>
          <a:p>
            <a:pPr marL="179910" indent="-179910">
              <a:buClr>
                <a:schemeClr val="accent1"/>
              </a:buClr>
              <a:buSzPct val="100000"/>
              <a:buFont typeface="Arial" pitchFamily="34" charset="0"/>
              <a:buChar char="•"/>
            </a:pPr>
            <a:r>
              <a:rPr lang="en-US" sz="1799" dirty="0">
                <a:solidFill>
                  <a:srgbClr val="66667E"/>
                </a:solidFill>
              </a:rPr>
              <a:t>Consetetur sadipscing elitr, seddiam nonumy</a:t>
            </a:r>
          </a:p>
          <a:p>
            <a:pPr marL="179910" indent="-179910">
              <a:buClr>
                <a:schemeClr val="accent1"/>
              </a:buClr>
              <a:buSzPct val="100000"/>
              <a:buFont typeface="Arial" pitchFamily="34" charset="0"/>
              <a:buChar char="•"/>
            </a:pPr>
            <a:r>
              <a:rPr lang="en-US" sz="1799" dirty="0">
                <a:solidFill>
                  <a:srgbClr val="66667E"/>
                </a:solidFill>
              </a:rPr>
              <a:t>Duis arcu tortor, suscipit eget</a:t>
            </a:r>
          </a:p>
        </p:txBody>
      </p:sp>
      <p:sp>
        <p:nvSpPr>
          <p:cNvPr id="2" name="Footer Placeholder 1">
            <a:extLst>
              <a:ext uri="{FF2B5EF4-FFF2-40B4-BE49-F238E27FC236}">
                <a16:creationId xmlns:a16="http://schemas.microsoft.com/office/drawing/2014/main" id="{287388AA-893E-4F09-B5FE-5B25B37F1067}"/>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3" name="Slide Number Placeholder 2">
            <a:extLst>
              <a:ext uri="{FF2B5EF4-FFF2-40B4-BE49-F238E27FC236}">
                <a16:creationId xmlns:a16="http://schemas.microsoft.com/office/drawing/2014/main" id="{090C7410-714F-452E-950D-0DDABADB8EBF}"/>
              </a:ext>
            </a:extLst>
          </p:cNvPr>
          <p:cNvSpPr>
            <a:spLocks noGrp="1"/>
          </p:cNvSpPr>
          <p:nvPr>
            <p:ph type="sldNum" sz="quarter" idx="11"/>
          </p:nvPr>
        </p:nvSpPr>
        <p:spPr/>
        <p:txBody>
          <a:bodyPr/>
          <a:lstStyle/>
          <a:p>
            <a:r>
              <a:rPr lang="en-US" dirty="0"/>
              <a:t>Page </a:t>
            </a:r>
            <a:fld id="{15EBE321-CBB1-4E91-BD14-37C8D44326FB}" type="slidenum">
              <a:rPr lang="en-US" smtClean="0"/>
              <a:pPr/>
              <a:t>168</a:t>
            </a:fld>
            <a:endParaRPr lang="en-US" dirty="0"/>
          </a:p>
        </p:txBody>
      </p:sp>
    </p:spTree>
    <p:extLst>
      <p:ext uri="{BB962C8B-B14F-4D97-AF65-F5344CB8AC3E}">
        <p14:creationId xmlns:p14="http://schemas.microsoft.com/office/powerpoint/2010/main" val="2257819769"/>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3" name="Rectangle 7"/>
          <p:cNvSpPr>
            <a:spLocks noGrp="1" noChangeArrowheads="1"/>
          </p:cNvSpPr>
          <p:nvPr>
            <p:ph type="title"/>
          </p:nvPr>
        </p:nvSpPr>
        <p:spPr/>
        <p:txBody>
          <a:bodyPr/>
          <a:lstStyle/>
          <a:p>
            <a:r>
              <a:rPr lang="en-US" dirty="0"/>
              <a:t>Pie chart</a:t>
            </a:r>
            <a:endParaRPr lang="en-US" b="0" dirty="0"/>
          </a:p>
        </p:txBody>
      </p:sp>
      <p:graphicFrame>
        <p:nvGraphicFramePr>
          <p:cNvPr id="8" name="Diagramm 7"/>
          <p:cNvGraphicFramePr/>
          <p:nvPr>
            <p:extLst>
              <p:ext uri="{D42A27DB-BD31-4B8C-83A1-F6EECF244321}">
                <p14:modId xmlns:p14="http://schemas.microsoft.com/office/powerpoint/2010/main" val="1234387046"/>
              </p:ext>
            </p:extLst>
          </p:nvPr>
        </p:nvGraphicFramePr>
        <p:xfrm>
          <a:off x="410400" y="1415848"/>
          <a:ext cx="11376788" cy="4748913"/>
        </p:xfrm>
        <a:graphic>
          <a:graphicData uri="http://schemas.openxmlformats.org/drawingml/2006/chart">
            <c:chart xmlns:c="http://schemas.openxmlformats.org/drawingml/2006/chart" xmlns:r="http://schemas.openxmlformats.org/officeDocument/2006/relationships" r:id="rId3"/>
          </a:graphicData>
        </a:graphic>
      </p:graphicFrame>
      <p:sp>
        <p:nvSpPr>
          <p:cNvPr id="4" name="Rectangle 3"/>
          <p:cNvSpPr>
            <a:spLocks noChangeArrowheads="1"/>
          </p:cNvSpPr>
          <p:nvPr/>
        </p:nvSpPr>
        <p:spPr bwMode="auto">
          <a:xfrm>
            <a:off x="410400" y="1415847"/>
            <a:ext cx="2878501" cy="4391227"/>
          </a:xfrm>
          <a:prstGeom prst="rect">
            <a:avLst/>
          </a:prstGeom>
          <a:noFill/>
          <a:ln w="19050">
            <a:noFill/>
          </a:ln>
          <a:effectLst/>
        </p:spPr>
        <p:txBody>
          <a:bodyPr lIns="0" tIns="0" rIns="0" bIns="0" rtlCol="0" anchor="t" anchorCtr="0"/>
          <a:lstStyle/>
          <a:p>
            <a:pPr>
              <a:lnSpc>
                <a:spcPct val="90000"/>
              </a:lnSpc>
              <a:spcAft>
                <a:spcPts val="600"/>
              </a:spcAft>
              <a:buClr>
                <a:schemeClr val="bg1"/>
              </a:buClr>
            </a:pPr>
            <a:r>
              <a:rPr lang="en-US" sz="1799" b="1" dirty="0">
                <a:solidFill>
                  <a:schemeClr val="accent2"/>
                </a:solidFill>
                <a:ea typeface="Arial Unicode MS"/>
              </a:rPr>
              <a:t>Takima sanctus</a:t>
            </a:r>
          </a:p>
          <a:p>
            <a:pPr marL="179910" indent="-179910">
              <a:buClr>
                <a:schemeClr val="accent1"/>
              </a:buClr>
              <a:buSzPct val="100000"/>
              <a:buFont typeface="Arial" pitchFamily="34" charset="0"/>
              <a:buChar char="•"/>
            </a:pPr>
            <a:r>
              <a:rPr lang="en-US" sz="1799" dirty="0">
                <a:solidFill>
                  <a:srgbClr val="9999A9"/>
                </a:solidFill>
              </a:rPr>
              <a:t>Cras ultricies mi eu</a:t>
            </a:r>
          </a:p>
          <a:p>
            <a:pPr marL="179910" indent="-179910">
              <a:buClr>
                <a:schemeClr val="accent1"/>
              </a:buClr>
              <a:buSzPct val="100000"/>
              <a:buFont typeface="Arial" pitchFamily="34" charset="0"/>
              <a:buChar char="•"/>
            </a:pPr>
            <a:r>
              <a:rPr lang="en-US" sz="1799" dirty="0">
                <a:solidFill>
                  <a:srgbClr val="9999A9"/>
                </a:solidFill>
              </a:rPr>
              <a:t>Consetetur sadipscing elitr, seddiam nonumy</a:t>
            </a:r>
          </a:p>
          <a:p>
            <a:pPr marL="179910" indent="-179910">
              <a:buClr>
                <a:schemeClr val="accent1"/>
              </a:buClr>
              <a:buSzPct val="100000"/>
              <a:buFont typeface="Arial" pitchFamily="34" charset="0"/>
              <a:buChar char="•"/>
            </a:pPr>
            <a:r>
              <a:rPr lang="en-US" sz="1799" dirty="0">
                <a:solidFill>
                  <a:srgbClr val="9999A9"/>
                </a:solidFill>
              </a:rPr>
              <a:t>Duis arcu tortor, suscipit eget</a:t>
            </a:r>
          </a:p>
        </p:txBody>
      </p:sp>
      <p:sp>
        <p:nvSpPr>
          <p:cNvPr id="2" name="Footer Placeholder 1">
            <a:extLst>
              <a:ext uri="{FF2B5EF4-FFF2-40B4-BE49-F238E27FC236}">
                <a16:creationId xmlns:a16="http://schemas.microsoft.com/office/drawing/2014/main" id="{4031B1A6-FE7E-48CB-B108-44F6062AFAE1}"/>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3" name="Slide Number Placeholder 2">
            <a:extLst>
              <a:ext uri="{FF2B5EF4-FFF2-40B4-BE49-F238E27FC236}">
                <a16:creationId xmlns:a16="http://schemas.microsoft.com/office/drawing/2014/main" id="{DBBA8AB3-8EDB-4DD2-B610-5D0D855A8AE3}"/>
              </a:ext>
            </a:extLst>
          </p:cNvPr>
          <p:cNvSpPr>
            <a:spLocks noGrp="1"/>
          </p:cNvSpPr>
          <p:nvPr>
            <p:ph type="sldNum" sz="quarter" idx="11"/>
          </p:nvPr>
        </p:nvSpPr>
        <p:spPr/>
        <p:txBody>
          <a:bodyPr/>
          <a:lstStyle/>
          <a:p>
            <a:r>
              <a:rPr lang="en-US" dirty="0"/>
              <a:t>Page </a:t>
            </a:r>
            <a:fld id="{15EBE321-CBB1-4E91-BD14-37C8D44326FB}" type="slidenum">
              <a:rPr lang="en-US" smtClean="0"/>
              <a:pPr/>
              <a:t>169</a:t>
            </a:fld>
            <a:endParaRPr lang="en-US" dirty="0"/>
          </a:p>
        </p:txBody>
      </p:sp>
    </p:spTree>
    <p:extLst>
      <p:ext uri="{BB962C8B-B14F-4D97-AF65-F5344CB8AC3E}">
        <p14:creationId xmlns:p14="http://schemas.microsoft.com/office/powerpoint/2010/main" val="23595300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hange</a:t>
            </a:r>
          </a:p>
        </p:txBody>
      </p:sp>
      <p:sp>
        <p:nvSpPr>
          <p:cNvPr id="7" name="Footer Placeholder 6">
            <a:extLst>
              <a:ext uri="{FF2B5EF4-FFF2-40B4-BE49-F238E27FC236}">
                <a16:creationId xmlns:a16="http://schemas.microsoft.com/office/drawing/2014/main" id="{6A32203C-1B00-41C7-B67B-39C0F67CD98A}"/>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8" name="Slide Number Placeholder 7">
            <a:extLst>
              <a:ext uri="{FF2B5EF4-FFF2-40B4-BE49-F238E27FC236}">
                <a16:creationId xmlns:a16="http://schemas.microsoft.com/office/drawing/2014/main" id="{73BEAB13-963F-40FF-AFA4-76C9E758B064}"/>
              </a:ext>
            </a:extLst>
          </p:cNvPr>
          <p:cNvSpPr>
            <a:spLocks noGrp="1"/>
          </p:cNvSpPr>
          <p:nvPr>
            <p:ph type="sldNum" sz="quarter" idx="11"/>
          </p:nvPr>
        </p:nvSpPr>
        <p:spPr/>
        <p:txBody>
          <a:bodyPr/>
          <a:lstStyle/>
          <a:p>
            <a:r>
              <a:rPr lang="en-US" dirty="0"/>
              <a:t>Page </a:t>
            </a:r>
            <a:fld id="{15EBE321-CBB1-4E91-BD14-37C8D44326FB}" type="slidenum">
              <a:rPr lang="en-US" smtClean="0"/>
              <a:pPr/>
              <a:t>17</a:t>
            </a:fld>
            <a:endParaRPr lang="en-US" dirty="0"/>
          </a:p>
        </p:txBody>
      </p:sp>
      <p:sp>
        <p:nvSpPr>
          <p:cNvPr id="55" name="AutoShape 5"/>
          <p:cNvSpPr>
            <a:spLocks noChangeArrowheads="1"/>
          </p:cNvSpPr>
          <p:nvPr>
            <p:custDataLst>
              <p:tags r:id="rId1"/>
            </p:custDataLst>
          </p:nvPr>
        </p:nvSpPr>
        <p:spPr bwMode="auto">
          <a:xfrm>
            <a:off x="4298400" y="1415849"/>
            <a:ext cx="3603624" cy="485747"/>
          </a:xfrm>
          <a:prstGeom prst="roundRect">
            <a:avLst>
              <a:gd name="adj" fmla="val 0"/>
            </a:avLst>
          </a:prstGeom>
          <a:noFill/>
          <a:ln w="12700">
            <a:noFill/>
          </a:ln>
          <a:effectLst/>
        </p:spPr>
        <p:txBody>
          <a:bodyPr lIns="215888" tIns="107944" rIns="215888" bIns="143925"/>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eaLnBrk="1" hangingPunct="1">
              <a:spcBef>
                <a:spcPct val="0"/>
              </a:spcBef>
              <a:buClrTx/>
              <a:buFontTx/>
              <a:buNone/>
            </a:pPr>
            <a:r>
              <a:rPr lang="en-US" altLang="de-DE" sz="1799" b="1" dirty="0">
                <a:solidFill>
                  <a:srgbClr val="00FFB9"/>
                </a:solidFill>
                <a:latin typeface="+mn-lt"/>
              </a:rPr>
              <a:t>Actual</a:t>
            </a:r>
          </a:p>
        </p:txBody>
      </p:sp>
      <p:sp>
        <p:nvSpPr>
          <p:cNvPr id="50" name="Text Box 13"/>
          <p:cNvSpPr txBox="1">
            <a:spLocks noChangeArrowheads="1"/>
          </p:cNvSpPr>
          <p:nvPr>
            <p:custDataLst>
              <p:tags r:id="rId2"/>
            </p:custDataLst>
          </p:nvPr>
        </p:nvSpPr>
        <p:spPr bwMode="auto">
          <a:xfrm>
            <a:off x="4298400" y="1901598"/>
            <a:ext cx="3600000" cy="19800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215888" tIns="143925" rIns="143925" bIns="143925">
            <a:noAutofit/>
          </a:bodyPr>
          <a:lstStyle>
            <a:lvl1pPr marL="174625" indent="-174625" algn="l" defTabSz="703263" eaLnBrk="0" hangingPunct="0">
              <a:defRPr sz="2000">
                <a:solidFill>
                  <a:schemeClr val="tx1"/>
                </a:solidFill>
                <a:latin typeface="Arial" charset="0"/>
              </a:defRPr>
            </a:lvl1pPr>
            <a:lvl2pPr marL="742950" indent="-285750" algn="l" defTabSz="703263" eaLnBrk="0" hangingPunct="0">
              <a:defRPr>
                <a:solidFill>
                  <a:schemeClr val="tx1"/>
                </a:solidFill>
                <a:latin typeface="Arial" charset="0"/>
              </a:defRPr>
            </a:lvl2pPr>
            <a:lvl3pPr marL="1143000" indent="-228600" algn="l" defTabSz="703263" eaLnBrk="0" hangingPunct="0">
              <a:defRPr>
                <a:solidFill>
                  <a:schemeClr val="tx1"/>
                </a:solidFill>
                <a:latin typeface="Arial" charset="0"/>
              </a:defRPr>
            </a:lvl3pPr>
            <a:lvl4pPr marL="1600200" indent="-228600" algn="l" defTabSz="703263" eaLnBrk="0" hangingPunct="0">
              <a:defRPr>
                <a:solidFill>
                  <a:schemeClr val="tx1"/>
                </a:solidFill>
                <a:latin typeface="Arial" charset="0"/>
              </a:defRPr>
            </a:lvl4pPr>
            <a:lvl5pPr marL="2057400" indent="-228600" algn="l" defTabSz="703263" eaLnBrk="0" hangingPunct="0">
              <a:defRPr>
                <a:solidFill>
                  <a:schemeClr val="tx1"/>
                </a:solidFill>
                <a:latin typeface="Arial" charset="0"/>
              </a:defRPr>
            </a:lvl5pPr>
            <a:lvl6pPr marL="2514600" indent="-228600" defTabSz="703263"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defTabSz="703263"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defTabSz="703263"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defTabSz="703263"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marL="0" indent="0" eaLnBrk="1" hangingPunct="1">
              <a:spcBef>
                <a:spcPct val="20000"/>
              </a:spcBef>
            </a:pPr>
            <a:r>
              <a:rPr lang="en-US" altLang="de-DE" sz="1799" dirty="0">
                <a:solidFill>
                  <a:srgbClr val="9999A9"/>
                </a:solidFill>
                <a:latin typeface="+mn-lt"/>
              </a:rPr>
              <a:t>Cras ultricies mi eu</a:t>
            </a:r>
          </a:p>
        </p:txBody>
      </p:sp>
      <p:sp>
        <p:nvSpPr>
          <p:cNvPr id="12" name="Text Box 13"/>
          <p:cNvSpPr txBox="1">
            <a:spLocks noChangeArrowheads="1"/>
          </p:cNvSpPr>
          <p:nvPr>
            <p:custDataLst>
              <p:tags r:id="rId3"/>
            </p:custDataLst>
          </p:nvPr>
        </p:nvSpPr>
        <p:spPr bwMode="auto">
          <a:xfrm>
            <a:off x="4298400" y="4042800"/>
            <a:ext cx="3603624" cy="19800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215888" tIns="143925" rIns="143925" bIns="143925">
            <a:noAutofit/>
          </a:bodyPr>
          <a:lstStyle>
            <a:lvl1pPr marL="174625" indent="-174625" algn="l" defTabSz="703263" eaLnBrk="0" hangingPunct="0">
              <a:defRPr sz="2000">
                <a:solidFill>
                  <a:schemeClr val="tx1"/>
                </a:solidFill>
                <a:latin typeface="Arial" charset="0"/>
              </a:defRPr>
            </a:lvl1pPr>
            <a:lvl2pPr marL="742950" indent="-285750" algn="l" defTabSz="703263" eaLnBrk="0" hangingPunct="0">
              <a:defRPr>
                <a:solidFill>
                  <a:schemeClr val="tx1"/>
                </a:solidFill>
                <a:latin typeface="Arial" charset="0"/>
              </a:defRPr>
            </a:lvl2pPr>
            <a:lvl3pPr marL="1143000" indent="-228600" algn="l" defTabSz="703263" eaLnBrk="0" hangingPunct="0">
              <a:defRPr>
                <a:solidFill>
                  <a:schemeClr val="tx1"/>
                </a:solidFill>
                <a:latin typeface="Arial" charset="0"/>
              </a:defRPr>
            </a:lvl3pPr>
            <a:lvl4pPr marL="1600200" indent="-228600" algn="l" defTabSz="703263" eaLnBrk="0" hangingPunct="0">
              <a:defRPr>
                <a:solidFill>
                  <a:schemeClr val="tx1"/>
                </a:solidFill>
                <a:latin typeface="Arial" charset="0"/>
              </a:defRPr>
            </a:lvl4pPr>
            <a:lvl5pPr marL="2057400" indent="-228600" algn="l" defTabSz="703263" eaLnBrk="0" hangingPunct="0">
              <a:defRPr>
                <a:solidFill>
                  <a:schemeClr val="tx1"/>
                </a:solidFill>
                <a:latin typeface="Arial" charset="0"/>
              </a:defRPr>
            </a:lvl5pPr>
            <a:lvl6pPr marL="2514600" indent="-228600" defTabSz="703263"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defTabSz="703263"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defTabSz="703263"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defTabSz="703263"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marL="0" indent="0" eaLnBrk="1" hangingPunct="1">
              <a:spcBef>
                <a:spcPct val="20000"/>
              </a:spcBef>
            </a:pPr>
            <a:r>
              <a:rPr lang="en-US" altLang="de-DE" sz="1799" dirty="0">
                <a:solidFill>
                  <a:srgbClr val="9999A9"/>
                </a:solidFill>
                <a:latin typeface="+mn-lt"/>
              </a:rPr>
              <a:t>At vero eos et accusam</a:t>
            </a:r>
          </a:p>
        </p:txBody>
      </p:sp>
      <p:sp>
        <p:nvSpPr>
          <p:cNvPr id="20" name="Pentagon 19"/>
          <p:cNvSpPr>
            <a:spLocks noChangeArrowheads="1"/>
          </p:cNvSpPr>
          <p:nvPr>
            <p:custDataLst>
              <p:tags r:id="rId4"/>
            </p:custDataLst>
          </p:nvPr>
        </p:nvSpPr>
        <p:spPr bwMode="auto">
          <a:xfrm>
            <a:off x="411164" y="1901598"/>
            <a:ext cx="3600000" cy="1980000"/>
          </a:xfrm>
          <a:prstGeom prst="homePlate">
            <a:avLst>
              <a:gd name="adj" fmla="val 24145"/>
            </a:avLst>
          </a:prstGeom>
          <a:solidFill>
            <a:srgbClr val="333353"/>
          </a:solidFill>
          <a:ln>
            <a:noFill/>
          </a:ln>
          <a:effectLst/>
        </p:spPr>
        <p:txBody>
          <a:bodyPr wrap="square" lIns="215888" tIns="143925" rIns="359813" bIns="143925" anchor="t">
            <a:noAutofit/>
          </a:bodyPr>
          <a:lstStyle>
            <a:lvl1pPr algn="l" defTabSz="844550" eaLnBrk="0" hangingPunct="0">
              <a:defRPr sz="2000">
                <a:solidFill>
                  <a:schemeClr val="tx1"/>
                </a:solidFill>
                <a:latin typeface="Arial" charset="0"/>
              </a:defRPr>
            </a:lvl1pPr>
            <a:lvl2pPr marL="742950" indent="-285750" algn="l" defTabSz="844550" eaLnBrk="0" hangingPunct="0">
              <a:defRPr>
                <a:solidFill>
                  <a:schemeClr val="tx1"/>
                </a:solidFill>
                <a:latin typeface="Arial" charset="0"/>
              </a:defRPr>
            </a:lvl2pPr>
            <a:lvl3pPr marL="1143000" indent="-228600" algn="l" defTabSz="844550" eaLnBrk="0" hangingPunct="0">
              <a:defRPr>
                <a:solidFill>
                  <a:schemeClr val="tx1"/>
                </a:solidFill>
                <a:latin typeface="Arial" charset="0"/>
              </a:defRPr>
            </a:lvl3pPr>
            <a:lvl4pPr marL="1600200" indent="-228600" algn="l" defTabSz="844550" eaLnBrk="0" hangingPunct="0">
              <a:defRPr>
                <a:solidFill>
                  <a:schemeClr val="tx1"/>
                </a:solidFill>
                <a:latin typeface="Arial" charset="0"/>
              </a:defRPr>
            </a:lvl4pPr>
            <a:lvl5pPr marL="2057400" indent="-228600" algn="l" defTabSz="844550" eaLnBrk="0" hangingPunct="0">
              <a:defRPr>
                <a:solidFill>
                  <a:schemeClr val="tx1"/>
                </a:solidFill>
                <a:latin typeface="Arial" charset="0"/>
              </a:defRPr>
            </a:lvl5pPr>
            <a:lvl6pPr marL="2514600" indent="-228600" defTabSz="84455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defTabSz="84455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defTabSz="84455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defTabSz="84455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spcBef>
                <a:spcPct val="0"/>
              </a:spcBef>
              <a:buClrTx/>
              <a:buFontTx/>
              <a:buNone/>
            </a:pPr>
            <a:r>
              <a:rPr lang="en-US" altLang="de-DE" sz="1799" b="1" dirty="0">
                <a:solidFill>
                  <a:schemeClr val="tx2"/>
                </a:solidFill>
                <a:latin typeface="+mn-lt"/>
              </a:rPr>
              <a:t>Duis arcu tortor, suscipit eget, imperdiet nec, imperdiet</a:t>
            </a:r>
          </a:p>
        </p:txBody>
      </p:sp>
      <p:sp>
        <p:nvSpPr>
          <p:cNvPr id="18" name="Pentagon 17"/>
          <p:cNvSpPr>
            <a:spLocks noChangeArrowheads="1"/>
          </p:cNvSpPr>
          <p:nvPr>
            <p:custDataLst>
              <p:tags r:id="rId5"/>
            </p:custDataLst>
          </p:nvPr>
        </p:nvSpPr>
        <p:spPr bwMode="auto">
          <a:xfrm>
            <a:off x="411163" y="4042800"/>
            <a:ext cx="3600000" cy="1980000"/>
          </a:xfrm>
          <a:prstGeom prst="homePlate">
            <a:avLst>
              <a:gd name="adj" fmla="val 24145"/>
            </a:avLst>
          </a:prstGeom>
          <a:solidFill>
            <a:schemeClr val="tx2"/>
          </a:solidFill>
          <a:ln>
            <a:noFill/>
          </a:ln>
          <a:effectLst/>
        </p:spPr>
        <p:txBody>
          <a:bodyPr wrap="square" lIns="215888" tIns="143925" rIns="359813" bIns="143925" anchor="t">
            <a:noAutofit/>
          </a:bodyPr>
          <a:lstStyle>
            <a:lvl1pPr algn="l" defTabSz="844550" eaLnBrk="0" hangingPunct="0">
              <a:defRPr sz="2000">
                <a:solidFill>
                  <a:schemeClr val="tx1"/>
                </a:solidFill>
                <a:latin typeface="Arial" charset="0"/>
              </a:defRPr>
            </a:lvl1pPr>
            <a:lvl2pPr marL="742950" indent="-285750" algn="l" defTabSz="844550" eaLnBrk="0" hangingPunct="0">
              <a:defRPr>
                <a:solidFill>
                  <a:schemeClr val="tx1"/>
                </a:solidFill>
                <a:latin typeface="Arial" charset="0"/>
              </a:defRPr>
            </a:lvl2pPr>
            <a:lvl3pPr marL="1143000" indent="-228600" algn="l" defTabSz="844550" eaLnBrk="0" hangingPunct="0">
              <a:defRPr>
                <a:solidFill>
                  <a:schemeClr val="tx1"/>
                </a:solidFill>
                <a:latin typeface="Arial" charset="0"/>
              </a:defRPr>
            </a:lvl3pPr>
            <a:lvl4pPr marL="1600200" indent="-228600" algn="l" defTabSz="844550" eaLnBrk="0" hangingPunct="0">
              <a:defRPr>
                <a:solidFill>
                  <a:schemeClr val="tx1"/>
                </a:solidFill>
                <a:latin typeface="Arial" charset="0"/>
              </a:defRPr>
            </a:lvl4pPr>
            <a:lvl5pPr marL="2057400" indent="-228600" algn="l" defTabSz="844550" eaLnBrk="0" hangingPunct="0">
              <a:defRPr>
                <a:solidFill>
                  <a:schemeClr val="tx1"/>
                </a:solidFill>
                <a:latin typeface="Arial" charset="0"/>
              </a:defRPr>
            </a:lvl5pPr>
            <a:lvl6pPr marL="2514600" indent="-228600" defTabSz="84455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defTabSz="84455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defTabSz="84455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defTabSz="84455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spcBef>
                <a:spcPct val="0"/>
              </a:spcBef>
              <a:buClrTx/>
              <a:buFontTx/>
              <a:buNone/>
            </a:pPr>
            <a:r>
              <a:rPr lang="en-US" altLang="de-DE" sz="1799" b="1" dirty="0">
                <a:solidFill>
                  <a:schemeClr val="bg2"/>
                </a:solidFill>
                <a:latin typeface="+mn-lt"/>
              </a:rPr>
              <a:t>Cras ultricies mi eu res</a:t>
            </a:r>
          </a:p>
        </p:txBody>
      </p:sp>
      <p:sp>
        <p:nvSpPr>
          <p:cNvPr id="15" name="AutoShape 5">
            <a:extLst>
              <a:ext uri="{FF2B5EF4-FFF2-40B4-BE49-F238E27FC236}">
                <a16:creationId xmlns:a16="http://schemas.microsoft.com/office/drawing/2014/main" id="{861DBACD-3BF1-5844-B51D-F2EB6E78AB86}"/>
              </a:ext>
            </a:extLst>
          </p:cNvPr>
          <p:cNvSpPr>
            <a:spLocks noChangeArrowheads="1"/>
          </p:cNvSpPr>
          <p:nvPr>
            <p:custDataLst>
              <p:tags r:id="rId6"/>
            </p:custDataLst>
          </p:nvPr>
        </p:nvSpPr>
        <p:spPr bwMode="auto">
          <a:xfrm>
            <a:off x="8186400" y="1415849"/>
            <a:ext cx="3603624" cy="485747"/>
          </a:xfrm>
          <a:prstGeom prst="roundRect">
            <a:avLst>
              <a:gd name="adj" fmla="val 0"/>
            </a:avLst>
          </a:prstGeom>
          <a:noFill/>
          <a:ln w="12700">
            <a:noFill/>
          </a:ln>
          <a:effectLst/>
        </p:spPr>
        <p:txBody>
          <a:bodyPr lIns="215888" tIns="107944" rIns="215888" bIns="143925"/>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eaLnBrk="1" hangingPunct="1">
              <a:spcBef>
                <a:spcPct val="0"/>
              </a:spcBef>
              <a:buClrTx/>
              <a:buFontTx/>
              <a:buNone/>
            </a:pPr>
            <a:r>
              <a:rPr lang="en-US" altLang="de-DE" sz="1799" b="1" dirty="0">
                <a:solidFill>
                  <a:srgbClr val="00FFB9"/>
                </a:solidFill>
                <a:latin typeface="+mn-lt"/>
              </a:rPr>
              <a:t>Planned</a:t>
            </a:r>
          </a:p>
        </p:txBody>
      </p:sp>
      <p:sp>
        <p:nvSpPr>
          <p:cNvPr id="16" name="Text Box 13">
            <a:extLst>
              <a:ext uri="{FF2B5EF4-FFF2-40B4-BE49-F238E27FC236}">
                <a16:creationId xmlns:a16="http://schemas.microsoft.com/office/drawing/2014/main" id="{483E9395-3511-384F-A63D-9FA0C73AF223}"/>
              </a:ext>
            </a:extLst>
          </p:cNvPr>
          <p:cNvSpPr txBox="1">
            <a:spLocks noChangeArrowheads="1"/>
          </p:cNvSpPr>
          <p:nvPr>
            <p:custDataLst>
              <p:tags r:id="rId7"/>
            </p:custDataLst>
          </p:nvPr>
        </p:nvSpPr>
        <p:spPr bwMode="auto">
          <a:xfrm>
            <a:off x="8186400" y="1901598"/>
            <a:ext cx="3600000" cy="19800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215888" tIns="143925" rIns="143925" bIns="143925">
            <a:noAutofit/>
          </a:bodyPr>
          <a:lstStyle>
            <a:lvl1pPr marL="174625" indent="-174625" algn="l" defTabSz="703263" eaLnBrk="0" hangingPunct="0">
              <a:defRPr sz="2000">
                <a:solidFill>
                  <a:schemeClr val="tx1"/>
                </a:solidFill>
                <a:latin typeface="Arial" charset="0"/>
              </a:defRPr>
            </a:lvl1pPr>
            <a:lvl2pPr marL="742950" indent="-285750" algn="l" defTabSz="703263" eaLnBrk="0" hangingPunct="0">
              <a:defRPr>
                <a:solidFill>
                  <a:schemeClr val="tx1"/>
                </a:solidFill>
                <a:latin typeface="Arial" charset="0"/>
              </a:defRPr>
            </a:lvl2pPr>
            <a:lvl3pPr marL="1143000" indent="-228600" algn="l" defTabSz="703263" eaLnBrk="0" hangingPunct="0">
              <a:defRPr>
                <a:solidFill>
                  <a:schemeClr val="tx1"/>
                </a:solidFill>
                <a:latin typeface="Arial" charset="0"/>
              </a:defRPr>
            </a:lvl3pPr>
            <a:lvl4pPr marL="1600200" indent="-228600" algn="l" defTabSz="703263" eaLnBrk="0" hangingPunct="0">
              <a:defRPr>
                <a:solidFill>
                  <a:schemeClr val="tx1"/>
                </a:solidFill>
                <a:latin typeface="Arial" charset="0"/>
              </a:defRPr>
            </a:lvl4pPr>
            <a:lvl5pPr marL="2057400" indent="-228600" algn="l" defTabSz="703263" eaLnBrk="0" hangingPunct="0">
              <a:defRPr>
                <a:solidFill>
                  <a:schemeClr val="tx1"/>
                </a:solidFill>
                <a:latin typeface="Arial" charset="0"/>
              </a:defRPr>
            </a:lvl5pPr>
            <a:lvl6pPr marL="2514600" indent="-228600" defTabSz="703263"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defTabSz="703263"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defTabSz="703263"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defTabSz="703263"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marL="0" indent="0" eaLnBrk="1" hangingPunct="1">
              <a:spcBef>
                <a:spcPct val="20000"/>
              </a:spcBef>
            </a:pPr>
            <a:r>
              <a:rPr lang="en-US" altLang="de-DE" sz="1799" dirty="0">
                <a:solidFill>
                  <a:srgbClr val="9999A9"/>
                </a:solidFill>
                <a:latin typeface="+mn-lt"/>
              </a:rPr>
              <a:t>Duis arcu tortor, suscipit eget, imperdiet nec, imperdiet iaculis, ipsum</a:t>
            </a:r>
          </a:p>
        </p:txBody>
      </p:sp>
      <p:sp>
        <p:nvSpPr>
          <p:cNvPr id="17" name="Text Box 13">
            <a:extLst>
              <a:ext uri="{FF2B5EF4-FFF2-40B4-BE49-F238E27FC236}">
                <a16:creationId xmlns:a16="http://schemas.microsoft.com/office/drawing/2014/main" id="{AD984606-7CF0-3C4A-950A-570299853F5F}"/>
              </a:ext>
            </a:extLst>
          </p:cNvPr>
          <p:cNvSpPr txBox="1">
            <a:spLocks noChangeArrowheads="1"/>
          </p:cNvSpPr>
          <p:nvPr>
            <p:custDataLst>
              <p:tags r:id="rId8"/>
            </p:custDataLst>
          </p:nvPr>
        </p:nvSpPr>
        <p:spPr bwMode="auto">
          <a:xfrm>
            <a:off x="8186400" y="4042800"/>
            <a:ext cx="3603624" cy="19800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215888" tIns="143925" rIns="143925" bIns="143925">
            <a:noAutofit/>
          </a:bodyPr>
          <a:lstStyle>
            <a:lvl1pPr marL="174625" indent="-174625" algn="l" defTabSz="703263" eaLnBrk="0" hangingPunct="0">
              <a:defRPr sz="2000">
                <a:solidFill>
                  <a:schemeClr val="tx1"/>
                </a:solidFill>
                <a:latin typeface="Arial" charset="0"/>
              </a:defRPr>
            </a:lvl1pPr>
            <a:lvl2pPr marL="742950" indent="-285750" algn="l" defTabSz="703263" eaLnBrk="0" hangingPunct="0">
              <a:defRPr>
                <a:solidFill>
                  <a:schemeClr val="tx1"/>
                </a:solidFill>
                <a:latin typeface="Arial" charset="0"/>
              </a:defRPr>
            </a:lvl2pPr>
            <a:lvl3pPr marL="1143000" indent="-228600" algn="l" defTabSz="703263" eaLnBrk="0" hangingPunct="0">
              <a:defRPr>
                <a:solidFill>
                  <a:schemeClr val="tx1"/>
                </a:solidFill>
                <a:latin typeface="Arial" charset="0"/>
              </a:defRPr>
            </a:lvl3pPr>
            <a:lvl4pPr marL="1600200" indent="-228600" algn="l" defTabSz="703263" eaLnBrk="0" hangingPunct="0">
              <a:defRPr>
                <a:solidFill>
                  <a:schemeClr val="tx1"/>
                </a:solidFill>
                <a:latin typeface="Arial" charset="0"/>
              </a:defRPr>
            </a:lvl4pPr>
            <a:lvl5pPr marL="2057400" indent="-228600" algn="l" defTabSz="703263" eaLnBrk="0" hangingPunct="0">
              <a:defRPr>
                <a:solidFill>
                  <a:schemeClr val="tx1"/>
                </a:solidFill>
                <a:latin typeface="Arial" charset="0"/>
              </a:defRPr>
            </a:lvl5pPr>
            <a:lvl6pPr marL="2514600" indent="-228600" defTabSz="703263"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defTabSz="703263"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defTabSz="703263"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defTabSz="703263"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marL="0" indent="0" eaLnBrk="1" hangingPunct="1">
              <a:spcBef>
                <a:spcPct val="20000"/>
              </a:spcBef>
            </a:pPr>
            <a:r>
              <a:rPr lang="en-US" altLang="de-DE" sz="1799" dirty="0">
                <a:solidFill>
                  <a:srgbClr val="9999A9"/>
                </a:solidFill>
                <a:latin typeface="+mn-lt"/>
              </a:rPr>
              <a:t>Phasellus nec sem</a:t>
            </a:r>
          </a:p>
        </p:txBody>
      </p:sp>
      <p:cxnSp>
        <p:nvCxnSpPr>
          <p:cNvPr id="4" name="Straight Connector 3"/>
          <p:cNvCxnSpPr/>
          <p:nvPr/>
        </p:nvCxnSpPr>
        <p:spPr bwMode="auto">
          <a:xfrm>
            <a:off x="4292702" y="1901599"/>
            <a:ext cx="3603624" cy="0"/>
          </a:xfrm>
          <a:prstGeom prst="line">
            <a:avLst/>
          </a:prstGeom>
          <a:solidFill>
            <a:schemeClr val="tx2"/>
          </a:solidFill>
          <a:ln w="12700" cap="flat" cmpd="sng" algn="ctr">
            <a:solidFill>
              <a:srgbClr val="00FFB9"/>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Straight Connector 12"/>
          <p:cNvCxnSpPr/>
          <p:nvPr/>
        </p:nvCxnSpPr>
        <p:spPr bwMode="auto">
          <a:xfrm>
            <a:off x="8183564" y="1901599"/>
            <a:ext cx="3603624" cy="0"/>
          </a:xfrm>
          <a:prstGeom prst="line">
            <a:avLst/>
          </a:prstGeom>
          <a:solidFill>
            <a:schemeClr val="tx2"/>
          </a:solidFill>
          <a:ln w="12700" cap="flat" cmpd="sng" algn="ctr">
            <a:solidFill>
              <a:srgbClr val="00FFB9"/>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3426780801"/>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3" name="Rectangle 7"/>
          <p:cNvSpPr>
            <a:spLocks noGrp="1" noChangeArrowheads="1"/>
          </p:cNvSpPr>
          <p:nvPr>
            <p:ph type="title"/>
          </p:nvPr>
        </p:nvSpPr>
        <p:spPr>
          <a:xfrm>
            <a:off x="410400" y="478800"/>
            <a:ext cx="9863997" cy="576000"/>
          </a:xfrm>
        </p:spPr>
        <p:txBody>
          <a:bodyPr/>
          <a:lstStyle/>
          <a:p>
            <a:r>
              <a:rPr lang="en-US" dirty="0"/>
              <a:t>Pie charts</a:t>
            </a:r>
            <a:endParaRPr lang="en-US" b="0" dirty="0"/>
          </a:p>
        </p:txBody>
      </p:sp>
      <p:grpSp>
        <p:nvGrpSpPr>
          <p:cNvPr id="2" name="Group 1"/>
          <p:cNvGrpSpPr/>
          <p:nvPr/>
        </p:nvGrpSpPr>
        <p:grpSpPr>
          <a:xfrm>
            <a:off x="410400" y="1415849"/>
            <a:ext cx="3598126" cy="4752000"/>
            <a:chOff x="578412" y="1447298"/>
            <a:chExt cx="3600000" cy="4473229"/>
          </a:xfrm>
        </p:grpSpPr>
        <p:graphicFrame>
          <p:nvGraphicFramePr>
            <p:cNvPr id="8" name="Diagramm 7"/>
            <p:cNvGraphicFramePr/>
            <p:nvPr>
              <p:extLst>
                <p:ext uri="{D42A27DB-BD31-4B8C-83A1-F6EECF244321}">
                  <p14:modId xmlns:p14="http://schemas.microsoft.com/office/powerpoint/2010/main" val="1479240040"/>
                </p:ext>
              </p:extLst>
            </p:nvPr>
          </p:nvGraphicFramePr>
          <p:xfrm>
            <a:off x="578412" y="1447298"/>
            <a:ext cx="3600000" cy="4473229"/>
          </p:xfrm>
          <a:graphic>
            <a:graphicData uri="http://schemas.openxmlformats.org/drawingml/2006/chart">
              <c:chart xmlns:c="http://schemas.openxmlformats.org/drawingml/2006/chart" xmlns:r="http://schemas.openxmlformats.org/officeDocument/2006/relationships" r:id="rId3"/>
            </a:graphicData>
          </a:graphic>
        </p:graphicFrame>
        <p:sp>
          <p:nvSpPr>
            <p:cNvPr id="5" name="Rectangle 4"/>
            <p:cNvSpPr>
              <a:spLocks noChangeArrowheads="1"/>
            </p:cNvSpPr>
            <p:nvPr/>
          </p:nvSpPr>
          <p:spPr bwMode="auto">
            <a:xfrm>
              <a:off x="1274505" y="2663776"/>
              <a:ext cx="2231910" cy="2099969"/>
            </a:xfrm>
            <a:prstGeom prst="rect">
              <a:avLst/>
            </a:prstGeom>
            <a:noFill/>
            <a:ln w="19050">
              <a:noFill/>
            </a:ln>
            <a:effectLst/>
          </p:spPr>
          <p:txBody>
            <a:bodyPr lIns="0" tIns="0" rIns="0" bIns="0" rtlCol="0" anchor="ctr" anchorCtr="0"/>
            <a:lstStyle/>
            <a:p>
              <a:pPr algn="ctr">
                <a:tabLst>
                  <a:tab pos="1255085" algn="r"/>
                </a:tabLst>
                <a:defRPr/>
              </a:pPr>
              <a:r>
                <a:rPr lang="en-US" altLang="de-DE" sz="1799" b="1" dirty="0">
                  <a:solidFill>
                    <a:srgbClr val="66667E"/>
                  </a:solidFill>
                  <a:ea typeface="Arial Unicode MS"/>
                </a:rPr>
                <a:t>Cras ultricies</a:t>
              </a:r>
              <a:endParaRPr lang="en-US" altLang="de-DE" sz="1599" b="1" dirty="0">
                <a:solidFill>
                  <a:srgbClr val="66667E"/>
                </a:solidFill>
                <a:ea typeface="Arial Unicode MS"/>
              </a:endParaRPr>
            </a:p>
            <a:p>
              <a:pPr marL="0" lvl="1" algn="ctr">
                <a:spcBef>
                  <a:spcPts val="300"/>
                </a:spcBef>
                <a:buClr>
                  <a:srgbClr val="3C464B"/>
                </a:buClr>
                <a:tabLst>
                  <a:tab pos="1255085" algn="r"/>
                </a:tabLst>
                <a:defRPr/>
              </a:pPr>
              <a:r>
                <a:rPr lang="en-US" altLang="de-DE" sz="1399" dirty="0">
                  <a:solidFill>
                    <a:srgbClr val="66667E"/>
                  </a:solidFill>
                  <a:ea typeface="Arial Unicode MS"/>
                  <a:cs typeface="Arial" pitchFamily="34" charset="0"/>
                </a:rPr>
                <a:t>Duis arcu tortor, </a:t>
              </a:r>
              <a:br>
                <a:rPr lang="en-US" altLang="de-DE" sz="1399" dirty="0">
                  <a:solidFill>
                    <a:srgbClr val="66667E"/>
                  </a:solidFill>
                  <a:ea typeface="Arial Unicode MS"/>
                  <a:cs typeface="Arial" pitchFamily="34" charset="0"/>
                </a:rPr>
              </a:br>
              <a:r>
                <a:rPr lang="en-US" altLang="de-DE" sz="1399" dirty="0">
                  <a:solidFill>
                    <a:srgbClr val="66667E"/>
                  </a:solidFill>
                  <a:ea typeface="Arial Unicode MS"/>
                  <a:cs typeface="Arial" pitchFamily="34" charset="0"/>
                </a:rPr>
                <a:t>suscipit eget</a:t>
              </a:r>
            </a:p>
          </p:txBody>
        </p:sp>
      </p:grpSp>
      <p:grpSp>
        <p:nvGrpSpPr>
          <p:cNvPr id="7" name="Group 6"/>
          <p:cNvGrpSpPr/>
          <p:nvPr/>
        </p:nvGrpSpPr>
        <p:grpSpPr>
          <a:xfrm>
            <a:off x="4298400" y="1415849"/>
            <a:ext cx="3598126" cy="4752000"/>
            <a:chOff x="578412" y="1447298"/>
            <a:chExt cx="3600000" cy="4473229"/>
          </a:xfrm>
        </p:grpSpPr>
        <p:graphicFrame>
          <p:nvGraphicFramePr>
            <p:cNvPr id="9" name="Diagramm 7"/>
            <p:cNvGraphicFramePr/>
            <p:nvPr>
              <p:extLst>
                <p:ext uri="{D42A27DB-BD31-4B8C-83A1-F6EECF244321}">
                  <p14:modId xmlns:p14="http://schemas.microsoft.com/office/powerpoint/2010/main" val="2287120358"/>
                </p:ext>
              </p:extLst>
            </p:nvPr>
          </p:nvGraphicFramePr>
          <p:xfrm>
            <a:off x="578412" y="1447298"/>
            <a:ext cx="3600000" cy="4473229"/>
          </p:xfrm>
          <a:graphic>
            <a:graphicData uri="http://schemas.openxmlformats.org/drawingml/2006/chart">
              <c:chart xmlns:c="http://schemas.openxmlformats.org/drawingml/2006/chart" xmlns:r="http://schemas.openxmlformats.org/officeDocument/2006/relationships" r:id="rId4"/>
            </a:graphicData>
          </a:graphic>
        </p:graphicFrame>
        <p:sp>
          <p:nvSpPr>
            <p:cNvPr id="10" name="Rectangle 9"/>
            <p:cNvSpPr>
              <a:spLocks noChangeArrowheads="1"/>
            </p:cNvSpPr>
            <p:nvPr/>
          </p:nvSpPr>
          <p:spPr bwMode="auto">
            <a:xfrm>
              <a:off x="1274505" y="2663776"/>
              <a:ext cx="2231910" cy="2099969"/>
            </a:xfrm>
            <a:prstGeom prst="rect">
              <a:avLst/>
            </a:prstGeom>
            <a:noFill/>
            <a:ln w="19050">
              <a:noFill/>
            </a:ln>
            <a:effectLst/>
          </p:spPr>
          <p:txBody>
            <a:bodyPr lIns="0" tIns="0" rIns="0" bIns="0" rtlCol="0" anchor="ctr" anchorCtr="0"/>
            <a:lstStyle/>
            <a:p>
              <a:pPr algn="ctr">
                <a:tabLst>
                  <a:tab pos="1255085" algn="r"/>
                </a:tabLst>
                <a:defRPr/>
              </a:pPr>
              <a:r>
                <a:rPr lang="en-US" altLang="de-DE" sz="1799" b="1" dirty="0">
                  <a:solidFill>
                    <a:srgbClr val="66667E"/>
                  </a:solidFill>
                  <a:ea typeface="Arial Unicode MS"/>
                </a:rPr>
                <a:t>Duis arcu tortor</a:t>
              </a:r>
              <a:endParaRPr lang="en-US" altLang="de-DE" sz="1599" b="1" dirty="0">
                <a:solidFill>
                  <a:srgbClr val="66667E"/>
                </a:solidFill>
                <a:ea typeface="Arial Unicode MS"/>
              </a:endParaRPr>
            </a:p>
            <a:p>
              <a:pPr marL="0" lvl="1" algn="ctr">
                <a:spcBef>
                  <a:spcPts val="300"/>
                </a:spcBef>
                <a:buClr>
                  <a:srgbClr val="3C464B"/>
                </a:buClr>
                <a:tabLst>
                  <a:tab pos="1255085" algn="r"/>
                </a:tabLst>
                <a:defRPr/>
              </a:pPr>
              <a:r>
                <a:rPr lang="en-US" altLang="de-DE" sz="1399" dirty="0">
                  <a:solidFill>
                    <a:srgbClr val="66667E"/>
                  </a:solidFill>
                  <a:ea typeface="Arial Unicode MS"/>
                  <a:cs typeface="Arial" pitchFamily="34" charset="0"/>
                </a:rPr>
                <a:t>Phasellus nec sem</a:t>
              </a:r>
            </a:p>
          </p:txBody>
        </p:sp>
      </p:grpSp>
      <p:grpSp>
        <p:nvGrpSpPr>
          <p:cNvPr id="11" name="Group 10"/>
          <p:cNvGrpSpPr/>
          <p:nvPr/>
        </p:nvGrpSpPr>
        <p:grpSpPr>
          <a:xfrm>
            <a:off x="8186400" y="1415849"/>
            <a:ext cx="3598126" cy="4752000"/>
            <a:chOff x="578412" y="1447298"/>
            <a:chExt cx="3600000" cy="4473229"/>
          </a:xfrm>
        </p:grpSpPr>
        <p:graphicFrame>
          <p:nvGraphicFramePr>
            <p:cNvPr id="12" name="Diagramm 7"/>
            <p:cNvGraphicFramePr/>
            <p:nvPr>
              <p:extLst>
                <p:ext uri="{D42A27DB-BD31-4B8C-83A1-F6EECF244321}">
                  <p14:modId xmlns:p14="http://schemas.microsoft.com/office/powerpoint/2010/main" val="654448332"/>
                </p:ext>
              </p:extLst>
            </p:nvPr>
          </p:nvGraphicFramePr>
          <p:xfrm>
            <a:off x="578412" y="1447298"/>
            <a:ext cx="3600000" cy="4473229"/>
          </p:xfrm>
          <a:graphic>
            <a:graphicData uri="http://schemas.openxmlformats.org/drawingml/2006/chart">
              <c:chart xmlns:c="http://schemas.openxmlformats.org/drawingml/2006/chart" xmlns:r="http://schemas.openxmlformats.org/officeDocument/2006/relationships" r:id="rId5"/>
            </a:graphicData>
          </a:graphic>
        </p:graphicFrame>
        <p:sp>
          <p:nvSpPr>
            <p:cNvPr id="13" name="Rectangle 12"/>
            <p:cNvSpPr>
              <a:spLocks noChangeArrowheads="1"/>
            </p:cNvSpPr>
            <p:nvPr/>
          </p:nvSpPr>
          <p:spPr bwMode="auto">
            <a:xfrm>
              <a:off x="1274505" y="2663776"/>
              <a:ext cx="2231910" cy="2099969"/>
            </a:xfrm>
            <a:prstGeom prst="rect">
              <a:avLst/>
            </a:prstGeom>
            <a:noFill/>
            <a:ln w="19050">
              <a:noFill/>
            </a:ln>
            <a:effectLst/>
          </p:spPr>
          <p:txBody>
            <a:bodyPr lIns="0" tIns="0" rIns="0" bIns="0" rtlCol="0" anchor="ctr" anchorCtr="0"/>
            <a:lstStyle/>
            <a:p>
              <a:pPr algn="ctr">
                <a:tabLst>
                  <a:tab pos="1255085" algn="r"/>
                </a:tabLst>
                <a:defRPr/>
              </a:pPr>
              <a:r>
                <a:rPr lang="en-US" altLang="de-DE" sz="1799" b="1" dirty="0">
                  <a:solidFill>
                    <a:srgbClr val="66667E"/>
                  </a:solidFill>
                  <a:ea typeface="Arial Unicode MS"/>
                </a:rPr>
                <a:t>Phasellus </a:t>
              </a:r>
              <a:br>
                <a:rPr lang="en-US" altLang="de-DE" sz="1799" b="1" dirty="0">
                  <a:solidFill>
                    <a:srgbClr val="66667E"/>
                  </a:solidFill>
                  <a:ea typeface="Arial Unicode MS"/>
                </a:rPr>
              </a:br>
              <a:r>
                <a:rPr lang="en-US" altLang="de-DE" sz="1799" b="1" dirty="0">
                  <a:solidFill>
                    <a:srgbClr val="66667E"/>
                  </a:solidFill>
                  <a:ea typeface="Arial Unicode MS"/>
                </a:rPr>
                <a:t>nec sem</a:t>
              </a:r>
              <a:endParaRPr lang="en-US" altLang="de-DE" sz="1599" b="1" dirty="0">
                <a:solidFill>
                  <a:srgbClr val="66667E"/>
                </a:solidFill>
                <a:ea typeface="Arial Unicode MS"/>
              </a:endParaRPr>
            </a:p>
            <a:p>
              <a:pPr marL="0" lvl="1" algn="ctr">
                <a:spcBef>
                  <a:spcPts val="300"/>
                </a:spcBef>
                <a:buClr>
                  <a:srgbClr val="3C464B"/>
                </a:buClr>
                <a:tabLst>
                  <a:tab pos="1255085" algn="r"/>
                </a:tabLst>
                <a:defRPr/>
              </a:pPr>
              <a:r>
                <a:rPr lang="en-US" altLang="de-DE" sz="1399" dirty="0">
                  <a:solidFill>
                    <a:srgbClr val="66667E"/>
                  </a:solidFill>
                  <a:ea typeface="Arial Unicode MS"/>
                  <a:cs typeface="Arial" pitchFamily="34" charset="0"/>
                </a:rPr>
                <a:t>Cras ultricies mi eu</a:t>
              </a:r>
            </a:p>
          </p:txBody>
        </p:sp>
      </p:grpSp>
      <p:sp>
        <p:nvSpPr>
          <p:cNvPr id="3" name="Footer Placeholder 2">
            <a:extLst>
              <a:ext uri="{FF2B5EF4-FFF2-40B4-BE49-F238E27FC236}">
                <a16:creationId xmlns:a16="http://schemas.microsoft.com/office/drawing/2014/main" id="{2DC4CCEA-AE42-4DBD-9A7A-2E3B1990B3B2}"/>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38458DFE-F006-4E8B-BAC1-DB146A2E7DDA}"/>
              </a:ext>
            </a:extLst>
          </p:cNvPr>
          <p:cNvSpPr>
            <a:spLocks noGrp="1"/>
          </p:cNvSpPr>
          <p:nvPr>
            <p:ph type="sldNum" sz="quarter" idx="11"/>
          </p:nvPr>
        </p:nvSpPr>
        <p:spPr/>
        <p:txBody>
          <a:bodyPr/>
          <a:lstStyle/>
          <a:p>
            <a:r>
              <a:rPr lang="en-US" dirty="0"/>
              <a:t>Page </a:t>
            </a:r>
            <a:fld id="{15EBE321-CBB1-4E91-BD14-37C8D44326FB}" type="slidenum">
              <a:rPr lang="en-US" smtClean="0"/>
              <a:pPr/>
              <a:t>170</a:t>
            </a:fld>
            <a:endParaRPr lang="en-US" dirty="0"/>
          </a:p>
        </p:txBody>
      </p:sp>
    </p:spTree>
    <p:extLst>
      <p:ext uri="{BB962C8B-B14F-4D97-AF65-F5344CB8AC3E}">
        <p14:creationId xmlns:p14="http://schemas.microsoft.com/office/powerpoint/2010/main" val="3710589868"/>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3" name="Rectangle 7"/>
          <p:cNvSpPr>
            <a:spLocks noGrp="1" noChangeArrowheads="1"/>
          </p:cNvSpPr>
          <p:nvPr>
            <p:ph type="title"/>
          </p:nvPr>
        </p:nvSpPr>
        <p:spPr/>
        <p:txBody>
          <a:bodyPr/>
          <a:lstStyle/>
          <a:p>
            <a:r>
              <a:rPr lang="en-US" dirty="0"/>
              <a:t>Pie charts</a:t>
            </a:r>
            <a:endParaRPr lang="en-US" b="0" dirty="0"/>
          </a:p>
        </p:txBody>
      </p:sp>
      <p:sp>
        <p:nvSpPr>
          <p:cNvPr id="3" name="Footer Placeholder 2">
            <a:extLst>
              <a:ext uri="{FF2B5EF4-FFF2-40B4-BE49-F238E27FC236}">
                <a16:creationId xmlns:a16="http://schemas.microsoft.com/office/drawing/2014/main" id="{2DC4CCEA-AE42-4DBD-9A7A-2E3B1990B3B2}"/>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38458DFE-F006-4E8B-BAC1-DB146A2E7DDA}"/>
              </a:ext>
            </a:extLst>
          </p:cNvPr>
          <p:cNvSpPr>
            <a:spLocks noGrp="1"/>
          </p:cNvSpPr>
          <p:nvPr>
            <p:ph type="sldNum" sz="quarter" idx="11"/>
          </p:nvPr>
        </p:nvSpPr>
        <p:spPr/>
        <p:txBody>
          <a:bodyPr/>
          <a:lstStyle/>
          <a:p>
            <a:r>
              <a:rPr lang="en-US" dirty="0"/>
              <a:t>Page </a:t>
            </a:r>
            <a:fld id="{15EBE321-CBB1-4E91-BD14-37C8D44326FB}" type="slidenum">
              <a:rPr lang="en-US" smtClean="0"/>
              <a:pPr/>
              <a:t>171</a:t>
            </a:fld>
            <a:endParaRPr lang="en-US" dirty="0"/>
          </a:p>
        </p:txBody>
      </p:sp>
      <p:grpSp>
        <p:nvGrpSpPr>
          <p:cNvPr id="2" name="Group 1"/>
          <p:cNvGrpSpPr/>
          <p:nvPr/>
        </p:nvGrpSpPr>
        <p:grpSpPr>
          <a:xfrm>
            <a:off x="410400" y="1415849"/>
            <a:ext cx="3598126" cy="4752000"/>
            <a:chOff x="578412" y="1447298"/>
            <a:chExt cx="3600000" cy="4473229"/>
          </a:xfrm>
        </p:grpSpPr>
        <p:graphicFrame>
          <p:nvGraphicFramePr>
            <p:cNvPr id="8" name="Diagramm 7"/>
            <p:cNvGraphicFramePr/>
            <p:nvPr>
              <p:extLst>
                <p:ext uri="{D42A27DB-BD31-4B8C-83A1-F6EECF244321}">
                  <p14:modId xmlns:p14="http://schemas.microsoft.com/office/powerpoint/2010/main" val="3843352794"/>
                </p:ext>
              </p:extLst>
            </p:nvPr>
          </p:nvGraphicFramePr>
          <p:xfrm>
            <a:off x="578412" y="1447298"/>
            <a:ext cx="3600000" cy="4473229"/>
          </p:xfrm>
          <a:graphic>
            <a:graphicData uri="http://schemas.openxmlformats.org/drawingml/2006/chart">
              <c:chart xmlns:c="http://schemas.openxmlformats.org/drawingml/2006/chart" xmlns:r="http://schemas.openxmlformats.org/officeDocument/2006/relationships" r:id="rId3"/>
            </a:graphicData>
          </a:graphic>
        </p:graphicFrame>
        <p:sp>
          <p:nvSpPr>
            <p:cNvPr id="5" name="Rectangle 4"/>
            <p:cNvSpPr>
              <a:spLocks noChangeArrowheads="1"/>
            </p:cNvSpPr>
            <p:nvPr/>
          </p:nvSpPr>
          <p:spPr bwMode="auto">
            <a:xfrm>
              <a:off x="1274505" y="2663776"/>
              <a:ext cx="2231910" cy="2099969"/>
            </a:xfrm>
            <a:prstGeom prst="rect">
              <a:avLst/>
            </a:prstGeom>
            <a:noFill/>
            <a:ln w="19050">
              <a:noFill/>
            </a:ln>
            <a:effectLst/>
          </p:spPr>
          <p:txBody>
            <a:bodyPr lIns="0" tIns="0" rIns="0" bIns="0" rtlCol="0" anchor="ctr" anchorCtr="0"/>
            <a:lstStyle/>
            <a:p>
              <a:pPr algn="ctr">
                <a:tabLst>
                  <a:tab pos="1255085" algn="r"/>
                </a:tabLst>
                <a:defRPr/>
              </a:pPr>
              <a:r>
                <a:rPr lang="en-US" altLang="de-DE" sz="1799" b="1" dirty="0">
                  <a:solidFill>
                    <a:srgbClr val="9999A9"/>
                  </a:solidFill>
                  <a:ea typeface="Arial Unicode MS"/>
                </a:rPr>
                <a:t>Cras ultricies</a:t>
              </a:r>
              <a:endParaRPr lang="en-US" altLang="de-DE" sz="1599" b="1" dirty="0">
                <a:solidFill>
                  <a:srgbClr val="9999A9"/>
                </a:solidFill>
                <a:ea typeface="Arial Unicode MS"/>
              </a:endParaRPr>
            </a:p>
            <a:p>
              <a:pPr marL="0" lvl="1" algn="ctr">
                <a:spcBef>
                  <a:spcPts val="300"/>
                </a:spcBef>
                <a:buClr>
                  <a:srgbClr val="3C464B"/>
                </a:buClr>
                <a:tabLst>
                  <a:tab pos="1255085" algn="r"/>
                </a:tabLst>
                <a:defRPr/>
              </a:pPr>
              <a:r>
                <a:rPr lang="en-US" altLang="de-DE" sz="1399" dirty="0">
                  <a:solidFill>
                    <a:srgbClr val="9999A9"/>
                  </a:solidFill>
                  <a:ea typeface="Arial Unicode MS"/>
                  <a:cs typeface="Arial" pitchFamily="34" charset="0"/>
                </a:rPr>
                <a:t>Duis arcu tortor, </a:t>
              </a:r>
              <a:br>
                <a:rPr lang="en-US" altLang="de-DE" sz="1399" dirty="0">
                  <a:solidFill>
                    <a:srgbClr val="9999A9"/>
                  </a:solidFill>
                  <a:ea typeface="Arial Unicode MS"/>
                  <a:cs typeface="Arial" pitchFamily="34" charset="0"/>
                </a:rPr>
              </a:br>
              <a:r>
                <a:rPr lang="en-US" altLang="de-DE" sz="1399" dirty="0">
                  <a:solidFill>
                    <a:srgbClr val="9999A9"/>
                  </a:solidFill>
                  <a:ea typeface="Arial Unicode MS"/>
                  <a:cs typeface="Arial" pitchFamily="34" charset="0"/>
                </a:rPr>
                <a:t>suscipit eget</a:t>
              </a:r>
            </a:p>
          </p:txBody>
        </p:sp>
      </p:grpSp>
      <p:grpSp>
        <p:nvGrpSpPr>
          <p:cNvPr id="7" name="Group 6"/>
          <p:cNvGrpSpPr/>
          <p:nvPr/>
        </p:nvGrpSpPr>
        <p:grpSpPr>
          <a:xfrm>
            <a:off x="4298400" y="1415849"/>
            <a:ext cx="3598126" cy="4752000"/>
            <a:chOff x="578412" y="1447298"/>
            <a:chExt cx="3600000" cy="4473229"/>
          </a:xfrm>
        </p:grpSpPr>
        <p:graphicFrame>
          <p:nvGraphicFramePr>
            <p:cNvPr id="9" name="Diagramm 7"/>
            <p:cNvGraphicFramePr/>
            <p:nvPr>
              <p:extLst>
                <p:ext uri="{D42A27DB-BD31-4B8C-83A1-F6EECF244321}">
                  <p14:modId xmlns:p14="http://schemas.microsoft.com/office/powerpoint/2010/main" val="2026309035"/>
                </p:ext>
              </p:extLst>
            </p:nvPr>
          </p:nvGraphicFramePr>
          <p:xfrm>
            <a:off x="578412" y="1447298"/>
            <a:ext cx="3600000" cy="4473229"/>
          </p:xfrm>
          <a:graphic>
            <a:graphicData uri="http://schemas.openxmlformats.org/drawingml/2006/chart">
              <c:chart xmlns:c="http://schemas.openxmlformats.org/drawingml/2006/chart" xmlns:r="http://schemas.openxmlformats.org/officeDocument/2006/relationships" r:id="rId4"/>
            </a:graphicData>
          </a:graphic>
        </p:graphicFrame>
        <p:sp>
          <p:nvSpPr>
            <p:cNvPr id="10" name="Rectangle 9"/>
            <p:cNvSpPr>
              <a:spLocks noChangeArrowheads="1"/>
            </p:cNvSpPr>
            <p:nvPr/>
          </p:nvSpPr>
          <p:spPr bwMode="auto">
            <a:xfrm>
              <a:off x="1274505" y="2663776"/>
              <a:ext cx="2231910" cy="2099969"/>
            </a:xfrm>
            <a:prstGeom prst="rect">
              <a:avLst/>
            </a:prstGeom>
            <a:noFill/>
            <a:ln w="19050">
              <a:noFill/>
            </a:ln>
            <a:effectLst/>
          </p:spPr>
          <p:txBody>
            <a:bodyPr lIns="0" tIns="0" rIns="0" bIns="0" rtlCol="0" anchor="ctr" anchorCtr="0"/>
            <a:lstStyle/>
            <a:p>
              <a:pPr algn="ctr">
                <a:tabLst>
                  <a:tab pos="1255085" algn="r"/>
                </a:tabLst>
                <a:defRPr/>
              </a:pPr>
              <a:r>
                <a:rPr lang="en-US" altLang="de-DE" sz="1799" b="1" dirty="0">
                  <a:solidFill>
                    <a:srgbClr val="9999A9"/>
                  </a:solidFill>
                  <a:ea typeface="Arial Unicode MS"/>
                </a:rPr>
                <a:t>Duis arcu tortor</a:t>
              </a:r>
              <a:endParaRPr lang="en-US" altLang="de-DE" sz="1599" b="1" dirty="0">
                <a:solidFill>
                  <a:srgbClr val="9999A9"/>
                </a:solidFill>
                <a:ea typeface="Arial Unicode MS"/>
              </a:endParaRPr>
            </a:p>
            <a:p>
              <a:pPr marL="0" lvl="1" algn="ctr">
                <a:spcBef>
                  <a:spcPts val="300"/>
                </a:spcBef>
                <a:buClr>
                  <a:srgbClr val="3C464B"/>
                </a:buClr>
                <a:tabLst>
                  <a:tab pos="1255085" algn="r"/>
                </a:tabLst>
                <a:defRPr/>
              </a:pPr>
              <a:r>
                <a:rPr lang="en-US" altLang="de-DE" sz="1399" dirty="0">
                  <a:solidFill>
                    <a:srgbClr val="9999A9"/>
                  </a:solidFill>
                  <a:ea typeface="Arial Unicode MS"/>
                  <a:cs typeface="Arial" pitchFamily="34" charset="0"/>
                </a:rPr>
                <a:t>Phasellus nec sem</a:t>
              </a:r>
            </a:p>
          </p:txBody>
        </p:sp>
      </p:grpSp>
      <p:grpSp>
        <p:nvGrpSpPr>
          <p:cNvPr id="11" name="Group 10"/>
          <p:cNvGrpSpPr/>
          <p:nvPr/>
        </p:nvGrpSpPr>
        <p:grpSpPr>
          <a:xfrm>
            <a:off x="8186400" y="1415849"/>
            <a:ext cx="3598126" cy="4752000"/>
            <a:chOff x="578412" y="1447298"/>
            <a:chExt cx="3600000" cy="4473229"/>
          </a:xfrm>
        </p:grpSpPr>
        <p:graphicFrame>
          <p:nvGraphicFramePr>
            <p:cNvPr id="12" name="Diagramm 7"/>
            <p:cNvGraphicFramePr/>
            <p:nvPr>
              <p:extLst>
                <p:ext uri="{D42A27DB-BD31-4B8C-83A1-F6EECF244321}">
                  <p14:modId xmlns:p14="http://schemas.microsoft.com/office/powerpoint/2010/main" val="2600617308"/>
                </p:ext>
              </p:extLst>
            </p:nvPr>
          </p:nvGraphicFramePr>
          <p:xfrm>
            <a:off x="578412" y="1447298"/>
            <a:ext cx="3600000" cy="4473229"/>
          </p:xfrm>
          <a:graphic>
            <a:graphicData uri="http://schemas.openxmlformats.org/drawingml/2006/chart">
              <c:chart xmlns:c="http://schemas.openxmlformats.org/drawingml/2006/chart" xmlns:r="http://schemas.openxmlformats.org/officeDocument/2006/relationships" r:id="rId5"/>
            </a:graphicData>
          </a:graphic>
        </p:graphicFrame>
        <p:sp>
          <p:nvSpPr>
            <p:cNvPr id="13" name="Rectangle 12"/>
            <p:cNvSpPr>
              <a:spLocks noChangeArrowheads="1"/>
            </p:cNvSpPr>
            <p:nvPr/>
          </p:nvSpPr>
          <p:spPr bwMode="auto">
            <a:xfrm>
              <a:off x="1274505" y="2663776"/>
              <a:ext cx="2231910" cy="2099969"/>
            </a:xfrm>
            <a:prstGeom prst="rect">
              <a:avLst/>
            </a:prstGeom>
            <a:noFill/>
            <a:ln w="19050">
              <a:noFill/>
            </a:ln>
            <a:effectLst/>
          </p:spPr>
          <p:txBody>
            <a:bodyPr lIns="0" tIns="0" rIns="0" bIns="0" rtlCol="0" anchor="ctr" anchorCtr="0"/>
            <a:lstStyle/>
            <a:p>
              <a:pPr algn="ctr">
                <a:tabLst>
                  <a:tab pos="1255085" algn="r"/>
                </a:tabLst>
                <a:defRPr/>
              </a:pPr>
              <a:r>
                <a:rPr lang="en-US" altLang="de-DE" sz="1799" b="1" dirty="0">
                  <a:solidFill>
                    <a:srgbClr val="9999A9"/>
                  </a:solidFill>
                  <a:ea typeface="Arial Unicode MS"/>
                </a:rPr>
                <a:t>Phasellus </a:t>
              </a:r>
              <a:br>
                <a:rPr lang="en-US" altLang="de-DE" sz="1799" b="1" dirty="0">
                  <a:solidFill>
                    <a:srgbClr val="9999A9"/>
                  </a:solidFill>
                  <a:ea typeface="Arial Unicode MS"/>
                </a:rPr>
              </a:br>
              <a:r>
                <a:rPr lang="en-US" altLang="de-DE" sz="1799" b="1" dirty="0">
                  <a:solidFill>
                    <a:srgbClr val="9999A9"/>
                  </a:solidFill>
                  <a:ea typeface="Arial Unicode MS"/>
                </a:rPr>
                <a:t>nec sem</a:t>
              </a:r>
              <a:endParaRPr lang="en-US" altLang="de-DE" sz="1599" b="1" dirty="0">
                <a:solidFill>
                  <a:srgbClr val="9999A9"/>
                </a:solidFill>
                <a:ea typeface="Arial Unicode MS"/>
              </a:endParaRPr>
            </a:p>
            <a:p>
              <a:pPr marL="0" lvl="1" algn="ctr">
                <a:spcBef>
                  <a:spcPts val="300"/>
                </a:spcBef>
                <a:buClr>
                  <a:srgbClr val="3C464B"/>
                </a:buClr>
                <a:tabLst>
                  <a:tab pos="1255085" algn="r"/>
                </a:tabLst>
                <a:defRPr/>
              </a:pPr>
              <a:r>
                <a:rPr lang="en-US" altLang="de-DE" sz="1399" dirty="0">
                  <a:solidFill>
                    <a:srgbClr val="9999A9"/>
                  </a:solidFill>
                  <a:ea typeface="Arial Unicode MS"/>
                  <a:cs typeface="Arial" pitchFamily="34" charset="0"/>
                </a:rPr>
                <a:t>Cras ultricies mi eu</a:t>
              </a:r>
            </a:p>
          </p:txBody>
        </p:sp>
      </p:grpSp>
    </p:spTree>
    <p:extLst>
      <p:ext uri="{BB962C8B-B14F-4D97-AF65-F5344CB8AC3E}">
        <p14:creationId xmlns:p14="http://schemas.microsoft.com/office/powerpoint/2010/main" val="1670143496"/>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3" name="Rectangle 7"/>
          <p:cNvSpPr>
            <a:spLocks noGrp="1" noChangeArrowheads="1"/>
          </p:cNvSpPr>
          <p:nvPr>
            <p:ph type="title"/>
          </p:nvPr>
        </p:nvSpPr>
        <p:spPr>
          <a:xfrm>
            <a:off x="410400" y="478800"/>
            <a:ext cx="9863997" cy="576000"/>
          </a:xfrm>
        </p:spPr>
        <p:txBody>
          <a:bodyPr/>
          <a:lstStyle/>
          <a:p>
            <a:r>
              <a:rPr lang="en-US" noProof="0" dirty="0"/>
              <a:t>Line chart (horizontal)</a:t>
            </a:r>
            <a:endParaRPr lang="en-US" b="0" noProof="0" dirty="0"/>
          </a:p>
        </p:txBody>
      </p:sp>
      <p:graphicFrame>
        <p:nvGraphicFramePr>
          <p:cNvPr id="7" name="Diagramm 6"/>
          <p:cNvGraphicFramePr/>
          <p:nvPr>
            <p:extLst>
              <p:ext uri="{D42A27DB-BD31-4B8C-83A1-F6EECF244321}">
                <p14:modId xmlns:p14="http://schemas.microsoft.com/office/powerpoint/2010/main" val="4290397054"/>
              </p:ext>
            </p:extLst>
          </p:nvPr>
        </p:nvGraphicFramePr>
        <p:xfrm>
          <a:off x="410400" y="1415849"/>
          <a:ext cx="11376788" cy="4751951"/>
        </p:xfrm>
        <a:graphic>
          <a:graphicData uri="http://schemas.openxmlformats.org/drawingml/2006/chart">
            <c:chart xmlns:c="http://schemas.openxmlformats.org/drawingml/2006/chart" xmlns:r="http://schemas.openxmlformats.org/officeDocument/2006/relationships" r:id="rId3"/>
          </a:graphicData>
        </a:graphic>
      </p:graphicFrame>
      <p:sp>
        <p:nvSpPr>
          <p:cNvPr id="2" name="Footer Placeholder 1">
            <a:extLst>
              <a:ext uri="{FF2B5EF4-FFF2-40B4-BE49-F238E27FC236}">
                <a16:creationId xmlns:a16="http://schemas.microsoft.com/office/drawing/2014/main" id="{20514E66-D943-4965-BA31-038B99970B23}"/>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3" name="Slide Number Placeholder 2">
            <a:extLst>
              <a:ext uri="{FF2B5EF4-FFF2-40B4-BE49-F238E27FC236}">
                <a16:creationId xmlns:a16="http://schemas.microsoft.com/office/drawing/2014/main" id="{B036C54C-7CC1-4130-AD9F-D2594E7B2973}"/>
              </a:ext>
            </a:extLst>
          </p:cNvPr>
          <p:cNvSpPr>
            <a:spLocks noGrp="1"/>
          </p:cNvSpPr>
          <p:nvPr>
            <p:ph type="sldNum" sz="quarter" idx="11"/>
          </p:nvPr>
        </p:nvSpPr>
        <p:spPr/>
        <p:txBody>
          <a:bodyPr/>
          <a:lstStyle/>
          <a:p>
            <a:r>
              <a:rPr lang="en-US" dirty="0"/>
              <a:t>Page </a:t>
            </a:r>
            <a:fld id="{15EBE321-CBB1-4E91-BD14-37C8D44326FB}" type="slidenum">
              <a:rPr lang="en-US" smtClean="0"/>
              <a:pPr/>
              <a:t>172</a:t>
            </a:fld>
            <a:endParaRPr lang="en-US" dirty="0"/>
          </a:p>
        </p:txBody>
      </p:sp>
    </p:spTree>
    <p:extLst>
      <p:ext uri="{BB962C8B-B14F-4D97-AF65-F5344CB8AC3E}">
        <p14:creationId xmlns:p14="http://schemas.microsoft.com/office/powerpoint/2010/main" val="521644653"/>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3" name="Rectangle 7"/>
          <p:cNvSpPr>
            <a:spLocks noGrp="1" noChangeArrowheads="1"/>
          </p:cNvSpPr>
          <p:nvPr>
            <p:ph type="title"/>
          </p:nvPr>
        </p:nvSpPr>
        <p:spPr/>
        <p:txBody>
          <a:bodyPr/>
          <a:lstStyle/>
          <a:p>
            <a:r>
              <a:rPr lang="en-US" noProof="0" dirty="0"/>
              <a:t>Line chart (horizontal)</a:t>
            </a:r>
            <a:endParaRPr lang="en-US" b="0" noProof="0" dirty="0"/>
          </a:p>
        </p:txBody>
      </p:sp>
      <p:graphicFrame>
        <p:nvGraphicFramePr>
          <p:cNvPr id="7" name="Diagramm 6"/>
          <p:cNvGraphicFramePr/>
          <p:nvPr>
            <p:extLst>
              <p:ext uri="{D42A27DB-BD31-4B8C-83A1-F6EECF244321}">
                <p14:modId xmlns:p14="http://schemas.microsoft.com/office/powerpoint/2010/main" val="1563034035"/>
              </p:ext>
            </p:extLst>
          </p:nvPr>
        </p:nvGraphicFramePr>
        <p:xfrm>
          <a:off x="410400" y="1415849"/>
          <a:ext cx="11376788" cy="4751951"/>
        </p:xfrm>
        <a:graphic>
          <a:graphicData uri="http://schemas.openxmlformats.org/drawingml/2006/chart">
            <c:chart xmlns:c="http://schemas.openxmlformats.org/drawingml/2006/chart" xmlns:r="http://schemas.openxmlformats.org/officeDocument/2006/relationships" r:id="rId3"/>
          </a:graphicData>
        </a:graphic>
      </p:graphicFrame>
      <p:sp>
        <p:nvSpPr>
          <p:cNvPr id="2" name="Footer Placeholder 1">
            <a:extLst>
              <a:ext uri="{FF2B5EF4-FFF2-40B4-BE49-F238E27FC236}">
                <a16:creationId xmlns:a16="http://schemas.microsoft.com/office/drawing/2014/main" id="{B8CAE583-1C1F-4AC6-AF2C-6951E1E38D91}"/>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3" name="Slide Number Placeholder 2">
            <a:extLst>
              <a:ext uri="{FF2B5EF4-FFF2-40B4-BE49-F238E27FC236}">
                <a16:creationId xmlns:a16="http://schemas.microsoft.com/office/drawing/2014/main" id="{0F00C94C-1EF3-4668-84D7-11E7E5F22A3F}"/>
              </a:ext>
            </a:extLst>
          </p:cNvPr>
          <p:cNvSpPr>
            <a:spLocks noGrp="1"/>
          </p:cNvSpPr>
          <p:nvPr>
            <p:ph type="sldNum" sz="quarter" idx="11"/>
          </p:nvPr>
        </p:nvSpPr>
        <p:spPr/>
        <p:txBody>
          <a:bodyPr/>
          <a:lstStyle/>
          <a:p>
            <a:r>
              <a:rPr lang="en-US" dirty="0"/>
              <a:t>Page </a:t>
            </a:r>
            <a:fld id="{15EBE321-CBB1-4E91-BD14-37C8D44326FB}" type="slidenum">
              <a:rPr lang="en-US" smtClean="0"/>
              <a:pPr/>
              <a:t>173</a:t>
            </a:fld>
            <a:endParaRPr lang="en-US" dirty="0"/>
          </a:p>
        </p:txBody>
      </p:sp>
    </p:spTree>
    <p:extLst>
      <p:ext uri="{BB962C8B-B14F-4D97-AF65-F5344CB8AC3E}">
        <p14:creationId xmlns:p14="http://schemas.microsoft.com/office/powerpoint/2010/main" val="3507388398"/>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Group 5">
            <a:extLst>
              <a:ext uri="{FF2B5EF4-FFF2-40B4-BE49-F238E27FC236}">
                <a16:creationId xmlns:a16="http://schemas.microsoft.com/office/drawing/2014/main" id="{77C5997D-3927-49CF-A69A-35644C4117B8}"/>
              </a:ext>
            </a:extLst>
          </p:cNvPr>
          <p:cNvGrpSpPr/>
          <p:nvPr/>
        </p:nvGrpSpPr>
        <p:grpSpPr>
          <a:xfrm>
            <a:off x="410398" y="1414800"/>
            <a:ext cx="11376790" cy="4752638"/>
            <a:chOff x="3291414" y="1933896"/>
            <a:chExt cx="11381405" cy="4410382"/>
          </a:xfrm>
        </p:grpSpPr>
        <p:graphicFrame>
          <p:nvGraphicFramePr>
            <p:cNvPr id="32" name="Object 3">
              <a:extLst>
                <a:ext uri="{FF2B5EF4-FFF2-40B4-BE49-F238E27FC236}">
                  <a16:creationId xmlns:a16="http://schemas.microsoft.com/office/drawing/2014/main" id="{C8CFB3C2-EDDC-4A79-8EF1-BDF758F1B686}"/>
                </a:ext>
              </a:extLst>
            </p:cNvPr>
            <p:cNvGraphicFramePr>
              <a:graphicFrameLocks noChangeAspect="1"/>
            </p:cNvGraphicFramePr>
            <p:nvPr>
              <p:custDataLst>
                <p:tags r:id="rId3"/>
              </p:custDataLst>
              <p:extLst>
                <p:ext uri="{D42A27DB-BD31-4B8C-83A1-F6EECF244321}">
                  <p14:modId xmlns:p14="http://schemas.microsoft.com/office/powerpoint/2010/main" val="1911923971"/>
                </p:ext>
              </p:extLst>
            </p:nvPr>
          </p:nvGraphicFramePr>
          <p:xfrm>
            <a:off x="4947858" y="1933896"/>
            <a:ext cx="9724961" cy="4410382"/>
          </p:xfrm>
          <a:graphic>
            <a:graphicData uri="http://schemas.openxmlformats.org/drawingml/2006/chart">
              <c:chart xmlns:c="http://schemas.openxmlformats.org/drawingml/2006/chart" xmlns:r="http://schemas.openxmlformats.org/officeDocument/2006/relationships" r:id="rId15"/>
            </a:graphicData>
          </a:graphic>
        </p:graphicFrame>
        <p:grpSp>
          <p:nvGrpSpPr>
            <p:cNvPr id="31" name="Group 4">
              <a:extLst>
                <a:ext uri="{FF2B5EF4-FFF2-40B4-BE49-F238E27FC236}">
                  <a16:creationId xmlns:a16="http://schemas.microsoft.com/office/drawing/2014/main" id="{BDDC68C9-4539-4E29-9343-0612949D691A}"/>
                </a:ext>
              </a:extLst>
            </p:cNvPr>
            <p:cNvGrpSpPr>
              <a:grpSpLocks/>
            </p:cNvGrpSpPr>
            <p:nvPr/>
          </p:nvGrpSpPr>
          <p:grpSpPr bwMode="auto">
            <a:xfrm>
              <a:off x="3291414" y="2451811"/>
              <a:ext cx="1512777" cy="3289069"/>
              <a:chOff x="1345" y="1751"/>
              <a:chExt cx="904" cy="1965"/>
            </a:xfrm>
          </p:grpSpPr>
          <p:sp>
            <p:nvSpPr>
              <p:cNvPr id="33" name="Text Box 5">
                <a:extLst>
                  <a:ext uri="{FF2B5EF4-FFF2-40B4-BE49-F238E27FC236}">
                    <a16:creationId xmlns:a16="http://schemas.microsoft.com/office/drawing/2014/main" id="{89C9BC40-C108-4E8C-A03B-2B4EB4A690BD}"/>
                  </a:ext>
                </a:extLst>
              </p:cNvPr>
              <p:cNvSpPr txBox="1">
                <a:spLocks noChangeArrowheads="1"/>
              </p:cNvSpPr>
              <p:nvPr>
                <p:custDataLst>
                  <p:tags r:id="rId4"/>
                </p:custDataLst>
              </p:nvPr>
            </p:nvSpPr>
            <p:spPr bwMode="auto">
              <a:xfrm>
                <a:off x="1345" y="1751"/>
                <a:ext cx="904" cy="110"/>
              </a:xfrm>
              <a:prstGeom prst="rect">
                <a:avLst/>
              </a:prstGeom>
              <a:noFill/>
              <a:ln w="9525">
                <a:noFill/>
                <a:miter lim="800000"/>
                <a:headEnd/>
                <a:tailEnd/>
              </a:ln>
            </p:spPr>
            <p:txBody>
              <a:bodyPr wrap="none" lIns="0" tIns="0" rIns="0" bIns="0" anchor="ctr">
                <a:noAutofit/>
              </a:bodyPr>
              <a:lstStyle/>
              <a:p>
                <a:pPr algn="r" eaLnBrk="0" hangingPunct="0">
                  <a:lnSpc>
                    <a:spcPct val="100000"/>
                  </a:lnSpc>
                  <a:buSzPct val="115000"/>
                  <a:buFont typeface="Symbol" pitchFamily="18" charset="2"/>
                  <a:buNone/>
                </a:pPr>
                <a:r>
                  <a:rPr lang="en-US" sz="1200" b="1" dirty="0">
                    <a:solidFill>
                      <a:srgbClr val="00646E"/>
                    </a:solidFill>
                  </a:rPr>
                  <a:t>Cras ultricies</a:t>
                </a:r>
              </a:p>
            </p:txBody>
          </p:sp>
          <p:sp>
            <p:nvSpPr>
              <p:cNvPr id="34" name="Text Box 6">
                <a:extLst>
                  <a:ext uri="{FF2B5EF4-FFF2-40B4-BE49-F238E27FC236}">
                    <a16:creationId xmlns:a16="http://schemas.microsoft.com/office/drawing/2014/main" id="{3D9496F5-4492-494F-BB20-86B98C8F2DAA}"/>
                  </a:ext>
                </a:extLst>
              </p:cNvPr>
              <p:cNvSpPr txBox="1">
                <a:spLocks noChangeArrowheads="1"/>
              </p:cNvSpPr>
              <p:nvPr>
                <p:custDataLst>
                  <p:tags r:id="rId5"/>
                </p:custDataLst>
              </p:nvPr>
            </p:nvSpPr>
            <p:spPr bwMode="auto">
              <a:xfrm>
                <a:off x="1345" y="1957"/>
                <a:ext cx="904" cy="110"/>
              </a:xfrm>
              <a:prstGeom prst="rect">
                <a:avLst/>
              </a:prstGeom>
              <a:noFill/>
              <a:ln w="9525">
                <a:noFill/>
                <a:miter lim="800000"/>
                <a:headEnd/>
                <a:tailEnd/>
              </a:ln>
            </p:spPr>
            <p:txBody>
              <a:bodyPr wrap="none" lIns="0" tIns="0" rIns="0" bIns="0" anchor="ctr">
                <a:noAutofit/>
              </a:bodyPr>
              <a:lstStyle/>
              <a:p>
                <a:pPr algn="r" eaLnBrk="0" hangingPunct="0">
                  <a:lnSpc>
                    <a:spcPct val="100000"/>
                  </a:lnSpc>
                  <a:buSzPct val="115000"/>
                  <a:buFont typeface="Symbol" pitchFamily="18" charset="2"/>
                  <a:buNone/>
                </a:pPr>
                <a:r>
                  <a:rPr lang="en-US" sz="1200" b="1" dirty="0">
                    <a:solidFill>
                      <a:srgbClr val="00646E"/>
                    </a:solidFill>
                  </a:rPr>
                  <a:t>Duis arcu tortor</a:t>
                </a:r>
              </a:p>
            </p:txBody>
          </p:sp>
          <p:sp>
            <p:nvSpPr>
              <p:cNvPr id="35" name="Text Box 7">
                <a:extLst>
                  <a:ext uri="{FF2B5EF4-FFF2-40B4-BE49-F238E27FC236}">
                    <a16:creationId xmlns:a16="http://schemas.microsoft.com/office/drawing/2014/main" id="{E7BF8C93-BAE6-4D67-A0A6-7ADA81F59B48}"/>
                  </a:ext>
                </a:extLst>
              </p:cNvPr>
              <p:cNvSpPr txBox="1">
                <a:spLocks noChangeArrowheads="1"/>
              </p:cNvSpPr>
              <p:nvPr>
                <p:custDataLst>
                  <p:tags r:id="rId6"/>
                </p:custDataLst>
              </p:nvPr>
            </p:nvSpPr>
            <p:spPr bwMode="auto">
              <a:xfrm>
                <a:off x="1345" y="2163"/>
                <a:ext cx="904" cy="110"/>
              </a:xfrm>
              <a:prstGeom prst="rect">
                <a:avLst/>
              </a:prstGeom>
              <a:noFill/>
              <a:ln w="9525">
                <a:noFill/>
                <a:miter lim="800000"/>
                <a:headEnd/>
                <a:tailEnd/>
              </a:ln>
            </p:spPr>
            <p:txBody>
              <a:bodyPr wrap="none" lIns="0" tIns="0" rIns="0" bIns="0" anchor="ctr">
                <a:noAutofit/>
              </a:bodyPr>
              <a:lstStyle/>
              <a:p>
                <a:pPr algn="r" eaLnBrk="0" hangingPunct="0">
                  <a:lnSpc>
                    <a:spcPct val="100000"/>
                  </a:lnSpc>
                  <a:buSzPct val="115000"/>
                  <a:buFont typeface="Symbol" pitchFamily="18" charset="2"/>
                  <a:buNone/>
                </a:pPr>
                <a:r>
                  <a:rPr lang="en-US" sz="1200" b="1" dirty="0">
                    <a:solidFill>
                      <a:srgbClr val="00646E"/>
                    </a:solidFill>
                  </a:rPr>
                  <a:t>Phasellus sem</a:t>
                </a:r>
              </a:p>
            </p:txBody>
          </p:sp>
          <p:sp>
            <p:nvSpPr>
              <p:cNvPr id="36" name="Text Box 8">
                <a:extLst>
                  <a:ext uri="{FF2B5EF4-FFF2-40B4-BE49-F238E27FC236}">
                    <a16:creationId xmlns:a16="http://schemas.microsoft.com/office/drawing/2014/main" id="{20960B54-ED59-4423-9D72-99B8A6CB1711}"/>
                  </a:ext>
                </a:extLst>
              </p:cNvPr>
              <p:cNvSpPr txBox="1">
                <a:spLocks noChangeArrowheads="1"/>
              </p:cNvSpPr>
              <p:nvPr>
                <p:custDataLst>
                  <p:tags r:id="rId7"/>
                </p:custDataLst>
              </p:nvPr>
            </p:nvSpPr>
            <p:spPr bwMode="auto">
              <a:xfrm>
                <a:off x="1345" y="2369"/>
                <a:ext cx="904" cy="110"/>
              </a:xfrm>
              <a:prstGeom prst="rect">
                <a:avLst/>
              </a:prstGeom>
              <a:noFill/>
              <a:ln w="9525">
                <a:noFill/>
                <a:miter lim="800000"/>
                <a:headEnd/>
                <a:tailEnd/>
              </a:ln>
            </p:spPr>
            <p:txBody>
              <a:bodyPr wrap="none" lIns="0" tIns="0" rIns="0" bIns="0" anchor="ctr">
                <a:noAutofit/>
              </a:bodyPr>
              <a:lstStyle/>
              <a:p>
                <a:pPr algn="r" eaLnBrk="0" hangingPunct="0">
                  <a:lnSpc>
                    <a:spcPct val="100000"/>
                  </a:lnSpc>
                  <a:buSzPct val="115000"/>
                  <a:buFont typeface="Symbol" pitchFamily="18" charset="2"/>
                  <a:buNone/>
                </a:pPr>
                <a:r>
                  <a:rPr lang="en-US" sz="1200" b="1" dirty="0">
                    <a:solidFill>
                      <a:srgbClr val="00646E"/>
                    </a:solidFill>
                  </a:rPr>
                  <a:t>Duis arcu tortor</a:t>
                </a:r>
              </a:p>
            </p:txBody>
          </p:sp>
          <p:sp>
            <p:nvSpPr>
              <p:cNvPr id="37" name="Text Box 9">
                <a:extLst>
                  <a:ext uri="{FF2B5EF4-FFF2-40B4-BE49-F238E27FC236}">
                    <a16:creationId xmlns:a16="http://schemas.microsoft.com/office/drawing/2014/main" id="{C6ED9AE7-126F-47F4-BF91-BA00ED2631F1}"/>
                  </a:ext>
                </a:extLst>
              </p:cNvPr>
              <p:cNvSpPr txBox="1">
                <a:spLocks noChangeArrowheads="1"/>
              </p:cNvSpPr>
              <p:nvPr>
                <p:custDataLst>
                  <p:tags r:id="rId8"/>
                </p:custDataLst>
              </p:nvPr>
            </p:nvSpPr>
            <p:spPr bwMode="auto">
              <a:xfrm>
                <a:off x="1345" y="2575"/>
                <a:ext cx="904" cy="110"/>
              </a:xfrm>
              <a:prstGeom prst="rect">
                <a:avLst/>
              </a:prstGeom>
              <a:noFill/>
              <a:ln w="9525">
                <a:noFill/>
                <a:miter lim="800000"/>
                <a:headEnd/>
                <a:tailEnd/>
              </a:ln>
            </p:spPr>
            <p:txBody>
              <a:bodyPr wrap="none" lIns="0" tIns="0" rIns="0" bIns="0" anchor="ctr">
                <a:noAutofit/>
              </a:bodyPr>
              <a:lstStyle/>
              <a:p>
                <a:pPr algn="r" eaLnBrk="0" hangingPunct="0">
                  <a:lnSpc>
                    <a:spcPct val="100000"/>
                  </a:lnSpc>
                  <a:buSzPct val="115000"/>
                  <a:buFont typeface="Symbol" pitchFamily="18" charset="2"/>
                  <a:buNone/>
                </a:pPr>
                <a:r>
                  <a:rPr lang="en-US" sz="1200" b="1" dirty="0">
                    <a:solidFill>
                      <a:srgbClr val="00646E"/>
                    </a:solidFill>
                  </a:rPr>
                  <a:t>Cras ultricies</a:t>
                </a:r>
              </a:p>
            </p:txBody>
          </p:sp>
          <p:sp>
            <p:nvSpPr>
              <p:cNvPr id="38" name="Text Box 10">
                <a:extLst>
                  <a:ext uri="{FF2B5EF4-FFF2-40B4-BE49-F238E27FC236}">
                    <a16:creationId xmlns:a16="http://schemas.microsoft.com/office/drawing/2014/main" id="{49062FA9-7F1F-4D14-BFB8-2E5739461C7B}"/>
                  </a:ext>
                </a:extLst>
              </p:cNvPr>
              <p:cNvSpPr txBox="1">
                <a:spLocks noChangeArrowheads="1"/>
              </p:cNvSpPr>
              <p:nvPr>
                <p:custDataLst>
                  <p:tags r:id="rId9"/>
                </p:custDataLst>
              </p:nvPr>
            </p:nvSpPr>
            <p:spPr bwMode="auto">
              <a:xfrm>
                <a:off x="1345" y="2782"/>
                <a:ext cx="904" cy="110"/>
              </a:xfrm>
              <a:prstGeom prst="rect">
                <a:avLst/>
              </a:prstGeom>
              <a:noFill/>
              <a:ln w="9525">
                <a:noFill/>
                <a:miter lim="800000"/>
                <a:headEnd/>
                <a:tailEnd/>
              </a:ln>
            </p:spPr>
            <p:txBody>
              <a:bodyPr wrap="none" lIns="0" tIns="0" rIns="0" bIns="0" anchor="ctr">
                <a:noAutofit/>
              </a:bodyPr>
              <a:lstStyle/>
              <a:p>
                <a:pPr algn="r" eaLnBrk="0" hangingPunct="0">
                  <a:lnSpc>
                    <a:spcPct val="100000"/>
                  </a:lnSpc>
                  <a:buSzPct val="115000"/>
                  <a:buFont typeface="Symbol" pitchFamily="18" charset="2"/>
                  <a:buNone/>
                </a:pPr>
                <a:r>
                  <a:rPr lang="en-US" sz="1200" b="1" dirty="0">
                    <a:solidFill>
                      <a:srgbClr val="00646E"/>
                    </a:solidFill>
                  </a:rPr>
                  <a:t>Duis arcu tortor</a:t>
                </a:r>
              </a:p>
            </p:txBody>
          </p:sp>
          <p:sp>
            <p:nvSpPr>
              <p:cNvPr id="39" name="Text Box 11">
                <a:extLst>
                  <a:ext uri="{FF2B5EF4-FFF2-40B4-BE49-F238E27FC236}">
                    <a16:creationId xmlns:a16="http://schemas.microsoft.com/office/drawing/2014/main" id="{BB2284B0-B55D-4988-B5B1-24F2135462BE}"/>
                  </a:ext>
                </a:extLst>
              </p:cNvPr>
              <p:cNvSpPr txBox="1">
                <a:spLocks noChangeArrowheads="1"/>
              </p:cNvSpPr>
              <p:nvPr>
                <p:custDataLst>
                  <p:tags r:id="rId10"/>
                </p:custDataLst>
              </p:nvPr>
            </p:nvSpPr>
            <p:spPr bwMode="auto">
              <a:xfrm>
                <a:off x="1345" y="2988"/>
                <a:ext cx="904" cy="110"/>
              </a:xfrm>
              <a:prstGeom prst="rect">
                <a:avLst/>
              </a:prstGeom>
              <a:noFill/>
              <a:ln w="9525">
                <a:noFill/>
                <a:miter lim="800000"/>
                <a:headEnd/>
                <a:tailEnd/>
              </a:ln>
            </p:spPr>
            <p:txBody>
              <a:bodyPr wrap="none" lIns="0" tIns="0" rIns="0" bIns="0" anchor="ctr">
                <a:noAutofit/>
              </a:bodyPr>
              <a:lstStyle/>
              <a:p>
                <a:pPr algn="r" eaLnBrk="0" hangingPunct="0">
                  <a:lnSpc>
                    <a:spcPct val="100000"/>
                  </a:lnSpc>
                  <a:buSzPct val="115000"/>
                  <a:buFont typeface="Symbol" pitchFamily="18" charset="2"/>
                  <a:buNone/>
                </a:pPr>
                <a:r>
                  <a:rPr lang="en-US" sz="1200" b="1" dirty="0">
                    <a:solidFill>
                      <a:srgbClr val="00646E"/>
                    </a:solidFill>
                  </a:rPr>
                  <a:t>Phasellus nec</a:t>
                </a:r>
              </a:p>
            </p:txBody>
          </p:sp>
          <p:sp>
            <p:nvSpPr>
              <p:cNvPr id="40" name="Text Box 12">
                <a:extLst>
                  <a:ext uri="{FF2B5EF4-FFF2-40B4-BE49-F238E27FC236}">
                    <a16:creationId xmlns:a16="http://schemas.microsoft.com/office/drawing/2014/main" id="{E4F1359C-8030-4EC0-8539-C5A3F0F7EB8B}"/>
                  </a:ext>
                </a:extLst>
              </p:cNvPr>
              <p:cNvSpPr txBox="1">
                <a:spLocks noChangeArrowheads="1"/>
              </p:cNvSpPr>
              <p:nvPr>
                <p:custDataLst>
                  <p:tags r:id="rId11"/>
                </p:custDataLst>
              </p:nvPr>
            </p:nvSpPr>
            <p:spPr bwMode="auto">
              <a:xfrm>
                <a:off x="1345" y="3194"/>
                <a:ext cx="904" cy="110"/>
              </a:xfrm>
              <a:prstGeom prst="rect">
                <a:avLst/>
              </a:prstGeom>
              <a:noFill/>
              <a:ln w="9525">
                <a:noFill/>
                <a:miter lim="800000"/>
                <a:headEnd/>
                <a:tailEnd/>
              </a:ln>
            </p:spPr>
            <p:txBody>
              <a:bodyPr wrap="none" lIns="0" tIns="0" rIns="0" bIns="0" anchor="ctr">
                <a:noAutofit/>
              </a:bodyPr>
              <a:lstStyle/>
              <a:p>
                <a:pPr algn="r" eaLnBrk="0" hangingPunct="0">
                  <a:lnSpc>
                    <a:spcPct val="100000"/>
                  </a:lnSpc>
                  <a:buSzPct val="115000"/>
                  <a:buFont typeface="Symbol" pitchFamily="18" charset="2"/>
                  <a:buNone/>
                </a:pPr>
                <a:r>
                  <a:rPr lang="en-US" sz="1200" b="1" dirty="0">
                    <a:solidFill>
                      <a:srgbClr val="00646E"/>
                    </a:solidFill>
                  </a:rPr>
                  <a:t>Maecenas odio</a:t>
                </a:r>
              </a:p>
            </p:txBody>
          </p:sp>
          <p:sp>
            <p:nvSpPr>
              <p:cNvPr id="41" name="Text Box 13">
                <a:extLst>
                  <a:ext uri="{FF2B5EF4-FFF2-40B4-BE49-F238E27FC236}">
                    <a16:creationId xmlns:a16="http://schemas.microsoft.com/office/drawing/2014/main" id="{A9C88CEE-5E06-43BB-8CE7-1F8066569844}"/>
                  </a:ext>
                </a:extLst>
              </p:cNvPr>
              <p:cNvSpPr txBox="1">
                <a:spLocks noChangeArrowheads="1"/>
              </p:cNvSpPr>
              <p:nvPr>
                <p:custDataLst>
                  <p:tags r:id="rId12"/>
                </p:custDataLst>
              </p:nvPr>
            </p:nvSpPr>
            <p:spPr bwMode="auto">
              <a:xfrm>
                <a:off x="1345" y="3400"/>
                <a:ext cx="904" cy="110"/>
              </a:xfrm>
              <a:prstGeom prst="rect">
                <a:avLst/>
              </a:prstGeom>
              <a:noFill/>
              <a:ln w="9525">
                <a:noFill/>
                <a:miter lim="800000"/>
                <a:headEnd/>
                <a:tailEnd/>
              </a:ln>
            </p:spPr>
            <p:txBody>
              <a:bodyPr wrap="none" lIns="0" tIns="0" rIns="0" bIns="0" anchor="ctr">
                <a:noAutofit/>
              </a:bodyPr>
              <a:lstStyle/>
              <a:p>
                <a:pPr algn="r" eaLnBrk="0" hangingPunct="0">
                  <a:lnSpc>
                    <a:spcPct val="100000"/>
                  </a:lnSpc>
                  <a:buSzPct val="115000"/>
                  <a:buFont typeface="Symbol" pitchFamily="18" charset="2"/>
                  <a:buNone/>
                </a:pPr>
                <a:r>
                  <a:rPr lang="en-US" sz="1200" b="1" dirty="0">
                    <a:solidFill>
                      <a:srgbClr val="00646E"/>
                    </a:solidFill>
                  </a:rPr>
                  <a:t>Cras ultricies</a:t>
                </a:r>
              </a:p>
            </p:txBody>
          </p:sp>
          <p:sp>
            <p:nvSpPr>
              <p:cNvPr id="42" name="Text Box 14">
                <a:extLst>
                  <a:ext uri="{FF2B5EF4-FFF2-40B4-BE49-F238E27FC236}">
                    <a16:creationId xmlns:a16="http://schemas.microsoft.com/office/drawing/2014/main" id="{C51BDE3D-E435-4AD4-A0CC-5EE5B2E5F4E2}"/>
                  </a:ext>
                </a:extLst>
              </p:cNvPr>
              <p:cNvSpPr txBox="1">
                <a:spLocks noChangeArrowheads="1"/>
              </p:cNvSpPr>
              <p:nvPr>
                <p:custDataLst>
                  <p:tags r:id="rId13"/>
                </p:custDataLst>
              </p:nvPr>
            </p:nvSpPr>
            <p:spPr bwMode="auto">
              <a:xfrm>
                <a:off x="1345" y="3606"/>
                <a:ext cx="904" cy="110"/>
              </a:xfrm>
              <a:prstGeom prst="rect">
                <a:avLst/>
              </a:prstGeom>
              <a:noFill/>
              <a:ln w="9525">
                <a:noFill/>
                <a:miter lim="800000"/>
                <a:headEnd/>
                <a:tailEnd/>
              </a:ln>
            </p:spPr>
            <p:txBody>
              <a:bodyPr wrap="none" lIns="0" tIns="0" rIns="0" bIns="0" anchor="ctr">
                <a:noAutofit/>
              </a:bodyPr>
              <a:lstStyle/>
              <a:p>
                <a:pPr algn="r" eaLnBrk="0" hangingPunct="0">
                  <a:lnSpc>
                    <a:spcPct val="100000"/>
                  </a:lnSpc>
                  <a:buSzPct val="115000"/>
                  <a:buFont typeface="Symbol" pitchFamily="18" charset="2"/>
                  <a:buNone/>
                </a:pPr>
                <a:r>
                  <a:rPr lang="en-US" sz="1200" b="1" dirty="0">
                    <a:solidFill>
                      <a:srgbClr val="00646E"/>
                    </a:solidFill>
                  </a:rPr>
                  <a:t>Duis arcu tortor</a:t>
                </a:r>
              </a:p>
            </p:txBody>
          </p:sp>
        </p:grpSp>
      </p:grpSp>
      <p:sp>
        <p:nvSpPr>
          <p:cNvPr id="2" name="Title 1"/>
          <p:cNvSpPr>
            <a:spLocks noGrp="1"/>
          </p:cNvSpPr>
          <p:nvPr>
            <p:ph type="title"/>
          </p:nvPr>
        </p:nvSpPr>
        <p:spPr>
          <a:xfrm>
            <a:off x="410400" y="478800"/>
            <a:ext cx="9863997" cy="576000"/>
          </a:xfrm>
        </p:spPr>
        <p:txBody>
          <a:bodyPr/>
          <a:lstStyle/>
          <a:p>
            <a:r>
              <a:rPr lang="en-US" dirty="0"/>
              <a:t>Line chart (vertical)</a:t>
            </a:r>
          </a:p>
        </p:txBody>
      </p:sp>
      <p:grpSp>
        <p:nvGrpSpPr>
          <p:cNvPr id="11" name="Group 10">
            <a:extLst>
              <a:ext uri="{FF2B5EF4-FFF2-40B4-BE49-F238E27FC236}">
                <a16:creationId xmlns:a16="http://schemas.microsoft.com/office/drawing/2014/main" id="{7BEBCCCE-424D-4004-8F22-E693D28E0886}"/>
              </a:ext>
            </a:extLst>
          </p:cNvPr>
          <p:cNvGrpSpPr/>
          <p:nvPr/>
        </p:nvGrpSpPr>
        <p:grpSpPr>
          <a:xfrm>
            <a:off x="10317213" y="5314858"/>
            <a:ext cx="1469975" cy="670306"/>
            <a:chOff x="8866158" y="5237791"/>
            <a:chExt cx="1631704" cy="792000"/>
          </a:xfrm>
        </p:grpSpPr>
        <p:sp>
          <p:nvSpPr>
            <p:cNvPr id="55" name="TextBox 54">
              <a:extLst>
                <a:ext uri="{FF2B5EF4-FFF2-40B4-BE49-F238E27FC236}">
                  <a16:creationId xmlns:a16="http://schemas.microsoft.com/office/drawing/2014/main" id="{98E64279-ACDA-4B99-BDC9-95CEC40918E2}"/>
                </a:ext>
              </a:extLst>
            </p:cNvPr>
            <p:cNvSpPr txBox="1"/>
            <p:nvPr/>
          </p:nvSpPr>
          <p:spPr>
            <a:xfrm>
              <a:off x="9174805" y="5237791"/>
              <a:ext cx="1323057" cy="792000"/>
            </a:xfrm>
            <a:prstGeom prst="rect">
              <a:avLst/>
            </a:prstGeom>
            <a:noFill/>
          </p:spPr>
          <p:txBody>
            <a:bodyPr wrap="square" lIns="0" tIns="0" rIns="0" bIns="0" rtlCol="0">
              <a:noAutofit/>
            </a:bodyPr>
            <a:lstStyle/>
            <a:p>
              <a:pPr>
                <a:lnSpc>
                  <a:spcPct val="110000"/>
                </a:lnSpc>
                <a:spcBef>
                  <a:spcPts val="300"/>
                </a:spcBef>
              </a:pPr>
              <a:r>
                <a:rPr lang="en-US" sz="1200" dirty="0">
                  <a:solidFill>
                    <a:srgbClr val="66667E"/>
                  </a:solidFill>
                  <a:ea typeface="Arial Unicode MS" panose="020B0604020202020204" pitchFamily="34" charset="-128"/>
                  <a:cs typeface="Arial Unicode MS" panose="020B0604020202020204" pitchFamily="34" charset="-128"/>
                </a:rPr>
                <a:t>Data Series 1</a:t>
              </a:r>
            </a:p>
            <a:p>
              <a:pPr>
                <a:lnSpc>
                  <a:spcPct val="110000"/>
                </a:lnSpc>
                <a:spcBef>
                  <a:spcPts val="300"/>
                </a:spcBef>
              </a:pPr>
              <a:r>
                <a:rPr lang="en-US" sz="1200" dirty="0">
                  <a:solidFill>
                    <a:srgbClr val="66667E"/>
                  </a:solidFill>
                  <a:ea typeface="Arial Unicode MS" panose="020B0604020202020204" pitchFamily="34" charset="-128"/>
                  <a:cs typeface="Arial Unicode MS" panose="020B0604020202020204" pitchFamily="34" charset="-128"/>
                </a:rPr>
                <a:t>Data Series 2</a:t>
              </a:r>
            </a:p>
          </p:txBody>
        </p:sp>
        <p:grpSp>
          <p:nvGrpSpPr>
            <p:cNvPr id="9" name="Group 8">
              <a:extLst>
                <a:ext uri="{FF2B5EF4-FFF2-40B4-BE49-F238E27FC236}">
                  <a16:creationId xmlns:a16="http://schemas.microsoft.com/office/drawing/2014/main" id="{A14EB19D-0F54-4161-B932-047F43AA9494}"/>
                </a:ext>
              </a:extLst>
            </p:cNvPr>
            <p:cNvGrpSpPr/>
            <p:nvPr/>
          </p:nvGrpSpPr>
          <p:grpSpPr>
            <a:xfrm>
              <a:off x="8866158" y="5301516"/>
              <a:ext cx="216000" cy="108000"/>
              <a:chOff x="8866158" y="5301516"/>
              <a:chExt cx="216000" cy="108000"/>
            </a:xfrm>
          </p:grpSpPr>
          <p:cxnSp>
            <p:nvCxnSpPr>
              <p:cNvPr id="56" name="Straight Connector 55">
                <a:extLst>
                  <a:ext uri="{FF2B5EF4-FFF2-40B4-BE49-F238E27FC236}">
                    <a16:creationId xmlns:a16="http://schemas.microsoft.com/office/drawing/2014/main" id="{91A5D2C9-1B2C-4925-AD9F-F61EC7EE38E7}"/>
                  </a:ext>
                </a:extLst>
              </p:cNvPr>
              <p:cNvCxnSpPr/>
              <p:nvPr/>
            </p:nvCxnSpPr>
            <p:spPr bwMode="auto">
              <a:xfrm>
                <a:off x="8866158" y="5355516"/>
                <a:ext cx="216000" cy="0"/>
              </a:xfrm>
              <a:prstGeom prst="line">
                <a:avLst/>
              </a:prstGeom>
              <a:solidFill>
                <a:schemeClr val="tx2"/>
              </a:solidFill>
              <a:ln w="22225" cap="rnd" cmpd="sng" algn="ctr">
                <a:solidFill>
                  <a:srgbClr val="00FFB9"/>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8" name="Oval 7">
                <a:extLst>
                  <a:ext uri="{FF2B5EF4-FFF2-40B4-BE49-F238E27FC236}">
                    <a16:creationId xmlns:a16="http://schemas.microsoft.com/office/drawing/2014/main" id="{0FDE6024-B38D-4645-B7F3-EC60534FF28F}"/>
                  </a:ext>
                </a:extLst>
              </p:cNvPr>
              <p:cNvSpPr>
                <a:spLocks noChangeAspect="1"/>
              </p:cNvSpPr>
              <p:nvPr/>
            </p:nvSpPr>
            <p:spPr bwMode="auto">
              <a:xfrm>
                <a:off x="8920158" y="5301516"/>
                <a:ext cx="108000" cy="108000"/>
              </a:xfrm>
              <a:prstGeom prst="ellipse">
                <a:avLst/>
              </a:prstGeom>
              <a:solidFill>
                <a:srgbClr val="00FFB9"/>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200" dirty="0">
                  <a:solidFill>
                    <a:srgbClr val="66667E"/>
                  </a:solidFill>
                  <a:ea typeface="Arial Unicode MS" panose="020B0604020202020204" pitchFamily="34" charset="-128"/>
                  <a:cs typeface="Arial Unicode MS" panose="020B0604020202020204" pitchFamily="34" charset="-128"/>
                </a:endParaRPr>
              </a:p>
            </p:txBody>
          </p:sp>
        </p:grpSp>
        <p:grpSp>
          <p:nvGrpSpPr>
            <p:cNvPr id="10" name="Group 9">
              <a:extLst>
                <a:ext uri="{FF2B5EF4-FFF2-40B4-BE49-F238E27FC236}">
                  <a16:creationId xmlns:a16="http://schemas.microsoft.com/office/drawing/2014/main" id="{85EA563E-EF96-4AB5-9B2E-5F59E83C9D49}"/>
                </a:ext>
              </a:extLst>
            </p:cNvPr>
            <p:cNvGrpSpPr/>
            <p:nvPr/>
          </p:nvGrpSpPr>
          <p:grpSpPr>
            <a:xfrm>
              <a:off x="8866158" y="5574434"/>
              <a:ext cx="216000" cy="108000"/>
              <a:chOff x="8866158" y="5574434"/>
              <a:chExt cx="216000" cy="108000"/>
            </a:xfrm>
          </p:grpSpPr>
          <p:cxnSp>
            <p:nvCxnSpPr>
              <p:cNvPr id="58" name="Straight Connector 57">
                <a:extLst>
                  <a:ext uri="{FF2B5EF4-FFF2-40B4-BE49-F238E27FC236}">
                    <a16:creationId xmlns:a16="http://schemas.microsoft.com/office/drawing/2014/main" id="{FD8E85CB-B34B-48EB-88E5-DE00E81140A9}"/>
                  </a:ext>
                </a:extLst>
              </p:cNvPr>
              <p:cNvCxnSpPr/>
              <p:nvPr/>
            </p:nvCxnSpPr>
            <p:spPr bwMode="auto">
              <a:xfrm>
                <a:off x="8866158" y="5628264"/>
                <a:ext cx="216000" cy="0"/>
              </a:xfrm>
              <a:prstGeom prst="line">
                <a:avLst/>
              </a:prstGeom>
              <a:solidFill>
                <a:schemeClr val="tx2"/>
              </a:solidFill>
              <a:ln w="22225" cap="rnd" cmpd="sng" algn="ctr">
                <a:solidFill>
                  <a:schemeClr val="accent1"/>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9" name="Oval 28">
                <a:extLst>
                  <a:ext uri="{FF2B5EF4-FFF2-40B4-BE49-F238E27FC236}">
                    <a16:creationId xmlns:a16="http://schemas.microsoft.com/office/drawing/2014/main" id="{AC8EDB48-422C-4856-975A-59AB649E8C11}"/>
                  </a:ext>
                </a:extLst>
              </p:cNvPr>
              <p:cNvSpPr/>
              <p:nvPr/>
            </p:nvSpPr>
            <p:spPr bwMode="auto">
              <a:xfrm>
                <a:off x="8920158" y="5574434"/>
                <a:ext cx="108000" cy="108000"/>
              </a:xfrm>
              <a:prstGeom prst="ellipse">
                <a:avLst/>
              </a:prstGeom>
              <a:solidFill>
                <a:schemeClr val="accent1"/>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200" dirty="0">
                  <a:solidFill>
                    <a:srgbClr val="66667E"/>
                  </a:solidFill>
                  <a:ea typeface="Arial Unicode MS" panose="020B0604020202020204" pitchFamily="34" charset="-128"/>
                  <a:cs typeface="Arial Unicode MS" panose="020B0604020202020204" pitchFamily="34" charset="-128"/>
                </a:endParaRPr>
              </a:p>
            </p:txBody>
          </p:sp>
        </p:grpSp>
      </p:grpSp>
      <p:sp>
        <p:nvSpPr>
          <p:cNvPr id="43" name="Line 16">
            <a:extLst>
              <a:ext uri="{FF2B5EF4-FFF2-40B4-BE49-F238E27FC236}">
                <a16:creationId xmlns:a16="http://schemas.microsoft.com/office/drawing/2014/main" id="{36D8C9A1-0189-4DF2-8CAF-C6E3A1D9240F}"/>
              </a:ext>
            </a:extLst>
          </p:cNvPr>
          <p:cNvSpPr>
            <a:spLocks noChangeShapeType="1"/>
          </p:cNvSpPr>
          <p:nvPr>
            <p:custDataLst>
              <p:tags r:id="rId1"/>
            </p:custDataLst>
          </p:nvPr>
        </p:nvSpPr>
        <p:spPr bwMode="auto">
          <a:xfrm>
            <a:off x="5019015" y="1668086"/>
            <a:ext cx="0" cy="4186593"/>
          </a:xfrm>
          <a:prstGeom prst="line">
            <a:avLst/>
          </a:prstGeom>
          <a:noFill/>
          <a:ln w="19050">
            <a:solidFill>
              <a:schemeClr val="tx1"/>
            </a:solidFill>
            <a:prstDash val="solid"/>
            <a:round/>
            <a:headEnd/>
            <a:tailEnd/>
          </a:ln>
        </p:spPr>
        <p:txBody>
          <a:bodyPr wrap="square" lIns="0" tIns="0" rIns="0" bIns="0" anchor="ctr">
            <a:spAutoFit/>
          </a:bodyPr>
          <a:lstStyle/>
          <a:p>
            <a:endParaRPr lang="en-US" sz="1799" dirty="0"/>
          </a:p>
        </p:txBody>
      </p:sp>
      <p:sp>
        <p:nvSpPr>
          <p:cNvPr id="44" name="Oval 17">
            <a:extLst>
              <a:ext uri="{FF2B5EF4-FFF2-40B4-BE49-F238E27FC236}">
                <a16:creationId xmlns:a16="http://schemas.microsoft.com/office/drawing/2014/main" id="{0C57CD1B-4A10-4EBA-9B99-DF2CBC3334C9}"/>
              </a:ext>
            </a:extLst>
          </p:cNvPr>
          <p:cNvSpPr>
            <a:spLocks noChangeArrowheads="1"/>
          </p:cNvSpPr>
          <p:nvPr>
            <p:custDataLst>
              <p:tags r:id="rId2"/>
            </p:custDataLst>
          </p:nvPr>
        </p:nvSpPr>
        <p:spPr bwMode="auto">
          <a:xfrm>
            <a:off x="4758662" y="5950800"/>
            <a:ext cx="520705" cy="257235"/>
          </a:xfrm>
          <a:prstGeom prst="rect">
            <a:avLst/>
          </a:prstGeom>
          <a:noFill/>
          <a:ln w="9525">
            <a:noFill/>
            <a:round/>
            <a:headEnd/>
            <a:tailEnd/>
          </a:ln>
        </p:spPr>
        <p:txBody>
          <a:bodyPr wrap="none" lIns="0" tIns="71963" rIns="0" bIns="0" anchor="t" anchorCtr="0">
            <a:spAutoFit/>
          </a:bodyPr>
          <a:lstStyle/>
          <a:p>
            <a:pPr algn="ctr">
              <a:lnSpc>
                <a:spcPct val="100000"/>
              </a:lnSpc>
              <a:spcBef>
                <a:spcPct val="30000"/>
              </a:spcBef>
              <a:buFont typeface="Wingdings" pitchFamily="2" charset="2"/>
              <a:buNone/>
            </a:pPr>
            <a:r>
              <a:rPr lang="en-US" sz="1199" dirty="0">
                <a:sym typeface="Webdings" pitchFamily="18" charset="2"/>
              </a:rPr>
              <a:t>∅</a:t>
            </a:r>
            <a:r>
              <a:rPr lang="en-US" sz="1199" dirty="0">
                <a:sym typeface="Symbol" pitchFamily="18" charset="2"/>
              </a:rPr>
              <a:t> = X.X</a:t>
            </a:r>
          </a:p>
        </p:txBody>
      </p:sp>
      <p:sp>
        <p:nvSpPr>
          <p:cNvPr id="45" name="Isosceles Triangle 2">
            <a:extLst>
              <a:ext uri="{FF2B5EF4-FFF2-40B4-BE49-F238E27FC236}">
                <a16:creationId xmlns:a16="http://schemas.microsoft.com/office/drawing/2014/main" id="{B25E675D-077F-4042-B86A-B2FB8E866316}"/>
              </a:ext>
            </a:extLst>
          </p:cNvPr>
          <p:cNvSpPr/>
          <p:nvPr/>
        </p:nvSpPr>
        <p:spPr bwMode="auto">
          <a:xfrm>
            <a:off x="4919542" y="5812844"/>
            <a:ext cx="198946" cy="171505"/>
          </a:xfrm>
          <a:prstGeom prst="triangle">
            <a:avLst/>
          </a:prstGeom>
          <a:solidFill>
            <a:schemeClr val="tx1"/>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8" name="Content Placeholder 2">
            <a:extLst>
              <a:ext uri="{FF2B5EF4-FFF2-40B4-BE49-F238E27FC236}">
                <a16:creationId xmlns:a16="http://schemas.microsoft.com/office/drawing/2014/main" id="{4CC14ABC-0BD8-4EA9-9D6F-CA33F4C78F80}"/>
              </a:ext>
            </a:extLst>
          </p:cNvPr>
          <p:cNvSpPr txBox="1">
            <a:spLocks/>
          </p:cNvSpPr>
          <p:nvPr/>
        </p:nvSpPr>
        <p:spPr>
          <a:xfrm>
            <a:off x="9266400" y="1414800"/>
            <a:ext cx="2520000" cy="2304713"/>
          </a:xfrm>
          <a:prstGeom prst="rect">
            <a:avLst/>
          </a:prstGeom>
        </p:spPr>
        <p:txBody>
          <a:bodyPr lIns="0" tIns="0" rIns="0" bIns="0"/>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2pPr>
            <a:lvl3pPr marL="358775"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3pPr>
            <a:lvl4pPr marL="538163"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4pPr>
            <a:lvl5pPr marL="720000" indent="-180000" algn="l" rtl="0" eaLnBrk="1" fontAlgn="base" hangingPunct="1">
              <a:lnSpc>
                <a:spcPct val="110000"/>
              </a:lnSpc>
              <a:spcBef>
                <a:spcPct val="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a:lstStyle>
          <a:p>
            <a:pPr>
              <a:spcAft>
                <a:spcPts val="300"/>
              </a:spcAft>
            </a:pPr>
            <a:r>
              <a:rPr lang="en-US" b="1" kern="0" dirty="0">
                <a:solidFill>
                  <a:schemeClr val="accent1"/>
                </a:solidFill>
                <a:latin typeface="+mn-lt"/>
              </a:rPr>
              <a:t>Takima sanctus</a:t>
            </a:r>
          </a:p>
          <a:p>
            <a:pPr lvl="1">
              <a:spcAft>
                <a:spcPts val="300"/>
              </a:spcAft>
              <a:buClr>
                <a:schemeClr val="accent1"/>
              </a:buClr>
            </a:pPr>
            <a:r>
              <a:rPr lang="en-US" kern="0" dirty="0">
                <a:solidFill>
                  <a:srgbClr val="66667E"/>
                </a:solidFill>
                <a:latin typeface="+mn-lt"/>
              </a:rPr>
              <a:t>Consetetur sadipscing elitr, </a:t>
            </a:r>
            <a:br>
              <a:rPr lang="en-US" kern="0" dirty="0">
                <a:solidFill>
                  <a:srgbClr val="66667E"/>
                </a:solidFill>
                <a:latin typeface="+mn-lt"/>
              </a:rPr>
            </a:br>
            <a:r>
              <a:rPr lang="en-US" kern="0" dirty="0">
                <a:solidFill>
                  <a:srgbClr val="66667E"/>
                </a:solidFill>
                <a:latin typeface="+mn-lt"/>
              </a:rPr>
              <a:t>seddiam nonumy</a:t>
            </a:r>
          </a:p>
          <a:p>
            <a:pPr lvl="1">
              <a:spcAft>
                <a:spcPts val="300"/>
              </a:spcAft>
              <a:buClr>
                <a:schemeClr val="accent1"/>
              </a:buClr>
            </a:pPr>
            <a:r>
              <a:rPr lang="en-US" kern="0" dirty="0">
                <a:solidFill>
                  <a:srgbClr val="66667E"/>
                </a:solidFill>
                <a:latin typeface="+mn-lt"/>
              </a:rPr>
              <a:t>Cras ultricies mi eu</a:t>
            </a:r>
          </a:p>
          <a:p>
            <a:pPr lvl="1">
              <a:spcAft>
                <a:spcPts val="300"/>
              </a:spcAft>
              <a:buClr>
                <a:schemeClr val="accent1"/>
              </a:buClr>
            </a:pPr>
            <a:r>
              <a:rPr lang="en-US" kern="0" dirty="0">
                <a:solidFill>
                  <a:srgbClr val="66667E"/>
                </a:solidFill>
                <a:latin typeface="+mn-lt"/>
              </a:rPr>
              <a:t>At vero eos et accusam</a:t>
            </a:r>
          </a:p>
        </p:txBody>
      </p:sp>
      <p:sp>
        <p:nvSpPr>
          <p:cNvPr id="3" name="Footer Placeholder 2">
            <a:extLst>
              <a:ext uri="{FF2B5EF4-FFF2-40B4-BE49-F238E27FC236}">
                <a16:creationId xmlns:a16="http://schemas.microsoft.com/office/drawing/2014/main" id="{4603BB90-C5C1-4FEF-80DA-05FEA44848DD}"/>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226CFF57-F4BB-4C92-BE13-30165FF996BE}"/>
              </a:ext>
            </a:extLst>
          </p:cNvPr>
          <p:cNvSpPr>
            <a:spLocks noGrp="1"/>
          </p:cNvSpPr>
          <p:nvPr>
            <p:ph type="sldNum" sz="quarter" idx="11"/>
          </p:nvPr>
        </p:nvSpPr>
        <p:spPr/>
        <p:txBody>
          <a:bodyPr/>
          <a:lstStyle/>
          <a:p>
            <a:r>
              <a:rPr lang="en-US" dirty="0"/>
              <a:t>Page </a:t>
            </a:r>
            <a:fld id="{15EBE321-CBB1-4E91-BD14-37C8D44326FB}" type="slidenum">
              <a:rPr lang="en-US" smtClean="0"/>
              <a:pPr/>
              <a:t>174</a:t>
            </a:fld>
            <a:endParaRPr lang="en-US" dirty="0"/>
          </a:p>
        </p:txBody>
      </p:sp>
    </p:spTree>
    <p:extLst>
      <p:ext uri="{BB962C8B-B14F-4D97-AF65-F5344CB8AC3E}">
        <p14:creationId xmlns:p14="http://schemas.microsoft.com/office/powerpoint/2010/main" val="1587503590"/>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Group 5">
            <a:extLst>
              <a:ext uri="{FF2B5EF4-FFF2-40B4-BE49-F238E27FC236}">
                <a16:creationId xmlns:a16="http://schemas.microsoft.com/office/drawing/2014/main" id="{77C5997D-3927-49CF-A69A-35644C4117B8}"/>
              </a:ext>
            </a:extLst>
          </p:cNvPr>
          <p:cNvGrpSpPr/>
          <p:nvPr/>
        </p:nvGrpSpPr>
        <p:grpSpPr>
          <a:xfrm>
            <a:off x="410398" y="1414800"/>
            <a:ext cx="11376790" cy="4752638"/>
            <a:chOff x="3291414" y="1933896"/>
            <a:chExt cx="11381405" cy="4410382"/>
          </a:xfrm>
        </p:grpSpPr>
        <p:graphicFrame>
          <p:nvGraphicFramePr>
            <p:cNvPr id="32" name="Object 3">
              <a:extLst>
                <a:ext uri="{FF2B5EF4-FFF2-40B4-BE49-F238E27FC236}">
                  <a16:creationId xmlns:a16="http://schemas.microsoft.com/office/drawing/2014/main" id="{C8CFB3C2-EDDC-4A79-8EF1-BDF758F1B686}"/>
                </a:ext>
              </a:extLst>
            </p:cNvPr>
            <p:cNvGraphicFramePr>
              <a:graphicFrameLocks noChangeAspect="1"/>
            </p:cNvGraphicFramePr>
            <p:nvPr>
              <p:custDataLst>
                <p:tags r:id="rId3"/>
              </p:custDataLst>
              <p:extLst>
                <p:ext uri="{D42A27DB-BD31-4B8C-83A1-F6EECF244321}">
                  <p14:modId xmlns:p14="http://schemas.microsoft.com/office/powerpoint/2010/main" val="3933333577"/>
                </p:ext>
              </p:extLst>
            </p:nvPr>
          </p:nvGraphicFramePr>
          <p:xfrm>
            <a:off x="4947858" y="1933896"/>
            <a:ext cx="9724961" cy="4410382"/>
          </p:xfrm>
          <a:graphic>
            <a:graphicData uri="http://schemas.openxmlformats.org/drawingml/2006/chart">
              <c:chart xmlns:c="http://schemas.openxmlformats.org/drawingml/2006/chart" xmlns:r="http://schemas.openxmlformats.org/officeDocument/2006/relationships" r:id="rId15"/>
            </a:graphicData>
          </a:graphic>
        </p:graphicFrame>
        <p:grpSp>
          <p:nvGrpSpPr>
            <p:cNvPr id="31" name="Group 4">
              <a:extLst>
                <a:ext uri="{FF2B5EF4-FFF2-40B4-BE49-F238E27FC236}">
                  <a16:creationId xmlns:a16="http://schemas.microsoft.com/office/drawing/2014/main" id="{BDDC68C9-4539-4E29-9343-0612949D691A}"/>
                </a:ext>
              </a:extLst>
            </p:cNvPr>
            <p:cNvGrpSpPr>
              <a:grpSpLocks/>
            </p:cNvGrpSpPr>
            <p:nvPr/>
          </p:nvGrpSpPr>
          <p:grpSpPr bwMode="auto">
            <a:xfrm>
              <a:off x="3291414" y="2451811"/>
              <a:ext cx="1512777" cy="3289069"/>
              <a:chOff x="1345" y="1751"/>
              <a:chExt cx="904" cy="1965"/>
            </a:xfrm>
          </p:grpSpPr>
          <p:sp>
            <p:nvSpPr>
              <p:cNvPr id="33" name="Text Box 5">
                <a:extLst>
                  <a:ext uri="{FF2B5EF4-FFF2-40B4-BE49-F238E27FC236}">
                    <a16:creationId xmlns:a16="http://schemas.microsoft.com/office/drawing/2014/main" id="{89C9BC40-C108-4E8C-A03B-2B4EB4A690BD}"/>
                  </a:ext>
                </a:extLst>
              </p:cNvPr>
              <p:cNvSpPr txBox="1">
                <a:spLocks noChangeArrowheads="1"/>
              </p:cNvSpPr>
              <p:nvPr>
                <p:custDataLst>
                  <p:tags r:id="rId4"/>
                </p:custDataLst>
              </p:nvPr>
            </p:nvSpPr>
            <p:spPr bwMode="auto">
              <a:xfrm>
                <a:off x="1345" y="1751"/>
                <a:ext cx="904" cy="110"/>
              </a:xfrm>
              <a:prstGeom prst="rect">
                <a:avLst/>
              </a:prstGeom>
              <a:noFill/>
              <a:ln w="9525">
                <a:noFill/>
                <a:miter lim="800000"/>
                <a:headEnd/>
                <a:tailEnd/>
              </a:ln>
            </p:spPr>
            <p:txBody>
              <a:bodyPr wrap="none" lIns="0" tIns="0" rIns="0" bIns="0" anchor="ctr">
                <a:noAutofit/>
              </a:bodyPr>
              <a:lstStyle/>
              <a:p>
                <a:pPr algn="r" eaLnBrk="0" hangingPunct="0">
                  <a:lnSpc>
                    <a:spcPct val="100000"/>
                  </a:lnSpc>
                  <a:buSzPct val="115000"/>
                  <a:buFont typeface="Symbol" pitchFamily="18" charset="2"/>
                  <a:buNone/>
                </a:pPr>
                <a:r>
                  <a:rPr lang="en-US" sz="1200" b="1" dirty="0">
                    <a:solidFill>
                      <a:srgbClr val="00FFB9"/>
                    </a:solidFill>
                  </a:rPr>
                  <a:t>Cras ultricies</a:t>
                </a:r>
              </a:p>
            </p:txBody>
          </p:sp>
          <p:sp>
            <p:nvSpPr>
              <p:cNvPr id="34" name="Text Box 6">
                <a:extLst>
                  <a:ext uri="{FF2B5EF4-FFF2-40B4-BE49-F238E27FC236}">
                    <a16:creationId xmlns:a16="http://schemas.microsoft.com/office/drawing/2014/main" id="{3D9496F5-4492-494F-BB20-86B98C8F2DAA}"/>
                  </a:ext>
                </a:extLst>
              </p:cNvPr>
              <p:cNvSpPr txBox="1">
                <a:spLocks noChangeArrowheads="1"/>
              </p:cNvSpPr>
              <p:nvPr>
                <p:custDataLst>
                  <p:tags r:id="rId5"/>
                </p:custDataLst>
              </p:nvPr>
            </p:nvSpPr>
            <p:spPr bwMode="auto">
              <a:xfrm>
                <a:off x="1345" y="1957"/>
                <a:ext cx="904" cy="110"/>
              </a:xfrm>
              <a:prstGeom prst="rect">
                <a:avLst/>
              </a:prstGeom>
              <a:noFill/>
              <a:ln w="9525">
                <a:noFill/>
                <a:miter lim="800000"/>
                <a:headEnd/>
                <a:tailEnd/>
              </a:ln>
            </p:spPr>
            <p:txBody>
              <a:bodyPr wrap="none" lIns="0" tIns="0" rIns="0" bIns="0" anchor="ctr">
                <a:noAutofit/>
              </a:bodyPr>
              <a:lstStyle/>
              <a:p>
                <a:pPr algn="r" eaLnBrk="0" hangingPunct="0">
                  <a:lnSpc>
                    <a:spcPct val="100000"/>
                  </a:lnSpc>
                  <a:buSzPct val="115000"/>
                  <a:buFont typeface="Symbol" pitchFamily="18" charset="2"/>
                  <a:buNone/>
                </a:pPr>
                <a:r>
                  <a:rPr lang="en-US" sz="1200" b="1" dirty="0">
                    <a:solidFill>
                      <a:srgbClr val="00FFB9"/>
                    </a:solidFill>
                  </a:rPr>
                  <a:t>Duis arcu tortor</a:t>
                </a:r>
              </a:p>
            </p:txBody>
          </p:sp>
          <p:sp>
            <p:nvSpPr>
              <p:cNvPr id="35" name="Text Box 7">
                <a:extLst>
                  <a:ext uri="{FF2B5EF4-FFF2-40B4-BE49-F238E27FC236}">
                    <a16:creationId xmlns:a16="http://schemas.microsoft.com/office/drawing/2014/main" id="{E7BF8C93-BAE6-4D67-A0A6-7ADA81F59B48}"/>
                  </a:ext>
                </a:extLst>
              </p:cNvPr>
              <p:cNvSpPr txBox="1">
                <a:spLocks noChangeArrowheads="1"/>
              </p:cNvSpPr>
              <p:nvPr>
                <p:custDataLst>
                  <p:tags r:id="rId6"/>
                </p:custDataLst>
              </p:nvPr>
            </p:nvSpPr>
            <p:spPr bwMode="auto">
              <a:xfrm>
                <a:off x="1345" y="2163"/>
                <a:ext cx="904" cy="110"/>
              </a:xfrm>
              <a:prstGeom prst="rect">
                <a:avLst/>
              </a:prstGeom>
              <a:noFill/>
              <a:ln w="9525">
                <a:noFill/>
                <a:miter lim="800000"/>
                <a:headEnd/>
                <a:tailEnd/>
              </a:ln>
            </p:spPr>
            <p:txBody>
              <a:bodyPr wrap="none" lIns="0" tIns="0" rIns="0" bIns="0" anchor="ctr">
                <a:noAutofit/>
              </a:bodyPr>
              <a:lstStyle/>
              <a:p>
                <a:pPr algn="r" eaLnBrk="0" hangingPunct="0">
                  <a:lnSpc>
                    <a:spcPct val="100000"/>
                  </a:lnSpc>
                  <a:buSzPct val="115000"/>
                  <a:buFont typeface="Symbol" pitchFamily="18" charset="2"/>
                  <a:buNone/>
                </a:pPr>
                <a:r>
                  <a:rPr lang="en-US" sz="1200" b="1" dirty="0">
                    <a:solidFill>
                      <a:srgbClr val="00FFB9"/>
                    </a:solidFill>
                  </a:rPr>
                  <a:t>Phasellus sem</a:t>
                </a:r>
              </a:p>
            </p:txBody>
          </p:sp>
          <p:sp>
            <p:nvSpPr>
              <p:cNvPr id="36" name="Text Box 8">
                <a:extLst>
                  <a:ext uri="{FF2B5EF4-FFF2-40B4-BE49-F238E27FC236}">
                    <a16:creationId xmlns:a16="http://schemas.microsoft.com/office/drawing/2014/main" id="{20960B54-ED59-4423-9D72-99B8A6CB1711}"/>
                  </a:ext>
                </a:extLst>
              </p:cNvPr>
              <p:cNvSpPr txBox="1">
                <a:spLocks noChangeArrowheads="1"/>
              </p:cNvSpPr>
              <p:nvPr>
                <p:custDataLst>
                  <p:tags r:id="rId7"/>
                </p:custDataLst>
              </p:nvPr>
            </p:nvSpPr>
            <p:spPr bwMode="auto">
              <a:xfrm>
                <a:off x="1345" y="2369"/>
                <a:ext cx="904" cy="110"/>
              </a:xfrm>
              <a:prstGeom prst="rect">
                <a:avLst/>
              </a:prstGeom>
              <a:noFill/>
              <a:ln w="9525">
                <a:noFill/>
                <a:miter lim="800000"/>
                <a:headEnd/>
                <a:tailEnd/>
              </a:ln>
            </p:spPr>
            <p:txBody>
              <a:bodyPr wrap="none" lIns="0" tIns="0" rIns="0" bIns="0" anchor="ctr">
                <a:noAutofit/>
              </a:bodyPr>
              <a:lstStyle/>
              <a:p>
                <a:pPr algn="r" eaLnBrk="0" hangingPunct="0">
                  <a:lnSpc>
                    <a:spcPct val="100000"/>
                  </a:lnSpc>
                  <a:buSzPct val="115000"/>
                  <a:buFont typeface="Symbol" pitchFamily="18" charset="2"/>
                  <a:buNone/>
                </a:pPr>
                <a:r>
                  <a:rPr lang="en-US" sz="1200" b="1" dirty="0">
                    <a:solidFill>
                      <a:srgbClr val="00FFB9"/>
                    </a:solidFill>
                  </a:rPr>
                  <a:t>Duis arcu tortor</a:t>
                </a:r>
              </a:p>
            </p:txBody>
          </p:sp>
          <p:sp>
            <p:nvSpPr>
              <p:cNvPr id="37" name="Text Box 9">
                <a:extLst>
                  <a:ext uri="{FF2B5EF4-FFF2-40B4-BE49-F238E27FC236}">
                    <a16:creationId xmlns:a16="http://schemas.microsoft.com/office/drawing/2014/main" id="{C6ED9AE7-126F-47F4-BF91-BA00ED2631F1}"/>
                  </a:ext>
                </a:extLst>
              </p:cNvPr>
              <p:cNvSpPr txBox="1">
                <a:spLocks noChangeArrowheads="1"/>
              </p:cNvSpPr>
              <p:nvPr>
                <p:custDataLst>
                  <p:tags r:id="rId8"/>
                </p:custDataLst>
              </p:nvPr>
            </p:nvSpPr>
            <p:spPr bwMode="auto">
              <a:xfrm>
                <a:off x="1345" y="2575"/>
                <a:ext cx="904" cy="110"/>
              </a:xfrm>
              <a:prstGeom prst="rect">
                <a:avLst/>
              </a:prstGeom>
              <a:noFill/>
              <a:ln w="9525">
                <a:noFill/>
                <a:miter lim="800000"/>
                <a:headEnd/>
                <a:tailEnd/>
              </a:ln>
            </p:spPr>
            <p:txBody>
              <a:bodyPr wrap="none" lIns="0" tIns="0" rIns="0" bIns="0" anchor="ctr">
                <a:noAutofit/>
              </a:bodyPr>
              <a:lstStyle/>
              <a:p>
                <a:pPr algn="r" eaLnBrk="0" hangingPunct="0">
                  <a:lnSpc>
                    <a:spcPct val="100000"/>
                  </a:lnSpc>
                  <a:buSzPct val="115000"/>
                  <a:buFont typeface="Symbol" pitchFamily="18" charset="2"/>
                  <a:buNone/>
                </a:pPr>
                <a:r>
                  <a:rPr lang="en-US" sz="1200" b="1" dirty="0">
                    <a:solidFill>
                      <a:srgbClr val="00FFB9"/>
                    </a:solidFill>
                  </a:rPr>
                  <a:t>Cras ultricies</a:t>
                </a:r>
              </a:p>
            </p:txBody>
          </p:sp>
          <p:sp>
            <p:nvSpPr>
              <p:cNvPr id="38" name="Text Box 10">
                <a:extLst>
                  <a:ext uri="{FF2B5EF4-FFF2-40B4-BE49-F238E27FC236}">
                    <a16:creationId xmlns:a16="http://schemas.microsoft.com/office/drawing/2014/main" id="{49062FA9-7F1F-4D14-BFB8-2E5739461C7B}"/>
                  </a:ext>
                </a:extLst>
              </p:cNvPr>
              <p:cNvSpPr txBox="1">
                <a:spLocks noChangeArrowheads="1"/>
              </p:cNvSpPr>
              <p:nvPr>
                <p:custDataLst>
                  <p:tags r:id="rId9"/>
                </p:custDataLst>
              </p:nvPr>
            </p:nvSpPr>
            <p:spPr bwMode="auto">
              <a:xfrm>
                <a:off x="1345" y="2782"/>
                <a:ext cx="904" cy="110"/>
              </a:xfrm>
              <a:prstGeom prst="rect">
                <a:avLst/>
              </a:prstGeom>
              <a:noFill/>
              <a:ln w="9525">
                <a:noFill/>
                <a:miter lim="800000"/>
                <a:headEnd/>
                <a:tailEnd/>
              </a:ln>
            </p:spPr>
            <p:txBody>
              <a:bodyPr wrap="none" lIns="0" tIns="0" rIns="0" bIns="0" anchor="ctr">
                <a:noAutofit/>
              </a:bodyPr>
              <a:lstStyle/>
              <a:p>
                <a:pPr algn="r" eaLnBrk="0" hangingPunct="0">
                  <a:lnSpc>
                    <a:spcPct val="100000"/>
                  </a:lnSpc>
                  <a:buSzPct val="115000"/>
                  <a:buFont typeface="Symbol" pitchFamily="18" charset="2"/>
                  <a:buNone/>
                </a:pPr>
                <a:r>
                  <a:rPr lang="en-US" sz="1200" b="1" dirty="0">
                    <a:solidFill>
                      <a:srgbClr val="00FFB9"/>
                    </a:solidFill>
                  </a:rPr>
                  <a:t>Duis arcu tortor</a:t>
                </a:r>
              </a:p>
            </p:txBody>
          </p:sp>
          <p:sp>
            <p:nvSpPr>
              <p:cNvPr id="39" name="Text Box 11">
                <a:extLst>
                  <a:ext uri="{FF2B5EF4-FFF2-40B4-BE49-F238E27FC236}">
                    <a16:creationId xmlns:a16="http://schemas.microsoft.com/office/drawing/2014/main" id="{BB2284B0-B55D-4988-B5B1-24F2135462BE}"/>
                  </a:ext>
                </a:extLst>
              </p:cNvPr>
              <p:cNvSpPr txBox="1">
                <a:spLocks noChangeArrowheads="1"/>
              </p:cNvSpPr>
              <p:nvPr>
                <p:custDataLst>
                  <p:tags r:id="rId10"/>
                </p:custDataLst>
              </p:nvPr>
            </p:nvSpPr>
            <p:spPr bwMode="auto">
              <a:xfrm>
                <a:off x="1345" y="2988"/>
                <a:ext cx="904" cy="110"/>
              </a:xfrm>
              <a:prstGeom prst="rect">
                <a:avLst/>
              </a:prstGeom>
              <a:noFill/>
              <a:ln w="9525">
                <a:noFill/>
                <a:miter lim="800000"/>
                <a:headEnd/>
                <a:tailEnd/>
              </a:ln>
            </p:spPr>
            <p:txBody>
              <a:bodyPr wrap="none" lIns="0" tIns="0" rIns="0" bIns="0" anchor="ctr">
                <a:noAutofit/>
              </a:bodyPr>
              <a:lstStyle/>
              <a:p>
                <a:pPr algn="r" eaLnBrk="0" hangingPunct="0">
                  <a:lnSpc>
                    <a:spcPct val="100000"/>
                  </a:lnSpc>
                  <a:buSzPct val="115000"/>
                  <a:buFont typeface="Symbol" pitchFamily="18" charset="2"/>
                  <a:buNone/>
                </a:pPr>
                <a:r>
                  <a:rPr lang="en-US" sz="1200" b="1" dirty="0">
                    <a:solidFill>
                      <a:srgbClr val="00FFB9"/>
                    </a:solidFill>
                  </a:rPr>
                  <a:t>Phasellus nec</a:t>
                </a:r>
              </a:p>
            </p:txBody>
          </p:sp>
          <p:sp>
            <p:nvSpPr>
              <p:cNvPr id="40" name="Text Box 12">
                <a:extLst>
                  <a:ext uri="{FF2B5EF4-FFF2-40B4-BE49-F238E27FC236}">
                    <a16:creationId xmlns:a16="http://schemas.microsoft.com/office/drawing/2014/main" id="{E4F1359C-8030-4EC0-8539-C5A3F0F7EB8B}"/>
                  </a:ext>
                </a:extLst>
              </p:cNvPr>
              <p:cNvSpPr txBox="1">
                <a:spLocks noChangeArrowheads="1"/>
              </p:cNvSpPr>
              <p:nvPr>
                <p:custDataLst>
                  <p:tags r:id="rId11"/>
                </p:custDataLst>
              </p:nvPr>
            </p:nvSpPr>
            <p:spPr bwMode="auto">
              <a:xfrm>
                <a:off x="1345" y="3194"/>
                <a:ext cx="904" cy="110"/>
              </a:xfrm>
              <a:prstGeom prst="rect">
                <a:avLst/>
              </a:prstGeom>
              <a:noFill/>
              <a:ln w="9525">
                <a:noFill/>
                <a:miter lim="800000"/>
                <a:headEnd/>
                <a:tailEnd/>
              </a:ln>
            </p:spPr>
            <p:txBody>
              <a:bodyPr wrap="none" lIns="0" tIns="0" rIns="0" bIns="0" anchor="ctr">
                <a:noAutofit/>
              </a:bodyPr>
              <a:lstStyle/>
              <a:p>
                <a:pPr algn="r" eaLnBrk="0" hangingPunct="0">
                  <a:lnSpc>
                    <a:spcPct val="100000"/>
                  </a:lnSpc>
                  <a:buSzPct val="115000"/>
                  <a:buFont typeface="Symbol" pitchFamily="18" charset="2"/>
                  <a:buNone/>
                </a:pPr>
                <a:r>
                  <a:rPr lang="en-US" sz="1200" b="1" dirty="0">
                    <a:solidFill>
                      <a:srgbClr val="00FFB9"/>
                    </a:solidFill>
                  </a:rPr>
                  <a:t>Maecenas odio</a:t>
                </a:r>
              </a:p>
            </p:txBody>
          </p:sp>
          <p:sp>
            <p:nvSpPr>
              <p:cNvPr id="41" name="Text Box 13">
                <a:extLst>
                  <a:ext uri="{FF2B5EF4-FFF2-40B4-BE49-F238E27FC236}">
                    <a16:creationId xmlns:a16="http://schemas.microsoft.com/office/drawing/2014/main" id="{A9C88CEE-5E06-43BB-8CE7-1F8066569844}"/>
                  </a:ext>
                </a:extLst>
              </p:cNvPr>
              <p:cNvSpPr txBox="1">
                <a:spLocks noChangeArrowheads="1"/>
              </p:cNvSpPr>
              <p:nvPr>
                <p:custDataLst>
                  <p:tags r:id="rId12"/>
                </p:custDataLst>
              </p:nvPr>
            </p:nvSpPr>
            <p:spPr bwMode="auto">
              <a:xfrm>
                <a:off x="1345" y="3400"/>
                <a:ext cx="904" cy="110"/>
              </a:xfrm>
              <a:prstGeom prst="rect">
                <a:avLst/>
              </a:prstGeom>
              <a:noFill/>
              <a:ln w="9525">
                <a:noFill/>
                <a:miter lim="800000"/>
                <a:headEnd/>
                <a:tailEnd/>
              </a:ln>
            </p:spPr>
            <p:txBody>
              <a:bodyPr wrap="none" lIns="0" tIns="0" rIns="0" bIns="0" anchor="ctr">
                <a:noAutofit/>
              </a:bodyPr>
              <a:lstStyle/>
              <a:p>
                <a:pPr algn="r" eaLnBrk="0" hangingPunct="0">
                  <a:lnSpc>
                    <a:spcPct val="100000"/>
                  </a:lnSpc>
                  <a:buSzPct val="115000"/>
                  <a:buFont typeface="Symbol" pitchFamily="18" charset="2"/>
                  <a:buNone/>
                </a:pPr>
                <a:r>
                  <a:rPr lang="en-US" sz="1200" b="1" dirty="0">
                    <a:solidFill>
                      <a:srgbClr val="00FFB9"/>
                    </a:solidFill>
                  </a:rPr>
                  <a:t>Cras ultricies</a:t>
                </a:r>
              </a:p>
            </p:txBody>
          </p:sp>
          <p:sp>
            <p:nvSpPr>
              <p:cNvPr id="42" name="Text Box 14">
                <a:extLst>
                  <a:ext uri="{FF2B5EF4-FFF2-40B4-BE49-F238E27FC236}">
                    <a16:creationId xmlns:a16="http://schemas.microsoft.com/office/drawing/2014/main" id="{C51BDE3D-E435-4AD4-A0CC-5EE5B2E5F4E2}"/>
                  </a:ext>
                </a:extLst>
              </p:cNvPr>
              <p:cNvSpPr txBox="1">
                <a:spLocks noChangeArrowheads="1"/>
              </p:cNvSpPr>
              <p:nvPr>
                <p:custDataLst>
                  <p:tags r:id="rId13"/>
                </p:custDataLst>
              </p:nvPr>
            </p:nvSpPr>
            <p:spPr bwMode="auto">
              <a:xfrm>
                <a:off x="1345" y="3606"/>
                <a:ext cx="904" cy="110"/>
              </a:xfrm>
              <a:prstGeom prst="rect">
                <a:avLst/>
              </a:prstGeom>
              <a:noFill/>
              <a:ln w="9525">
                <a:noFill/>
                <a:miter lim="800000"/>
                <a:headEnd/>
                <a:tailEnd/>
              </a:ln>
            </p:spPr>
            <p:txBody>
              <a:bodyPr wrap="none" lIns="0" tIns="0" rIns="0" bIns="0" anchor="ctr">
                <a:noAutofit/>
              </a:bodyPr>
              <a:lstStyle/>
              <a:p>
                <a:pPr algn="r" eaLnBrk="0" hangingPunct="0">
                  <a:lnSpc>
                    <a:spcPct val="100000"/>
                  </a:lnSpc>
                  <a:buSzPct val="115000"/>
                  <a:buFont typeface="Symbol" pitchFamily="18" charset="2"/>
                  <a:buNone/>
                </a:pPr>
                <a:r>
                  <a:rPr lang="en-US" sz="1200" b="1" dirty="0">
                    <a:solidFill>
                      <a:srgbClr val="00FFB9"/>
                    </a:solidFill>
                  </a:rPr>
                  <a:t>Duis arcu tortor</a:t>
                </a:r>
              </a:p>
            </p:txBody>
          </p:sp>
        </p:grpSp>
      </p:grpSp>
      <p:sp>
        <p:nvSpPr>
          <p:cNvPr id="2" name="Title 1"/>
          <p:cNvSpPr>
            <a:spLocks noGrp="1"/>
          </p:cNvSpPr>
          <p:nvPr>
            <p:ph type="title"/>
          </p:nvPr>
        </p:nvSpPr>
        <p:spPr/>
        <p:txBody>
          <a:bodyPr/>
          <a:lstStyle/>
          <a:p>
            <a:r>
              <a:rPr lang="en-US" dirty="0"/>
              <a:t>Line chart (vertical)</a:t>
            </a:r>
          </a:p>
        </p:txBody>
      </p:sp>
      <p:grpSp>
        <p:nvGrpSpPr>
          <p:cNvPr id="11" name="Group 10">
            <a:extLst>
              <a:ext uri="{FF2B5EF4-FFF2-40B4-BE49-F238E27FC236}">
                <a16:creationId xmlns:a16="http://schemas.microsoft.com/office/drawing/2014/main" id="{7BEBCCCE-424D-4004-8F22-E693D28E0886}"/>
              </a:ext>
            </a:extLst>
          </p:cNvPr>
          <p:cNvGrpSpPr/>
          <p:nvPr/>
        </p:nvGrpSpPr>
        <p:grpSpPr>
          <a:xfrm>
            <a:off x="10317213" y="5314858"/>
            <a:ext cx="1469975" cy="670306"/>
            <a:chOff x="8866158" y="5237791"/>
            <a:chExt cx="1631704" cy="792000"/>
          </a:xfrm>
        </p:grpSpPr>
        <p:sp>
          <p:nvSpPr>
            <p:cNvPr id="55" name="TextBox 54">
              <a:extLst>
                <a:ext uri="{FF2B5EF4-FFF2-40B4-BE49-F238E27FC236}">
                  <a16:creationId xmlns:a16="http://schemas.microsoft.com/office/drawing/2014/main" id="{98E64279-ACDA-4B99-BDC9-95CEC40918E2}"/>
                </a:ext>
              </a:extLst>
            </p:cNvPr>
            <p:cNvSpPr txBox="1"/>
            <p:nvPr/>
          </p:nvSpPr>
          <p:spPr>
            <a:xfrm>
              <a:off x="9174805" y="5237791"/>
              <a:ext cx="1323057" cy="792000"/>
            </a:xfrm>
            <a:prstGeom prst="rect">
              <a:avLst/>
            </a:prstGeom>
            <a:noFill/>
          </p:spPr>
          <p:txBody>
            <a:bodyPr wrap="square" lIns="0" tIns="0" rIns="0" bIns="0" rtlCol="0">
              <a:noAutofit/>
            </a:bodyPr>
            <a:lstStyle/>
            <a:p>
              <a:pPr>
                <a:lnSpc>
                  <a:spcPct val="110000"/>
                </a:lnSpc>
                <a:spcBef>
                  <a:spcPts val="300"/>
                </a:spcBef>
              </a:pPr>
              <a:r>
                <a:rPr lang="en-US" sz="1200" dirty="0">
                  <a:solidFill>
                    <a:srgbClr val="66667E"/>
                  </a:solidFill>
                  <a:ea typeface="Arial Unicode MS" panose="020B0604020202020204" pitchFamily="34" charset="-128"/>
                  <a:cs typeface="Arial Unicode MS" panose="020B0604020202020204" pitchFamily="34" charset="-128"/>
                </a:rPr>
                <a:t>Data Series 1</a:t>
              </a:r>
            </a:p>
            <a:p>
              <a:pPr>
                <a:lnSpc>
                  <a:spcPct val="110000"/>
                </a:lnSpc>
                <a:spcBef>
                  <a:spcPts val="300"/>
                </a:spcBef>
              </a:pPr>
              <a:r>
                <a:rPr lang="en-US" sz="1200" dirty="0">
                  <a:solidFill>
                    <a:srgbClr val="66667E"/>
                  </a:solidFill>
                  <a:ea typeface="Arial Unicode MS" panose="020B0604020202020204" pitchFamily="34" charset="-128"/>
                  <a:cs typeface="Arial Unicode MS" panose="020B0604020202020204" pitchFamily="34" charset="-128"/>
                </a:rPr>
                <a:t>Data Series 2</a:t>
              </a:r>
            </a:p>
          </p:txBody>
        </p:sp>
        <p:grpSp>
          <p:nvGrpSpPr>
            <p:cNvPr id="9" name="Group 8">
              <a:extLst>
                <a:ext uri="{FF2B5EF4-FFF2-40B4-BE49-F238E27FC236}">
                  <a16:creationId xmlns:a16="http://schemas.microsoft.com/office/drawing/2014/main" id="{A14EB19D-0F54-4161-B932-047F43AA9494}"/>
                </a:ext>
              </a:extLst>
            </p:cNvPr>
            <p:cNvGrpSpPr/>
            <p:nvPr/>
          </p:nvGrpSpPr>
          <p:grpSpPr>
            <a:xfrm>
              <a:off x="8866158" y="5301516"/>
              <a:ext cx="216000" cy="108000"/>
              <a:chOff x="8866158" y="5301516"/>
              <a:chExt cx="216000" cy="108000"/>
            </a:xfrm>
          </p:grpSpPr>
          <p:cxnSp>
            <p:nvCxnSpPr>
              <p:cNvPr id="56" name="Straight Connector 55">
                <a:extLst>
                  <a:ext uri="{FF2B5EF4-FFF2-40B4-BE49-F238E27FC236}">
                    <a16:creationId xmlns:a16="http://schemas.microsoft.com/office/drawing/2014/main" id="{91A5D2C9-1B2C-4925-AD9F-F61EC7EE38E7}"/>
                  </a:ext>
                </a:extLst>
              </p:cNvPr>
              <p:cNvCxnSpPr/>
              <p:nvPr/>
            </p:nvCxnSpPr>
            <p:spPr bwMode="auto">
              <a:xfrm>
                <a:off x="8866158" y="5355516"/>
                <a:ext cx="216000" cy="0"/>
              </a:xfrm>
              <a:prstGeom prst="line">
                <a:avLst/>
              </a:prstGeom>
              <a:solidFill>
                <a:schemeClr val="tx2"/>
              </a:solidFill>
              <a:ln w="22225" cap="rnd" cmpd="sng" algn="ctr">
                <a:solidFill>
                  <a:srgbClr val="00FFB9"/>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8" name="Oval 7">
                <a:extLst>
                  <a:ext uri="{FF2B5EF4-FFF2-40B4-BE49-F238E27FC236}">
                    <a16:creationId xmlns:a16="http://schemas.microsoft.com/office/drawing/2014/main" id="{0FDE6024-B38D-4645-B7F3-EC60534FF28F}"/>
                  </a:ext>
                </a:extLst>
              </p:cNvPr>
              <p:cNvSpPr>
                <a:spLocks noChangeAspect="1"/>
              </p:cNvSpPr>
              <p:nvPr/>
            </p:nvSpPr>
            <p:spPr bwMode="auto">
              <a:xfrm>
                <a:off x="8920158" y="5301516"/>
                <a:ext cx="108000" cy="108000"/>
              </a:xfrm>
              <a:prstGeom prst="ellipse">
                <a:avLst/>
              </a:prstGeom>
              <a:solidFill>
                <a:srgbClr val="00FFB9"/>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200" dirty="0">
                  <a:solidFill>
                    <a:srgbClr val="66667E"/>
                  </a:solidFill>
                  <a:ea typeface="Arial Unicode MS" panose="020B0604020202020204" pitchFamily="34" charset="-128"/>
                  <a:cs typeface="Arial Unicode MS" panose="020B0604020202020204" pitchFamily="34" charset="-128"/>
                </a:endParaRPr>
              </a:p>
            </p:txBody>
          </p:sp>
        </p:grpSp>
        <p:grpSp>
          <p:nvGrpSpPr>
            <p:cNvPr id="10" name="Group 9">
              <a:extLst>
                <a:ext uri="{FF2B5EF4-FFF2-40B4-BE49-F238E27FC236}">
                  <a16:creationId xmlns:a16="http://schemas.microsoft.com/office/drawing/2014/main" id="{85EA563E-EF96-4AB5-9B2E-5F59E83C9D49}"/>
                </a:ext>
              </a:extLst>
            </p:cNvPr>
            <p:cNvGrpSpPr/>
            <p:nvPr/>
          </p:nvGrpSpPr>
          <p:grpSpPr>
            <a:xfrm>
              <a:off x="8866158" y="5574434"/>
              <a:ext cx="216000" cy="108000"/>
              <a:chOff x="8866158" y="5574434"/>
              <a:chExt cx="216000" cy="108000"/>
            </a:xfrm>
          </p:grpSpPr>
          <p:cxnSp>
            <p:nvCxnSpPr>
              <p:cNvPr id="58" name="Straight Connector 57">
                <a:extLst>
                  <a:ext uri="{FF2B5EF4-FFF2-40B4-BE49-F238E27FC236}">
                    <a16:creationId xmlns:a16="http://schemas.microsoft.com/office/drawing/2014/main" id="{FD8E85CB-B34B-48EB-88E5-DE00E81140A9}"/>
                  </a:ext>
                </a:extLst>
              </p:cNvPr>
              <p:cNvCxnSpPr/>
              <p:nvPr/>
            </p:nvCxnSpPr>
            <p:spPr bwMode="auto">
              <a:xfrm>
                <a:off x="8866158" y="5628264"/>
                <a:ext cx="216000" cy="0"/>
              </a:xfrm>
              <a:prstGeom prst="line">
                <a:avLst/>
              </a:prstGeom>
              <a:solidFill>
                <a:schemeClr val="tx2"/>
              </a:solidFill>
              <a:ln w="22225" cap="rnd" cmpd="sng" algn="ctr">
                <a:solidFill>
                  <a:schemeClr val="accent1"/>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9" name="Oval 28">
                <a:extLst>
                  <a:ext uri="{FF2B5EF4-FFF2-40B4-BE49-F238E27FC236}">
                    <a16:creationId xmlns:a16="http://schemas.microsoft.com/office/drawing/2014/main" id="{AC8EDB48-422C-4856-975A-59AB649E8C11}"/>
                  </a:ext>
                </a:extLst>
              </p:cNvPr>
              <p:cNvSpPr/>
              <p:nvPr/>
            </p:nvSpPr>
            <p:spPr bwMode="auto">
              <a:xfrm>
                <a:off x="8920158" y="5574434"/>
                <a:ext cx="108000" cy="108000"/>
              </a:xfrm>
              <a:prstGeom prst="ellipse">
                <a:avLst/>
              </a:prstGeom>
              <a:solidFill>
                <a:schemeClr val="accent1"/>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200" dirty="0">
                  <a:solidFill>
                    <a:srgbClr val="66667E"/>
                  </a:solidFill>
                  <a:ea typeface="Arial Unicode MS" panose="020B0604020202020204" pitchFamily="34" charset="-128"/>
                  <a:cs typeface="Arial Unicode MS" panose="020B0604020202020204" pitchFamily="34" charset="-128"/>
                </a:endParaRPr>
              </a:p>
            </p:txBody>
          </p:sp>
        </p:grpSp>
      </p:grpSp>
      <p:sp>
        <p:nvSpPr>
          <p:cNvPr id="43" name="Line 16">
            <a:extLst>
              <a:ext uri="{FF2B5EF4-FFF2-40B4-BE49-F238E27FC236}">
                <a16:creationId xmlns:a16="http://schemas.microsoft.com/office/drawing/2014/main" id="{36D8C9A1-0189-4DF2-8CAF-C6E3A1D9240F}"/>
              </a:ext>
            </a:extLst>
          </p:cNvPr>
          <p:cNvSpPr>
            <a:spLocks noChangeShapeType="1"/>
          </p:cNvSpPr>
          <p:nvPr>
            <p:custDataLst>
              <p:tags r:id="rId1"/>
            </p:custDataLst>
          </p:nvPr>
        </p:nvSpPr>
        <p:spPr bwMode="auto">
          <a:xfrm>
            <a:off x="5019015" y="1668086"/>
            <a:ext cx="0" cy="4186593"/>
          </a:xfrm>
          <a:prstGeom prst="line">
            <a:avLst/>
          </a:prstGeom>
          <a:noFill/>
          <a:ln w="19050">
            <a:solidFill>
              <a:schemeClr val="tx1"/>
            </a:solidFill>
            <a:prstDash val="solid"/>
            <a:round/>
            <a:headEnd/>
            <a:tailEnd/>
          </a:ln>
        </p:spPr>
        <p:txBody>
          <a:bodyPr wrap="square" lIns="0" tIns="0" rIns="0" bIns="0" anchor="ctr">
            <a:spAutoFit/>
          </a:bodyPr>
          <a:lstStyle/>
          <a:p>
            <a:endParaRPr lang="en-US" sz="1799" dirty="0"/>
          </a:p>
        </p:txBody>
      </p:sp>
      <p:sp>
        <p:nvSpPr>
          <p:cNvPr id="44" name="Oval 17">
            <a:extLst>
              <a:ext uri="{FF2B5EF4-FFF2-40B4-BE49-F238E27FC236}">
                <a16:creationId xmlns:a16="http://schemas.microsoft.com/office/drawing/2014/main" id="{0C57CD1B-4A10-4EBA-9B99-DF2CBC3334C9}"/>
              </a:ext>
            </a:extLst>
          </p:cNvPr>
          <p:cNvSpPr>
            <a:spLocks noChangeArrowheads="1"/>
          </p:cNvSpPr>
          <p:nvPr>
            <p:custDataLst>
              <p:tags r:id="rId2"/>
            </p:custDataLst>
          </p:nvPr>
        </p:nvSpPr>
        <p:spPr bwMode="auto">
          <a:xfrm>
            <a:off x="4758662" y="5950800"/>
            <a:ext cx="520705" cy="257235"/>
          </a:xfrm>
          <a:prstGeom prst="rect">
            <a:avLst/>
          </a:prstGeom>
          <a:noFill/>
          <a:ln w="9525">
            <a:noFill/>
            <a:round/>
            <a:headEnd/>
            <a:tailEnd/>
          </a:ln>
        </p:spPr>
        <p:txBody>
          <a:bodyPr wrap="none" lIns="0" tIns="71963" rIns="0" bIns="0" anchor="t" anchorCtr="0">
            <a:spAutoFit/>
          </a:bodyPr>
          <a:lstStyle/>
          <a:p>
            <a:pPr algn="ctr">
              <a:lnSpc>
                <a:spcPct val="100000"/>
              </a:lnSpc>
              <a:spcBef>
                <a:spcPct val="30000"/>
              </a:spcBef>
              <a:buFont typeface="Wingdings" pitchFamily="2" charset="2"/>
              <a:buNone/>
            </a:pPr>
            <a:r>
              <a:rPr lang="en-US" sz="1199" dirty="0">
                <a:sym typeface="Webdings" pitchFamily="18" charset="2"/>
              </a:rPr>
              <a:t>∅</a:t>
            </a:r>
            <a:r>
              <a:rPr lang="en-US" sz="1199" dirty="0">
                <a:sym typeface="Symbol" pitchFamily="18" charset="2"/>
              </a:rPr>
              <a:t> = X.X</a:t>
            </a:r>
          </a:p>
        </p:txBody>
      </p:sp>
      <p:sp>
        <p:nvSpPr>
          <p:cNvPr id="45" name="Isosceles Triangle 2">
            <a:extLst>
              <a:ext uri="{FF2B5EF4-FFF2-40B4-BE49-F238E27FC236}">
                <a16:creationId xmlns:a16="http://schemas.microsoft.com/office/drawing/2014/main" id="{B25E675D-077F-4042-B86A-B2FB8E866316}"/>
              </a:ext>
            </a:extLst>
          </p:cNvPr>
          <p:cNvSpPr/>
          <p:nvPr/>
        </p:nvSpPr>
        <p:spPr bwMode="auto">
          <a:xfrm>
            <a:off x="4919542" y="5812844"/>
            <a:ext cx="198946" cy="171505"/>
          </a:xfrm>
          <a:prstGeom prst="triangle">
            <a:avLst/>
          </a:prstGeom>
          <a:solidFill>
            <a:schemeClr val="tx1"/>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8" name="Content Placeholder 2">
            <a:extLst>
              <a:ext uri="{FF2B5EF4-FFF2-40B4-BE49-F238E27FC236}">
                <a16:creationId xmlns:a16="http://schemas.microsoft.com/office/drawing/2014/main" id="{4CC14ABC-0BD8-4EA9-9D6F-CA33F4C78F80}"/>
              </a:ext>
            </a:extLst>
          </p:cNvPr>
          <p:cNvSpPr txBox="1">
            <a:spLocks/>
          </p:cNvSpPr>
          <p:nvPr/>
        </p:nvSpPr>
        <p:spPr>
          <a:xfrm>
            <a:off x="9266400" y="1414800"/>
            <a:ext cx="2520000" cy="2304713"/>
          </a:xfrm>
          <a:prstGeom prst="rect">
            <a:avLst/>
          </a:prstGeom>
        </p:spPr>
        <p:txBody>
          <a:bodyPr lIns="0" tIns="0" rIns="0" bIns="0"/>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2pPr>
            <a:lvl3pPr marL="358775"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3pPr>
            <a:lvl4pPr marL="538163"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4pPr>
            <a:lvl5pPr marL="720000" indent="-180000" algn="l" rtl="0" eaLnBrk="1" fontAlgn="base" hangingPunct="1">
              <a:lnSpc>
                <a:spcPct val="110000"/>
              </a:lnSpc>
              <a:spcBef>
                <a:spcPct val="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a:lstStyle>
          <a:p>
            <a:pPr>
              <a:spcAft>
                <a:spcPts val="300"/>
              </a:spcAft>
            </a:pPr>
            <a:r>
              <a:rPr lang="en-US" b="1" kern="0" dirty="0">
                <a:solidFill>
                  <a:srgbClr val="00FFB9"/>
                </a:solidFill>
                <a:latin typeface="+mn-lt"/>
              </a:rPr>
              <a:t>Takima sanctus</a:t>
            </a:r>
          </a:p>
          <a:p>
            <a:pPr lvl="1">
              <a:spcAft>
                <a:spcPts val="300"/>
              </a:spcAft>
              <a:buClr>
                <a:schemeClr val="accent1"/>
              </a:buClr>
            </a:pPr>
            <a:r>
              <a:rPr lang="en-US" kern="0" dirty="0">
                <a:solidFill>
                  <a:srgbClr val="9999A9"/>
                </a:solidFill>
                <a:latin typeface="+mn-lt"/>
              </a:rPr>
              <a:t>Consetetur sadipscing elitr, </a:t>
            </a:r>
            <a:br>
              <a:rPr lang="en-US" kern="0" dirty="0">
                <a:solidFill>
                  <a:srgbClr val="9999A9"/>
                </a:solidFill>
                <a:latin typeface="+mn-lt"/>
              </a:rPr>
            </a:br>
            <a:r>
              <a:rPr lang="en-US" kern="0" dirty="0">
                <a:solidFill>
                  <a:srgbClr val="9999A9"/>
                </a:solidFill>
                <a:latin typeface="+mn-lt"/>
              </a:rPr>
              <a:t>seddiam nonumy</a:t>
            </a:r>
          </a:p>
          <a:p>
            <a:pPr lvl="1">
              <a:spcAft>
                <a:spcPts val="300"/>
              </a:spcAft>
              <a:buClr>
                <a:schemeClr val="accent1"/>
              </a:buClr>
            </a:pPr>
            <a:r>
              <a:rPr lang="en-US" kern="0" dirty="0">
                <a:solidFill>
                  <a:srgbClr val="9999A9"/>
                </a:solidFill>
                <a:latin typeface="+mn-lt"/>
              </a:rPr>
              <a:t>Cras ultricies mi eu</a:t>
            </a:r>
          </a:p>
          <a:p>
            <a:pPr lvl="1">
              <a:spcAft>
                <a:spcPts val="300"/>
              </a:spcAft>
              <a:buClr>
                <a:schemeClr val="accent1"/>
              </a:buClr>
            </a:pPr>
            <a:r>
              <a:rPr lang="en-US" kern="0" dirty="0">
                <a:solidFill>
                  <a:srgbClr val="9999A9"/>
                </a:solidFill>
                <a:latin typeface="+mn-lt"/>
              </a:rPr>
              <a:t>At vero eos et accusam</a:t>
            </a:r>
          </a:p>
        </p:txBody>
      </p:sp>
      <p:sp>
        <p:nvSpPr>
          <p:cNvPr id="3" name="Footer Placeholder 2">
            <a:extLst>
              <a:ext uri="{FF2B5EF4-FFF2-40B4-BE49-F238E27FC236}">
                <a16:creationId xmlns:a16="http://schemas.microsoft.com/office/drawing/2014/main" id="{C31F7FC8-5A84-4EC8-89A7-468BCF115E69}"/>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FBAEF5DE-DC46-45D4-8EC0-5211A0FA633F}"/>
              </a:ext>
            </a:extLst>
          </p:cNvPr>
          <p:cNvSpPr>
            <a:spLocks noGrp="1"/>
          </p:cNvSpPr>
          <p:nvPr>
            <p:ph type="sldNum" sz="quarter" idx="11"/>
          </p:nvPr>
        </p:nvSpPr>
        <p:spPr/>
        <p:txBody>
          <a:bodyPr/>
          <a:lstStyle/>
          <a:p>
            <a:r>
              <a:rPr lang="en-US" dirty="0"/>
              <a:t>Page </a:t>
            </a:r>
            <a:fld id="{15EBE321-CBB1-4E91-BD14-37C8D44326FB}" type="slidenum">
              <a:rPr lang="en-US" smtClean="0"/>
              <a:pPr/>
              <a:t>175</a:t>
            </a:fld>
            <a:endParaRPr lang="en-US" dirty="0"/>
          </a:p>
        </p:txBody>
      </p:sp>
    </p:spTree>
    <p:extLst>
      <p:ext uri="{BB962C8B-B14F-4D97-AF65-F5344CB8AC3E}">
        <p14:creationId xmlns:p14="http://schemas.microsoft.com/office/powerpoint/2010/main" val="1704234370"/>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30916218-0FE7-DA40-850A-7231E8C46B1B}"/>
              </a:ext>
            </a:extLst>
          </p:cNvPr>
          <p:cNvSpPr>
            <a:spLocks noGrp="1"/>
          </p:cNvSpPr>
          <p:nvPr>
            <p:ph type="title"/>
          </p:nvPr>
        </p:nvSpPr>
        <p:spPr/>
        <p:txBody>
          <a:bodyPr/>
          <a:lstStyle/>
          <a:p>
            <a:r>
              <a:rPr lang="en-US" dirty="0"/>
              <a:t>Area chart</a:t>
            </a:r>
            <a:endParaRPr lang="de-DE" dirty="0"/>
          </a:p>
        </p:txBody>
      </p:sp>
      <p:sp>
        <p:nvSpPr>
          <p:cNvPr id="2" name="Fußzeilenplatzhalter 1">
            <a:extLst>
              <a:ext uri="{FF2B5EF4-FFF2-40B4-BE49-F238E27FC236}">
                <a16:creationId xmlns:a16="http://schemas.microsoft.com/office/drawing/2014/main" id="{1F0BF956-B3F3-5E4F-8C06-F01CF87CAD48}"/>
              </a:ext>
            </a:extLst>
          </p:cNvPr>
          <p:cNvSpPr>
            <a:spLocks noGrp="1"/>
          </p:cNvSpPr>
          <p:nvPr>
            <p:ph type="ftr" sz="quarter" idx="10"/>
          </p:nvPr>
        </p:nvSpPr>
        <p:spPr/>
        <p:txBody>
          <a:bodyPr/>
          <a:lstStyle/>
          <a:p>
            <a:r>
              <a:rPr lang="en-US" dirty="0"/>
              <a:t>Restricted | © Siemens 20XX | Author | Department | YYYY-MM-DD</a:t>
            </a:r>
          </a:p>
        </p:txBody>
      </p:sp>
      <p:sp>
        <p:nvSpPr>
          <p:cNvPr id="3" name="Foliennummernplatzhalter 2">
            <a:extLst>
              <a:ext uri="{FF2B5EF4-FFF2-40B4-BE49-F238E27FC236}">
                <a16:creationId xmlns:a16="http://schemas.microsoft.com/office/drawing/2014/main" id="{CD3B1C9E-2B96-D440-8CDA-326D9BF3B590}"/>
              </a:ext>
            </a:extLst>
          </p:cNvPr>
          <p:cNvSpPr>
            <a:spLocks noGrp="1"/>
          </p:cNvSpPr>
          <p:nvPr>
            <p:ph type="sldNum" sz="quarter" idx="11"/>
          </p:nvPr>
        </p:nvSpPr>
        <p:spPr/>
        <p:txBody>
          <a:bodyPr/>
          <a:lstStyle/>
          <a:p>
            <a:r>
              <a:rPr lang="en-US" dirty="0"/>
              <a:t>Page </a:t>
            </a:r>
            <a:fld id="{15EBE321-CBB1-4E91-BD14-37C8D44326FB}" type="slidenum">
              <a:rPr lang="en-US" smtClean="0"/>
              <a:pPr/>
              <a:t>176</a:t>
            </a:fld>
            <a:endParaRPr lang="en-US" dirty="0"/>
          </a:p>
        </p:txBody>
      </p:sp>
      <p:graphicFrame>
        <p:nvGraphicFramePr>
          <p:cNvPr id="10" name="Diagramm 15">
            <a:extLst>
              <a:ext uri="{FF2B5EF4-FFF2-40B4-BE49-F238E27FC236}">
                <a16:creationId xmlns:a16="http://schemas.microsoft.com/office/drawing/2014/main" id="{2D13B810-34C1-4616-A284-56C284330986}"/>
              </a:ext>
            </a:extLst>
          </p:cNvPr>
          <p:cNvGraphicFramePr>
            <a:graphicFrameLocks noGrp="1"/>
          </p:cNvGraphicFramePr>
          <p:nvPr>
            <p:ph idx="1"/>
            <p:extLst>
              <p:ext uri="{D42A27DB-BD31-4B8C-83A1-F6EECF244321}">
                <p14:modId xmlns:p14="http://schemas.microsoft.com/office/powerpoint/2010/main" val="660492517"/>
              </p:ext>
            </p:extLst>
          </p:nvPr>
        </p:nvGraphicFramePr>
        <p:xfrm>
          <a:off x="411163" y="1414463"/>
          <a:ext cx="11376025" cy="475297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040863689"/>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30916218-0FE7-DA40-850A-7231E8C46B1B}"/>
              </a:ext>
            </a:extLst>
          </p:cNvPr>
          <p:cNvSpPr>
            <a:spLocks noGrp="1"/>
          </p:cNvSpPr>
          <p:nvPr>
            <p:ph type="title"/>
          </p:nvPr>
        </p:nvSpPr>
        <p:spPr>
          <a:xfrm>
            <a:off x="410400" y="478800"/>
            <a:ext cx="9863997" cy="576000"/>
          </a:xfrm>
        </p:spPr>
        <p:txBody>
          <a:bodyPr/>
          <a:lstStyle/>
          <a:p>
            <a:r>
              <a:rPr lang="en-US" dirty="0"/>
              <a:t>Area chart</a:t>
            </a:r>
            <a:endParaRPr lang="de-DE" dirty="0"/>
          </a:p>
        </p:txBody>
      </p:sp>
      <p:sp>
        <p:nvSpPr>
          <p:cNvPr id="2" name="Fußzeilenplatzhalter 1">
            <a:extLst>
              <a:ext uri="{FF2B5EF4-FFF2-40B4-BE49-F238E27FC236}">
                <a16:creationId xmlns:a16="http://schemas.microsoft.com/office/drawing/2014/main" id="{1F0BF956-B3F3-5E4F-8C06-F01CF87CAD48}"/>
              </a:ext>
            </a:extLst>
          </p:cNvPr>
          <p:cNvSpPr>
            <a:spLocks noGrp="1"/>
          </p:cNvSpPr>
          <p:nvPr>
            <p:ph type="ftr" sz="quarter" idx="10"/>
          </p:nvPr>
        </p:nvSpPr>
        <p:spPr/>
        <p:txBody>
          <a:bodyPr/>
          <a:lstStyle/>
          <a:p>
            <a:r>
              <a:rPr lang="en-US" dirty="0"/>
              <a:t>Restricted | © Siemens 20XX | Author | Department | YYYY-MM-DD</a:t>
            </a:r>
          </a:p>
        </p:txBody>
      </p:sp>
      <p:sp>
        <p:nvSpPr>
          <p:cNvPr id="3" name="Foliennummernplatzhalter 2">
            <a:extLst>
              <a:ext uri="{FF2B5EF4-FFF2-40B4-BE49-F238E27FC236}">
                <a16:creationId xmlns:a16="http://schemas.microsoft.com/office/drawing/2014/main" id="{CD3B1C9E-2B96-D440-8CDA-326D9BF3B590}"/>
              </a:ext>
            </a:extLst>
          </p:cNvPr>
          <p:cNvSpPr>
            <a:spLocks noGrp="1"/>
          </p:cNvSpPr>
          <p:nvPr>
            <p:ph type="sldNum" sz="quarter" idx="11"/>
          </p:nvPr>
        </p:nvSpPr>
        <p:spPr/>
        <p:txBody>
          <a:bodyPr/>
          <a:lstStyle/>
          <a:p>
            <a:r>
              <a:rPr lang="en-US" dirty="0"/>
              <a:t>Page </a:t>
            </a:r>
            <a:fld id="{15EBE321-CBB1-4E91-BD14-37C8D44326FB}" type="slidenum">
              <a:rPr lang="en-US" smtClean="0"/>
              <a:pPr/>
              <a:t>177</a:t>
            </a:fld>
            <a:endParaRPr lang="en-US" dirty="0"/>
          </a:p>
        </p:txBody>
      </p:sp>
      <p:graphicFrame>
        <p:nvGraphicFramePr>
          <p:cNvPr id="10" name="Diagramm 15">
            <a:extLst>
              <a:ext uri="{FF2B5EF4-FFF2-40B4-BE49-F238E27FC236}">
                <a16:creationId xmlns:a16="http://schemas.microsoft.com/office/drawing/2014/main" id="{2D13B810-34C1-4616-A284-56C284330986}"/>
              </a:ext>
            </a:extLst>
          </p:cNvPr>
          <p:cNvGraphicFramePr>
            <a:graphicFrameLocks noGrp="1"/>
          </p:cNvGraphicFramePr>
          <p:nvPr>
            <p:ph idx="4294967295"/>
            <p:extLst>
              <p:ext uri="{D42A27DB-BD31-4B8C-83A1-F6EECF244321}">
                <p14:modId xmlns:p14="http://schemas.microsoft.com/office/powerpoint/2010/main" val="48008750"/>
              </p:ext>
            </p:extLst>
          </p:nvPr>
        </p:nvGraphicFramePr>
        <p:xfrm>
          <a:off x="410400" y="1414463"/>
          <a:ext cx="11376025" cy="475297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131266780"/>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A1E3B4B5-D129-4BFE-83E3-E1494F7A97E6}"/>
              </a:ext>
            </a:extLst>
          </p:cNvPr>
          <p:cNvSpPr>
            <a:spLocks noGrp="1"/>
          </p:cNvSpPr>
          <p:nvPr>
            <p:ph type="title"/>
          </p:nvPr>
        </p:nvSpPr>
        <p:spPr>
          <a:xfrm>
            <a:off x="410400" y="478800"/>
            <a:ext cx="9863997" cy="576000"/>
          </a:xfrm>
        </p:spPr>
        <p:txBody>
          <a:bodyPr/>
          <a:lstStyle/>
          <a:p>
            <a:r>
              <a:rPr lang="en-US" dirty="0"/>
              <a:t>Colors in diagrams</a:t>
            </a:r>
            <a:br>
              <a:rPr lang="en-US" dirty="0"/>
            </a:br>
            <a:r>
              <a:rPr lang="en-US" b="0" dirty="0"/>
              <a:t>Basic color sets</a:t>
            </a:r>
          </a:p>
        </p:txBody>
      </p:sp>
      <p:sp>
        <p:nvSpPr>
          <p:cNvPr id="2" name="Footer Placeholder">
            <a:extLst>
              <a:ext uri="{FF2B5EF4-FFF2-40B4-BE49-F238E27FC236}">
                <a16:creationId xmlns:a16="http://schemas.microsoft.com/office/drawing/2014/main" id="{DEEC6267-15B2-4028-A5FA-E7FEFD74E203}"/>
              </a:ext>
            </a:extLst>
          </p:cNvPr>
          <p:cNvSpPr>
            <a:spLocks noGrp="1"/>
          </p:cNvSpPr>
          <p:nvPr>
            <p:ph type="ftr" sz="quarter" idx="10"/>
          </p:nvPr>
        </p:nvSpPr>
        <p:spPr/>
        <p:txBody>
          <a:bodyPr/>
          <a:lstStyle/>
          <a:p>
            <a:r>
              <a:rPr lang="en-US" dirty="0"/>
              <a:t>Restricted | © Siemens 20XX | Author | Department | YYYY-MM-DD</a:t>
            </a:r>
          </a:p>
        </p:txBody>
      </p:sp>
      <p:sp>
        <p:nvSpPr>
          <p:cNvPr id="4" name="Slide Number Placeholder">
            <a:extLst>
              <a:ext uri="{FF2B5EF4-FFF2-40B4-BE49-F238E27FC236}">
                <a16:creationId xmlns:a16="http://schemas.microsoft.com/office/drawing/2014/main" id="{EB7F17B8-F18A-4BB0-B8F9-937445343C6A}"/>
              </a:ext>
            </a:extLst>
          </p:cNvPr>
          <p:cNvSpPr>
            <a:spLocks noGrp="1"/>
          </p:cNvSpPr>
          <p:nvPr>
            <p:ph type="sldNum" sz="quarter" idx="11"/>
          </p:nvPr>
        </p:nvSpPr>
        <p:spPr/>
        <p:txBody>
          <a:bodyPr/>
          <a:lstStyle/>
          <a:p>
            <a:r>
              <a:rPr lang="en-US" dirty="0"/>
              <a:t>Page </a:t>
            </a:r>
            <a:fld id="{15EBE321-CBB1-4E91-BD14-37C8D44326FB}" type="slidenum">
              <a:rPr lang="en-US" smtClean="0"/>
              <a:pPr/>
              <a:t>178</a:t>
            </a:fld>
            <a:endParaRPr lang="en-US" dirty="0"/>
          </a:p>
        </p:txBody>
      </p:sp>
      <p:graphicFrame>
        <p:nvGraphicFramePr>
          <p:cNvPr id="49" name="Diagramm 48">
            <a:extLst>
              <a:ext uri="{FF2B5EF4-FFF2-40B4-BE49-F238E27FC236}">
                <a16:creationId xmlns:a16="http://schemas.microsoft.com/office/drawing/2014/main" id="{AE48EF06-AA42-D341-A3DD-B9CBAB5B76AB}"/>
              </a:ext>
            </a:extLst>
          </p:cNvPr>
          <p:cNvGraphicFramePr/>
          <p:nvPr>
            <p:extLst>
              <p:ext uri="{D42A27DB-BD31-4B8C-83A1-F6EECF244321}">
                <p14:modId xmlns:p14="http://schemas.microsoft.com/office/powerpoint/2010/main" val="767715164"/>
              </p:ext>
            </p:extLst>
          </p:nvPr>
        </p:nvGraphicFramePr>
        <p:xfrm>
          <a:off x="6098400" y="1417043"/>
          <a:ext cx="2844000" cy="43920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Diagramm 48">
            <a:extLst>
              <a:ext uri="{FF2B5EF4-FFF2-40B4-BE49-F238E27FC236}">
                <a16:creationId xmlns:a16="http://schemas.microsoft.com/office/drawing/2014/main" id="{739BD14A-E60A-4341-8B85-FEFC64C67C21}"/>
              </a:ext>
            </a:extLst>
          </p:cNvPr>
          <p:cNvGraphicFramePr/>
          <p:nvPr>
            <p:extLst>
              <p:ext uri="{D42A27DB-BD31-4B8C-83A1-F6EECF244321}">
                <p14:modId xmlns:p14="http://schemas.microsoft.com/office/powerpoint/2010/main" val="2699284208"/>
              </p:ext>
            </p:extLst>
          </p:nvPr>
        </p:nvGraphicFramePr>
        <p:xfrm>
          <a:off x="3254400" y="1417043"/>
          <a:ext cx="2844000" cy="4392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Diagramm 48">
            <a:extLst>
              <a:ext uri="{FF2B5EF4-FFF2-40B4-BE49-F238E27FC236}">
                <a16:creationId xmlns:a16="http://schemas.microsoft.com/office/drawing/2014/main" id="{2139084C-E6F1-46AA-BA1A-671EC09C9133}"/>
              </a:ext>
            </a:extLst>
          </p:cNvPr>
          <p:cNvGraphicFramePr/>
          <p:nvPr>
            <p:extLst>
              <p:ext uri="{D42A27DB-BD31-4B8C-83A1-F6EECF244321}">
                <p14:modId xmlns:p14="http://schemas.microsoft.com/office/powerpoint/2010/main" val="2433402860"/>
              </p:ext>
            </p:extLst>
          </p:nvPr>
        </p:nvGraphicFramePr>
        <p:xfrm>
          <a:off x="8942400" y="1417043"/>
          <a:ext cx="2844000" cy="4392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iagramm 48">
            <a:extLst>
              <a:ext uri="{FF2B5EF4-FFF2-40B4-BE49-F238E27FC236}">
                <a16:creationId xmlns:a16="http://schemas.microsoft.com/office/drawing/2014/main" id="{CC983AB5-127F-4884-A496-F7073209363F}"/>
              </a:ext>
            </a:extLst>
          </p:cNvPr>
          <p:cNvGraphicFramePr/>
          <p:nvPr>
            <p:extLst>
              <p:ext uri="{D42A27DB-BD31-4B8C-83A1-F6EECF244321}">
                <p14:modId xmlns:p14="http://schemas.microsoft.com/office/powerpoint/2010/main" val="1123374821"/>
              </p:ext>
            </p:extLst>
          </p:nvPr>
        </p:nvGraphicFramePr>
        <p:xfrm>
          <a:off x="410400" y="1417043"/>
          <a:ext cx="2844000" cy="43920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52669904"/>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A1E3B4B5-D129-4BFE-83E3-E1494F7A97E6}"/>
              </a:ext>
            </a:extLst>
          </p:cNvPr>
          <p:cNvSpPr>
            <a:spLocks noGrp="1"/>
          </p:cNvSpPr>
          <p:nvPr>
            <p:ph type="title"/>
          </p:nvPr>
        </p:nvSpPr>
        <p:spPr>
          <a:xfrm>
            <a:off x="410400" y="478800"/>
            <a:ext cx="9863997" cy="576000"/>
          </a:xfrm>
        </p:spPr>
        <p:txBody>
          <a:bodyPr/>
          <a:lstStyle/>
          <a:p>
            <a:r>
              <a:rPr lang="en-US" dirty="0"/>
              <a:t>Colors in diagrams</a:t>
            </a:r>
            <a:br>
              <a:rPr lang="en-US" dirty="0"/>
            </a:br>
            <a:r>
              <a:rPr lang="en-US" b="0" dirty="0"/>
              <a:t>Basic color sets</a:t>
            </a:r>
          </a:p>
        </p:txBody>
      </p:sp>
      <p:sp>
        <p:nvSpPr>
          <p:cNvPr id="2" name="Footer Placeholder">
            <a:extLst>
              <a:ext uri="{FF2B5EF4-FFF2-40B4-BE49-F238E27FC236}">
                <a16:creationId xmlns:a16="http://schemas.microsoft.com/office/drawing/2014/main" id="{DEEC6267-15B2-4028-A5FA-E7FEFD74E203}"/>
              </a:ext>
            </a:extLst>
          </p:cNvPr>
          <p:cNvSpPr>
            <a:spLocks noGrp="1"/>
          </p:cNvSpPr>
          <p:nvPr>
            <p:ph type="ftr" sz="quarter" idx="10"/>
          </p:nvPr>
        </p:nvSpPr>
        <p:spPr/>
        <p:txBody>
          <a:bodyPr/>
          <a:lstStyle/>
          <a:p>
            <a:r>
              <a:rPr lang="en-US" dirty="0"/>
              <a:t>Restricted | © Siemens 20XX | Author | Department | YYYY-MM-DD</a:t>
            </a:r>
          </a:p>
        </p:txBody>
      </p:sp>
      <p:sp>
        <p:nvSpPr>
          <p:cNvPr id="4" name="Slide Number Placeholder">
            <a:extLst>
              <a:ext uri="{FF2B5EF4-FFF2-40B4-BE49-F238E27FC236}">
                <a16:creationId xmlns:a16="http://schemas.microsoft.com/office/drawing/2014/main" id="{EB7F17B8-F18A-4BB0-B8F9-937445343C6A}"/>
              </a:ext>
            </a:extLst>
          </p:cNvPr>
          <p:cNvSpPr>
            <a:spLocks noGrp="1"/>
          </p:cNvSpPr>
          <p:nvPr>
            <p:ph type="sldNum" sz="quarter" idx="11"/>
          </p:nvPr>
        </p:nvSpPr>
        <p:spPr/>
        <p:txBody>
          <a:bodyPr/>
          <a:lstStyle/>
          <a:p>
            <a:r>
              <a:rPr lang="en-US" dirty="0"/>
              <a:t>Page </a:t>
            </a:r>
            <a:fld id="{15EBE321-CBB1-4E91-BD14-37C8D44326FB}" type="slidenum">
              <a:rPr lang="en-US" smtClean="0"/>
              <a:pPr/>
              <a:t>179</a:t>
            </a:fld>
            <a:endParaRPr lang="en-US" dirty="0"/>
          </a:p>
        </p:txBody>
      </p:sp>
      <p:graphicFrame>
        <p:nvGraphicFramePr>
          <p:cNvPr id="49" name="Diagramm 48">
            <a:extLst>
              <a:ext uri="{FF2B5EF4-FFF2-40B4-BE49-F238E27FC236}">
                <a16:creationId xmlns:a16="http://schemas.microsoft.com/office/drawing/2014/main" id="{AE48EF06-AA42-D341-A3DD-B9CBAB5B76AB}"/>
              </a:ext>
            </a:extLst>
          </p:cNvPr>
          <p:cNvGraphicFramePr/>
          <p:nvPr>
            <p:extLst>
              <p:ext uri="{D42A27DB-BD31-4B8C-83A1-F6EECF244321}">
                <p14:modId xmlns:p14="http://schemas.microsoft.com/office/powerpoint/2010/main" val="1479281422"/>
              </p:ext>
            </p:extLst>
          </p:nvPr>
        </p:nvGraphicFramePr>
        <p:xfrm>
          <a:off x="6098655" y="1417043"/>
          <a:ext cx="2844000" cy="43920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Diagramm 48">
            <a:extLst>
              <a:ext uri="{FF2B5EF4-FFF2-40B4-BE49-F238E27FC236}">
                <a16:creationId xmlns:a16="http://schemas.microsoft.com/office/drawing/2014/main" id="{739BD14A-E60A-4341-8B85-FEFC64C67C21}"/>
              </a:ext>
            </a:extLst>
          </p:cNvPr>
          <p:cNvGraphicFramePr/>
          <p:nvPr>
            <p:extLst>
              <p:ext uri="{D42A27DB-BD31-4B8C-83A1-F6EECF244321}">
                <p14:modId xmlns:p14="http://schemas.microsoft.com/office/powerpoint/2010/main" val="348677504"/>
              </p:ext>
            </p:extLst>
          </p:nvPr>
        </p:nvGraphicFramePr>
        <p:xfrm>
          <a:off x="3254910" y="1417043"/>
          <a:ext cx="2844000" cy="4392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Diagramm 48">
            <a:extLst>
              <a:ext uri="{FF2B5EF4-FFF2-40B4-BE49-F238E27FC236}">
                <a16:creationId xmlns:a16="http://schemas.microsoft.com/office/drawing/2014/main" id="{2139084C-E6F1-46AA-BA1A-671EC09C9133}"/>
              </a:ext>
            </a:extLst>
          </p:cNvPr>
          <p:cNvGraphicFramePr/>
          <p:nvPr>
            <p:extLst>
              <p:ext uri="{D42A27DB-BD31-4B8C-83A1-F6EECF244321}">
                <p14:modId xmlns:p14="http://schemas.microsoft.com/office/powerpoint/2010/main" val="4078074806"/>
              </p:ext>
            </p:extLst>
          </p:nvPr>
        </p:nvGraphicFramePr>
        <p:xfrm>
          <a:off x="8942400" y="1417043"/>
          <a:ext cx="2844000" cy="4392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iagramm 48">
            <a:extLst>
              <a:ext uri="{FF2B5EF4-FFF2-40B4-BE49-F238E27FC236}">
                <a16:creationId xmlns:a16="http://schemas.microsoft.com/office/drawing/2014/main" id="{CC983AB5-127F-4884-A496-F7073209363F}"/>
              </a:ext>
            </a:extLst>
          </p:cNvPr>
          <p:cNvGraphicFramePr/>
          <p:nvPr>
            <p:extLst>
              <p:ext uri="{D42A27DB-BD31-4B8C-83A1-F6EECF244321}">
                <p14:modId xmlns:p14="http://schemas.microsoft.com/office/powerpoint/2010/main" val="3736247773"/>
              </p:ext>
            </p:extLst>
          </p:nvPr>
        </p:nvGraphicFramePr>
        <p:xfrm>
          <a:off x="410400" y="1417043"/>
          <a:ext cx="2844000" cy="43920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667868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equences</a:t>
            </a:r>
          </a:p>
        </p:txBody>
      </p:sp>
      <p:sp>
        <p:nvSpPr>
          <p:cNvPr id="12" name="AutoShape 4"/>
          <p:cNvSpPr>
            <a:spLocks noChangeArrowheads="1"/>
          </p:cNvSpPr>
          <p:nvPr/>
        </p:nvSpPr>
        <p:spPr bwMode="auto">
          <a:xfrm>
            <a:off x="410400" y="1415848"/>
            <a:ext cx="3600000" cy="1440000"/>
          </a:xfrm>
          <a:prstGeom prst="homePlate">
            <a:avLst>
              <a:gd name="adj" fmla="val 25000"/>
            </a:avLst>
          </a:prstGeom>
          <a:solidFill>
            <a:srgbClr val="00FFB9"/>
          </a:solidFill>
          <a:ln w="12700">
            <a:noFill/>
            <a:miter lim="800000"/>
            <a:headEnd/>
            <a:tailEnd/>
          </a:ln>
          <a:effectLst/>
        </p:spPr>
        <p:txBody>
          <a:bodyPr wrap="square" lIns="215888" tIns="143925" rIns="143925" bIns="143925" anchor="t"/>
          <a:lstStyle/>
          <a:p>
            <a:r>
              <a:rPr lang="en-US" sz="1799" b="1" dirty="0">
                <a:solidFill>
                  <a:schemeClr val="tx2"/>
                </a:solidFill>
              </a:rPr>
              <a:t>Cras ultricies mi eu</a:t>
            </a:r>
          </a:p>
        </p:txBody>
      </p:sp>
      <p:sp>
        <p:nvSpPr>
          <p:cNvPr id="19" name="Freeform 18"/>
          <p:cNvSpPr>
            <a:spLocks/>
          </p:cNvSpPr>
          <p:nvPr/>
        </p:nvSpPr>
        <p:spPr bwMode="auto">
          <a:xfrm>
            <a:off x="4298950" y="1415849"/>
            <a:ext cx="5975410" cy="1439250"/>
          </a:xfrm>
          <a:custGeom>
            <a:avLst/>
            <a:gdLst>
              <a:gd name="connsiteX0" fmla="*/ 6768373 w 6768373"/>
              <a:gd name="connsiteY0" fmla="*/ 0 h 1496844"/>
              <a:gd name="connsiteX1" fmla="*/ 6768373 w 6768373"/>
              <a:gd name="connsiteY1" fmla="*/ 1496844 h 1496844"/>
              <a:gd name="connsiteX2" fmla="*/ 4887 w 6768373"/>
              <a:gd name="connsiteY2" fmla="*/ 1496844 h 1496844"/>
              <a:gd name="connsiteX3" fmla="*/ 390946 w 6768373"/>
              <a:gd name="connsiteY3" fmla="*/ 738759 h 1496844"/>
              <a:gd name="connsiteX4" fmla="*/ 0 w 6768373"/>
              <a:gd name="connsiteY4" fmla="*/ 3737 h 1496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8373" h="1496844">
                <a:moveTo>
                  <a:pt x="6768373" y="0"/>
                </a:moveTo>
                <a:lnTo>
                  <a:pt x="6768373" y="1496844"/>
                </a:lnTo>
                <a:lnTo>
                  <a:pt x="4887" y="1496844"/>
                </a:lnTo>
                <a:lnTo>
                  <a:pt x="390946" y="738759"/>
                </a:lnTo>
                <a:cubicBezTo>
                  <a:pt x="252486" y="492254"/>
                  <a:pt x="138460" y="250242"/>
                  <a:pt x="0" y="3737"/>
                </a:cubicBezTo>
                <a:close/>
              </a:path>
            </a:pathLst>
          </a:custGeom>
          <a:noFill/>
          <a:ln w="12700" cap="flat" cmpd="sng">
            <a:noFill/>
            <a:prstDash val="solid"/>
            <a:round/>
            <a:headEnd/>
            <a:tailEnd/>
          </a:ln>
          <a:effectLst/>
        </p:spPr>
        <p:txBody>
          <a:bodyPr wrap="square" lIns="287850" tIns="71963" rIns="143925" bIns="71963" anchor="ctr" anchorCtr="0">
            <a:noAutofit/>
          </a:bodyPr>
          <a:lstStyle/>
          <a:p>
            <a:pPr marL="179910" indent="-179910">
              <a:spcBef>
                <a:spcPts val="600"/>
              </a:spcBef>
              <a:buClr>
                <a:schemeClr val="accent1"/>
              </a:buClr>
              <a:buSzPct val="100000"/>
              <a:buFont typeface="Arial" pitchFamily="34" charset="0"/>
              <a:buChar char="•"/>
            </a:pPr>
            <a:r>
              <a:rPr lang="en-US" sz="1799" dirty="0">
                <a:solidFill>
                  <a:srgbClr val="66667E"/>
                </a:solidFill>
              </a:rPr>
              <a:t>At vero eos et accusam</a:t>
            </a:r>
          </a:p>
          <a:p>
            <a:pPr marL="179910" indent="-179910">
              <a:spcBef>
                <a:spcPts val="600"/>
              </a:spcBef>
              <a:buClr>
                <a:schemeClr val="accent1"/>
              </a:buClr>
              <a:buSzPct val="100000"/>
              <a:buFont typeface="Arial" pitchFamily="34" charset="0"/>
              <a:buChar char="•"/>
            </a:pPr>
            <a:r>
              <a:rPr lang="en-US" sz="1799" dirty="0">
                <a:solidFill>
                  <a:srgbClr val="66667E"/>
                </a:solidFill>
              </a:rPr>
              <a:t>Cras ultricies mi eu</a:t>
            </a:r>
          </a:p>
          <a:p>
            <a:pPr marL="179910" indent="-179910">
              <a:spcBef>
                <a:spcPts val="600"/>
              </a:spcBef>
              <a:buClr>
                <a:schemeClr val="accent1"/>
              </a:buClr>
              <a:buSzPct val="100000"/>
              <a:buFont typeface="Arial" pitchFamily="34" charset="0"/>
              <a:buChar char="•"/>
            </a:pPr>
            <a:r>
              <a:rPr lang="en-US" sz="1799" dirty="0">
                <a:solidFill>
                  <a:srgbClr val="66667E"/>
                </a:solidFill>
              </a:rPr>
              <a:t>Duis arcu tortor, suscipit eget</a:t>
            </a:r>
          </a:p>
        </p:txBody>
      </p:sp>
      <p:sp>
        <p:nvSpPr>
          <p:cNvPr id="11" name="Freeform 10"/>
          <p:cNvSpPr>
            <a:spLocks/>
          </p:cNvSpPr>
          <p:nvPr/>
        </p:nvSpPr>
        <p:spPr bwMode="auto">
          <a:xfrm>
            <a:off x="4299442" y="2999024"/>
            <a:ext cx="5974858" cy="1439250"/>
          </a:xfrm>
          <a:custGeom>
            <a:avLst/>
            <a:gdLst>
              <a:gd name="connsiteX0" fmla="*/ 6768373 w 6768373"/>
              <a:gd name="connsiteY0" fmla="*/ 0 h 1496844"/>
              <a:gd name="connsiteX1" fmla="*/ 6768373 w 6768373"/>
              <a:gd name="connsiteY1" fmla="*/ 1496844 h 1496844"/>
              <a:gd name="connsiteX2" fmla="*/ 4887 w 6768373"/>
              <a:gd name="connsiteY2" fmla="*/ 1496844 h 1496844"/>
              <a:gd name="connsiteX3" fmla="*/ 390946 w 6768373"/>
              <a:gd name="connsiteY3" fmla="*/ 738759 h 1496844"/>
              <a:gd name="connsiteX4" fmla="*/ 0 w 6768373"/>
              <a:gd name="connsiteY4" fmla="*/ 3737 h 1496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8373" h="1496844">
                <a:moveTo>
                  <a:pt x="6768373" y="0"/>
                </a:moveTo>
                <a:lnTo>
                  <a:pt x="6768373" y="1496844"/>
                </a:lnTo>
                <a:lnTo>
                  <a:pt x="4887" y="1496844"/>
                </a:lnTo>
                <a:lnTo>
                  <a:pt x="390946" y="738759"/>
                </a:lnTo>
                <a:cubicBezTo>
                  <a:pt x="252486" y="492254"/>
                  <a:pt x="138460" y="250242"/>
                  <a:pt x="0" y="3737"/>
                </a:cubicBezTo>
                <a:close/>
              </a:path>
            </a:pathLst>
          </a:custGeom>
          <a:noFill/>
          <a:ln w="12700" cap="flat" cmpd="sng">
            <a:noFill/>
            <a:prstDash val="solid"/>
            <a:round/>
            <a:headEnd/>
            <a:tailEnd/>
          </a:ln>
          <a:effectLst/>
        </p:spPr>
        <p:txBody>
          <a:bodyPr wrap="square" lIns="287850" tIns="71963" rIns="143925" bIns="71963" anchor="ctr" anchorCtr="0">
            <a:noAutofit/>
          </a:bodyPr>
          <a:lstStyle/>
          <a:p>
            <a:pPr marL="179910" indent="-179910">
              <a:spcBef>
                <a:spcPts val="600"/>
              </a:spcBef>
              <a:buClr>
                <a:schemeClr val="accent1"/>
              </a:buClr>
              <a:buSzPct val="100000"/>
              <a:buFont typeface="Arial" pitchFamily="34" charset="0"/>
              <a:buChar char="•"/>
            </a:pPr>
            <a:r>
              <a:rPr lang="en-US" sz="1799" dirty="0">
                <a:solidFill>
                  <a:srgbClr val="66667E"/>
                </a:solidFill>
              </a:rPr>
              <a:t>Imperdiet nec, imperdiet iaculis, ipsum</a:t>
            </a:r>
          </a:p>
          <a:p>
            <a:pPr marL="179910" indent="-179910">
              <a:spcBef>
                <a:spcPts val="600"/>
              </a:spcBef>
              <a:buClr>
                <a:schemeClr val="accent1"/>
              </a:buClr>
              <a:buSzPct val="100000"/>
              <a:buFont typeface="Arial" pitchFamily="34" charset="0"/>
              <a:buChar char="•"/>
            </a:pPr>
            <a:r>
              <a:rPr lang="en-US" sz="1799" dirty="0">
                <a:solidFill>
                  <a:srgbClr val="66667E"/>
                </a:solidFill>
              </a:rPr>
              <a:t>Cras ultricies mi eu</a:t>
            </a:r>
          </a:p>
          <a:p>
            <a:pPr marL="179910" indent="-179910">
              <a:spcBef>
                <a:spcPts val="600"/>
              </a:spcBef>
              <a:buClr>
                <a:schemeClr val="accent1"/>
              </a:buClr>
              <a:buSzPct val="100000"/>
              <a:buFont typeface="Arial" pitchFamily="34" charset="0"/>
              <a:buChar char="•"/>
            </a:pPr>
            <a:r>
              <a:rPr lang="en-US" sz="1799" dirty="0">
                <a:solidFill>
                  <a:srgbClr val="66667E"/>
                </a:solidFill>
              </a:rPr>
              <a:t>Duis arcu tortor</a:t>
            </a:r>
          </a:p>
        </p:txBody>
      </p:sp>
      <p:sp>
        <p:nvSpPr>
          <p:cNvPr id="13" name="Freeform 12"/>
          <p:cNvSpPr>
            <a:spLocks/>
          </p:cNvSpPr>
          <p:nvPr/>
        </p:nvSpPr>
        <p:spPr bwMode="auto">
          <a:xfrm>
            <a:off x="4299442" y="4582200"/>
            <a:ext cx="5974858" cy="1439250"/>
          </a:xfrm>
          <a:custGeom>
            <a:avLst/>
            <a:gdLst>
              <a:gd name="connsiteX0" fmla="*/ 6768373 w 6768373"/>
              <a:gd name="connsiteY0" fmla="*/ 0 h 1496844"/>
              <a:gd name="connsiteX1" fmla="*/ 6768373 w 6768373"/>
              <a:gd name="connsiteY1" fmla="*/ 1496844 h 1496844"/>
              <a:gd name="connsiteX2" fmla="*/ 4887 w 6768373"/>
              <a:gd name="connsiteY2" fmla="*/ 1496844 h 1496844"/>
              <a:gd name="connsiteX3" fmla="*/ 390946 w 6768373"/>
              <a:gd name="connsiteY3" fmla="*/ 738759 h 1496844"/>
              <a:gd name="connsiteX4" fmla="*/ 0 w 6768373"/>
              <a:gd name="connsiteY4" fmla="*/ 3737 h 1496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8373" h="1496844">
                <a:moveTo>
                  <a:pt x="6768373" y="0"/>
                </a:moveTo>
                <a:lnTo>
                  <a:pt x="6768373" y="1496844"/>
                </a:lnTo>
                <a:lnTo>
                  <a:pt x="4887" y="1496844"/>
                </a:lnTo>
                <a:lnTo>
                  <a:pt x="390946" y="738759"/>
                </a:lnTo>
                <a:cubicBezTo>
                  <a:pt x="252486" y="492254"/>
                  <a:pt x="138460" y="250242"/>
                  <a:pt x="0" y="3737"/>
                </a:cubicBezTo>
                <a:close/>
              </a:path>
            </a:pathLst>
          </a:custGeom>
          <a:noFill/>
          <a:ln w="12700" cap="flat" cmpd="sng">
            <a:noFill/>
            <a:prstDash val="solid"/>
            <a:round/>
            <a:headEnd/>
            <a:tailEnd/>
          </a:ln>
          <a:effectLst/>
        </p:spPr>
        <p:txBody>
          <a:bodyPr wrap="square" lIns="287850" tIns="71963" rIns="143925" bIns="71963" anchor="ctr" anchorCtr="0">
            <a:noAutofit/>
          </a:bodyPr>
          <a:lstStyle/>
          <a:p>
            <a:pPr marL="179910" indent="-179910">
              <a:spcBef>
                <a:spcPts val="600"/>
              </a:spcBef>
              <a:buClr>
                <a:schemeClr val="accent1"/>
              </a:buClr>
              <a:buSzPct val="100000"/>
              <a:buFont typeface="Arial" pitchFamily="34" charset="0"/>
              <a:buChar char="•"/>
            </a:pPr>
            <a:r>
              <a:rPr lang="en-US" sz="1799" dirty="0">
                <a:solidFill>
                  <a:srgbClr val="66667E"/>
                </a:solidFill>
              </a:rPr>
              <a:t>Cras ultricies mi eu</a:t>
            </a:r>
          </a:p>
          <a:p>
            <a:pPr marL="179910" indent="-179910">
              <a:spcBef>
                <a:spcPts val="600"/>
              </a:spcBef>
              <a:buClr>
                <a:schemeClr val="accent1"/>
              </a:buClr>
              <a:buSzPct val="100000"/>
              <a:buFont typeface="Arial" pitchFamily="34" charset="0"/>
              <a:buChar char="•"/>
            </a:pPr>
            <a:r>
              <a:rPr lang="en-US" sz="1799" dirty="0">
                <a:solidFill>
                  <a:srgbClr val="66667E"/>
                </a:solidFill>
              </a:rPr>
              <a:t>At vero eos et accusam</a:t>
            </a:r>
          </a:p>
          <a:p>
            <a:pPr marL="179910" indent="-179910">
              <a:spcBef>
                <a:spcPts val="600"/>
              </a:spcBef>
              <a:buClr>
                <a:schemeClr val="accent1"/>
              </a:buClr>
              <a:buSzPct val="100000"/>
              <a:buFont typeface="Arial" pitchFamily="34" charset="0"/>
              <a:buChar char="•"/>
            </a:pPr>
            <a:r>
              <a:rPr lang="en-US" sz="1799" dirty="0">
                <a:solidFill>
                  <a:srgbClr val="66667E"/>
                </a:solidFill>
              </a:rPr>
              <a:t>Duis arcu tortor, suscipit eget</a:t>
            </a:r>
          </a:p>
        </p:txBody>
      </p:sp>
      <p:sp>
        <p:nvSpPr>
          <p:cNvPr id="15" name="AutoShape 4"/>
          <p:cNvSpPr>
            <a:spLocks noChangeArrowheads="1"/>
          </p:cNvSpPr>
          <p:nvPr/>
        </p:nvSpPr>
        <p:spPr bwMode="auto">
          <a:xfrm>
            <a:off x="410400" y="2999024"/>
            <a:ext cx="3600000" cy="1439250"/>
          </a:xfrm>
          <a:prstGeom prst="homePlate">
            <a:avLst>
              <a:gd name="adj" fmla="val 25000"/>
            </a:avLst>
          </a:prstGeom>
          <a:solidFill>
            <a:srgbClr val="00AF8E"/>
          </a:solidFill>
          <a:ln w="12700">
            <a:noFill/>
            <a:miter lim="800000"/>
            <a:headEnd/>
            <a:tailEnd/>
          </a:ln>
          <a:effectLst/>
        </p:spPr>
        <p:txBody>
          <a:bodyPr wrap="square" lIns="215888" tIns="143925" rIns="143925" bIns="143925" anchor="t"/>
          <a:lstStyle/>
          <a:p>
            <a:r>
              <a:rPr lang="en-US" sz="1799" b="1" dirty="0">
                <a:solidFill>
                  <a:schemeClr val="tx2"/>
                </a:solidFill>
              </a:rPr>
              <a:t>Duis arcu tortor, suscipit eget, imperdiet nec</a:t>
            </a:r>
          </a:p>
        </p:txBody>
      </p:sp>
      <p:sp>
        <p:nvSpPr>
          <p:cNvPr id="17" name="AutoShape 4"/>
          <p:cNvSpPr>
            <a:spLocks noChangeArrowheads="1"/>
          </p:cNvSpPr>
          <p:nvPr/>
        </p:nvSpPr>
        <p:spPr bwMode="auto">
          <a:xfrm>
            <a:off x="410400" y="4582200"/>
            <a:ext cx="3600000" cy="1439250"/>
          </a:xfrm>
          <a:prstGeom prst="homePlate">
            <a:avLst>
              <a:gd name="adj" fmla="val 25000"/>
            </a:avLst>
          </a:prstGeom>
          <a:solidFill>
            <a:srgbClr val="00646E"/>
          </a:solidFill>
          <a:ln w="12700">
            <a:noFill/>
            <a:miter lim="800000"/>
            <a:headEnd/>
            <a:tailEnd/>
          </a:ln>
          <a:effectLst/>
        </p:spPr>
        <p:txBody>
          <a:bodyPr wrap="square" lIns="215888" tIns="143925" rIns="143925" bIns="143925" anchor="t"/>
          <a:lstStyle/>
          <a:p>
            <a:r>
              <a:rPr lang="en-US" sz="1799" b="1" dirty="0">
                <a:solidFill>
                  <a:schemeClr val="bg2"/>
                </a:solidFill>
              </a:rPr>
              <a:t>Phasellus nec sem</a:t>
            </a:r>
          </a:p>
        </p:txBody>
      </p:sp>
      <p:sp>
        <p:nvSpPr>
          <p:cNvPr id="3" name="Footer Placeholder 2">
            <a:extLst>
              <a:ext uri="{FF2B5EF4-FFF2-40B4-BE49-F238E27FC236}">
                <a16:creationId xmlns:a16="http://schemas.microsoft.com/office/drawing/2014/main" id="{29065D48-2AF1-446B-BF47-2135AD484719}"/>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EC34CA68-4644-477F-BF6B-62E1084B1F79}"/>
              </a:ext>
            </a:extLst>
          </p:cNvPr>
          <p:cNvSpPr>
            <a:spLocks noGrp="1"/>
          </p:cNvSpPr>
          <p:nvPr>
            <p:ph type="sldNum" sz="quarter" idx="11"/>
          </p:nvPr>
        </p:nvSpPr>
        <p:spPr/>
        <p:txBody>
          <a:bodyPr/>
          <a:lstStyle/>
          <a:p>
            <a:r>
              <a:rPr lang="en-US" dirty="0"/>
              <a:t>Page </a:t>
            </a:r>
            <a:fld id="{15EBE321-CBB1-4E91-BD14-37C8D44326FB}" type="slidenum">
              <a:rPr lang="en-US" smtClean="0"/>
              <a:pPr/>
              <a:t>18</a:t>
            </a:fld>
            <a:endParaRPr lang="en-US" dirty="0"/>
          </a:p>
        </p:txBody>
      </p:sp>
    </p:spTree>
    <p:extLst>
      <p:ext uri="{BB962C8B-B14F-4D97-AF65-F5344CB8AC3E}">
        <p14:creationId xmlns:p14="http://schemas.microsoft.com/office/powerpoint/2010/main" val="436139461"/>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A1E3B4B5-D129-4BFE-83E3-E1494F7A97E6}"/>
              </a:ext>
            </a:extLst>
          </p:cNvPr>
          <p:cNvSpPr>
            <a:spLocks noGrp="1"/>
          </p:cNvSpPr>
          <p:nvPr>
            <p:ph type="title"/>
          </p:nvPr>
        </p:nvSpPr>
        <p:spPr>
          <a:xfrm>
            <a:off x="410400" y="478800"/>
            <a:ext cx="9863997" cy="576000"/>
          </a:xfrm>
        </p:spPr>
        <p:txBody>
          <a:bodyPr/>
          <a:lstStyle/>
          <a:p>
            <a:r>
              <a:rPr lang="en-US" dirty="0"/>
              <a:t>Colors in diagrams</a:t>
            </a:r>
            <a:br>
              <a:rPr lang="en-US" dirty="0"/>
            </a:br>
            <a:r>
              <a:rPr lang="en-US" b="0" dirty="0"/>
              <a:t>Extended color sets</a:t>
            </a:r>
          </a:p>
        </p:txBody>
      </p:sp>
      <p:sp>
        <p:nvSpPr>
          <p:cNvPr id="2" name="Footer Placeholder">
            <a:extLst>
              <a:ext uri="{FF2B5EF4-FFF2-40B4-BE49-F238E27FC236}">
                <a16:creationId xmlns:a16="http://schemas.microsoft.com/office/drawing/2014/main" id="{DEEC6267-15B2-4028-A5FA-E7FEFD74E203}"/>
              </a:ext>
            </a:extLst>
          </p:cNvPr>
          <p:cNvSpPr>
            <a:spLocks noGrp="1"/>
          </p:cNvSpPr>
          <p:nvPr>
            <p:ph type="ftr" sz="quarter" idx="10"/>
          </p:nvPr>
        </p:nvSpPr>
        <p:spPr/>
        <p:txBody>
          <a:bodyPr/>
          <a:lstStyle/>
          <a:p>
            <a:r>
              <a:rPr lang="en-US" dirty="0"/>
              <a:t>Restricted | © Siemens 20XX | Author | Department | YYYY-MM-DD</a:t>
            </a:r>
          </a:p>
        </p:txBody>
      </p:sp>
      <p:sp>
        <p:nvSpPr>
          <p:cNvPr id="4" name="Slide Number Placeholder">
            <a:extLst>
              <a:ext uri="{FF2B5EF4-FFF2-40B4-BE49-F238E27FC236}">
                <a16:creationId xmlns:a16="http://schemas.microsoft.com/office/drawing/2014/main" id="{EB7F17B8-F18A-4BB0-B8F9-937445343C6A}"/>
              </a:ext>
            </a:extLst>
          </p:cNvPr>
          <p:cNvSpPr>
            <a:spLocks noGrp="1"/>
          </p:cNvSpPr>
          <p:nvPr>
            <p:ph type="sldNum" sz="quarter" idx="11"/>
          </p:nvPr>
        </p:nvSpPr>
        <p:spPr/>
        <p:txBody>
          <a:bodyPr/>
          <a:lstStyle/>
          <a:p>
            <a:r>
              <a:rPr lang="en-US" dirty="0"/>
              <a:t>Page </a:t>
            </a:r>
            <a:fld id="{15EBE321-CBB1-4E91-BD14-37C8D44326FB}" type="slidenum">
              <a:rPr lang="en-US" smtClean="0"/>
              <a:pPr/>
              <a:t>180</a:t>
            </a:fld>
            <a:endParaRPr lang="en-US" dirty="0"/>
          </a:p>
        </p:txBody>
      </p:sp>
      <p:graphicFrame>
        <p:nvGraphicFramePr>
          <p:cNvPr id="49" name="Diagramm 48">
            <a:extLst>
              <a:ext uri="{FF2B5EF4-FFF2-40B4-BE49-F238E27FC236}">
                <a16:creationId xmlns:a16="http://schemas.microsoft.com/office/drawing/2014/main" id="{AE48EF06-AA42-D341-A3DD-B9CBAB5B76AB}"/>
              </a:ext>
            </a:extLst>
          </p:cNvPr>
          <p:cNvGraphicFramePr/>
          <p:nvPr>
            <p:extLst>
              <p:ext uri="{D42A27DB-BD31-4B8C-83A1-F6EECF244321}">
                <p14:modId xmlns:p14="http://schemas.microsoft.com/office/powerpoint/2010/main" val="307573646"/>
              </p:ext>
            </p:extLst>
          </p:nvPr>
        </p:nvGraphicFramePr>
        <p:xfrm>
          <a:off x="8186400" y="1417043"/>
          <a:ext cx="3600000" cy="43920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Diagramm 48">
            <a:extLst>
              <a:ext uri="{FF2B5EF4-FFF2-40B4-BE49-F238E27FC236}">
                <a16:creationId xmlns:a16="http://schemas.microsoft.com/office/drawing/2014/main" id="{739BD14A-E60A-4341-8B85-FEFC64C67C21}"/>
              </a:ext>
            </a:extLst>
          </p:cNvPr>
          <p:cNvGraphicFramePr/>
          <p:nvPr>
            <p:extLst>
              <p:ext uri="{D42A27DB-BD31-4B8C-83A1-F6EECF244321}">
                <p14:modId xmlns:p14="http://schemas.microsoft.com/office/powerpoint/2010/main" val="2001489479"/>
              </p:ext>
            </p:extLst>
          </p:nvPr>
        </p:nvGraphicFramePr>
        <p:xfrm>
          <a:off x="4298783" y="1417043"/>
          <a:ext cx="3600000" cy="4392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Diagramm 48">
            <a:extLst>
              <a:ext uri="{FF2B5EF4-FFF2-40B4-BE49-F238E27FC236}">
                <a16:creationId xmlns:a16="http://schemas.microsoft.com/office/drawing/2014/main" id="{12C83875-2C69-4B80-8C93-16E9910BD416}"/>
              </a:ext>
            </a:extLst>
          </p:cNvPr>
          <p:cNvGraphicFramePr/>
          <p:nvPr>
            <p:extLst>
              <p:ext uri="{D42A27DB-BD31-4B8C-83A1-F6EECF244321}">
                <p14:modId xmlns:p14="http://schemas.microsoft.com/office/powerpoint/2010/main" val="3309356508"/>
              </p:ext>
            </p:extLst>
          </p:nvPr>
        </p:nvGraphicFramePr>
        <p:xfrm>
          <a:off x="410400" y="1417043"/>
          <a:ext cx="3600000" cy="43920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902295357"/>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A1E3B4B5-D129-4BFE-83E3-E1494F7A97E6}"/>
              </a:ext>
            </a:extLst>
          </p:cNvPr>
          <p:cNvSpPr>
            <a:spLocks noGrp="1"/>
          </p:cNvSpPr>
          <p:nvPr>
            <p:ph type="title"/>
          </p:nvPr>
        </p:nvSpPr>
        <p:spPr>
          <a:xfrm>
            <a:off x="410400" y="478800"/>
            <a:ext cx="9863997" cy="576000"/>
          </a:xfrm>
        </p:spPr>
        <p:txBody>
          <a:bodyPr/>
          <a:lstStyle/>
          <a:p>
            <a:r>
              <a:rPr lang="en-US" dirty="0"/>
              <a:t>Colors in diagrams</a:t>
            </a:r>
            <a:br>
              <a:rPr lang="en-US" dirty="0"/>
            </a:br>
            <a:r>
              <a:rPr lang="en-US" b="0" dirty="0"/>
              <a:t>Extended color sets</a:t>
            </a:r>
          </a:p>
        </p:txBody>
      </p:sp>
      <p:sp>
        <p:nvSpPr>
          <p:cNvPr id="2" name="Footer Placeholder">
            <a:extLst>
              <a:ext uri="{FF2B5EF4-FFF2-40B4-BE49-F238E27FC236}">
                <a16:creationId xmlns:a16="http://schemas.microsoft.com/office/drawing/2014/main" id="{DEEC6267-15B2-4028-A5FA-E7FEFD74E203}"/>
              </a:ext>
            </a:extLst>
          </p:cNvPr>
          <p:cNvSpPr>
            <a:spLocks noGrp="1"/>
          </p:cNvSpPr>
          <p:nvPr>
            <p:ph type="ftr" sz="quarter" idx="10"/>
          </p:nvPr>
        </p:nvSpPr>
        <p:spPr/>
        <p:txBody>
          <a:bodyPr/>
          <a:lstStyle/>
          <a:p>
            <a:r>
              <a:rPr lang="en-US" dirty="0"/>
              <a:t>Restricted | © Siemens 20XX | Author | Department | YYYY-MM-DD</a:t>
            </a:r>
          </a:p>
        </p:txBody>
      </p:sp>
      <p:sp>
        <p:nvSpPr>
          <p:cNvPr id="4" name="Slide Number Placeholder">
            <a:extLst>
              <a:ext uri="{FF2B5EF4-FFF2-40B4-BE49-F238E27FC236}">
                <a16:creationId xmlns:a16="http://schemas.microsoft.com/office/drawing/2014/main" id="{EB7F17B8-F18A-4BB0-B8F9-937445343C6A}"/>
              </a:ext>
            </a:extLst>
          </p:cNvPr>
          <p:cNvSpPr>
            <a:spLocks noGrp="1"/>
          </p:cNvSpPr>
          <p:nvPr>
            <p:ph type="sldNum" sz="quarter" idx="11"/>
          </p:nvPr>
        </p:nvSpPr>
        <p:spPr/>
        <p:txBody>
          <a:bodyPr/>
          <a:lstStyle/>
          <a:p>
            <a:r>
              <a:rPr lang="en-US" dirty="0"/>
              <a:t>Page </a:t>
            </a:r>
            <a:fld id="{15EBE321-CBB1-4E91-BD14-37C8D44326FB}" type="slidenum">
              <a:rPr lang="en-US" smtClean="0"/>
              <a:pPr/>
              <a:t>181</a:t>
            </a:fld>
            <a:endParaRPr lang="en-US" dirty="0"/>
          </a:p>
        </p:txBody>
      </p:sp>
      <p:graphicFrame>
        <p:nvGraphicFramePr>
          <p:cNvPr id="49" name="Diagramm 48">
            <a:extLst>
              <a:ext uri="{FF2B5EF4-FFF2-40B4-BE49-F238E27FC236}">
                <a16:creationId xmlns:a16="http://schemas.microsoft.com/office/drawing/2014/main" id="{AE48EF06-AA42-D341-A3DD-B9CBAB5B76AB}"/>
              </a:ext>
            </a:extLst>
          </p:cNvPr>
          <p:cNvGraphicFramePr/>
          <p:nvPr>
            <p:extLst>
              <p:ext uri="{D42A27DB-BD31-4B8C-83A1-F6EECF244321}">
                <p14:modId xmlns:p14="http://schemas.microsoft.com/office/powerpoint/2010/main" val="3893169036"/>
              </p:ext>
            </p:extLst>
          </p:nvPr>
        </p:nvGraphicFramePr>
        <p:xfrm>
          <a:off x="8186400" y="1417043"/>
          <a:ext cx="3600000" cy="43920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Diagramm 48">
            <a:extLst>
              <a:ext uri="{FF2B5EF4-FFF2-40B4-BE49-F238E27FC236}">
                <a16:creationId xmlns:a16="http://schemas.microsoft.com/office/drawing/2014/main" id="{739BD14A-E60A-4341-8B85-FEFC64C67C21}"/>
              </a:ext>
            </a:extLst>
          </p:cNvPr>
          <p:cNvGraphicFramePr/>
          <p:nvPr>
            <p:extLst>
              <p:ext uri="{D42A27DB-BD31-4B8C-83A1-F6EECF244321}">
                <p14:modId xmlns:p14="http://schemas.microsoft.com/office/powerpoint/2010/main" val="26148550"/>
              </p:ext>
            </p:extLst>
          </p:nvPr>
        </p:nvGraphicFramePr>
        <p:xfrm>
          <a:off x="4298783" y="1417043"/>
          <a:ext cx="3600000" cy="4392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Diagramm 48">
            <a:extLst>
              <a:ext uri="{FF2B5EF4-FFF2-40B4-BE49-F238E27FC236}">
                <a16:creationId xmlns:a16="http://schemas.microsoft.com/office/drawing/2014/main" id="{12C83875-2C69-4B80-8C93-16E9910BD416}"/>
              </a:ext>
            </a:extLst>
          </p:cNvPr>
          <p:cNvGraphicFramePr/>
          <p:nvPr>
            <p:extLst>
              <p:ext uri="{D42A27DB-BD31-4B8C-83A1-F6EECF244321}">
                <p14:modId xmlns:p14="http://schemas.microsoft.com/office/powerpoint/2010/main" val="2938553637"/>
              </p:ext>
            </p:extLst>
          </p:nvPr>
        </p:nvGraphicFramePr>
        <p:xfrm>
          <a:off x="410400" y="1417043"/>
          <a:ext cx="3600000" cy="43920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796671497"/>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A1E3B4B5-D129-4BFE-83E3-E1494F7A97E6}"/>
              </a:ext>
            </a:extLst>
          </p:cNvPr>
          <p:cNvSpPr>
            <a:spLocks noGrp="1"/>
          </p:cNvSpPr>
          <p:nvPr>
            <p:ph type="title"/>
          </p:nvPr>
        </p:nvSpPr>
        <p:spPr/>
        <p:txBody>
          <a:bodyPr/>
          <a:lstStyle/>
          <a:p>
            <a:r>
              <a:rPr lang="en-US" dirty="0"/>
              <a:t>Examples </a:t>
            </a:r>
            <a:br>
              <a:rPr lang="en-US" dirty="0"/>
            </a:br>
            <a:r>
              <a:rPr lang="en-US" b="0" dirty="0"/>
              <a:t>Columns – Dark Green to Bold Blue</a:t>
            </a:r>
          </a:p>
        </p:txBody>
      </p:sp>
      <p:sp>
        <p:nvSpPr>
          <p:cNvPr id="2" name="Footer Placeholder">
            <a:extLst>
              <a:ext uri="{FF2B5EF4-FFF2-40B4-BE49-F238E27FC236}">
                <a16:creationId xmlns:a16="http://schemas.microsoft.com/office/drawing/2014/main" id="{DEEC6267-15B2-4028-A5FA-E7FEFD74E203}"/>
              </a:ext>
            </a:extLst>
          </p:cNvPr>
          <p:cNvSpPr>
            <a:spLocks noGrp="1"/>
          </p:cNvSpPr>
          <p:nvPr>
            <p:ph type="ftr" sz="quarter" idx="10"/>
          </p:nvPr>
        </p:nvSpPr>
        <p:spPr/>
        <p:txBody>
          <a:bodyPr/>
          <a:lstStyle/>
          <a:p>
            <a:r>
              <a:rPr lang="en-US" dirty="0"/>
              <a:t>Restricted | © Siemens 20XX | Author | Department | YYYY-MM-DD</a:t>
            </a:r>
          </a:p>
        </p:txBody>
      </p:sp>
      <p:sp>
        <p:nvSpPr>
          <p:cNvPr id="4" name="Slide Number Placeholder">
            <a:extLst>
              <a:ext uri="{FF2B5EF4-FFF2-40B4-BE49-F238E27FC236}">
                <a16:creationId xmlns:a16="http://schemas.microsoft.com/office/drawing/2014/main" id="{EB7F17B8-F18A-4BB0-B8F9-937445343C6A}"/>
              </a:ext>
            </a:extLst>
          </p:cNvPr>
          <p:cNvSpPr>
            <a:spLocks noGrp="1"/>
          </p:cNvSpPr>
          <p:nvPr>
            <p:ph type="sldNum" sz="quarter" idx="11"/>
          </p:nvPr>
        </p:nvSpPr>
        <p:spPr/>
        <p:txBody>
          <a:bodyPr/>
          <a:lstStyle/>
          <a:p>
            <a:r>
              <a:rPr lang="en-US" dirty="0"/>
              <a:t>Page </a:t>
            </a:r>
            <a:fld id="{15EBE321-CBB1-4E91-BD14-37C8D44326FB}" type="slidenum">
              <a:rPr lang="en-US" smtClean="0"/>
              <a:pPr/>
              <a:t>182</a:t>
            </a:fld>
            <a:endParaRPr lang="en-US" dirty="0"/>
          </a:p>
        </p:txBody>
      </p:sp>
      <p:graphicFrame>
        <p:nvGraphicFramePr>
          <p:cNvPr id="10" name="Diagramm 10">
            <a:extLst>
              <a:ext uri="{FF2B5EF4-FFF2-40B4-BE49-F238E27FC236}">
                <a16:creationId xmlns:a16="http://schemas.microsoft.com/office/drawing/2014/main" id="{A9CF405A-EA20-49DC-920D-FE859667EB4F}"/>
              </a:ext>
            </a:extLst>
          </p:cNvPr>
          <p:cNvGraphicFramePr>
            <a:graphicFrameLocks noGrp="1"/>
          </p:cNvGraphicFramePr>
          <p:nvPr>
            <p:ph idx="1"/>
            <p:extLst>
              <p:ext uri="{D42A27DB-BD31-4B8C-83A1-F6EECF244321}">
                <p14:modId xmlns:p14="http://schemas.microsoft.com/office/powerpoint/2010/main" val="3024104049"/>
              </p:ext>
            </p:extLst>
          </p:nvPr>
        </p:nvGraphicFramePr>
        <p:xfrm>
          <a:off x="411163" y="1414463"/>
          <a:ext cx="11376025" cy="475297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83199193"/>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A1E3B4B5-D129-4BFE-83E3-E1494F7A97E6}"/>
              </a:ext>
            </a:extLst>
          </p:cNvPr>
          <p:cNvSpPr>
            <a:spLocks noGrp="1"/>
          </p:cNvSpPr>
          <p:nvPr>
            <p:ph type="title"/>
          </p:nvPr>
        </p:nvSpPr>
        <p:spPr>
          <a:xfrm>
            <a:off x="410400" y="478800"/>
            <a:ext cx="9863997" cy="576000"/>
          </a:xfrm>
        </p:spPr>
        <p:txBody>
          <a:bodyPr/>
          <a:lstStyle/>
          <a:p>
            <a:r>
              <a:rPr lang="en-US" dirty="0"/>
              <a:t>Examples </a:t>
            </a:r>
            <a:br>
              <a:rPr lang="en-US" dirty="0"/>
            </a:br>
            <a:r>
              <a:rPr lang="en-US" b="0" dirty="0"/>
              <a:t>Columns – Dark Green to Bold Blue</a:t>
            </a:r>
          </a:p>
        </p:txBody>
      </p:sp>
      <p:sp>
        <p:nvSpPr>
          <p:cNvPr id="2" name="Footer Placeholder">
            <a:extLst>
              <a:ext uri="{FF2B5EF4-FFF2-40B4-BE49-F238E27FC236}">
                <a16:creationId xmlns:a16="http://schemas.microsoft.com/office/drawing/2014/main" id="{DEEC6267-15B2-4028-A5FA-E7FEFD74E203}"/>
              </a:ext>
            </a:extLst>
          </p:cNvPr>
          <p:cNvSpPr>
            <a:spLocks noGrp="1"/>
          </p:cNvSpPr>
          <p:nvPr>
            <p:ph type="ftr" sz="quarter" idx="10"/>
          </p:nvPr>
        </p:nvSpPr>
        <p:spPr/>
        <p:txBody>
          <a:bodyPr/>
          <a:lstStyle/>
          <a:p>
            <a:r>
              <a:rPr lang="en-US" dirty="0"/>
              <a:t>Restricted | © Siemens 20XX | Author | Department | YYYY-MM-DD</a:t>
            </a:r>
          </a:p>
        </p:txBody>
      </p:sp>
      <p:sp>
        <p:nvSpPr>
          <p:cNvPr id="4" name="Slide Number Placeholder">
            <a:extLst>
              <a:ext uri="{FF2B5EF4-FFF2-40B4-BE49-F238E27FC236}">
                <a16:creationId xmlns:a16="http://schemas.microsoft.com/office/drawing/2014/main" id="{EB7F17B8-F18A-4BB0-B8F9-937445343C6A}"/>
              </a:ext>
            </a:extLst>
          </p:cNvPr>
          <p:cNvSpPr>
            <a:spLocks noGrp="1"/>
          </p:cNvSpPr>
          <p:nvPr>
            <p:ph type="sldNum" sz="quarter" idx="11"/>
          </p:nvPr>
        </p:nvSpPr>
        <p:spPr/>
        <p:txBody>
          <a:bodyPr/>
          <a:lstStyle/>
          <a:p>
            <a:r>
              <a:rPr lang="en-US" dirty="0"/>
              <a:t>Page </a:t>
            </a:r>
            <a:fld id="{15EBE321-CBB1-4E91-BD14-37C8D44326FB}" type="slidenum">
              <a:rPr lang="en-US" smtClean="0"/>
              <a:pPr/>
              <a:t>183</a:t>
            </a:fld>
            <a:endParaRPr lang="en-US" dirty="0"/>
          </a:p>
        </p:txBody>
      </p:sp>
      <p:graphicFrame>
        <p:nvGraphicFramePr>
          <p:cNvPr id="10" name="Diagramm 10">
            <a:extLst>
              <a:ext uri="{FF2B5EF4-FFF2-40B4-BE49-F238E27FC236}">
                <a16:creationId xmlns:a16="http://schemas.microsoft.com/office/drawing/2014/main" id="{A9CF405A-EA20-49DC-920D-FE859667EB4F}"/>
              </a:ext>
            </a:extLst>
          </p:cNvPr>
          <p:cNvGraphicFramePr>
            <a:graphicFrameLocks noGrp="1"/>
          </p:cNvGraphicFramePr>
          <p:nvPr>
            <p:ph idx="4294967295"/>
            <p:extLst>
              <p:ext uri="{D42A27DB-BD31-4B8C-83A1-F6EECF244321}">
                <p14:modId xmlns:p14="http://schemas.microsoft.com/office/powerpoint/2010/main" val="1940451510"/>
              </p:ext>
            </p:extLst>
          </p:nvPr>
        </p:nvGraphicFramePr>
        <p:xfrm>
          <a:off x="410400" y="1414463"/>
          <a:ext cx="11376025" cy="475297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879390237"/>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A1E3B4B5-D129-4BFE-83E3-E1494F7A97E6}"/>
              </a:ext>
            </a:extLst>
          </p:cNvPr>
          <p:cNvSpPr>
            <a:spLocks noGrp="1"/>
          </p:cNvSpPr>
          <p:nvPr>
            <p:ph type="title"/>
          </p:nvPr>
        </p:nvSpPr>
        <p:spPr/>
        <p:txBody>
          <a:bodyPr/>
          <a:lstStyle/>
          <a:p>
            <a:r>
              <a:rPr lang="en-US" dirty="0"/>
              <a:t>Examples </a:t>
            </a:r>
            <a:br>
              <a:rPr lang="en-US" dirty="0"/>
            </a:br>
            <a:r>
              <a:rPr lang="en-US" b="0" dirty="0"/>
              <a:t>Columns – Dark Green to Bold Green</a:t>
            </a:r>
          </a:p>
        </p:txBody>
      </p:sp>
      <p:sp>
        <p:nvSpPr>
          <p:cNvPr id="2" name="Footer Placeholder">
            <a:extLst>
              <a:ext uri="{FF2B5EF4-FFF2-40B4-BE49-F238E27FC236}">
                <a16:creationId xmlns:a16="http://schemas.microsoft.com/office/drawing/2014/main" id="{DEEC6267-15B2-4028-A5FA-E7FEFD74E203}"/>
              </a:ext>
            </a:extLst>
          </p:cNvPr>
          <p:cNvSpPr>
            <a:spLocks noGrp="1"/>
          </p:cNvSpPr>
          <p:nvPr>
            <p:ph type="ftr" sz="quarter" idx="10"/>
          </p:nvPr>
        </p:nvSpPr>
        <p:spPr/>
        <p:txBody>
          <a:bodyPr/>
          <a:lstStyle/>
          <a:p>
            <a:r>
              <a:rPr lang="en-US" dirty="0"/>
              <a:t>Restricted | © Siemens 20XX | Author | Department | YYYY-MM-DD</a:t>
            </a:r>
          </a:p>
        </p:txBody>
      </p:sp>
      <p:sp>
        <p:nvSpPr>
          <p:cNvPr id="4" name="Slide Number Placeholder">
            <a:extLst>
              <a:ext uri="{FF2B5EF4-FFF2-40B4-BE49-F238E27FC236}">
                <a16:creationId xmlns:a16="http://schemas.microsoft.com/office/drawing/2014/main" id="{EB7F17B8-F18A-4BB0-B8F9-937445343C6A}"/>
              </a:ext>
            </a:extLst>
          </p:cNvPr>
          <p:cNvSpPr>
            <a:spLocks noGrp="1"/>
          </p:cNvSpPr>
          <p:nvPr>
            <p:ph type="sldNum" sz="quarter" idx="11"/>
          </p:nvPr>
        </p:nvSpPr>
        <p:spPr/>
        <p:txBody>
          <a:bodyPr/>
          <a:lstStyle/>
          <a:p>
            <a:r>
              <a:rPr lang="en-US" dirty="0"/>
              <a:t>Page </a:t>
            </a:r>
            <a:fld id="{15EBE321-CBB1-4E91-BD14-37C8D44326FB}" type="slidenum">
              <a:rPr lang="en-US" smtClean="0"/>
              <a:pPr/>
              <a:t>184</a:t>
            </a:fld>
            <a:endParaRPr lang="en-US" dirty="0"/>
          </a:p>
        </p:txBody>
      </p:sp>
      <p:graphicFrame>
        <p:nvGraphicFramePr>
          <p:cNvPr id="10" name="Diagramm 10">
            <a:extLst>
              <a:ext uri="{FF2B5EF4-FFF2-40B4-BE49-F238E27FC236}">
                <a16:creationId xmlns:a16="http://schemas.microsoft.com/office/drawing/2014/main" id="{A9CF405A-EA20-49DC-920D-FE859667EB4F}"/>
              </a:ext>
            </a:extLst>
          </p:cNvPr>
          <p:cNvGraphicFramePr>
            <a:graphicFrameLocks noGrp="1"/>
          </p:cNvGraphicFramePr>
          <p:nvPr>
            <p:ph idx="1"/>
            <p:extLst>
              <p:ext uri="{D42A27DB-BD31-4B8C-83A1-F6EECF244321}">
                <p14:modId xmlns:p14="http://schemas.microsoft.com/office/powerpoint/2010/main" val="3390484319"/>
              </p:ext>
            </p:extLst>
          </p:nvPr>
        </p:nvGraphicFramePr>
        <p:xfrm>
          <a:off x="411163" y="1414463"/>
          <a:ext cx="11376025" cy="475297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400558368"/>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A1E3B4B5-D129-4BFE-83E3-E1494F7A97E6}"/>
              </a:ext>
            </a:extLst>
          </p:cNvPr>
          <p:cNvSpPr>
            <a:spLocks noGrp="1"/>
          </p:cNvSpPr>
          <p:nvPr>
            <p:ph type="title"/>
          </p:nvPr>
        </p:nvSpPr>
        <p:spPr>
          <a:xfrm>
            <a:off x="410400" y="478800"/>
            <a:ext cx="9863997" cy="576000"/>
          </a:xfrm>
        </p:spPr>
        <p:txBody>
          <a:bodyPr/>
          <a:lstStyle/>
          <a:p>
            <a:r>
              <a:rPr lang="en-US" dirty="0"/>
              <a:t>Examples </a:t>
            </a:r>
            <a:br>
              <a:rPr lang="en-US" dirty="0"/>
            </a:br>
            <a:r>
              <a:rPr lang="en-US" b="0" dirty="0"/>
              <a:t>Columns – Dark Green to Bold Green</a:t>
            </a:r>
          </a:p>
        </p:txBody>
      </p:sp>
      <p:sp>
        <p:nvSpPr>
          <p:cNvPr id="2" name="Footer Placeholder">
            <a:extLst>
              <a:ext uri="{FF2B5EF4-FFF2-40B4-BE49-F238E27FC236}">
                <a16:creationId xmlns:a16="http://schemas.microsoft.com/office/drawing/2014/main" id="{DEEC6267-15B2-4028-A5FA-E7FEFD74E203}"/>
              </a:ext>
            </a:extLst>
          </p:cNvPr>
          <p:cNvSpPr>
            <a:spLocks noGrp="1"/>
          </p:cNvSpPr>
          <p:nvPr>
            <p:ph type="ftr" sz="quarter" idx="10"/>
          </p:nvPr>
        </p:nvSpPr>
        <p:spPr/>
        <p:txBody>
          <a:bodyPr/>
          <a:lstStyle/>
          <a:p>
            <a:r>
              <a:rPr lang="en-US" dirty="0"/>
              <a:t>Restricted | © Siemens 20XX | Author | Department | YYYY-MM-DD</a:t>
            </a:r>
          </a:p>
        </p:txBody>
      </p:sp>
      <p:sp>
        <p:nvSpPr>
          <p:cNvPr id="4" name="Slide Number Placeholder">
            <a:extLst>
              <a:ext uri="{FF2B5EF4-FFF2-40B4-BE49-F238E27FC236}">
                <a16:creationId xmlns:a16="http://schemas.microsoft.com/office/drawing/2014/main" id="{EB7F17B8-F18A-4BB0-B8F9-937445343C6A}"/>
              </a:ext>
            </a:extLst>
          </p:cNvPr>
          <p:cNvSpPr>
            <a:spLocks noGrp="1"/>
          </p:cNvSpPr>
          <p:nvPr>
            <p:ph type="sldNum" sz="quarter" idx="11"/>
          </p:nvPr>
        </p:nvSpPr>
        <p:spPr/>
        <p:txBody>
          <a:bodyPr/>
          <a:lstStyle/>
          <a:p>
            <a:r>
              <a:rPr lang="en-US" dirty="0"/>
              <a:t>Page </a:t>
            </a:r>
            <a:fld id="{15EBE321-CBB1-4E91-BD14-37C8D44326FB}" type="slidenum">
              <a:rPr lang="en-US" smtClean="0"/>
              <a:pPr/>
              <a:t>185</a:t>
            </a:fld>
            <a:endParaRPr lang="en-US" dirty="0"/>
          </a:p>
        </p:txBody>
      </p:sp>
      <p:graphicFrame>
        <p:nvGraphicFramePr>
          <p:cNvPr id="10" name="Diagramm 10">
            <a:extLst>
              <a:ext uri="{FF2B5EF4-FFF2-40B4-BE49-F238E27FC236}">
                <a16:creationId xmlns:a16="http://schemas.microsoft.com/office/drawing/2014/main" id="{A9CF405A-EA20-49DC-920D-FE859667EB4F}"/>
              </a:ext>
            </a:extLst>
          </p:cNvPr>
          <p:cNvGraphicFramePr>
            <a:graphicFrameLocks noGrp="1"/>
          </p:cNvGraphicFramePr>
          <p:nvPr>
            <p:ph idx="4294967295"/>
            <p:extLst>
              <p:ext uri="{D42A27DB-BD31-4B8C-83A1-F6EECF244321}">
                <p14:modId xmlns:p14="http://schemas.microsoft.com/office/powerpoint/2010/main" val="949564430"/>
              </p:ext>
            </p:extLst>
          </p:nvPr>
        </p:nvGraphicFramePr>
        <p:xfrm>
          <a:off x="410400" y="1414463"/>
          <a:ext cx="11376025" cy="475297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769897422"/>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A1E3B4B5-D129-4BFE-83E3-E1494F7A97E6}"/>
              </a:ext>
            </a:extLst>
          </p:cNvPr>
          <p:cNvSpPr>
            <a:spLocks noGrp="1"/>
          </p:cNvSpPr>
          <p:nvPr>
            <p:ph type="title"/>
          </p:nvPr>
        </p:nvSpPr>
        <p:spPr/>
        <p:txBody>
          <a:bodyPr/>
          <a:lstStyle/>
          <a:p>
            <a:r>
              <a:rPr lang="en-US" dirty="0"/>
              <a:t>Examples </a:t>
            </a:r>
            <a:br>
              <a:rPr lang="en-US" dirty="0"/>
            </a:br>
            <a:r>
              <a:rPr lang="en-US" b="0" dirty="0"/>
              <a:t>Columns – Dark Blue to Soft Blue</a:t>
            </a:r>
          </a:p>
        </p:txBody>
      </p:sp>
      <p:sp>
        <p:nvSpPr>
          <p:cNvPr id="2" name="Footer Placeholder">
            <a:extLst>
              <a:ext uri="{FF2B5EF4-FFF2-40B4-BE49-F238E27FC236}">
                <a16:creationId xmlns:a16="http://schemas.microsoft.com/office/drawing/2014/main" id="{DEEC6267-15B2-4028-A5FA-E7FEFD74E203}"/>
              </a:ext>
            </a:extLst>
          </p:cNvPr>
          <p:cNvSpPr>
            <a:spLocks noGrp="1"/>
          </p:cNvSpPr>
          <p:nvPr>
            <p:ph type="ftr" sz="quarter" idx="10"/>
          </p:nvPr>
        </p:nvSpPr>
        <p:spPr/>
        <p:txBody>
          <a:bodyPr/>
          <a:lstStyle/>
          <a:p>
            <a:r>
              <a:rPr lang="en-US" dirty="0"/>
              <a:t>Restricted | © Siemens 20XX | Author | Department | YYYY-MM-DD</a:t>
            </a:r>
          </a:p>
        </p:txBody>
      </p:sp>
      <p:sp>
        <p:nvSpPr>
          <p:cNvPr id="4" name="Slide Number Placeholder">
            <a:extLst>
              <a:ext uri="{FF2B5EF4-FFF2-40B4-BE49-F238E27FC236}">
                <a16:creationId xmlns:a16="http://schemas.microsoft.com/office/drawing/2014/main" id="{EB7F17B8-F18A-4BB0-B8F9-937445343C6A}"/>
              </a:ext>
            </a:extLst>
          </p:cNvPr>
          <p:cNvSpPr>
            <a:spLocks noGrp="1"/>
          </p:cNvSpPr>
          <p:nvPr>
            <p:ph type="sldNum" sz="quarter" idx="11"/>
          </p:nvPr>
        </p:nvSpPr>
        <p:spPr/>
        <p:txBody>
          <a:bodyPr/>
          <a:lstStyle/>
          <a:p>
            <a:r>
              <a:rPr lang="en-US" dirty="0"/>
              <a:t>Page </a:t>
            </a:r>
            <a:fld id="{15EBE321-CBB1-4E91-BD14-37C8D44326FB}" type="slidenum">
              <a:rPr lang="en-US" smtClean="0"/>
              <a:pPr/>
              <a:t>186</a:t>
            </a:fld>
            <a:endParaRPr lang="en-US" dirty="0"/>
          </a:p>
        </p:txBody>
      </p:sp>
      <p:graphicFrame>
        <p:nvGraphicFramePr>
          <p:cNvPr id="10" name="Diagramm 10">
            <a:extLst>
              <a:ext uri="{FF2B5EF4-FFF2-40B4-BE49-F238E27FC236}">
                <a16:creationId xmlns:a16="http://schemas.microsoft.com/office/drawing/2014/main" id="{A9CF405A-EA20-49DC-920D-FE859667EB4F}"/>
              </a:ext>
            </a:extLst>
          </p:cNvPr>
          <p:cNvGraphicFramePr>
            <a:graphicFrameLocks noGrp="1"/>
          </p:cNvGraphicFramePr>
          <p:nvPr>
            <p:ph idx="1"/>
            <p:extLst>
              <p:ext uri="{D42A27DB-BD31-4B8C-83A1-F6EECF244321}">
                <p14:modId xmlns:p14="http://schemas.microsoft.com/office/powerpoint/2010/main" val="1718129566"/>
              </p:ext>
            </p:extLst>
          </p:nvPr>
        </p:nvGraphicFramePr>
        <p:xfrm>
          <a:off x="411163" y="1414463"/>
          <a:ext cx="11376025" cy="475297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863577553"/>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A1E3B4B5-D129-4BFE-83E3-E1494F7A97E6}"/>
              </a:ext>
            </a:extLst>
          </p:cNvPr>
          <p:cNvSpPr>
            <a:spLocks noGrp="1"/>
          </p:cNvSpPr>
          <p:nvPr>
            <p:ph type="title"/>
          </p:nvPr>
        </p:nvSpPr>
        <p:spPr>
          <a:xfrm>
            <a:off x="410400" y="478800"/>
            <a:ext cx="9863997" cy="576000"/>
          </a:xfrm>
        </p:spPr>
        <p:txBody>
          <a:bodyPr/>
          <a:lstStyle/>
          <a:p>
            <a:r>
              <a:rPr lang="en-US" dirty="0"/>
              <a:t>Examples </a:t>
            </a:r>
            <a:br>
              <a:rPr lang="en-US" dirty="0"/>
            </a:br>
            <a:r>
              <a:rPr lang="en-US" b="0" dirty="0"/>
              <a:t>Columns – Dark Blue to Soft Blue</a:t>
            </a:r>
          </a:p>
        </p:txBody>
      </p:sp>
      <p:sp>
        <p:nvSpPr>
          <p:cNvPr id="2" name="Footer Placeholder">
            <a:extLst>
              <a:ext uri="{FF2B5EF4-FFF2-40B4-BE49-F238E27FC236}">
                <a16:creationId xmlns:a16="http://schemas.microsoft.com/office/drawing/2014/main" id="{DEEC6267-15B2-4028-A5FA-E7FEFD74E203}"/>
              </a:ext>
            </a:extLst>
          </p:cNvPr>
          <p:cNvSpPr>
            <a:spLocks noGrp="1"/>
          </p:cNvSpPr>
          <p:nvPr>
            <p:ph type="ftr" sz="quarter" idx="10"/>
          </p:nvPr>
        </p:nvSpPr>
        <p:spPr/>
        <p:txBody>
          <a:bodyPr/>
          <a:lstStyle/>
          <a:p>
            <a:r>
              <a:rPr lang="en-US" dirty="0"/>
              <a:t>Restricted | © Siemens 20XX | Author | Department | YYYY-MM-DD</a:t>
            </a:r>
          </a:p>
        </p:txBody>
      </p:sp>
      <p:sp>
        <p:nvSpPr>
          <p:cNvPr id="4" name="Slide Number Placeholder">
            <a:extLst>
              <a:ext uri="{FF2B5EF4-FFF2-40B4-BE49-F238E27FC236}">
                <a16:creationId xmlns:a16="http://schemas.microsoft.com/office/drawing/2014/main" id="{EB7F17B8-F18A-4BB0-B8F9-937445343C6A}"/>
              </a:ext>
            </a:extLst>
          </p:cNvPr>
          <p:cNvSpPr>
            <a:spLocks noGrp="1"/>
          </p:cNvSpPr>
          <p:nvPr>
            <p:ph type="sldNum" sz="quarter" idx="11"/>
          </p:nvPr>
        </p:nvSpPr>
        <p:spPr/>
        <p:txBody>
          <a:bodyPr/>
          <a:lstStyle/>
          <a:p>
            <a:r>
              <a:rPr lang="en-US" dirty="0"/>
              <a:t>Page </a:t>
            </a:r>
            <a:fld id="{15EBE321-CBB1-4E91-BD14-37C8D44326FB}" type="slidenum">
              <a:rPr lang="en-US" smtClean="0"/>
              <a:pPr/>
              <a:t>187</a:t>
            </a:fld>
            <a:endParaRPr lang="en-US" dirty="0"/>
          </a:p>
        </p:txBody>
      </p:sp>
      <p:graphicFrame>
        <p:nvGraphicFramePr>
          <p:cNvPr id="10" name="Diagramm 10">
            <a:extLst>
              <a:ext uri="{FF2B5EF4-FFF2-40B4-BE49-F238E27FC236}">
                <a16:creationId xmlns:a16="http://schemas.microsoft.com/office/drawing/2014/main" id="{A9CF405A-EA20-49DC-920D-FE859667EB4F}"/>
              </a:ext>
            </a:extLst>
          </p:cNvPr>
          <p:cNvGraphicFramePr>
            <a:graphicFrameLocks noGrp="1"/>
          </p:cNvGraphicFramePr>
          <p:nvPr>
            <p:ph idx="4294967295"/>
            <p:extLst>
              <p:ext uri="{D42A27DB-BD31-4B8C-83A1-F6EECF244321}">
                <p14:modId xmlns:p14="http://schemas.microsoft.com/office/powerpoint/2010/main" val="1909491204"/>
              </p:ext>
            </p:extLst>
          </p:nvPr>
        </p:nvGraphicFramePr>
        <p:xfrm>
          <a:off x="410400" y="1414463"/>
          <a:ext cx="11376025" cy="475297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340257413"/>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A1E3B4B5-D129-4BFE-83E3-E1494F7A97E6}"/>
              </a:ext>
            </a:extLst>
          </p:cNvPr>
          <p:cNvSpPr>
            <a:spLocks noGrp="1"/>
          </p:cNvSpPr>
          <p:nvPr>
            <p:ph type="title"/>
          </p:nvPr>
        </p:nvSpPr>
        <p:spPr/>
        <p:txBody>
          <a:bodyPr/>
          <a:lstStyle/>
          <a:p>
            <a:r>
              <a:rPr lang="en-US" dirty="0"/>
              <a:t>Examples </a:t>
            </a:r>
            <a:br>
              <a:rPr lang="en-US" dirty="0"/>
            </a:br>
            <a:r>
              <a:rPr lang="en-US" b="0" dirty="0"/>
              <a:t>Bars – Dark Green to Deep Blue extended</a:t>
            </a:r>
            <a:endParaRPr lang="en-US" dirty="0"/>
          </a:p>
        </p:txBody>
      </p:sp>
      <p:sp>
        <p:nvSpPr>
          <p:cNvPr id="2" name="Footer Placeholder">
            <a:extLst>
              <a:ext uri="{FF2B5EF4-FFF2-40B4-BE49-F238E27FC236}">
                <a16:creationId xmlns:a16="http://schemas.microsoft.com/office/drawing/2014/main" id="{DEEC6267-15B2-4028-A5FA-E7FEFD74E203}"/>
              </a:ext>
            </a:extLst>
          </p:cNvPr>
          <p:cNvSpPr>
            <a:spLocks noGrp="1"/>
          </p:cNvSpPr>
          <p:nvPr>
            <p:ph type="ftr" sz="quarter" idx="10"/>
          </p:nvPr>
        </p:nvSpPr>
        <p:spPr/>
        <p:txBody>
          <a:bodyPr/>
          <a:lstStyle/>
          <a:p>
            <a:r>
              <a:rPr lang="en-US" dirty="0"/>
              <a:t>Restricted | © Siemens 20XX | Author | Department | YYYY-MM-DD</a:t>
            </a:r>
          </a:p>
        </p:txBody>
      </p:sp>
      <p:sp>
        <p:nvSpPr>
          <p:cNvPr id="4" name="Slide Number Placeholder">
            <a:extLst>
              <a:ext uri="{FF2B5EF4-FFF2-40B4-BE49-F238E27FC236}">
                <a16:creationId xmlns:a16="http://schemas.microsoft.com/office/drawing/2014/main" id="{EB7F17B8-F18A-4BB0-B8F9-937445343C6A}"/>
              </a:ext>
            </a:extLst>
          </p:cNvPr>
          <p:cNvSpPr>
            <a:spLocks noGrp="1"/>
          </p:cNvSpPr>
          <p:nvPr>
            <p:ph type="sldNum" sz="quarter" idx="11"/>
          </p:nvPr>
        </p:nvSpPr>
        <p:spPr/>
        <p:txBody>
          <a:bodyPr/>
          <a:lstStyle/>
          <a:p>
            <a:r>
              <a:rPr lang="en-US" dirty="0"/>
              <a:t>Page </a:t>
            </a:r>
            <a:fld id="{15EBE321-CBB1-4E91-BD14-37C8D44326FB}" type="slidenum">
              <a:rPr lang="en-US" smtClean="0"/>
              <a:pPr/>
              <a:t>188</a:t>
            </a:fld>
            <a:endParaRPr lang="en-US" dirty="0"/>
          </a:p>
        </p:txBody>
      </p:sp>
      <p:graphicFrame>
        <p:nvGraphicFramePr>
          <p:cNvPr id="8" name="Diagramm 6">
            <a:extLst>
              <a:ext uri="{FF2B5EF4-FFF2-40B4-BE49-F238E27FC236}">
                <a16:creationId xmlns:a16="http://schemas.microsoft.com/office/drawing/2014/main" id="{457C97EA-AEDD-46CC-8F77-6D9B3A48F6CF}"/>
              </a:ext>
            </a:extLst>
          </p:cNvPr>
          <p:cNvGraphicFramePr>
            <a:graphicFrameLocks noGrp="1"/>
          </p:cNvGraphicFramePr>
          <p:nvPr>
            <p:ph idx="1"/>
            <p:extLst>
              <p:ext uri="{D42A27DB-BD31-4B8C-83A1-F6EECF244321}">
                <p14:modId xmlns:p14="http://schemas.microsoft.com/office/powerpoint/2010/main" val="2862139291"/>
              </p:ext>
            </p:extLst>
          </p:nvPr>
        </p:nvGraphicFramePr>
        <p:xfrm>
          <a:off x="411163" y="1414463"/>
          <a:ext cx="11376025" cy="475297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085067015"/>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A1E3B4B5-D129-4BFE-83E3-E1494F7A97E6}"/>
              </a:ext>
            </a:extLst>
          </p:cNvPr>
          <p:cNvSpPr>
            <a:spLocks noGrp="1"/>
          </p:cNvSpPr>
          <p:nvPr>
            <p:ph type="title"/>
          </p:nvPr>
        </p:nvSpPr>
        <p:spPr>
          <a:xfrm>
            <a:off x="410400" y="478800"/>
            <a:ext cx="9863997" cy="576000"/>
          </a:xfrm>
        </p:spPr>
        <p:txBody>
          <a:bodyPr/>
          <a:lstStyle/>
          <a:p>
            <a:r>
              <a:rPr lang="en-US" dirty="0"/>
              <a:t>Examples </a:t>
            </a:r>
            <a:br>
              <a:rPr lang="en-US" dirty="0"/>
            </a:br>
            <a:r>
              <a:rPr lang="en-US" b="0" dirty="0"/>
              <a:t>Bars – Dark Green to Deep Blue extended</a:t>
            </a:r>
            <a:endParaRPr lang="en-US" dirty="0"/>
          </a:p>
        </p:txBody>
      </p:sp>
      <p:sp>
        <p:nvSpPr>
          <p:cNvPr id="2" name="Footer Placeholder">
            <a:extLst>
              <a:ext uri="{FF2B5EF4-FFF2-40B4-BE49-F238E27FC236}">
                <a16:creationId xmlns:a16="http://schemas.microsoft.com/office/drawing/2014/main" id="{DEEC6267-15B2-4028-A5FA-E7FEFD74E203}"/>
              </a:ext>
            </a:extLst>
          </p:cNvPr>
          <p:cNvSpPr>
            <a:spLocks noGrp="1"/>
          </p:cNvSpPr>
          <p:nvPr>
            <p:ph type="ftr" sz="quarter" idx="10"/>
          </p:nvPr>
        </p:nvSpPr>
        <p:spPr/>
        <p:txBody>
          <a:bodyPr/>
          <a:lstStyle/>
          <a:p>
            <a:r>
              <a:rPr lang="en-US" dirty="0"/>
              <a:t>Restricted | © Siemens 20XX | Author | Department | YYYY-MM-DD</a:t>
            </a:r>
          </a:p>
        </p:txBody>
      </p:sp>
      <p:sp>
        <p:nvSpPr>
          <p:cNvPr id="4" name="Slide Number Placeholder">
            <a:extLst>
              <a:ext uri="{FF2B5EF4-FFF2-40B4-BE49-F238E27FC236}">
                <a16:creationId xmlns:a16="http://schemas.microsoft.com/office/drawing/2014/main" id="{EB7F17B8-F18A-4BB0-B8F9-937445343C6A}"/>
              </a:ext>
            </a:extLst>
          </p:cNvPr>
          <p:cNvSpPr>
            <a:spLocks noGrp="1"/>
          </p:cNvSpPr>
          <p:nvPr>
            <p:ph type="sldNum" sz="quarter" idx="11"/>
          </p:nvPr>
        </p:nvSpPr>
        <p:spPr/>
        <p:txBody>
          <a:bodyPr/>
          <a:lstStyle/>
          <a:p>
            <a:r>
              <a:rPr lang="en-US" dirty="0"/>
              <a:t>Page </a:t>
            </a:r>
            <a:fld id="{15EBE321-CBB1-4E91-BD14-37C8D44326FB}" type="slidenum">
              <a:rPr lang="en-US" smtClean="0"/>
              <a:pPr/>
              <a:t>189</a:t>
            </a:fld>
            <a:endParaRPr lang="en-US" dirty="0"/>
          </a:p>
        </p:txBody>
      </p:sp>
      <p:graphicFrame>
        <p:nvGraphicFramePr>
          <p:cNvPr id="8" name="Diagramm 6">
            <a:extLst>
              <a:ext uri="{FF2B5EF4-FFF2-40B4-BE49-F238E27FC236}">
                <a16:creationId xmlns:a16="http://schemas.microsoft.com/office/drawing/2014/main" id="{457C97EA-AEDD-46CC-8F77-6D9B3A48F6CF}"/>
              </a:ext>
            </a:extLst>
          </p:cNvPr>
          <p:cNvGraphicFramePr>
            <a:graphicFrameLocks noGrp="1"/>
          </p:cNvGraphicFramePr>
          <p:nvPr>
            <p:ph idx="4294967295"/>
            <p:extLst>
              <p:ext uri="{D42A27DB-BD31-4B8C-83A1-F6EECF244321}">
                <p14:modId xmlns:p14="http://schemas.microsoft.com/office/powerpoint/2010/main" val="2152694596"/>
              </p:ext>
            </p:extLst>
          </p:nvPr>
        </p:nvGraphicFramePr>
        <p:xfrm>
          <a:off x="410400" y="1414463"/>
          <a:ext cx="11376025" cy="475297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0339542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equences</a:t>
            </a:r>
          </a:p>
        </p:txBody>
      </p:sp>
      <p:sp>
        <p:nvSpPr>
          <p:cNvPr id="3" name="Footer Placeholder 2">
            <a:extLst>
              <a:ext uri="{FF2B5EF4-FFF2-40B4-BE49-F238E27FC236}">
                <a16:creationId xmlns:a16="http://schemas.microsoft.com/office/drawing/2014/main" id="{29065D48-2AF1-446B-BF47-2135AD484719}"/>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EC34CA68-4644-477F-BF6B-62E1084B1F79}"/>
              </a:ext>
            </a:extLst>
          </p:cNvPr>
          <p:cNvSpPr>
            <a:spLocks noGrp="1"/>
          </p:cNvSpPr>
          <p:nvPr>
            <p:ph type="sldNum" sz="quarter" idx="11"/>
          </p:nvPr>
        </p:nvSpPr>
        <p:spPr/>
        <p:txBody>
          <a:bodyPr/>
          <a:lstStyle/>
          <a:p>
            <a:r>
              <a:rPr lang="en-US" dirty="0"/>
              <a:t>Page </a:t>
            </a:r>
            <a:fld id="{15EBE321-CBB1-4E91-BD14-37C8D44326FB}" type="slidenum">
              <a:rPr lang="en-US" smtClean="0"/>
              <a:pPr/>
              <a:t>19</a:t>
            </a:fld>
            <a:endParaRPr lang="en-US" dirty="0"/>
          </a:p>
        </p:txBody>
      </p:sp>
      <p:sp>
        <p:nvSpPr>
          <p:cNvPr id="12" name="AutoShape 4"/>
          <p:cNvSpPr>
            <a:spLocks noChangeArrowheads="1"/>
          </p:cNvSpPr>
          <p:nvPr/>
        </p:nvSpPr>
        <p:spPr bwMode="auto">
          <a:xfrm>
            <a:off x="410400" y="1415848"/>
            <a:ext cx="3600000" cy="1440000"/>
          </a:xfrm>
          <a:prstGeom prst="homePlate">
            <a:avLst>
              <a:gd name="adj" fmla="val 25000"/>
            </a:avLst>
          </a:prstGeom>
          <a:solidFill>
            <a:srgbClr val="00FFB9"/>
          </a:solidFill>
          <a:ln w="12700">
            <a:noFill/>
            <a:miter lim="800000"/>
            <a:headEnd/>
            <a:tailEnd/>
          </a:ln>
          <a:effectLst/>
        </p:spPr>
        <p:txBody>
          <a:bodyPr wrap="square" lIns="215888" tIns="143925" rIns="143925" bIns="143925" anchor="t"/>
          <a:lstStyle/>
          <a:p>
            <a:r>
              <a:rPr lang="en-US" sz="1799" b="1" dirty="0">
                <a:solidFill>
                  <a:schemeClr val="bg2"/>
                </a:solidFill>
              </a:rPr>
              <a:t>Cras ultricies mi eu</a:t>
            </a:r>
          </a:p>
        </p:txBody>
      </p:sp>
      <p:sp>
        <p:nvSpPr>
          <p:cNvPr id="19" name="Freeform 18"/>
          <p:cNvSpPr>
            <a:spLocks/>
          </p:cNvSpPr>
          <p:nvPr/>
        </p:nvSpPr>
        <p:spPr bwMode="auto">
          <a:xfrm>
            <a:off x="4298950" y="1415849"/>
            <a:ext cx="5975410" cy="1439250"/>
          </a:xfrm>
          <a:custGeom>
            <a:avLst/>
            <a:gdLst>
              <a:gd name="connsiteX0" fmla="*/ 6768373 w 6768373"/>
              <a:gd name="connsiteY0" fmla="*/ 0 h 1496844"/>
              <a:gd name="connsiteX1" fmla="*/ 6768373 w 6768373"/>
              <a:gd name="connsiteY1" fmla="*/ 1496844 h 1496844"/>
              <a:gd name="connsiteX2" fmla="*/ 4887 w 6768373"/>
              <a:gd name="connsiteY2" fmla="*/ 1496844 h 1496844"/>
              <a:gd name="connsiteX3" fmla="*/ 390946 w 6768373"/>
              <a:gd name="connsiteY3" fmla="*/ 738759 h 1496844"/>
              <a:gd name="connsiteX4" fmla="*/ 0 w 6768373"/>
              <a:gd name="connsiteY4" fmla="*/ 3737 h 1496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8373" h="1496844">
                <a:moveTo>
                  <a:pt x="6768373" y="0"/>
                </a:moveTo>
                <a:lnTo>
                  <a:pt x="6768373" y="1496844"/>
                </a:lnTo>
                <a:lnTo>
                  <a:pt x="4887" y="1496844"/>
                </a:lnTo>
                <a:lnTo>
                  <a:pt x="390946" y="738759"/>
                </a:lnTo>
                <a:cubicBezTo>
                  <a:pt x="252486" y="492254"/>
                  <a:pt x="138460" y="250242"/>
                  <a:pt x="0" y="3737"/>
                </a:cubicBezTo>
                <a:close/>
              </a:path>
            </a:pathLst>
          </a:custGeom>
          <a:noFill/>
          <a:ln w="12700" cap="flat" cmpd="sng">
            <a:noFill/>
            <a:prstDash val="solid"/>
            <a:round/>
            <a:headEnd/>
            <a:tailEnd/>
          </a:ln>
          <a:effectLst/>
        </p:spPr>
        <p:txBody>
          <a:bodyPr wrap="square" lIns="287850" tIns="71963" rIns="143925" bIns="71963" anchor="ctr" anchorCtr="0">
            <a:noAutofit/>
          </a:bodyPr>
          <a:lstStyle/>
          <a:p>
            <a:pPr marL="179910" indent="-179910">
              <a:spcBef>
                <a:spcPts val="600"/>
              </a:spcBef>
              <a:buClr>
                <a:schemeClr val="accent1"/>
              </a:buClr>
              <a:buSzPct val="100000"/>
              <a:buFont typeface="Arial" pitchFamily="34" charset="0"/>
              <a:buChar char="•"/>
            </a:pPr>
            <a:r>
              <a:rPr lang="en-US" sz="1799" dirty="0">
                <a:solidFill>
                  <a:srgbClr val="9999A9"/>
                </a:solidFill>
              </a:rPr>
              <a:t>At vero eos et accusam</a:t>
            </a:r>
          </a:p>
          <a:p>
            <a:pPr marL="179910" indent="-179910">
              <a:spcBef>
                <a:spcPts val="600"/>
              </a:spcBef>
              <a:buClr>
                <a:schemeClr val="accent1"/>
              </a:buClr>
              <a:buSzPct val="100000"/>
              <a:buFont typeface="Arial" pitchFamily="34" charset="0"/>
              <a:buChar char="•"/>
            </a:pPr>
            <a:r>
              <a:rPr lang="en-US" sz="1799" dirty="0">
                <a:solidFill>
                  <a:srgbClr val="9999A9"/>
                </a:solidFill>
              </a:rPr>
              <a:t>Cras ultricies mi eu</a:t>
            </a:r>
          </a:p>
          <a:p>
            <a:pPr marL="179910" indent="-179910">
              <a:spcBef>
                <a:spcPts val="600"/>
              </a:spcBef>
              <a:buClr>
                <a:schemeClr val="accent1"/>
              </a:buClr>
              <a:buSzPct val="100000"/>
              <a:buFont typeface="Arial" pitchFamily="34" charset="0"/>
              <a:buChar char="•"/>
            </a:pPr>
            <a:r>
              <a:rPr lang="en-US" sz="1799" dirty="0">
                <a:solidFill>
                  <a:srgbClr val="9999A9"/>
                </a:solidFill>
              </a:rPr>
              <a:t>Duis arcu tortor, suscipit eget</a:t>
            </a:r>
          </a:p>
        </p:txBody>
      </p:sp>
      <p:sp>
        <p:nvSpPr>
          <p:cNvPr id="11" name="Freeform 10"/>
          <p:cNvSpPr>
            <a:spLocks/>
          </p:cNvSpPr>
          <p:nvPr/>
        </p:nvSpPr>
        <p:spPr bwMode="auto">
          <a:xfrm>
            <a:off x="4299442" y="2999024"/>
            <a:ext cx="5974858" cy="1439250"/>
          </a:xfrm>
          <a:custGeom>
            <a:avLst/>
            <a:gdLst>
              <a:gd name="connsiteX0" fmla="*/ 6768373 w 6768373"/>
              <a:gd name="connsiteY0" fmla="*/ 0 h 1496844"/>
              <a:gd name="connsiteX1" fmla="*/ 6768373 w 6768373"/>
              <a:gd name="connsiteY1" fmla="*/ 1496844 h 1496844"/>
              <a:gd name="connsiteX2" fmla="*/ 4887 w 6768373"/>
              <a:gd name="connsiteY2" fmla="*/ 1496844 h 1496844"/>
              <a:gd name="connsiteX3" fmla="*/ 390946 w 6768373"/>
              <a:gd name="connsiteY3" fmla="*/ 738759 h 1496844"/>
              <a:gd name="connsiteX4" fmla="*/ 0 w 6768373"/>
              <a:gd name="connsiteY4" fmla="*/ 3737 h 1496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8373" h="1496844">
                <a:moveTo>
                  <a:pt x="6768373" y="0"/>
                </a:moveTo>
                <a:lnTo>
                  <a:pt x="6768373" y="1496844"/>
                </a:lnTo>
                <a:lnTo>
                  <a:pt x="4887" y="1496844"/>
                </a:lnTo>
                <a:lnTo>
                  <a:pt x="390946" y="738759"/>
                </a:lnTo>
                <a:cubicBezTo>
                  <a:pt x="252486" y="492254"/>
                  <a:pt x="138460" y="250242"/>
                  <a:pt x="0" y="3737"/>
                </a:cubicBezTo>
                <a:close/>
              </a:path>
            </a:pathLst>
          </a:custGeom>
          <a:noFill/>
          <a:ln w="12700" cap="flat" cmpd="sng">
            <a:noFill/>
            <a:prstDash val="solid"/>
            <a:round/>
            <a:headEnd/>
            <a:tailEnd/>
          </a:ln>
          <a:effectLst/>
        </p:spPr>
        <p:txBody>
          <a:bodyPr wrap="square" lIns="287850" tIns="71963" rIns="143925" bIns="71963" anchor="ctr" anchorCtr="0">
            <a:noAutofit/>
          </a:bodyPr>
          <a:lstStyle/>
          <a:p>
            <a:pPr marL="179910" indent="-179910">
              <a:spcBef>
                <a:spcPts val="600"/>
              </a:spcBef>
              <a:buClr>
                <a:schemeClr val="accent1"/>
              </a:buClr>
              <a:buSzPct val="100000"/>
              <a:buFont typeface="Arial" pitchFamily="34" charset="0"/>
              <a:buChar char="•"/>
            </a:pPr>
            <a:r>
              <a:rPr lang="en-US" sz="1799" dirty="0">
                <a:solidFill>
                  <a:srgbClr val="9999A9"/>
                </a:solidFill>
              </a:rPr>
              <a:t>Imperdiet nec, imperdiet iaculis, ipsum</a:t>
            </a:r>
          </a:p>
          <a:p>
            <a:pPr marL="179910" indent="-179910">
              <a:spcBef>
                <a:spcPts val="600"/>
              </a:spcBef>
              <a:buClr>
                <a:schemeClr val="accent1"/>
              </a:buClr>
              <a:buSzPct val="100000"/>
              <a:buFont typeface="Arial" pitchFamily="34" charset="0"/>
              <a:buChar char="•"/>
            </a:pPr>
            <a:r>
              <a:rPr lang="en-US" sz="1799" dirty="0">
                <a:solidFill>
                  <a:srgbClr val="9999A9"/>
                </a:solidFill>
              </a:rPr>
              <a:t>Cras ultricies mi eu</a:t>
            </a:r>
          </a:p>
          <a:p>
            <a:pPr marL="179910" indent="-179910">
              <a:spcBef>
                <a:spcPts val="600"/>
              </a:spcBef>
              <a:buClr>
                <a:schemeClr val="accent1"/>
              </a:buClr>
              <a:buSzPct val="100000"/>
              <a:buFont typeface="Arial" pitchFamily="34" charset="0"/>
              <a:buChar char="•"/>
            </a:pPr>
            <a:r>
              <a:rPr lang="en-US" sz="1799" dirty="0">
                <a:solidFill>
                  <a:srgbClr val="9999A9"/>
                </a:solidFill>
              </a:rPr>
              <a:t>Duis arcu tortor</a:t>
            </a:r>
          </a:p>
        </p:txBody>
      </p:sp>
      <p:sp>
        <p:nvSpPr>
          <p:cNvPr id="13" name="Freeform 12"/>
          <p:cNvSpPr>
            <a:spLocks/>
          </p:cNvSpPr>
          <p:nvPr/>
        </p:nvSpPr>
        <p:spPr bwMode="auto">
          <a:xfrm>
            <a:off x="4299442" y="4582200"/>
            <a:ext cx="5974858" cy="1439250"/>
          </a:xfrm>
          <a:custGeom>
            <a:avLst/>
            <a:gdLst>
              <a:gd name="connsiteX0" fmla="*/ 6768373 w 6768373"/>
              <a:gd name="connsiteY0" fmla="*/ 0 h 1496844"/>
              <a:gd name="connsiteX1" fmla="*/ 6768373 w 6768373"/>
              <a:gd name="connsiteY1" fmla="*/ 1496844 h 1496844"/>
              <a:gd name="connsiteX2" fmla="*/ 4887 w 6768373"/>
              <a:gd name="connsiteY2" fmla="*/ 1496844 h 1496844"/>
              <a:gd name="connsiteX3" fmla="*/ 390946 w 6768373"/>
              <a:gd name="connsiteY3" fmla="*/ 738759 h 1496844"/>
              <a:gd name="connsiteX4" fmla="*/ 0 w 6768373"/>
              <a:gd name="connsiteY4" fmla="*/ 3737 h 1496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8373" h="1496844">
                <a:moveTo>
                  <a:pt x="6768373" y="0"/>
                </a:moveTo>
                <a:lnTo>
                  <a:pt x="6768373" y="1496844"/>
                </a:lnTo>
                <a:lnTo>
                  <a:pt x="4887" y="1496844"/>
                </a:lnTo>
                <a:lnTo>
                  <a:pt x="390946" y="738759"/>
                </a:lnTo>
                <a:cubicBezTo>
                  <a:pt x="252486" y="492254"/>
                  <a:pt x="138460" y="250242"/>
                  <a:pt x="0" y="3737"/>
                </a:cubicBezTo>
                <a:close/>
              </a:path>
            </a:pathLst>
          </a:custGeom>
          <a:noFill/>
          <a:ln w="12700" cap="flat" cmpd="sng">
            <a:noFill/>
            <a:prstDash val="solid"/>
            <a:round/>
            <a:headEnd/>
            <a:tailEnd/>
          </a:ln>
          <a:effectLst/>
        </p:spPr>
        <p:txBody>
          <a:bodyPr wrap="square" lIns="287850" tIns="71963" rIns="143925" bIns="71963" anchor="ctr" anchorCtr="0">
            <a:noAutofit/>
          </a:bodyPr>
          <a:lstStyle/>
          <a:p>
            <a:pPr marL="179910" indent="-179910">
              <a:spcBef>
                <a:spcPts val="600"/>
              </a:spcBef>
              <a:buClr>
                <a:schemeClr val="accent1"/>
              </a:buClr>
              <a:buSzPct val="100000"/>
              <a:buFont typeface="Arial" pitchFamily="34" charset="0"/>
              <a:buChar char="•"/>
            </a:pPr>
            <a:r>
              <a:rPr lang="en-US" sz="1799" dirty="0">
                <a:solidFill>
                  <a:srgbClr val="9999A9"/>
                </a:solidFill>
              </a:rPr>
              <a:t>Cras ultricies mi eu</a:t>
            </a:r>
          </a:p>
          <a:p>
            <a:pPr marL="179910" indent="-179910">
              <a:spcBef>
                <a:spcPts val="600"/>
              </a:spcBef>
              <a:buClr>
                <a:schemeClr val="accent1"/>
              </a:buClr>
              <a:buSzPct val="100000"/>
              <a:buFont typeface="Arial" pitchFamily="34" charset="0"/>
              <a:buChar char="•"/>
            </a:pPr>
            <a:r>
              <a:rPr lang="en-US" sz="1799" dirty="0">
                <a:solidFill>
                  <a:srgbClr val="9999A9"/>
                </a:solidFill>
              </a:rPr>
              <a:t>At vero eos et accusam</a:t>
            </a:r>
          </a:p>
          <a:p>
            <a:pPr marL="179910" indent="-179910">
              <a:spcBef>
                <a:spcPts val="600"/>
              </a:spcBef>
              <a:buClr>
                <a:schemeClr val="accent1"/>
              </a:buClr>
              <a:buSzPct val="100000"/>
              <a:buFont typeface="Arial" pitchFamily="34" charset="0"/>
              <a:buChar char="•"/>
            </a:pPr>
            <a:r>
              <a:rPr lang="en-US" sz="1799" dirty="0">
                <a:solidFill>
                  <a:srgbClr val="9999A9"/>
                </a:solidFill>
              </a:rPr>
              <a:t>Duis arcu tortor, suscipit eget</a:t>
            </a:r>
          </a:p>
        </p:txBody>
      </p:sp>
      <p:sp>
        <p:nvSpPr>
          <p:cNvPr id="15" name="AutoShape 4"/>
          <p:cNvSpPr>
            <a:spLocks noChangeArrowheads="1"/>
          </p:cNvSpPr>
          <p:nvPr/>
        </p:nvSpPr>
        <p:spPr bwMode="auto">
          <a:xfrm>
            <a:off x="410400" y="2999024"/>
            <a:ext cx="3600000" cy="1439250"/>
          </a:xfrm>
          <a:prstGeom prst="homePlate">
            <a:avLst>
              <a:gd name="adj" fmla="val 25000"/>
            </a:avLst>
          </a:prstGeom>
          <a:solidFill>
            <a:srgbClr val="00AF8E"/>
          </a:solidFill>
          <a:ln w="12700">
            <a:noFill/>
            <a:miter lim="800000"/>
            <a:headEnd/>
            <a:tailEnd/>
          </a:ln>
          <a:effectLst/>
        </p:spPr>
        <p:txBody>
          <a:bodyPr wrap="square" lIns="215888" tIns="143925" rIns="143925" bIns="143925" anchor="t"/>
          <a:lstStyle/>
          <a:p>
            <a:r>
              <a:rPr lang="en-US" sz="1799" b="1" dirty="0">
                <a:solidFill>
                  <a:schemeClr val="bg2"/>
                </a:solidFill>
              </a:rPr>
              <a:t>Duis arcu tortor, suscipit eget, imperdiet nec</a:t>
            </a:r>
          </a:p>
        </p:txBody>
      </p:sp>
      <p:sp>
        <p:nvSpPr>
          <p:cNvPr id="17" name="AutoShape 4"/>
          <p:cNvSpPr>
            <a:spLocks noChangeArrowheads="1"/>
          </p:cNvSpPr>
          <p:nvPr/>
        </p:nvSpPr>
        <p:spPr bwMode="auto">
          <a:xfrm>
            <a:off x="410400" y="4582200"/>
            <a:ext cx="3600000" cy="1439250"/>
          </a:xfrm>
          <a:prstGeom prst="homePlate">
            <a:avLst>
              <a:gd name="adj" fmla="val 25000"/>
            </a:avLst>
          </a:prstGeom>
          <a:solidFill>
            <a:srgbClr val="00646E"/>
          </a:solidFill>
          <a:ln w="12700">
            <a:noFill/>
            <a:miter lim="800000"/>
            <a:headEnd/>
            <a:tailEnd/>
          </a:ln>
          <a:effectLst/>
        </p:spPr>
        <p:txBody>
          <a:bodyPr wrap="square" lIns="215888" tIns="143925" rIns="143925" bIns="143925" anchor="t"/>
          <a:lstStyle/>
          <a:p>
            <a:r>
              <a:rPr lang="en-US" sz="1799" b="1" dirty="0"/>
              <a:t>Phasellus nec sem</a:t>
            </a:r>
          </a:p>
        </p:txBody>
      </p:sp>
    </p:spTree>
    <p:extLst>
      <p:ext uri="{BB962C8B-B14F-4D97-AF65-F5344CB8AC3E}">
        <p14:creationId xmlns:p14="http://schemas.microsoft.com/office/powerpoint/2010/main" val="3962101475"/>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A1E3B4B5-D129-4BFE-83E3-E1494F7A97E6}"/>
              </a:ext>
            </a:extLst>
          </p:cNvPr>
          <p:cNvSpPr>
            <a:spLocks noGrp="1"/>
          </p:cNvSpPr>
          <p:nvPr>
            <p:ph type="title"/>
          </p:nvPr>
        </p:nvSpPr>
        <p:spPr/>
        <p:txBody>
          <a:bodyPr/>
          <a:lstStyle/>
          <a:p>
            <a:r>
              <a:rPr lang="en-US" dirty="0"/>
              <a:t>Examples </a:t>
            </a:r>
            <a:br>
              <a:rPr lang="en-US" dirty="0"/>
            </a:br>
            <a:r>
              <a:rPr lang="en-US" b="0" dirty="0"/>
              <a:t>Bars – Dark Green to Dark Blue extended</a:t>
            </a:r>
            <a:endParaRPr lang="en-US" dirty="0"/>
          </a:p>
        </p:txBody>
      </p:sp>
      <p:sp>
        <p:nvSpPr>
          <p:cNvPr id="2" name="Footer Placeholder">
            <a:extLst>
              <a:ext uri="{FF2B5EF4-FFF2-40B4-BE49-F238E27FC236}">
                <a16:creationId xmlns:a16="http://schemas.microsoft.com/office/drawing/2014/main" id="{DEEC6267-15B2-4028-A5FA-E7FEFD74E203}"/>
              </a:ext>
            </a:extLst>
          </p:cNvPr>
          <p:cNvSpPr>
            <a:spLocks noGrp="1"/>
          </p:cNvSpPr>
          <p:nvPr>
            <p:ph type="ftr" sz="quarter" idx="10"/>
          </p:nvPr>
        </p:nvSpPr>
        <p:spPr/>
        <p:txBody>
          <a:bodyPr/>
          <a:lstStyle/>
          <a:p>
            <a:r>
              <a:rPr lang="en-US" dirty="0"/>
              <a:t>Restricted | © Siemens 20XX | Author | Department | YYYY-MM-DD</a:t>
            </a:r>
          </a:p>
        </p:txBody>
      </p:sp>
      <p:sp>
        <p:nvSpPr>
          <p:cNvPr id="4" name="Slide Number Placeholder">
            <a:extLst>
              <a:ext uri="{FF2B5EF4-FFF2-40B4-BE49-F238E27FC236}">
                <a16:creationId xmlns:a16="http://schemas.microsoft.com/office/drawing/2014/main" id="{EB7F17B8-F18A-4BB0-B8F9-937445343C6A}"/>
              </a:ext>
            </a:extLst>
          </p:cNvPr>
          <p:cNvSpPr>
            <a:spLocks noGrp="1"/>
          </p:cNvSpPr>
          <p:nvPr>
            <p:ph type="sldNum" sz="quarter" idx="11"/>
          </p:nvPr>
        </p:nvSpPr>
        <p:spPr/>
        <p:txBody>
          <a:bodyPr/>
          <a:lstStyle/>
          <a:p>
            <a:r>
              <a:rPr lang="en-US" dirty="0"/>
              <a:t>Page </a:t>
            </a:r>
            <a:fld id="{15EBE321-CBB1-4E91-BD14-37C8D44326FB}" type="slidenum">
              <a:rPr lang="en-US" smtClean="0"/>
              <a:pPr/>
              <a:t>190</a:t>
            </a:fld>
            <a:endParaRPr lang="en-US" dirty="0"/>
          </a:p>
        </p:txBody>
      </p:sp>
      <p:graphicFrame>
        <p:nvGraphicFramePr>
          <p:cNvPr id="8" name="Diagramm 6">
            <a:extLst>
              <a:ext uri="{FF2B5EF4-FFF2-40B4-BE49-F238E27FC236}">
                <a16:creationId xmlns:a16="http://schemas.microsoft.com/office/drawing/2014/main" id="{457C97EA-AEDD-46CC-8F77-6D9B3A48F6CF}"/>
              </a:ext>
            </a:extLst>
          </p:cNvPr>
          <p:cNvGraphicFramePr>
            <a:graphicFrameLocks noGrp="1"/>
          </p:cNvGraphicFramePr>
          <p:nvPr>
            <p:ph idx="1"/>
            <p:extLst>
              <p:ext uri="{D42A27DB-BD31-4B8C-83A1-F6EECF244321}">
                <p14:modId xmlns:p14="http://schemas.microsoft.com/office/powerpoint/2010/main" val="2618443551"/>
              </p:ext>
            </p:extLst>
          </p:nvPr>
        </p:nvGraphicFramePr>
        <p:xfrm>
          <a:off x="411163" y="1414463"/>
          <a:ext cx="11376025" cy="475297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775589732"/>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A1E3B4B5-D129-4BFE-83E3-E1494F7A97E6}"/>
              </a:ext>
            </a:extLst>
          </p:cNvPr>
          <p:cNvSpPr>
            <a:spLocks noGrp="1"/>
          </p:cNvSpPr>
          <p:nvPr>
            <p:ph type="title"/>
          </p:nvPr>
        </p:nvSpPr>
        <p:spPr>
          <a:xfrm>
            <a:off x="410400" y="478800"/>
            <a:ext cx="9863997" cy="576000"/>
          </a:xfrm>
        </p:spPr>
        <p:txBody>
          <a:bodyPr/>
          <a:lstStyle/>
          <a:p>
            <a:r>
              <a:rPr lang="en-US" dirty="0"/>
              <a:t>Examples </a:t>
            </a:r>
            <a:br>
              <a:rPr lang="en-US" dirty="0"/>
            </a:br>
            <a:r>
              <a:rPr lang="en-US" b="0" dirty="0"/>
              <a:t>Bars – Dark Green to Dark Blue extended</a:t>
            </a:r>
            <a:endParaRPr lang="en-US" dirty="0"/>
          </a:p>
        </p:txBody>
      </p:sp>
      <p:sp>
        <p:nvSpPr>
          <p:cNvPr id="2" name="Footer Placeholder">
            <a:extLst>
              <a:ext uri="{FF2B5EF4-FFF2-40B4-BE49-F238E27FC236}">
                <a16:creationId xmlns:a16="http://schemas.microsoft.com/office/drawing/2014/main" id="{DEEC6267-15B2-4028-A5FA-E7FEFD74E203}"/>
              </a:ext>
            </a:extLst>
          </p:cNvPr>
          <p:cNvSpPr>
            <a:spLocks noGrp="1"/>
          </p:cNvSpPr>
          <p:nvPr>
            <p:ph type="ftr" sz="quarter" idx="10"/>
          </p:nvPr>
        </p:nvSpPr>
        <p:spPr/>
        <p:txBody>
          <a:bodyPr/>
          <a:lstStyle/>
          <a:p>
            <a:r>
              <a:rPr lang="en-US" dirty="0"/>
              <a:t>Restricted | © Siemens 20XX | Author | Department | YYYY-MM-DD</a:t>
            </a:r>
          </a:p>
        </p:txBody>
      </p:sp>
      <p:sp>
        <p:nvSpPr>
          <p:cNvPr id="4" name="Slide Number Placeholder">
            <a:extLst>
              <a:ext uri="{FF2B5EF4-FFF2-40B4-BE49-F238E27FC236}">
                <a16:creationId xmlns:a16="http://schemas.microsoft.com/office/drawing/2014/main" id="{EB7F17B8-F18A-4BB0-B8F9-937445343C6A}"/>
              </a:ext>
            </a:extLst>
          </p:cNvPr>
          <p:cNvSpPr>
            <a:spLocks noGrp="1"/>
          </p:cNvSpPr>
          <p:nvPr>
            <p:ph type="sldNum" sz="quarter" idx="11"/>
          </p:nvPr>
        </p:nvSpPr>
        <p:spPr/>
        <p:txBody>
          <a:bodyPr/>
          <a:lstStyle/>
          <a:p>
            <a:r>
              <a:rPr lang="en-US" dirty="0"/>
              <a:t>Page </a:t>
            </a:r>
            <a:fld id="{15EBE321-CBB1-4E91-BD14-37C8D44326FB}" type="slidenum">
              <a:rPr lang="en-US" smtClean="0"/>
              <a:pPr/>
              <a:t>191</a:t>
            </a:fld>
            <a:endParaRPr lang="en-US" dirty="0"/>
          </a:p>
        </p:txBody>
      </p:sp>
      <p:graphicFrame>
        <p:nvGraphicFramePr>
          <p:cNvPr id="8" name="Diagramm 6">
            <a:extLst>
              <a:ext uri="{FF2B5EF4-FFF2-40B4-BE49-F238E27FC236}">
                <a16:creationId xmlns:a16="http://schemas.microsoft.com/office/drawing/2014/main" id="{457C97EA-AEDD-46CC-8F77-6D9B3A48F6CF}"/>
              </a:ext>
            </a:extLst>
          </p:cNvPr>
          <p:cNvGraphicFramePr>
            <a:graphicFrameLocks noGrp="1"/>
          </p:cNvGraphicFramePr>
          <p:nvPr>
            <p:ph idx="4294967295"/>
            <p:extLst>
              <p:ext uri="{D42A27DB-BD31-4B8C-83A1-F6EECF244321}">
                <p14:modId xmlns:p14="http://schemas.microsoft.com/office/powerpoint/2010/main" val="224199070"/>
              </p:ext>
            </p:extLst>
          </p:nvPr>
        </p:nvGraphicFramePr>
        <p:xfrm>
          <a:off x="410400" y="1414463"/>
          <a:ext cx="11376025" cy="475297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571963628"/>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A1E3B4B5-D129-4BFE-83E3-E1494F7A97E6}"/>
              </a:ext>
            </a:extLst>
          </p:cNvPr>
          <p:cNvSpPr>
            <a:spLocks noGrp="1"/>
          </p:cNvSpPr>
          <p:nvPr>
            <p:ph type="title"/>
          </p:nvPr>
        </p:nvSpPr>
        <p:spPr/>
        <p:txBody>
          <a:bodyPr/>
          <a:lstStyle/>
          <a:p>
            <a:r>
              <a:rPr lang="en-US" dirty="0"/>
              <a:t>Examples </a:t>
            </a:r>
            <a:br>
              <a:rPr lang="en-US" dirty="0"/>
            </a:br>
            <a:r>
              <a:rPr lang="en-US" b="0" dirty="0"/>
              <a:t>Bars – Dark Green to Blue to Purple</a:t>
            </a:r>
            <a:endParaRPr lang="en-US" dirty="0"/>
          </a:p>
        </p:txBody>
      </p:sp>
      <p:sp>
        <p:nvSpPr>
          <p:cNvPr id="2" name="Footer Placeholder">
            <a:extLst>
              <a:ext uri="{FF2B5EF4-FFF2-40B4-BE49-F238E27FC236}">
                <a16:creationId xmlns:a16="http://schemas.microsoft.com/office/drawing/2014/main" id="{DEEC6267-15B2-4028-A5FA-E7FEFD74E203}"/>
              </a:ext>
            </a:extLst>
          </p:cNvPr>
          <p:cNvSpPr>
            <a:spLocks noGrp="1"/>
          </p:cNvSpPr>
          <p:nvPr>
            <p:ph type="ftr" sz="quarter" idx="10"/>
          </p:nvPr>
        </p:nvSpPr>
        <p:spPr/>
        <p:txBody>
          <a:bodyPr/>
          <a:lstStyle/>
          <a:p>
            <a:r>
              <a:rPr lang="en-US" dirty="0"/>
              <a:t>Restricted | © Siemens 20XX | Author | Department | YYYY-MM-DD</a:t>
            </a:r>
          </a:p>
        </p:txBody>
      </p:sp>
      <p:sp>
        <p:nvSpPr>
          <p:cNvPr id="4" name="Slide Number Placeholder">
            <a:extLst>
              <a:ext uri="{FF2B5EF4-FFF2-40B4-BE49-F238E27FC236}">
                <a16:creationId xmlns:a16="http://schemas.microsoft.com/office/drawing/2014/main" id="{EB7F17B8-F18A-4BB0-B8F9-937445343C6A}"/>
              </a:ext>
            </a:extLst>
          </p:cNvPr>
          <p:cNvSpPr>
            <a:spLocks noGrp="1"/>
          </p:cNvSpPr>
          <p:nvPr>
            <p:ph type="sldNum" sz="quarter" idx="11"/>
          </p:nvPr>
        </p:nvSpPr>
        <p:spPr/>
        <p:txBody>
          <a:bodyPr/>
          <a:lstStyle/>
          <a:p>
            <a:r>
              <a:rPr lang="en-US" dirty="0"/>
              <a:t>Page </a:t>
            </a:r>
            <a:fld id="{15EBE321-CBB1-4E91-BD14-37C8D44326FB}" type="slidenum">
              <a:rPr lang="en-US" smtClean="0"/>
              <a:pPr/>
              <a:t>192</a:t>
            </a:fld>
            <a:endParaRPr lang="en-US" dirty="0"/>
          </a:p>
        </p:txBody>
      </p:sp>
      <p:graphicFrame>
        <p:nvGraphicFramePr>
          <p:cNvPr id="8" name="Diagramm 6">
            <a:extLst>
              <a:ext uri="{FF2B5EF4-FFF2-40B4-BE49-F238E27FC236}">
                <a16:creationId xmlns:a16="http://schemas.microsoft.com/office/drawing/2014/main" id="{108BB54A-17F7-4B29-AFE9-AE7D65659855}"/>
              </a:ext>
            </a:extLst>
          </p:cNvPr>
          <p:cNvGraphicFramePr>
            <a:graphicFrameLocks noGrp="1"/>
          </p:cNvGraphicFramePr>
          <p:nvPr>
            <p:ph idx="1"/>
            <p:extLst>
              <p:ext uri="{D42A27DB-BD31-4B8C-83A1-F6EECF244321}">
                <p14:modId xmlns:p14="http://schemas.microsoft.com/office/powerpoint/2010/main" val="3747466763"/>
              </p:ext>
            </p:extLst>
          </p:nvPr>
        </p:nvGraphicFramePr>
        <p:xfrm>
          <a:off x="411163" y="1414463"/>
          <a:ext cx="11376025" cy="475297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862495591"/>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A1E3B4B5-D129-4BFE-83E3-E1494F7A97E6}"/>
              </a:ext>
            </a:extLst>
          </p:cNvPr>
          <p:cNvSpPr>
            <a:spLocks noGrp="1"/>
          </p:cNvSpPr>
          <p:nvPr>
            <p:ph type="title"/>
          </p:nvPr>
        </p:nvSpPr>
        <p:spPr>
          <a:xfrm>
            <a:off x="410400" y="478800"/>
            <a:ext cx="9863997" cy="576000"/>
          </a:xfrm>
        </p:spPr>
        <p:txBody>
          <a:bodyPr/>
          <a:lstStyle/>
          <a:p>
            <a:r>
              <a:rPr lang="en-US" dirty="0"/>
              <a:t>Examples </a:t>
            </a:r>
            <a:br>
              <a:rPr lang="en-US" dirty="0"/>
            </a:br>
            <a:r>
              <a:rPr lang="en-US" b="0" dirty="0"/>
              <a:t>Bars – Dark Green to Blue to Purple</a:t>
            </a:r>
            <a:endParaRPr lang="en-US" dirty="0"/>
          </a:p>
        </p:txBody>
      </p:sp>
      <p:sp>
        <p:nvSpPr>
          <p:cNvPr id="2" name="Footer Placeholder">
            <a:extLst>
              <a:ext uri="{FF2B5EF4-FFF2-40B4-BE49-F238E27FC236}">
                <a16:creationId xmlns:a16="http://schemas.microsoft.com/office/drawing/2014/main" id="{DEEC6267-15B2-4028-A5FA-E7FEFD74E203}"/>
              </a:ext>
            </a:extLst>
          </p:cNvPr>
          <p:cNvSpPr>
            <a:spLocks noGrp="1"/>
          </p:cNvSpPr>
          <p:nvPr>
            <p:ph type="ftr" sz="quarter" idx="10"/>
          </p:nvPr>
        </p:nvSpPr>
        <p:spPr/>
        <p:txBody>
          <a:bodyPr/>
          <a:lstStyle/>
          <a:p>
            <a:r>
              <a:rPr lang="en-US" dirty="0"/>
              <a:t>Restricted | © Siemens 20XX | Author | Department | YYYY-MM-DD</a:t>
            </a:r>
          </a:p>
        </p:txBody>
      </p:sp>
      <p:sp>
        <p:nvSpPr>
          <p:cNvPr id="4" name="Slide Number Placeholder">
            <a:extLst>
              <a:ext uri="{FF2B5EF4-FFF2-40B4-BE49-F238E27FC236}">
                <a16:creationId xmlns:a16="http://schemas.microsoft.com/office/drawing/2014/main" id="{EB7F17B8-F18A-4BB0-B8F9-937445343C6A}"/>
              </a:ext>
            </a:extLst>
          </p:cNvPr>
          <p:cNvSpPr>
            <a:spLocks noGrp="1"/>
          </p:cNvSpPr>
          <p:nvPr>
            <p:ph type="sldNum" sz="quarter" idx="11"/>
          </p:nvPr>
        </p:nvSpPr>
        <p:spPr/>
        <p:txBody>
          <a:bodyPr/>
          <a:lstStyle/>
          <a:p>
            <a:r>
              <a:rPr lang="en-US" dirty="0"/>
              <a:t>Page </a:t>
            </a:r>
            <a:fld id="{15EBE321-CBB1-4E91-BD14-37C8D44326FB}" type="slidenum">
              <a:rPr lang="en-US" smtClean="0"/>
              <a:pPr/>
              <a:t>193</a:t>
            </a:fld>
            <a:endParaRPr lang="en-US" dirty="0"/>
          </a:p>
        </p:txBody>
      </p:sp>
      <p:graphicFrame>
        <p:nvGraphicFramePr>
          <p:cNvPr id="8" name="Diagramm 6">
            <a:extLst>
              <a:ext uri="{FF2B5EF4-FFF2-40B4-BE49-F238E27FC236}">
                <a16:creationId xmlns:a16="http://schemas.microsoft.com/office/drawing/2014/main" id="{108BB54A-17F7-4B29-AFE9-AE7D65659855}"/>
              </a:ext>
            </a:extLst>
          </p:cNvPr>
          <p:cNvGraphicFramePr>
            <a:graphicFrameLocks noGrp="1"/>
          </p:cNvGraphicFramePr>
          <p:nvPr>
            <p:ph idx="4294967295"/>
            <p:extLst>
              <p:ext uri="{D42A27DB-BD31-4B8C-83A1-F6EECF244321}">
                <p14:modId xmlns:p14="http://schemas.microsoft.com/office/powerpoint/2010/main" val="1754460363"/>
              </p:ext>
            </p:extLst>
          </p:nvPr>
        </p:nvGraphicFramePr>
        <p:xfrm>
          <a:off x="410400" y="1414463"/>
          <a:ext cx="11376025" cy="475297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763855252"/>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A1E3B4B5-D129-4BFE-83E3-E1494F7A97E6}"/>
              </a:ext>
            </a:extLst>
          </p:cNvPr>
          <p:cNvSpPr>
            <a:spLocks noGrp="1"/>
          </p:cNvSpPr>
          <p:nvPr>
            <p:ph type="title"/>
          </p:nvPr>
        </p:nvSpPr>
        <p:spPr/>
        <p:txBody>
          <a:bodyPr/>
          <a:lstStyle/>
          <a:p>
            <a:r>
              <a:rPr lang="en-US" dirty="0"/>
              <a:t>Examples </a:t>
            </a:r>
            <a:br>
              <a:rPr lang="en-US" dirty="0"/>
            </a:br>
            <a:r>
              <a:rPr lang="en-US" b="0" dirty="0"/>
              <a:t>Bars – Dark Green to Grey to Blue to Purple</a:t>
            </a:r>
          </a:p>
        </p:txBody>
      </p:sp>
      <p:sp>
        <p:nvSpPr>
          <p:cNvPr id="2" name="Footer Placeholder">
            <a:extLst>
              <a:ext uri="{FF2B5EF4-FFF2-40B4-BE49-F238E27FC236}">
                <a16:creationId xmlns:a16="http://schemas.microsoft.com/office/drawing/2014/main" id="{DEEC6267-15B2-4028-A5FA-E7FEFD74E203}"/>
              </a:ext>
            </a:extLst>
          </p:cNvPr>
          <p:cNvSpPr>
            <a:spLocks noGrp="1"/>
          </p:cNvSpPr>
          <p:nvPr>
            <p:ph type="ftr" sz="quarter" idx="10"/>
          </p:nvPr>
        </p:nvSpPr>
        <p:spPr/>
        <p:txBody>
          <a:bodyPr/>
          <a:lstStyle/>
          <a:p>
            <a:r>
              <a:rPr lang="en-US" dirty="0"/>
              <a:t>Restricted | © Siemens 20XX | Author | Department | YYYY-MM-DD</a:t>
            </a:r>
          </a:p>
        </p:txBody>
      </p:sp>
      <p:sp>
        <p:nvSpPr>
          <p:cNvPr id="4" name="Slide Number Placeholder">
            <a:extLst>
              <a:ext uri="{FF2B5EF4-FFF2-40B4-BE49-F238E27FC236}">
                <a16:creationId xmlns:a16="http://schemas.microsoft.com/office/drawing/2014/main" id="{EB7F17B8-F18A-4BB0-B8F9-937445343C6A}"/>
              </a:ext>
            </a:extLst>
          </p:cNvPr>
          <p:cNvSpPr>
            <a:spLocks noGrp="1"/>
          </p:cNvSpPr>
          <p:nvPr>
            <p:ph type="sldNum" sz="quarter" idx="11"/>
          </p:nvPr>
        </p:nvSpPr>
        <p:spPr/>
        <p:txBody>
          <a:bodyPr/>
          <a:lstStyle/>
          <a:p>
            <a:r>
              <a:rPr lang="en-US" dirty="0"/>
              <a:t>Page </a:t>
            </a:r>
            <a:fld id="{15EBE321-CBB1-4E91-BD14-37C8D44326FB}" type="slidenum">
              <a:rPr lang="en-US" smtClean="0"/>
              <a:pPr/>
              <a:t>194</a:t>
            </a:fld>
            <a:endParaRPr lang="en-US" dirty="0"/>
          </a:p>
        </p:txBody>
      </p:sp>
      <p:graphicFrame>
        <p:nvGraphicFramePr>
          <p:cNvPr id="22" name="Diagramm 6">
            <a:extLst>
              <a:ext uri="{FF2B5EF4-FFF2-40B4-BE49-F238E27FC236}">
                <a16:creationId xmlns:a16="http://schemas.microsoft.com/office/drawing/2014/main" id="{184C1522-847C-4476-BA6E-5420637D9DB6}"/>
              </a:ext>
            </a:extLst>
          </p:cNvPr>
          <p:cNvGraphicFramePr>
            <a:graphicFrameLocks noGrp="1"/>
          </p:cNvGraphicFramePr>
          <p:nvPr>
            <p:ph idx="1"/>
            <p:extLst>
              <p:ext uri="{D42A27DB-BD31-4B8C-83A1-F6EECF244321}">
                <p14:modId xmlns:p14="http://schemas.microsoft.com/office/powerpoint/2010/main" val="3900760094"/>
              </p:ext>
            </p:extLst>
          </p:nvPr>
        </p:nvGraphicFramePr>
        <p:xfrm>
          <a:off x="411163" y="1414463"/>
          <a:ext cx="11376025" cy="475297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473167872"/>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A1E3B4B5-D129-4BFE-83E3-E1494F7A97E6}"/>
              </a:ext>
            </a:extLst>
          </p:cNvPr>
          <p:cNvSpPr>
            <a:spLocks noGrp="1"/>
          </p:cNvSpPr>
          <p:nvPr>
            <p:ph type="title"/>
          </p:nvPr>
        </p:nvSpPr>
        <p:spPr>
          <a:xfrm>
            <a:off x="410400" y="478800"/>
            <a:ext cx="9863997" cy="576000"/>
          </a:xfrm>
        </p:spPr>
        <p:txBody>
          <a:bodyPr/>
          <a:lstStyle/>
          <a:p>
            <a:r>
              <a:rPr lang="en-US" dirty="0"/>
              <a:t>Examples </a:t>
            </a:r>
            <a:br>
              <a:rPr lang="en-US" dirty="0"/>
            </a:br>
            <a:r>
              <a:rPr lang="en-US" b="0" dirty="0"/>
              <a:t>Bars – Dark Green to Grey to Blue to Purple</a:t>
            </a:r>
          </a:p>
        </p:txBody>
      </p:sp>
      <p:sp>
        <p:nvSpPr>
          <p:cNvPr id="2" name="Footer Placeholder">
            <a:extLst>
              <a:ext uri="{FF2B5EF4-FFF2-40B4-BE49-F238E27FC236}">
                <a16:creationId xmlns:a16="http://schemas.microsoft.com/office/drawing/2014/main" id="{DEEC6267-15B2-4028-A5FA-E7FEFD74E203}"/>
              </a:ext>
            </a:extLst>
          </p:cNvPr>
          <p:cNvSpPr>
            <a:spLocks noGrp="1"/>
          </p:cNvSpPr>
          <p:nvPr>
            <p:ph type="ftr" sz="quarter" idx="10"/>
          </p:nvPr>
        </p:nvSpPr>
        <p:spPr/>
        <p:txBody>
          <a:bodyPr/>
          <a:lstStyle/>
          <a:p>
            <a:r>
              <a:rPr lang="en-US" dirty="0"/>
              <a:t>Restricted | © Siemens 20XX | Author | Department | YYYY-MM-DD</a:t>
            </a:r>
          </a:p>
        </p:txBody>
      </p:sp>
      <p:sp>
        <p:nvSpPr>
          <p:cNvPr id="4" name="Slide Number Placeholder">
            <a:extLst>
              <a:ext uri="{FF2B5EF4-FFF2-40B4-BE49-F238E27FC236}">
                <a16:creationId xmlns:a16="http://schemas.microsoft.com/office/drawing/2014/main" id="{EB7F17B8-F18A-4BB0-B8F9-937445343C6A}"/>
              </a:ext>
            </a:extLst>
          </p:cNvPr>
          <p:cNvSpPr>
            <a:spLocks noGrp="1"/>
          </p:cNvSpPr>
          <p:nvPr>
            <p:ph type="sldNum" sz="quarter" idx="11"/>
          </p:nvPr>
        </p:nvSpPr>
        <p:spPr/>
        <p:txBody>
          <a:bodyPr/>
          <a:lstStyle/>
          <a:p>
            <a:r>
              <a:rPr lang="en-US" dirty="0"/>
              <a:t>Page </a:t>
            </a:r>
            <a:fld id="{15EBE321-CBB1-4E91-BD14-37C8D44326FB}" type="slidenum">
              <a:rPr lang="en-US" smtClean="0"/>
              <a:pPr/>
              <a:t>195</a:t>
            </a:fld>
            <a:endParaRPr lang="en-US" dirty="0"/>
          </a:p>
        </p:txBody>
      </p:sp>
      <p:graphicFrame>
        <p:nvGraphicFramePr>
          <p:cNvPr id="22" name="Diagramm 6">
            <a:extLst>
              <a:ext uri="{FF2B5EF4-FFF2-40B4-BE49-F238E27FC236}">
                <a16:creationId xmlns:a16="http://schemas.microsoft.com/office/drawing/2014/main" id="{184C1522-847C-4476-BA6E-5420637D9DB6}"/>
              </a:ext>
            </a:extLst>
          </p:cNvPr>
          <p:cNvGraphicFramePr>
            <a:graphicFrameLocks noGrp="1"/>
          </p:cNvGraphicFramePr>
          <p:nvPr>
            <p:ph idx="4294967295"/>
            <p:extLst>
              <p:ext uri="{D42A27DB-BD31-4B8C-83A1-F6EECF244321}">
                <p14:modId xmlns:p14="http://schemas.microsoft.com/office/powerpoint/2010/main" val="1613129710"/>
              </p:ext>
            </p:extLst>
          </p:nvPr>
        </p:nvGraphicFramePr>
        <p:xfrm>
          <a:off x="410400" y="1414463"/>
          <a:ext cx="11376025" cy="475297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759486311"/>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A1E3B4B5-D129-4BFE-83E3-E1494F7A97E6}"/>
              </a:ext>
            </a:extLst>
          </p:cNvPr>
          <p:cNvSpPr>
            <a:spLocks noGrp="1"/>
          </p:cNvSpPr>
          <p:nvPr>
            <p:ph type="title"/>
          </p:nvPr>
        </p:nvSpPr>
        <p:spPr/>
        <p:txBody>
          <a:bodyPr/>
          <a:lstStyle/>
          <a:p>
            <a:r>
              <a:rPr lang="en-US" dirty="0"/>
              <a:t>Examples </a:t>
            </a:r>
            <a:br>
              <a:rPr lang="en-US" dirty="0"/>
            </a:br>
            <a:r>
              <a:rPr lang="en-US" b="0" dirty="0"/>
              <a:t>Bars – all colors</a:t>
            </a:r>
          </a:p>
        </p:txBody>
      </p:sp>
      <p:sp>
        <p:nvSpPr>
          <p:cNvPr id="2" name="Footer Placeholder">
            <a:extLst>
              <a:ext uri="{FF2B5EF4-FFF2-40B4-BE49-F238E27FC236}">
                <a16:creationId xmlns:a16="http://schemas.microsoft.com/office/drawing/2014/main" id="{DEEC6267-15B2-4028-A5FA-E7FEFD74E203}"/>
              </a:ext>
            </a:extLst>
          </p:cNvPr>
          <p:cNvSpPr>
            <a:spLocks noGrp="1"/>
          </p:cNvSpPr>
          <p:nvPr>
            <p:ph type="ftr" sz="quarter" idx="10"/>
          </p:nvPr>
        </p:nvSpPr>
        <p:spPr/>
        <p:txBody>
          <a:bodyPr/>
          <a:lstStyle/>
          <a:p>
            <a:r>
              <a:rPr lang="en-US" dirty="0"/>
              <a:t>Restricted | © Siemens 20XX | Author | Department | YYYY-MM-DD</a:t>
            </a:r>
          </a:p>
        </p:txBody>
      </p:sp>
      <p:sp>
        <p:nvSpPr>
          <p:cNvPr id="4" name="Slide Number Placeholder">
            <a:extLst>
              <a:ext uri="{FF2B5EF4-FFF2-40B4-BE49-F238E27FC236}">
                <a16:creationId xmlns:a16="http://schemas.microsoft.com/office/drawing/2014/main" id="{EB7F17B8-F18A-4BB0-B8F9-937445343C6A}"/>
              </a:ext>
            </a:extLst>
          </p:cNvPr>
          <p:cNvSpPr>
            <a:spLocks noGrp="1"/>
          </p:cNvSpPr>
          <p:nvPr>
            <p:ph type="sldNum" sz="quarter" idx="11"/>
          </p:nvPr>
        </p:nvSpPr>
        <p:spPr/>
        <p:txBody>
          <a:bodyPr/>
          <a:lstStyle/>
          <a:p>
            <a:r>
              <a:rPr lang="en-US" dirty="0"/>
              <a:t>Page </a:t>
            </a:r>
            <a:fld id="{15EBE321-CBB1-4E91-BD14-37C8D44326FB}" type="slidenum">
              <a:rPr lang="en-US" smtClean="0"/>
              <a:pPr/>
              <a:t>196</a:t>
            </a:fld>
            <a:endParaRPr lang="en-US" dirty="0"/>
          </a:p>
        </p:txBody>
      </p:sp>
      <p:graphicFrame>
        <p:nvGraphicFramePr>
          <p:cNvPr id="22" name="Diagramm 6">
            <a:extLst>
              <a:ext uri="{FF2B5EF4-FFF2-40B4-BE49-F238E27FC236}">
                <a16:creationId xmlns:a16="http://schemas.microsoft.com/office/drawing/2014/main" id="{184C1522-847C-4476-BA6E-5420637D9DB6}"/>
              </a:ext>
            </a:extLst>
          </p:cNvPr>
          <p:cNvGraphicFramePr>
            <a:graphicFrameLocks noGrp="1"/>
          </p:cNvGraphicFramePr>
          <p:nvPr>
            <p:ph idx="1"/>
            <p:extLst>
              <p:ext uri="{D42A27DB-BD31-4B8C-83A1-F6EECF244321}">
                <p14:modId xmlns:p14="http://schemas.microsoft.com/office/powerpoint/2010/main" val="1890937901"/>
              </p:ext>
            </p:extLst>
          </p:nvPr>
        </p:nvGraphicFramePr>
        <p:xfrm>
          <a:off x="411163" y="1414463"/>
          <a:ext cx="11376025" cy="475297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651324138"/>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A1E3B4B5-D129-4BFE-83E3-E1494F7A97E6}"/>
              </a:ext>
            </a:extLst>
          </p:cNvPr>
          <p:cNvSpPr>
            <a:spLocks noGrp="1"/>
          </p:cNvSpPr>
          <p:nvPr>
            <p:ph type="title"/>
          </p:nvPr>
        </p:nvSpPr>
        <p:spPr>
          <a:xfrm>
            <a:off x="410400" y="478800"/>
            <a:ext cx="9863997" cy="576000"/>
          </a:xfrm>
        </p:spPr>
        <p:txBody>
          <a:bodyPr/>
          <a:lstStyle/>
          <a:p>
            <a:r>
              <a:rPr lang="en-US" dirty="0"/>
              <a:t>Examples </a:t>
            </a:r>
            <a:br>
              <a:rPr lang="en-US" dirty="0"/>
            </a:br>
            <a:r>
              <a:rPr lang="en-US" b="0" dirty="0"/>
              <a:t>Bars – all colors</a:t>
            </a:r>
          </a:p>
        </p:txBody>
      </p:sp>
      <p:sp>
        <p:nvSpPr>
          <p:cNvPr id="2" name="Footer Placeholder">
            <a:extLst>
              <a:ext uri="{FF2B5EF4-FFF2-40B4-BE49-F238E27FC236}">
                <a16:creationId xmlns:a16="http://schemas.microsoft.com/office/drawing/2014/main" id="{DEEC6267-15B2-4028-A5FA-E7FEFD74E203}"/>
              </a:ext>
            </a:extLst>
          </p:cNvPr>
          <p:cNvSpPr>
            <a:spLocks noGrp="1"/>
          </p:cNvSpPr>
          <p:nvPr>
            <p:ph type="ftr" sz="quarter" idx="10"/>
          </p:nvPr>
        </p:nvSpPr>
        <p:spPr/>
        <p:txBody>
          <a:bodyPr/>
          <a:lstStyle/>
          <a:p>
            <a:r>
              <a:rPr lang="en-US" dirty="0"/>
              <a:t>Restricted | © Siemens 20XX | Author | Department | YYYY-MM-DD</a:t>
            </a:r>
          </a:p>
        </p:txBody>
      </p:sp>
      <p:sp>
        <p:nvSpPr>
          <p:cNvPr id="4" name="Slide Number Placeholder">
            <a:extLst>
              <a:ext uri="{FF2B5EF4-FFF2-40B4-BE49-F238E27FC236}">
                <a16:creationId xmlns:a16="http://schemas.microsoft.com/office/drawing/2014/main" id="{EB7F17B8-F18A-4BB0-B8F9-937445343C6A}"/>
              </a:ext>
            </a:extLst>
          </p:cNvPr>
          <p:cNvSpPr>
            <a:spLocks noGrp="1"/>
          </p:cNvSpPr>
          <p:nvPr>
            <p:ph type="sldNum" sz="quarter" idx="11"/>
          </p:nvPr>
        </p:nvSpPr>
        <p:spPr/>
        <p:txBody>
          <a:bodyPr/>
          <a:lstStyle/>
          <a:p>
            <a:r>
              <a:rPr lang="en-US" dirty="0"/>
              <a:t>Page </a:t>
            </a:r>
            <a:fld id="{15EBE321-CBB1-4E91-BD14-37C8D44326FB}" type="slidenum">
              <a:rPr lang="en-US" smtClean="0"/>
              <a:pPr/>
              <a:t>197</a:t>
            </a:fld>
            <a:endParaRPr lang="en-US" dirty="0"/>
          </a:p>
        </p:txBody>
      </p:sp>
      <p:graphicFrame>
        <p:nvGraphicFramePr>
          <p:cNvPr id="22" name="Diagramm 6">
            <a:extLst>
              <a:ext uri="{FF2B5EF4-FFF2-40B4-BE49-F238E27FC236}">
                <a16:creationId xmlns:a16="http://schemas.microsoft.com/office/drawing/2014/main" id="{184C1522-847C-4476-BA6E-5420637D9DB6}"/>
              </a:ext>
            </a:extLst>
          </p:cNvPr>
          <p:cNvGraphicFramePr>
            <a:graphicFrameLocks noGrp="1"/>
          </p:cNvGraphicFramePr>
          <p:nvPr>
            <p:ph idx="4294967295"/>
            <p:extLst>
              <p:ext uri="{D42A27DB-BD31-4B8C-83A1-F6EECF244321}">
                <p14:modId xmlns:p14="http://schemas.microsoft.com/office/powerpoint/2010/main" val="1859818182"/>
              </p:ext>
            </p:extLst>
          </p:nvPr>
        </p:nvGraphicFramePr>
        <p:xfrm>
          <a:off x="410400" y="1414463"/>
          <a:ext cx="11376025" cy="475297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037610422"/>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3" imgW="360" imgH="360" progId="">
                  <p:embed/>
                </p:oleObj>
              </mc:Choice>
              <mc:Fallback>
                <p:oleObj name="think-cell Folie" r:id="rId3" imgW="360" imgH="360" progId="">
                  <p:embed/>
                  <p:pic>
                    <p:nvPicPr>
                      <p:cNvPr id="6" name="Objek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a:xfrm>
            <a:off x="410400" y="478800"/>
            <a:ext cx="9863997" cy="576000"/>
          </a:xfrm>
        </p:spPr>
        <p:txBody>
          <a:bodyPr/>
          <a:lstStyle/>
          <a:p>
            <a:r>
              <a:rPr lang="en-US" noProof="0" dirty="0"/>
              <a:t>Project plan and status </a:t>
            </a:r>
          </a:p>
        </p:txBody>
      </p:sp>
      <p:graphicFrame>
        <p:nvGraphicFramePr>
          <p:cNvPr id="5" name="Content Placeholder 3"/>
          <p:cNvGraphicFramePr>
            <a:graphicFrameLocks/>
          </p:cNvGraphicFramePr>
          <p:nvPr>
            <p:extLst>
              <p:ext uri="{D42A27DB-BD31-4B8C-83A1-F6EECF244321}">
                <p14:modId xmlns:p14="http://schemas.microsoft.com/office/powerpoint/2010/main" val="1966032033"/>
              </p:ext>
            </p:extLst>
          </p:nvPr>
        </p:nvGraphicFramePr>
        <p:xfrm>
          <a:off x="410400" y="1415849"/>
          <a:ext cx="11376000" cy="4371723"/>
        </p:xfrm>
        <a:graphic>
          <a:graphicData uri="http://schemas.openxmlformats.org/drawingml/2006/table">
            <a:tbl>
              <a:tblPr firstRow="1" bandCol="1">
                <a:tableStyleId>{0E3FDE45-AF77-4B5C-9715-49D594BDF05E}</a:tableStyleId>
              </a:tblPr>
              <a:tblGrid>
                <a:gridCol w="3312000">
                  <a:extLst>
                    <a:ext uri="{9D8B030D-6E8A-4147-A177-3AD203B41FA5}">
                      <a16:colId xmlns:a16="http://schemas.microsoft.com/office/drawing/2014/main" val="20000"/>
                    </a:ext>
                  </a:extLst>
                </a:gridCol>
                <a:gridCol w="1008000">
                  <a:extLst>
                    <a:ext uri="{9D8B030D-6E8A-4147-A177-3AD203B41FA5}">
                      <a16:colId xmlns:a16="http://schemas.microsoft.com/office/drawing/2014/main" val="20001"/>
                    </a:ext>
                  </a:extLst>
                </a:gridCol>
                <a:gridCol w="1008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gridCol w="1008000">
                  <a:extLst>
                    <a:ext uri="{9D8B030D-6E8A-4147-A177-3AD203B41FA5}">
                      <a16:colId xmlns:a16="http://schemas.microsoft.com/office/drawing/2014/main" val="20005"/>
                    </a:ext>
                  </a:extLst>
                </a:gridCol>
                <a:gridCol w="1008000">
                  <a:extLst>
                    <a:ext uri="{9D8B030D-6E8A-4147-A177-3AD203B41FA5}">
                      <a16:colId xmlns:a16="http://schemas.microsoft.com/office/drawing/2014/main" val="20006"/>
                    </a:ext>
                  </a:extLst>
                </a:gridCol>
                <a:gridCol w="1008000">
                  <a:extLst>
                    <a:ext uri="{9D8B030D-6E8A-4147-A177-3AD203B41FA5}">
                      <a16:colId xmlns:a16="http://schemas.microsoft.com/office/drawing/2014/main" val="20007"/>
                    </a:ext>
                  </a:extLst>
                </a:gridCol>
                <a:gridCol w="1008000">
                  <a:extLst>
                    <a:ext uri="{9D8B030D-6E8A-4147-A177-3AD203B41FA5}">
                      <a16:colId xmlns:a16="http://schemas.microsoft.com/office/drawing/2014/main" val="20008"/>
                    </a:ext>
                  </a:extLst>
                </a:gridCol>
              </a:tblGrid>
              <a:tr h="485747">
                <a:tc>
                  <a:txBody>
                    <a:bodyPr/>
                    <a:lstStyle/>
                    <a:p>
                      <a:pPr algn="l" fontAlgn="b"/>
                      <a:r>
                        <a:rPr lang="en-US" sz="1600" u="none" strike="noStrike" dirty="0">
                          <a:solidFill>
                            <a:srgbClr val="66667E"/>
                          </a:solidFill>
                          <a:effectLst/>
                        </a:rPr>
                        <a:t>Cras ultricies mi eu</a:t>
                      </a:r>
                      <a:endParaRPr lang="en-US" sz="1600" b="1" u="none" strike="noStrike" dirty="0">
                        <a:solidFill>
                          <a:srgbClr val="66667E"/>
                        </a:solidFill>
                        <a:effectLst/>
                      </a:endParaRPr>
                    </a:p>
                  </a:txBody>
                  <a:tcPr marL="0" marR="71963" marT="71963" marB="71963" anchor="ctr">
                    <a:lnB w="28575" cap="flat" cmpd="sng" algn="ctr">
                      <a:solidFill>
                        <a:srgbClr val="66667E"/>
                      </a:solidFill>
                      <a:prstDash val="solid"/>
                      <a:round/>
                      <a:headEnd type="none" w="med" len="med"/>
                      <a:tailEnd type="none" w="med" len="med"/>
                    </a:lnB>
                    <a:noFill/>
                  </a:tcPr>
                </a:tc>
                <a:tc>
                  <a:txBody>
                    <a:bodyPr/>
                    <a:lstStyle/>
                    <a:p>
                      <a:pPr algn="ctr" fontAlgn="b"/>
                      <a:r>
                        <a:rPr lang="en-US" sz="1600" u="none" strike="noStrike" dirty="0">
                          <a:solidFill>
                            <a:srgbClr val="66667E"/>
                          </a:solidFill>
                          <a:effectLst/>
                        </a:rPr>
                        <a:t>Lorem</a:t>
                      </a:r>
                      <a:endParaRPr lang="en-US" sz="1600" b="1" i="0" u="none" strike="noStrike" dirty="0">
                        <a:solidFill>
                          <a:srgbClr val="66667E"/>
                        </a:solidFill>
                        <a:effectLst/>
                        <a:latin typeface="Arial" panose="020B0604020202020204" pitchFamily="34" charset="0"/>
                        <a:cs typeface="Arial" panose="020B0604020202020204" pitchFamily="34" charset="0"/>
                      </a:endParaRPr>
                    </a:p>
                  </a:txBody>
                  <a:tcPr marL="71963" marR="71963" marT="71963" marB="71963" anchor="ctr">
                    <a:lnB w="28575" cap="flat" cmpd="sng" algn="ctr">
                      <a:solidFill>
                        <a:srgbClr val="66667E"/>
                      </a:solidFill>
                      <a:prstDash val="solid"/>
                      <a:round/>
                      <a:headEnd type="none" w="med" len="med"/>
                      <a:tailEnd type="none" w="med" len="med"/>
                    </a:lnB>
                    <a:noFill/>
                  </a:tcPr>
                </a:tc>
                <a:tc>
                  <a:txBody>
                    <a:bodyPr/>
                    <a:lstStyle/>
                    <a:p>
                      <a:pPr algn="ctr" fontAlgn="b"/>
                      <a:r>
                        <a:rPr lang="en-US" sz="1600" u="none" strike="noStrike" dirty="0">
                          <a:solidFill>
                            <a:srgbClr val="66667E"/>
                          </a:solidFill>
                          <a:effectLst/>
                        </a:rPr>
                        <a:t>Ipsum</a:t>
                      </a:r>
                      <a:endParaRPr lang="en-US" sz="1600" b="1" i="0" u="none" strike="noStrike" dirty="0">
                        <a:solidFill>
                          <a:srgbClr val="66667E"/>
                        </a:solidFill>
                        <a:effectLst/>
                        <a:latin typeface="Arial" panose="020B0604020202020204" pitchFamily="34" charset="0"/>
                        <a:cs typeface="Arial" panose="020B0604020202020204" pitchFamily="34" charset="0"/>
                      </a:endParaRPr>
                    </a:p>
                  </a:txBody>
                  <a:tcPr marL="71963" marR="71963" marT="71963" marB="71963" anchor="ctr">
                    <a:lnB w="28575" cap="flat" cmpd="sng" algn="ctr">
                      <a:solidFill>
                        <a:srgbClr val="66667E"/>
                      </a:solidFill>
                      <a:prstDash val="solid"/>
                      <a:round/>
                      <a:headEnd type="none" w="med" len="med"/>
                      <a:tailEnd type="none" w="med" len="med"/>
                    </a:lnB>
                    <a:noFill/>
                  </a:tcPr>
                </a:tc>
                <a:tc>
                  <a:txBody>
                    <a:bodyPr/>
                    <a:lstStyle/>
                    <a:p>
                      <a:pPr algn="ctr" fontAlgn="b"/>
                      <a:r>
                        <a:rPr lang="en-US" sz="1600" u="none" strike="noStrike" dirty="0">
                          <a:solidFill>
                            <a:srgbClr val="66667E"/>
                          </a:solidFill>
                          <a:effectLst/>
                        </a:rPr>
                        <a:t>Concor</a:t>
                      </a:r>
                      <a:endParaRPr lang="en-US" sz="1600" b="1" i="0" u="none" strike="noStrike" dirty="0">
                        <a:solidFill>
                          <a:srgbClr val="66667E"/>
                        </a:solidFill>
                        <a:effectLst/>
                        <a:latin typeface="Arial" panose="020B0604020202020204" pitchFamily="34" charset="0"/>
                        <a:cs typeface="Arial" panose="020B0604020202020204" pitchFamily="34" charset="0"/>
                      </a:endParaRPr>
                    </a:p>
                  </a:txBody>
                  <a:tcPr marL="71963" marR="71963" marT="71963" marB="71963" anchor="ctr">
                    <a:lnB w="28575" cap="flat" cmpd="sng" algn="ctr">
                      <a:solidFill>
                        <a:srgbClr val="66667E"/>
                      </a:solidFill>
                      <a:prstDash val="solid"/>
                      <a:round/>
                      <a:headEnd type="none" w="med" len="med"/>
                      <a:tailEnd type="none" w="med" len="med"/>
                    </a:lnB>
                    <a:noFill/>
                  </a:tcPr>
                </a:tc>
                <a:tc>
                  <a:txBody>
                    <a:bodyPr/>
                    <a:lstStyle/>
                    <a:p>
                      <a:pPr algn="ctr" fontAlgn="b"/>
                      <a:r>
                        <a:rPr lang="en-US" sz="1600" u="none" strike="noStrike" dirty="0">
                          <a:solidFill>
                            <a:srgbClr val="66667E"/>
                          </a:solidFill>
                          <a:effectLst/>
                        </a:rPr>
                        <a:t>Dolore</a:t>
                      </a:r>
                      <a:endParaRPr lang="en-US" sz="1600" b="1" i="0" u="none" strike="noStrike" dirty="0">
                        <a:solidFill>
                          <a:srgbClr val="66667E"/>
                        </a:solidFill>
                        <a:effectLst/>
                        <a:latin typeface="Arial" panose="020B0604020202020204" pitchFamily="34" charset="0"/>
                        <a:cs typeface="Arial" panose="020B0604020202020204" pitchFamily="34" charset="0"/>
                      </a:endParaRPr>
                    </a:p>
                  </a:txBody>
                  <a:tcPr marL="71963" marR="71963" marT="71963" marB="71963" anchor="ctr">
                    <a:lnB w="28575" cap="flat" cmpd="sng" algn="ctr">
                      <a:solidFill>
                        <a:srgbClr val="66667E"/>
                      </a:solidFill>
                      <a:prstDash val="solid"/>
                      <a:round/>
                      <a:headEnd type="none" w="med" len="med"/>
                      <a:tailEnd type="none" w="med" len="med"/>
                    </a:lnB>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600" u="none" strike="noStrike" dirty="0">
                          <a:solidFill>
                            <a:srgbClr val="66667E"/>
                          </a:solidFill>
                          <a:effectLst/>
                        </a:rPr>
                        <a:t>Ripsa</a:t>
                      </a:r>
                      <a:endParaRPr lang="en-US" sz="1600" b="1" i="0" u="none" strike="noStrike" dirty="0">
                        <a:solidFill>
                          <a:srgbClr val="66667E"/>
                        </a:solidFill>
                        <a:effectLst/>
                        <a:latin typeface="Arial" panose="020B0604020202020204" pitchFamily="34" charset="0"/>
                        <a:cs typeface="Arial" panose="020B0604020202020204" pitchFamily="34" charset="0"/>
                      </a:endParaRPr>
                    </a:p>
                  </a:txBody>
                  <a:tcPr marL="71963" marR="71963" marT="71963" marB="71963" anchor="ctr">
                    <a:lnB w="28575" cap="flat" cmpd="sng" algn="ctr">
                      <a:solidFill>
                        <a:srgbClr val="66667E"/>
                      </a:solidFill>
                      <a:prstDash val="solid"/>
                      <a:round/>
                      <a:headEnd type="none" w="med" len="med"/>
                      <a:tailEnd type="none" w="med" len="med"/>
                    </a:lnB>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600" u="none" strike="noStrike" dirty="0">
                          <a:solidFill>
                            <a:srgbClr val="66667E"/>
                          </a:solidFill>
                          <a:effectLst/>
                        </a:rPr>
                        <a:t>Varias</a:t>
                      </a:r>
                      <a:endParaRPr lang="en-US" sz="1600" b="1" i="0" u="none" strike="noStrike" dirty="0">
                        <a:solidFill>
                          <a:srgbClr val="66667E"/>
                        </a:solidFill>
                        <a:effectLst/>
                        <a:latin typeface="Arial" panose="020B0604020202020204" pitchFamily="34" charset="0"/>
                        <a:cs typeface="Arial" panose="020B0604020202020204" pitchFamily="34" charset="0"/>
                      </a:endParaRPr>
                    </a:p>
                  </a:txBody>
                  <a:tcPr marL="71963" marR="71963" marT="71963" marB="71963" anchor="ctr">
                    <a:lnB w="28575" cap="flat" cmpd="sng" algn="ctr">
                      <a:solidFill>
                        <a:srgbClr val="66667E"/>
                      </a:solidFill>
                      <a:prstDash val="solid"/>
                      <a:round/>
                      <a:headEnd type="none" w="med" len="med"/>
                      <a:tailEnd type="none" w="med" len="med"/>
                    </a:lnB>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600" u="none" strike="noStrike" dirty="0">
                          <a:solidFill>
                            <a:srgbClr val="66667E"/>
                          </a:solidFill>
                          <a:effectLst/>
                        </a:rPr>
                        <a:t>Winio</a:t>
                      </a:r>
                      <a:endParaRPr lang="en-US" sz="1600" b="1" i="0" u="none" strike="noStrike" dirty="0">
                        <a:solidFill>
                          <a:srgbClr val="66667E"/>
                        </a:solidFill>
                        <a:effectLst/>
                        <a:latin typeface="Arial" panose="020B0604020202020204" pitchFamily="34" charset="0"/>
                        <a:cs typeface="Arial" panose="020B0604020202020204" pitchFamily="34" charset="0"/>
                      </a:endParaRPr>
                    </a:p>
                  </a:txBody>
                  <a:tcPr marL="71963" marR="71963" marT="71963" marB="71963" anchor="ctr">
                    <a:lnB w="28575" cap="flat" cmpd="sng" algn="ctr">
                      <a:solidFill>
                        <a:srgbClr val="66667E"/>
                      </a:solidFill>
                      <a:prstDash val="solid"/>
                      <a:round/>
                      <a:headEnd type="none" w="med" len="med"/>
                      <a:tailEnd type="none" w="med" len="med"/>
                    </a:lnB>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600" u="none" strike="noStrike" dirty="0">
                          <a:solidFill>
                            <a:srgbClr val="66667E"/>
                          </a:solidFill>
                          <a:effectLst/>
                        </a:rPr>
                        <a:t>Concer</a:t>
                      </a:r>
                      <a:endParaRPr lang="en-US" sz="1600" b="1" i="0" u="none" strike="noStrike" dirty="0">
                        <a:solidFill>
                          <a:srgbClr val="66667E"/>
                        </a:solidFill>
                        <a:effectLst/>
                        <a:latin typeface="Arial" panose="020B0604020202020204" pitchFamily="34" charset="0"/>
                        <a:cs typeface="Arial" panose="020B0604020202020204" pitchFamily="34" charset="0"/>
                      </a:endParaRPr>
                    </a:p>
                  </a:txBody>
                  <a:tcPr marL="71963" marR="71963" marT="71963" marB="71963" anchor="ctr">
                    <a:lnB w="28575" cap="flat" cmpd="sng" algn="ctr">
                      <a:solidFill>
                        <a:srgbClr val="66667E"/>
                      </a:solidFill>
                      <a:prstDash val="solid"/>
                      <a:round/>
                      <a:headEnd type="none" w="med" len="med"/>
                      <a:tailEnd type="none" w="med" len="med"/>
                    </a:lnB>
                    <a:noFill/>
                  </a:tcPr>
                </a:tc>
                <a:extLst>
                  <a:ext uri="{0D108BD9-81ED-4DB2-BD59-A6C34878D82A}">
                    <a16:rowId xmlns:a16="http://schemas.microsoft.com/office/drawing/2014/main" val="10000"/>
                  </a:ext>
                </a:extLst>
              </a:tr>
              <a:tr h="485747">
                <a:tc>
                  <a:txBody>
                    <a:bodyPr/>
                    <a:lstStyle/>
                    <a:p>
                      <a:r>
                        <a:rPr lang="en-US" sz="1600" dirty="0">
                          <a:solidFill>
                            <a:srgbClr val="66667E"/>
                          </a:solidFill>
                        </a:rPr>
                        <a:t>Duis arcu tortor</a:t>
                      </a:r>
                      <a:endParaRPr lang="en-US" sz="1600" b="0" dirty="0">
                        <a:solidFill>
                          <a:srgbClr val="66667E"/>
                        </a:solidFill>
                      </a:endParaRPr>
                    </a:p>
                  </a:txBody>
                  <a:tcPr marL="0" marR="71963" marT="71963" marB="71963" anchor="ct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1200" cap="none" spc="0" normalizeH="0" baseline="0" noProof="0" dirty="0">
                          <a:ln>
                            <a:noFill/>
                          </a:ln>
                          <a:solidFill>
                            <a:schemeClr val="accent1"/>
                          </a:solidFill>
                          <a:effectLst/>
                          <a:uLnTx/>
                          <a:uFillTx/>
                        </a:rPr>
                        <a:t>+</a:t>
                      </a:r>
                      <a:endParaRPr kumimoji="0" lang="en-US" sz="2000" b="0" i="0" u="none" strike="noStrike" kern="1200" cap="none" spc="0" normalizeH="0" baseline="0" noProof="0" dirty="0">
                        <a:ln>
                          <a:noFill/>
                        </a:ln>
                        <a:solidFill>
                          <a:schemeClr val="accent1"/>
                        </a:solidFill>
                        <a:effectLst/>
                        <a:uLnTx/>
                        <a:uFillTx/>
                        <a:latin typeface="Arial" pitchFamily="34" charset="0"/>
                        <a:ea typeface="ＭＳ Ｐゴシック" charset="-128"/>
                        <a:cs typeface="Arial" panose="020B0604020202020204" pitchFamily="34" charset="0"/>
                      </a:endParaRPr>
                    </a:p>
                  </a:txBody>
                  <a:tcPr marL="107944" marR="107944" marT="17991" marB="17991" anchor="ct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kumimoji="0" lang="en-US" sz="2000" u="none" strike="noStrike" kern="1200" cap="none" spc="0" normalizeH="0" baseline="0" noProof="0" dirty="0">
                          <a:ln>
                            <a:noFill/>
                          </a:ln>
                          <a:solidFill>
                            <a:schemeClr val="accent1"/>
                          </a:solidFill>
                          <a:effectLst/>
                          <a:uLnTx/>
                          <a:uFillTx/>
                        </a:rPr>
                        <a:t>+</a:t>
                      </a:r>
                      <a:endParaRPr lang="de-DE" sz="2000" b="0" dirty="0">
                        <a:solidFill>
                          <a:schemeClr val="accent1"/>
                        </a:solidFill>
                      </a:endParaRPr>
                    </a:p>
                  </a:txBody>
                  <a:tcPr marL="107944" marR="107944" marT="17991" marB="17991" anchor="ct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kumimoji="0" lang="en-US" sz="2000" u="none" strike="noStrike" kern="1200" cap="none" spc="0" normalizeH="0" baseline="0" noProof="0" dirty="0">
                          <a:ln>
                            <a:noFill/>
                          </a:ln>
                          <a:solidFill>
                            <a:schemeClr val="accent1"/>
                          </a:solidFill>
                          <a:effectLst/>
                          <a:uLnTx/>
                          <a:uFillTx/>
                        </a:rPr>
                        <a:t>+</a:t>
                      </a:r>
                      <a:endParaRPr lang="de-DE" sz="2000" b="0" dirty="0">
                        <a:solidFill>
                          <a:schemeClr val="accent1"/>
                        </a:solidFill>
                      </a:endParaRPr>
                    </a:p>
                  </a:txBody>
                  <a:tcPr marL="107944" marR="107944" marT="17991" marB="17991" anchor="ct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kumimoji="0" lang="en-US" sz="2000" u="none" strike="noStrike" kern="1200" cap="none" spc="0" normalizeH="0" baseline="0" noProof="0" dirty="0">
                          <a:ln>
                            <a:noFill/>
                          </a:ln>
                          <a:solidFill>
                            <a:schemeClr val="accent1"/>
                          </a:solidFill>
                          <a:effectLst/>
                          <a:uLnTx/>
                          <a:uFillTx/>
                        </a:rPr>
                        <a:t>+</a:t>
                      </a:r>
                      <a:endParaRPr lang="de-DE" sz="2000" b="0" dirty="0">
                        <a:solidFill>
                          <a:schemeClr val="accent1"/>
                        </a:solidFill>
                      </a:endParaRPr>
                    </a:p>
                  </a:txBody>
                  <a:tcPr marL="107944" marR="107944" marT="17991" marB="17991" anchor="ct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kumimoji="0" lang="en-US" sz="2000" u="none" strike="noStrike" kern="1200" cap="none" spc="0" normalizeH="0" baseline="0" noProof="0" dirty="0">
                          <a:ln>
                            <a:noFill/>
                          </a:ln>
                          <a:solidFill>
                            <a:schemeClr val="accent1"/>
                          </a:solidFill>
                          <a:effectLst/>
                          <a:uLnTx/>
                          <a:uFillTx/>
                        </a:rPr>
                        <a:t>+</a:t>
                      </a:r>
                      <a:endParaRPr lang="de-DE" sz="2000" b="0" dirty="0">
                        <a:solidFill>
                          <a:schemeClr val="accent1"/>
                        </a:solidFill>
                      </a:endParaRPr>
                    </a:p>
                  </a:txBody>
                  <a:tcPr marL="107944" marR="107944" marT="17991" marB="17991" anchor="ct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kumimoji="0" lang="en-US" sz="2000" u="none" strike="noStrike" kern="1200" cap="none" spc="0" normalizeH="0" baseline="0" noProof="0" dirty="0">
                          <a:ln>
                            <a:noFill/>
                          </a:ln>
                          <a:solidFill>
                            <a:schemeClr val="accent1"/>
                          </a:solidFill>
                          <a:effectLst/>
                          <a:uLnTx/>
                          <a:uFillTx/>
                        </a:rPr>
                        <a:t>+</a:t>
                      </a:r>
                      <a:endParaRPr lang="de-DE" sz="2000" b="0" dirty="0">
                        <a:solidFill>
                          <a:schemeClr val="accent1"/>
                        </a:solidFill>
                      </a:endParaRPr>
                    </a:p>
                  </a:txBody>
                  <a:tcPr marL="107944" marR="107944" marT="17991" marB="17991" anchor="ct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kumimoji="0" lang="en-US" sz="2000" u="none" strike="noStrike" kern="1200" cap="none" spc="0" normalizeH="0" baseline="0" noProof="0" dirty="0">
                          <a:ln>
                            <a:noFill/>
                          </a:ln>
                          <a:solidFill>
                            <a:schemeClr val="accent1"/>
                          </a:solidFill>
                          <a:effectLst/>
                          <a:uLnTx/>
                          <a:uFillTx/>
                        </a:rPr>
                        <a:t>+</a:t>
                      </a:r>
                      <a:endParaRPr lang="de-DE" sz="2000" b="0" dirty="0">
                        <a:solidFill>
                          <a:schemeClr val="accent1"/>
                        </a:solidFill>
                      </a:endParaRPr>
                    </a:p>
                  </a:txBody>
                  <a:tcPr marL="107944" marR="107944" marT="17991" marB="17991" anchor="ct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kumimoji="0" lang="en-US" sz="2000" u="none" strike="noStrike" kern="1200" cap="none" spc="0" normalizeH="0" baseline="0" noProof="0" dirty="0">
                          <a:ln>
                            <a:noFill/>
                          </a:ln>
                          <a:solidFill>
                            <a:schemeClr val="accent1"/>
                          </a:solidFill>
                          <a:effectLst/>
                          <a:uLnTx/>
                          <a:uFillTx/>
                        </a:rPr>
                        <a:t>+</a:t>
                      </a:r>
                      <a:endParaRPr lang="de-DE" sz="2000" b="0" dirty="0">
                        <a:solidFill>
                          <a:schemeClr val="accent1"/>
                        </a:solidFill>
                      </a:endParaRPr>
                    </a:p>
                  </a:txBody>
                  <a:tcPr marL="107944" marR="107944" marT="17991" marB="17991" anchor="ct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1"/>
                  </a:ext>
                </a:extLst>
              </a:tr>
              <a:tr h="485747">
                <a:tc>
                  <a:txBody>
                    <a:bodyPr/>
                    <a:lstStyle/>
                    <a:p>
                      <a:r>
                        <a:rPr lang="en-US" sz="1600" dirty="0">
                          <a:solidFill>
                            <a:srgbClr val="66667E"/>
                          </a:solidFill>
                        </a:rPr>
                        <a:t>Phasellus nec sem</a:t>
                      </a:r>
                      <a:endParaRPr lang="en-US" sz="1600" b="0" dirty="0">
                        <a:solidFill>
                          <a:srgbClr val="66667E"/>
                        </a:solidFill>
                      </a:endParaRPr>
                    </a:p>
                  </a:txBody>
                  <a:tcPr marL="0" marR="71963"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1200" cap="none" spc="0" normalizeH="0" baseline="0" noProof="0" dirty="0">
                          <a:ln>
                            <a:noFill/>
                          </a:ln>
                          <a:solidFill>
                            <a:schemeClr val="accent1"/>
                          </a:solidFill>
                          <a:effectLst/>
                          <a:uLnTx/>
                          <a:uFillTx/>
                        </a:rPr>
                        <a:t>+</a:t>
                      </a:r>
                      <a:endParaRPr kumimoji="0" lang="en-US" sz="2000" b="0" i="0" u="none" strike="noStrike" kern="1200" cap="none" spc="0" normalizeH="0" baseline="0" noProof="0" dirty="0">
                        <a:ln>
                          <a:noFill/>
                        </a:ln>
                        <a:solidFill>
                          <a:schemeClr val="accent1"/>
                        </a:solidFill>
                        <a:effectLst/>
                        <a:uLnTx/>
                        <a:uFillTx/>
                        <a:latin typeface="Arial" pitchFamily="34" charset="0"/>
                        <a:ea typeface="ＭＳ Ｐゴシック" charset="-128"/>
                        <a:cs typeface="Arial" panose="020B0604020202020204" pitchFamily="34" charset="0"/>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kumimoji="0" lang="en-US" sz="2000" u="none" strike="noStrike" kern="1200" cap="none" spc="0" normalizeH="0" baseline="0" noProof="0" dirty="0">
                          <a:ln>
                            <a:noFill/>
                          </a:ln>
                          <a:solidFill>
                            <a:schemeClr val="accent1"/>
                          </a:solidFill>
                          <a:effectLst/>
                          <a:uLnTx/>
                          <a:uFillTx/>
                        </a:rPr>
                        <a:t>+</a:t>
                      </a:r>
                      <a:endParaRPr lang="de-DE" sz="2000" b="0" dirty="0">
                        <a:solidFill>
                          <a:schemeClr val="accent1"/>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kumimoji="0" lang="en-US" sz="2000" u="none" strike="noStrike" kern="1200" cap="none" spc="0" normalizeH="0" baseline="0" noProof="0" dirty="0">
                          <a:ln>
                            <a:noFill/>
                          </a:ln>
                          <a:solidFill>
                            <a:schemeClr val="accent1"/>
                          </a:solidFill>
                          <a:effectLst/>
                          <a:uLnTx/>
                          <a:uFillTx/>
                        </a:rPr>
                        <a:t>+</a:t>
                      </a:r>
                      <a:endParaRPr lang="de-DE" sz="2000" b="0" dirty="0">
                        <a:solidFill>
                          <a:schemeClr val="accent1"/>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kumimoji="0" lang="en-US" sz="2000" u="none" strike="noStrike" kern="1200" cap="none" spc="0" normalizeH="0" baseline="0" noProof="0" dirty="0">
                          <a:ln>
                            <a:noFill/>
                          </a:ln>
                          <a:solidFill>
                            <a:schemeClr val="accent1"/>
                          </a:solidFill>
                          <a:effectLst/>
                          <a:uLnTx/>
                          <a:uFillTx/>
                        </a:rPr>
                        <a:t>+</a:t>
                      </a:r>
                      <a:endParaRPr lang="de-DE" sz="2000" b="0" dirty="0">
                        <a:solidFill>
                          <a:schemeClr val="accent1"/>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kumimoji="0" lang="en-US" sz="2000" u="none" strike="noStrike" kern="1200" cap="none" spc="0" normalizeH="0" baseline="0" noProof="0" dirty="0">
                          <a:ln>
                            <a:noFill/>
                          </a:ln>
                          <a:solidFill>
                            <a:schemeClr val="accent1"/>
                          </a:solidFill>
                          <a:effectLst/>
                          <a:uLnTx/>
                          <a:uFillTx/>
                        </a:rPr>
                        <a:t>+</a:t>
                      </a:r>
                      <a:endParaRPr lang="de-DE" sz="2000" b="0" dirty="0">
                        <a:solidFill>
                          <a:schemeClr val="accent1"/>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kumimoji="0" lang="en-US" sz="2000" u="none" strike="noStrike" kern="1200" cap="none" spc="0" normalizeH="0" baseline="0" noProof="0" dirty="0">
                          <a:ln>
                            <a:noFill/>
                          </a:ln>
                          <a:solidFill>
                            <a:schemeClr val="accent1"/>
                          </a:solidFill>
                          <a:effectLst/>
                          <a:uLnTx/>
                          <a:uFillTx/>
                        </a:rPr>
                        <a:t>+</a:t>
                      </a:r>
                      <a:endParaRPr lang="de-DE" sz="2000" b="0" dirty="0">
                        <a:solidFill>
                          <a:schemeClr val="accent1"/>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kumimoji="0" lang="en-US" sz="2000" u="none" strike="noStrike" kern="1200" cap="none" spc="0" normalizeH="0" baseline="0" noProof="0" dirty="0">
                          <a:ln>
                            <a:noFill/>
                          </a:ln>
                          <a:solidFill>
                            <a:schemeClr val="accent1"/>
                          </a:solidFill>
                          <a:effectLst/>
                          <a:uLnTx/>
                          <a:uFillTx/>
                        </a:rPr>
                        <a:t>+</a:t>
                      </a:r>
                      <a:endParaRPr lang="de-DE" sz="2000" b="0" dirty="0">
                        <a:solidFill>
                          <a:schemeClr val="accent1"/>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kumimoji="0" lang="en-US" sz="2000" u="none" strike="noStrike" kern="1200" cap="none" spc="0" normalizeH="0" baseline="0" noProof="0" dirty="0">
                          <a:ln>
                            <a:noFill/>
                          </a:ln>
                          <a:solidFill>
                            <a:schemeClr val="accent1"/>
                          </a:solidFill>
                          <a:effectLst/>
                          <a:uLnTx/>
                          <a:uFillTx/>
                        </a:rPr>
                        <a:t>+</a:t>
                      </a:r>
                      <a:endParaRPr lang="de-DE" sz="2000" b="0" dirty="0">
                        <a:solidFill>
                          <a:schemeClr val="accent1"/>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2"/>
                  </a:ext>
                </a:extLst>
              </a:tr>
              <a:tr h="485747">
                <a:tc>
                  <a:txBody>
                    <a:bodyPr/>
                    <a:lstStyle/>
                    <a:p>
                      <a:r>
                        <a:rPr lang="en-US" sz="1600" dirty="0">
                          <a:solidFill>
                            <a:srgbClr val="66667E"/>
                          </a:solidFill>
                        </a:rPr>
                        <a:t>Cras ultricies mi eu</a:t>
                      </a:r>
                      <a:endParaRPr lang="en-US" sz="1600" b="0" dirty="0">
                        <a:solidFill>
                          <a:srgbClr val="66667E"/>
                        </a:solidFill>
                      </a:endParaRPr>
                    </a:p>
                  </a:txBody>
                  <a:tcPr marL="0" marR="71963"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1200" cap="none" spc="0" normalizeH="0" baseline="0" noProof="0" dirty="0">
                          <a:ln>
                            <a:noFill/>
                          </a:ln>
                          <a:solidFill>
                            <a:schemeClr val="accent1"/>
                          </a:solidFill>
                          <a:effectLst/>
                          <a:uLnTx/>
                          <a:uFillTx/>
                        </a:rPr>
                        <a:t>+</a:t>
                      </a:r>
                      <a:endParaRPr kumimoji="0" lang="en-US" sz="2000" b="0" i="0" u="none" strike="noStrike" kern="1200" cap="none" spc="0" normalizeH="0" baseline="0" noProof="0" dirty="0">
                        <a:ln>
                          <a:noFill/>
                        </a:ln>
                        <a:solidFill>
                          <a:schemeClr val="accent1"/>
                        </a:solidFill>
                        <a:effectLst/>
                        <a:uLnTx/>
                        <a:uFillTx/>
                        <a:latin typeface="Arial" pitchFamily="34" charset="0"/>
                        <a:ea typeface="ＭＳ Ｐゴシック" charset="-128"/>
                        <a:cs typeface="Arial" panose="020B0604020202020204" pitchFamily="34" charset="0"/>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kumimoji="0" lang="en-US" sz="2000" u="none" strike="noStrike" kern="1200" cap="none" spc="0" normalizeH="0" baseline="0" noProof="0" dirty="0">
                          <a:ln>
                            <a:noFill/>
                          </a:ln>
                          <a:solidFill>
                            <a:schemeClr val="accent1"/>
                          </a:solidFill>
                          <a:effectLst/>
                          <a:uLnTx/>
                          <a:uFillTx/>
                        </a:rPr>
                        <a:t>+</a:t>
                      </a:r>
                      <a:endParaRPr lang="de-DE" sz="2000" b="0" dirty="0">
                        <a:solidFill>
                          <a:schemeClr val="accent1"/>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kumimoji="0" lang="en-US" sz="2000" u="none" strike="noStrike" kern="1200" cap="none" spc="0" normalizeH="0" baseline="0" noProof="0" dirty="0">
                          <a:ln>
                            <a:noFill/>
                          </a:ln>
                          <a:solidFill>
                            <a:schemeClr val="accent1"/>
                          </a:solidFill>
                          <a:effectLst/>
                          <a:uLnTx/>
                          <a:uFillTx/>
                        </a:rPr>
                        <a:t>+</a:t>
                      </a:r>
                      <a:endParaRPr lang="de-DE" sz="2000" b="0" dirty="0">
                        <a:solidFill>
                          <a:schemeClr val="accent1"/>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kumimoji="0" lang="en-US" sz="2000" u="none" strike="noStrike" kern="1200" cap="none" spc="0" normalizeH="0" baseline="0" noProof="0" dirty="0">
                          <a:ln>
                            <a:noFill/>
                          </a:ln>
                          <a:solidFill>
                            <a:schemeClr val="accent1"/>
                          </a:solidFill>
                          <a:effectLst/>
                          <a:uLnTx/>
                          <a:uFillTx/>
                        </a:rPr>
                        <a:t>+</a:t>
                      </a:r>
                      <a:endParaRPr lang="de-DE" sz="2000" b="0" dirty="0">
                        <a:solidFill>
                          <a:schemeClr val="accent1"/>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kumimoji="0" lang="en-US" sz="2000" u="none" strike="noStrike" kern="1200" cap="none" spc="0" normalizeH="0" baseline="0" noProof="0" dirty="0">
                          <a:ln>
                            <a:noFill/>
                          </a:ln>
                          <a:solidFill>
                            <a:schemeClr val="accent1"/>
                          </a:solidFill>
                          <a:effectLst/>
                          <a:uLnTx/>
                          <a:uFillTx/>
                        </a:rPr>
                        <a:t>+</a:t>
                      </a:r>
                      <a:endParaRPr lang="de-DE" sz="2000" b="0" dirty="0">
                        <a:solidFill>
                          <a:schemeClr val="accent1"/>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kumimoji="0" lang="en-US" sz="2000" u="none" strike="noStrike" kern="1200" cap="none" spc="0" normalizeH="0" baseline="0" noProof="0" dirty="0">
                          <a:ln>
                            <a:noFill/>
                          </a:ln>
                          <a:solidFill>
                            <a:schemeClr val="accent1"/>
                          </a:solidFill>
                          <a:effectLst/>
                          <a:uLnTx/>
                          <a:uFillTx/>
                        </a:rPr>
                        <a:t>+</a:t>
                      </a:r>
                      <a:endParaRPr lang="de-DE" sz="2000" b="0" dirty="0">
                        <a:solidFill>
                          <a:schemeClr val="accent1"/>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kumimoji="0" lang="en-US" sz="2000" u="none" strike="noStrike" kern="1200" cap="none" spc="0" normalizeH="0" baseline="0" noProof="0" dirty="0">
                          <a:ln>
                            <a:noFill/>
                          </a:ln>
                          <a:solidFill>
                            <a:schemeClr val="accent1"/>
                          </a:solidFill>
                          <a:effectLst/>
                          <a:uLnTx/>
                          <a:uFillTx/>
                        </a:rPr>
                        <a:t>+</a:t>
                      </a:r>
                      <a:endParaRPr lang="de-DE" sz="2000" b="0" dirty="0">
                        <a:solidFill>
                          <a:schemeClr val="accent1"/>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kumimoji="0" lang="en-US" sz="2000" u="none" strike="noStrike" kern="1200" cap="none" spc="0" normalizeH="0" baseline="0" noProof="0" dirty="0">
                          <a:ln>
                            <a:noFill/>
                          </a:ln>
                          <a:solidFill>
                            <a:schemeClr val="accent1"/>
                          </a:solidFill>
                          <a:effectLst/>
                          <a:uLnTx/>
                          <a:uFillTx/>
                        </a:rPr>
                        <a:t>+</a:t>
                      </a:r>
                      <a:endParaRPr lang="de-DE" sz="2000" b="0" dirty="0">
                        <a:solidFill>
                          <a:schemeClr val="accent1"/>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3"/>
                  </a:ext>
                </a:extLst>
              </a:tr>
              <a:tr h="485747">
                <a:tc>
                  <a:txBody>
                    <a:bodyPr/>
                    <a:lstStyle/>
                    <a:p>
                      <a:r>
                        <a:rPr lang="en-US" sz="1600" dirty="0">
                          <a:solidFill>
                            <a:srgbClr val="66667E"/>
                          </a:solidFill>
                        </a:rPr>
                        <a:t>Phasellus nec sem</a:t>
                      </a:r>
                      <a:endParaRPr lang="en-US" sz="1600" b="0" dirty="0">
                        <a:solidFill>
                          <a:srgbClr val="66667E"/>
                        </a:solidFill>
                      </a:endParaRPr>
                    </a:p>
                  </a:txBody>
                  <a:tcPr marL="0" marR="71963"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chemeClr val="accent1"/>
                          </a:solidFill>
                        </a:rPr>
                        <a:t>–</a:t>
                      </a:r>
                      <a:endParaRPr lang="en-US" sz="2000" b="0" dirty="0">
                        <a:solidFill>
                          <a:schemeClr val="accent1"/>
                        </a:solidFill>
                        <a:ea typeface="+mn-ea"/>
                        <a:cs typeface="Arial" panose="020B0604020202020204" pitchFamily="34" charset="0"/>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lang="en-US" sz="2000" dirty="0">
                          <a:solidFill>
                            <a:schemeClr val="accent1"/>
                          </a:solidFill>
                        </a:rPr>
                        <a:t>–</a:t>
                      </a:r>
                      <a:endParaRPr lang="de-DE" sz="2000" b="0" dirty="0">
                        <a:solidFill>
                          <a:schemeClr val="accent1"/>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lang="en-US" sz="2000" dirty="0">
                          <a:solidFill>
                            <a:schemeClr val="accent1"/>
                          </a:solidFill>
                        </a:rPr>
                        <a:t>–</a:t>
                      </a:r>
                      <a:endParaRPr lang="de-DE" sz="2000" b="0" dirty="0">
                        <a:solidFill>
                          <a:schemeClr val="accent1"/>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lang="en-US" sz="2000" dirty="0">
                          <a:solidFill>
                            <a:schemeClr val="accent1"/>
                          </a:solidFill>
                        </a:rPr>
                        <a:t>–</a:t>
                      </a:r>
                      <a:endParaRPr lang="de-DE" sz="2000" b="0" dirty="0">
                        <a:solidFill>
                          <a:schemeClr val="accent1"/>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lang="en-US" sz="2000" dirty="0">
                          <a:solidFill>
                            <a:schemeClr val="accent1"/>
                          </a:solidFill>
                        </a:rPr>
                        <a:t>–</a:t>
                      </a:r>
                      <a:endParaRPr lang="de-DE" sz="2000" b="0" dirty="0">
                        <a:solidFill>
                          <a:schemeClr val="accent1"/>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lang="en-US" sz="2000" dirty="0">
                          <a:solidFill>
                            <a:schemeClr val="accent1"/>
                          </a:solidFill>
                        </a:rPr>
                        <a:t>–</a:t>
                      </a:r>
                      <a:endParaRPr lang="de-DE" sz="2000" b="0" dirty="0">
                        <a:solidFill>
                          <a:schemeClr val="accent1"/>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lang="en-US" sz="2000" dirty="0">
                          <a:solidFill>
                            <a:schemeClr val="accent1"/>
                          </a:solidFill>
                        </a:rPr>
                        <a:t>–</a:t>
                      </a:r>
                      <a:endParaRPr lang="de-DE" sz="2000" b="0" dirty="0">
                        <a:solidFill>
                          <a:schemeClr val="accent1"/>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lang="en-US" sz="2000" dirty="0">
                          <a:solidFill>
                            <a:schemeClr val="accent1"/>
                          </a:solidFill>
                        </a:rPr>
                        <a:t>–</a:t>
                      </a:r>
                      <a:endParaRPr lang="de-DE" sz="2000" b="0" dirty="0">
                        <a:solidFill>
                          <a:schemeClr val="accent1"/>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4"/>
                  </a:ext>
                </a:extLst>
              </a:tr>
              <a:tr h="485747">
                <a:tc>
                  <a:txBody>
                    <a:bodyPr/>
                    <a:lstStyle/>
                    <a:p>
                      <a:r>
                        <a:rPr lang="en-US" sz="1600" dirty="0">
                          <a:solidFill>
                            <a:srgbClr val="66667E"/>
                          </a:solidFill>
                        </a:rPr>
                        <a:t>Duis arcu tortor</a:t>
                      </a:r>
                      <a:endParaRPr lang="en-US" sz="1600" b="0" dirty="0">
                        <a:solidFill>
                          <a:srgbClr val="66667E"/>
                        </a:solidFill>
                      </a:endParaRPr>
                    </a:p>
                  </a:txBody>
                  <a:tcPr marL="0" marR="71963"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chemeClr val="accent1"/>
                          </a:solidFill>
                        </a:rPr>
                        <a:t>–</a:t>
                      </a:r>
                      <a:endParaRPr lang="en-US" sz="2000" b="0" dirty="0">
                        <a:solidFill>
                          <a:schemeClr val="accent1"/>
                        </a:solidFill>
                        <a:ea typeface="+mn-ea"/>
                        <a:cs typeface="Arial" panose="020B0604020202020204" pitchFamily="34" charset="0"/>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lang="en-US" sz="2000" dirty="0">
                          <a:solidFill>
                            <a:schemeClr val="accent1"/>
                          </a:solidFill>
                        </a:rPr>
                        <a:t>–</a:t>
                      </a:r>
                      <a:endParaRPr lang="de-DE" sz="2000" b="0" dirty="0">
                        <a:solidFill>
                          <a:schemeClr val="accent1"/>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lang="en-US" sz="2000" dirty="0">
                          <a:solidFill>
                            <a:schemeClr val="accent1"/>
                          </a:solidFill>
                        </a:rPr>
                        <a:t>–</a:t>
                      </a:r>
                      <a:endParaRPr lang="de-DE" sz="2000" b="0" dirty="0">
                        <a:solidFill>
                          <a:schemeClr val="accent1"/>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lang="en-US" sz="2000" dirty="0">
                          <a:solidFill>
                            <a:schemeClr val="accent1"/>
                          </a:solidFill>
                        </a:rPr>
                        <a:t>–</a:t>
                      </a:r>
                      <a:endParaRPr lang="de-DE" sz="2000" b="0" dirty="0">
                        <a:solidFill>
                          <a:schemeClr val="accent1"/>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lang="en-US" sz="2000" dirty="0">
                          <a:solidFill>
                            <a:schemeClr val="accent1"/>
                          </a:solidFill>
                        </a:rPr>
                        <a:t>–</a:t>
                      </a:r>
                      <a:endParaRPr lang="de-DE" sz="2000" b="0" dirty="0">
                        <a:solidFill>
                          <a:schemeClr val="accent1"/>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lang="en-US" sz="2000" dirty="0">
                          <a:solidFill>
                            <a:schemeClr val="accent1"/>
                          </a:solidFill>
                        </a:rPr>
                        <a:t>–</a:t>
                      </a:r>
                      <a:endParaRPr lang="de-DE" sz="2000" b="0" dirty="0">
                        <a:solidFill>
                          <a:schemeClr val="accent1"/>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lang="en-US" sz="2000" dirty="0">
                          <a:solidFill>
                            <a:schemeClr val="accent1"/>
                          </a:solidFill>
                        </a:rPr>
                        <a:t>–</a:t>
                      </a:r>
                      <a:endParaRPr lang="de-DE" sz="2000" b="0" dirty="0">
                        <a:solidFill>
                          <a:schemeClr val="accent1"/>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lang="en-US" sz="2000" dirty="0">
                          <a:solidFill>
                            <a:schemeClr val="accent1"/>
                          </a:solidFill>
                        </a:rPr>
                        <a:t>–</a:t>
                      </a:r>
                      <a:endParaRPr lang="de-DE" sz="2000" b="0" dirty="0">
                        <a:solidFill>
                          <a:schemeClr val="accent1"/>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5"/>
                  </a:ext>
                </a:extLst>
              </a:tr>
              <a:tr h="485747">
                <a:tc>
                  <a:txBody>
                    <a:bodyPr/>
                    <a:lstStyle/>
                    <a:p>
                      <a:r>
                        <a:rPr lang="en-US" sz="1600" dirty="0">
                          <a:solidFill>
                            <a:srgbClr val="66667E"/>
                          </a:solidFill>
                        </a:rPr>
                        <a:t>Cras ultricies mi eu</a:t>
                      </a:r>
                      <a:endParaRPr lang="en-US" sz="1600" b="0" dirty="0">
                        <a:solidFill>
                          <a:srgbClr val="66667E"/>
                        </a:solidFill>
                      </a:endParaRPr>
                    </a:p>
                  </a:txBody>
                  <a:tcPr marL="0" marR="71963"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chemeClr val="accent1"/>
                          </a:solidFill>
                        </a:rPr>
                        <a:t>–</a:t>
                      </a:r>
                      <a:endParaRPr lang="en-US" sz="2000" b="0" dirty="0">
                        <a:solidFill>
                          <a:schemeClr val="accent1"/>
                        </a:solidFill>
                        <a:ea typeface="+mn-ea"/>
                        <a:cs typeface="Arial" panose="020B0604020202020204" pitchFamily="34" charset="0"/>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lang="en-US" sz="2000" dirty="0">
                          <a:solidFill>
                            <a:schemeClr val="accent1"/>
                          </a:solidFill>
                        </a:rPr>
                        <a:t>–</a:t>
                      </a:r>
                      <a:endParaRPr lang="de-DE" sz="2000" b="0" dirty="0">
                        <a:solidFill>
                          <a:schemeClr val="accent1"/>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lang="en-US" sz="2000" dirty="0">
                          <a:solidFill>
                            <a:schemeClr val="accent1"/>
                          </a:solidFill>
                        </a:rPr>
                        <a:t>–</a:t>
                      </a:r>
                      <a:endParaRPr lang="de-DE" sz="2000" b="0" dirty="0">
                        <a:solidFill>
                          <a:schemeClr val="accent1"/>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lang="en-US" sz="2000" dirty="0">
                          <a:solidFill>
                            <a:schemeClr val="accent1"/>
                          </a:solidFill>
                        </a:rPr>
                        <a:t>–</a:t>
                      </a:r>
                      <a:endParaRPr lang="de-DE" sz="2000" b="0" dirty="0">
                        <a:solidFill>
                          <a:schemeClr val="accent1"/>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lang="en-US" sz="2000" dirty="0">
                          <a:solidFill>
                            <a:schemeClr val="accent1"/>
                          </a:solidFill>
                        </a:rPr>
                        <a:t>–</a:t>
                      </a:r>
                      <a:endParaRPr lang="de-DE" sz="2000" b="0" dirty="0">
                        <a:solidFill>
                          <a:schemeClr val="accent1"/>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lang="en-US" sz="2000" dirty="0">
                          <a:solidFill>
                            <a:schemeClr val="accent1"/>
                          </a:solidFill>
                        </a:rPr>
                        <a:t>–</a:t>
                      </a:r>
                      <a:endParaRPr lang="de-DE" sz="2000" b="0" dirty="0">
                        <a:solidFill>
                          <a:schemeClr val="accent1"/>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lang="en-US" sz="2000" dirty="0">
                          <a:solidFill>
                            <a:schemeClr val="accent1"/>
                          </a:solidFill>
                        </a:rPr>
                        <a:t>–</a:t>
                      </a:r>
                      <a:endParaRPr lang="de-DE" sz="2000" b="0" dirty="0">
                        <a:solidFill>
                          <a:schemeClr val="accent1"/>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lang="en-US" sz="2000" dirty="0">
                          <a:solidFill>
                            <a:schemeClr val="accent1"/>
                          </a:solidFill>
                        </a:rPr>
                        <a:t>–</a:t>
                      </a:r>
                      <a:endParaRPr lang="de-DE" sz="2000" b="0" dirty="0">
                        <a:solidFill>
                          <a:schemeClr val="accent1"/>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6"/>
                  </a:ext>
                </a:extLst>
              </a:tr>
              <a:tr h="485747">
                <a:tc>
                  <a:txBody>
                    <a:bodyPr/>
                    <a:lstStyle/>
                    <a:p>
                      <a:r>
                        <a:rPr lang="en-US" sz="1600" dirty="0">
                          <a:solidFill>
                            <a:srgbClr val="66667E"/>
                          </a:solidFill>
                        </a:rPr>
                        <a:t>Cras ultricies mi eu</a:t>
                      </a:r>
                      <a:endParaRPr lang="en-US" sz="1600" b="0" dirty="0">
                        <a:solidFill>
                          <a:srgbClr val="66667E"/>
                        </a:solidFill>
                      </a:endParaRPr>
                    </a:p>
                  </a:txBody>
                  <a:tcPr marL="0" marR="71963"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chemeClr val="accent1"/>
                          </a:solidFill>
                        </a:rPr>
                        <a:t>o</a:t>
                      </a:r>
                      <a:endParaRPr lang="en-US" sz="2000" b="0" dirty="0">
                        <a:solidFill>
                          <a:schemeClr val="accent1"/>
                        </a:solidFill>
                        <a:ea typeface="+mn-ea"/>
                        <a:cs typeface="Arial" panose="020B0604020202020204" pitchFamily="34" charset="0"/>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chemeClr val="accent1"/>
                          </a:solidFill>
                        </a:rPr>
                        <a:t>o</a:t>
                      </a:r>
                      <a:endParaRPr lang="en-US" sz="2000" b="0" dirty="0">
                        <a:solidFill>
                          <a:schemeClr val="accent1"/>
                        </a:solidFill>
                        <a:ea typeface="+mn-ea"/>
                        <a:cs typeface="Arial" panose="020B0604020202020204" pitchFamily="34" charset="0"/>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chemeClr val="accent1"/>
                          </a:solidFill>
                        </a:rPr>
                        <a:t>o</a:t>
                      </a:r>
                      <a:endParaRPr lang="en-US" sz="2000" b="0" dirty="0">
                        <a:solidFill>
                          <a:schemeClr val="accent1"/>
                        </a:solidFill>
                        <a:ea typeface="+mn-ea"/>
                        <a:cs typeface="Arial" panose="020B0604020202020204" pitchFamily="34" charset="0"/>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chemeClr val="accent1"/>
                          </a:solidFill>
                        </a:rPr>
                        <a:t>o</a:t>
                      </a:r>
                      <a:endParaRPr lang="en-US" sz="2000" b="0" dirty="0">
                        <a:solidFill>
                          <a:schemeClr val="accent1"/>
                        </a:solidFill>
                        <a:ea typeface="+mn-ea"/>
                        <a:cs typeface="Arial" panose="020B0604020202020204" pitchFamily="34" charset="0"/>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chemeClr val="accent1"/>
                          </a:solidFill>
                        </a:rPr>
                        <a:t>o</a:t>
                      </a:r>
                      <a:endParaRPr lang="en-US" sz="2000" b="0" dirty="0">
                        <a:solidFill>
                          <a:schemeClr val="accent1"/>
                        </a:solidFill>
                        <a:ea typeface="+mn-ea"/>
                        <a:cs typeface="Arial" panose="020B0604020202020204" pitchFamily="34" charset="0"/>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chemeClr val="accent1"/>
                          </a:solidFill>
                        </a:rPr>
                        <a:t>o</a:t>
                      </a:r>
                      <a:endParaRPr lang="en-US" sz="2000" b="0" dirty="0">
                        <a:solidFill>
                          <a:schemeClr val="accent1"/>
                        </a:solidFill>
                        <a:ea typeface="+mn-ea"/>
                        <a:cs typeface="Arial" panose="020B0604020202020204" pitchFamily="34" charset="0"/>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chemeClr val="accent1"/>
                          </a:solidFill>
                        </a:rPr>
                        <a:t>o</a:t>
                      </a:r>
                      <a:endParaRPr lang="en-US" sz="2000" b="0" dirty="0">
                        <a:solidFill>
                          <a:schemeClr val="accent1"/>
                        </a:solidFill>
                        <a:ea typeface="+mn-ea"/>
                        <a:cs typeface="Arial" panose="020B0604020202020204" pitchFamily="34" charset="0"/>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chemeClr val="accent1"/>
                          </a:solidFill>
                        </a:rPr>
                        <a:t>o</a:t>
                      </a:r>
                      <a:endParaRPr lang="en-US" sz="2000" b="0" dirty="0">
                        <a:solidFill>
                          <a:schemeClr val="accent1"/>
                        </a:solidFill>
                        <a:ea typeface="+mn-ea"/>
                        <a:cs typeface="Arial" panose="020B0604020202020204" pitchFamily="34" charset="0"/>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7"/>
                  </a:ext>
                </a:extLst>
              </a:tr>
              <a:tr h="485747">
                <a:tc>
                  <a:txBody>
                    <a:bodyPr/>
                    <a:lstStyle/>
                    <a:p>
                      <a:r>
                        <a:rPr lang="en-US" sz="1600" dirty="0">
                          <a:solidFill>
                            <a:srgbClr val="66667E"/>
                          </a:solidFill>
                        </a:rPr>
                        <a:t>Duis arcu tortor</a:t>
                      </a:r>
                      <a:endParaRPr lang="en-US" sz="1600" b="0" dirty="0">
                        <a:solidFill>
                          <a:srgbClr val="66667E"/>
                        </a:solidFill>
                      </a:endParaRPr>
                    </a:p>
                  </a:txBody>
                  <a:tcPr marL="0" marR="71963"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chemeClr val="accent1"/>
                          </a:solidFill>
                        </a:rPr>
                        <a:t>o</a:t>
                      </a:r>
                      <a:endParaRPr lang="en-US" sz="2000" b="0" dirty="0">
                        <a:solidFill>
                          <a:schemeClr val="accent1"/>
                        </a:solidFill>
                        <a:ea typeface="+mn-ea"/>
                        <a:cs typeface="Arial" panose="020B0604020202020204" pitchFamily="34" charset="0"/>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chemeClr val="accent1"/>
                          </a:solidFill>
                        </a:rPr>
                        <a:t>o</a:t>
                      </a:r>
                      <a:endParaRPr lang="en-US" sz="2000" b="0" dirty="0">
                        <a:solidFill>
                          <a:schemeClr val="accent1"/>
                        </a:solidFill>
                        <a:ea typeface="+mn-ea"/>
                        <a:cs typeface="Arial" panose="020B0604020202020204" pitchFamily="34" charset="0"/>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chemeClr val="accent1"/>
                          </a:solidFill>
                        </a:rPr>
                        <a:t>o</a:t>
                      </a:r>
                      <a:endParaRPr lang="en-US" sz="2000" b="0" dirty="0">
                        <a:solidFill>
                          <a:schemeClr val="accent1"/>
                        </a:solidFill>
                        <a:ea typeface="+mn-ea"/>
                        <a:cs typeface="Arial" panose="020B0604020202020204" pitchFamily="34" charset="0"/>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chemeClr val="accent1"/>
                          </a:solidFill>
                        </a:rPr>
                        <a:t>o</a:t>
                      </a:r>
                      <a:endParaRPr lang="en-US" sz="2000" b="0" dirty="0">
                        <a:solidFill>
                          <a:schemeClr val="accent1"/>
                        </a:solidFill>
                        <a:ea typeface="+mn-ea"/>
                        <a:cs typeface="Arial" panose="020B0604020202020204" pitchFamily="34" charset="0"/>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chemeClr val="accent1"/>
                          </a:solidFill>
                        </a:rPr>
                        <a:t>o</a:t>
                      </a:r>
                      <a:endParaRPr lang="en-US" sz="2000" b="0" dirty="0">
                        <a:solidFill>
                          <a:schemeClr val="accent1"/>
                        </a:solidFill>
                        <a:ea typeface="+mn-ea"/>
                        <a:cs typeface="Arial" panose="020B0604020202020204" pitchFamily="34" charset="0"/>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chemeClr val="accent1"/>
                          </a:solidFill>
                        </a:rPr>
                        <a:t>o</a:t>
                      </a:r>
                      <a:endParaRPr lang="en-US" sz="2000" b="0" dirty="0">
                        <a:solidFill>
                          <a:schemeClr val="accent1"/>
                        </a:solidFill>
                        <a:ea typeface="+mn-ea"/>
                        <a:cs typeface="Arial" panose="020B0604020202020204" pitchFamily="34" charset="0"/>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chemeClr val="accent1"/>
                          </a:solidFill>
                        </a:rPr>
                        <a:t>o</a:t>
                      </a:r>
                      <a:endParaRPr lang="en-US" sz="2000" b="0" dirty="0">
                        <a:solidFill>
                          <a:schemeClr val="accent1"/>
                        </a:solidFill>
                        <a:ea typeface="+mn-ea"/>
                        <a:cs typeface="Arial" panose="020B0604020202020204" pitchFamily="34" charset="0"/>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chemeClr val="accent1"/>
                          </a:solidFill>
                        </a:rPr>
                        <a:t>o</a:t>
                      </a:r>
                      <a:endParaRPr lang="en-US" sz="2000" b="0" dirty="0">
                        <a:solidFill>
                          <a:schemeClr val="accent1"/>
                        </a:solidFill>
                        <a:ea typeface="+mn-ea"/>
                        <a:cs typeface="Arial" panose="020B0604020202020204" pitchFamily="34" charset="0"/>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9"/>
                  </a:ext>
                </a:extLst>
              </a:tr>
            </a:tbl>
          </a:graphicData>
        </a:graphic>
      </p:graphicFrame>
      <p:grpSp>
        <p:nvGrpSpPr>
          <p:cNvPr id="3" name="Group 2">
            <a:extLst>
              <a:ext uri="{FF2B5EF4-FFF2-40B4-BE49-F238E27FC236}">
                <a16:creationId xmlns:a16="http://schemas.microsoft.com/office/drawing/2014/main" id="{CF235AE5-11B1-4478-B0D9-7F54430935AB}"/>
              </a:ext>
            </a:extLst>
          </p:cNvPr>
          <p:cNvGrpSpPr/>
          <p:nvPr/>
        </p:nvGrpSpPr>
        <p:grpSpPr>
          <a:xfrm>
            <a:off x="410400" y="5950800"/>
            <a:ext cx="3147321" cy="307617"/>
            <a:chOff x="617041" y="5916314"/>
            <a:chExt cx="3148960" cy="307777"/>
          </a:xfrm>
        </p:grpSpPr>
        <p:grpSp>
          <p:nvGrpSpPr>
            <p:cNvPr id="17" name="Gruppieren 7"/>
            <p:cNvGrpSpPr/>
            <p:nvPr/>
          </p:nvGrpSpPr>
          <p:grpSpPr bwMode="gray">
            <a:xfrm>
              <a:off x="617041" y="5916314"/>
              <a:ext cx="667584" cy="307777"/>
              <a:chOff x="627063" y="5976931"/>
              <a:chExt cx="667584" cy="307777"/>
            </a:xfrm>
          </p:grpSpPr>
          <p:sp>
            <p:nvSpPr>
              <p:cNvPr id="18" name="RectanNcCfwp1CAg0C6Bt9Z6WU4Ng"/>
              <p:cNvSpPr>
                <a:spLocks noChangeArrowheads="1"/>
              </p:cNvSpPr>
              <p:nvPr/>
            </p:nvSpPr>
            <p:spPr bwMode="gray">
              <a:xfrm>
                <a:off x="812143" y="6074221"/>
                <a:ext cx="482504"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p>
                <a:r>
                  <a:rPr lang="en-US" sz="999" dirty="0">
                    <a:solidFill>
                      <a:srgbClr val="66667E"/>
                    </a:solidFill>
                    <a:cs typeface="Arial" panose="020B0604020202020204" pitchFamily="34" charset="0"/>
                  </a:rPr>
                  <a:t>Covered</a:t>
                </a:r>
              </a:p>
            </p:txBody>
          </p:sp>
          <p:sp>
            <p:nvSpPr>
              <p:cNvPr id="19" name="Textfeld 9"/>
              <p:cNvSpPr txBox="1"/>
              <p:nvPr/>
            </p:nvSpPr>
            <p:spPr bwMode="gray">
              <a:xfrm>
                <a:off x="627063" y="5976931"/>
                <a:ext cx="149080" cy="307777"/>
              </a:xfrm>
              <a:prstGeom prst="rect">
                <a:avLst/>
              </a:prstGeom>
              <a:noFill/>
            </p:spPr>
            <p:txBody>
              <a:bodyPr wrap="none" lIns="0" tIns="0" rIns="0" bIns="0" rtlCol="0" anchor="ctr">
                <a:spAutoFit/>
              </a:bodyPr>
              <a:lstStyle/>
              <a:p>
                <a:pPr algn="ctr">
                  <a:defRPr/>
                </a:pPr>
                <a:r>
                  <a:rPr lang="en-US" sz="1999" dirty="0">
                    <a:solidFill>
                      <a:schemeClr val="accent1"/>
                    </a:solidFill>
                    <a:cs typeface="Arial" panose="020B0604020202020204" pitchFamily="34" charset="0"/>
                  </a:rPr>
                  <a:t>+</a:t>
                </a:r>
              </a:p>
            </p:txBody>
          </p:sp>
        </p:grpSp>
        <p:grpSp>
          <p:nvGrpSpPr>
            <p:cNvPr id="20" name="Gruppieren 10"/>
            <p:cNvGrpSpPr>
              <a:grpSpLocks/>
            </p:cNvGrpSpPr>
            <p:nvPr/>
          </p:nvGrpSpPr>
          <p:grpSpPr bwMode="gray">
            <a:xfrm>
              <a:off x="1532677" y="5916314"/>
              <a:ext cx="1186957" cy="307777"/>
              <a:chOff x="1670683" y="5976931"/>
              <a:chExt cx="1186957" cy="307777"/>
            </a:xfrm>
          </p:grpSpPr>
          <p:sp>
            <p:nvSpPr>
              <p:cNvPr id="21" name="Textfeld 11"/>
              <p:cNvSpPr txBox="1">
                <a:spLocks/>
              </p:cNvSpPr>
              <p:nvPr/>
            </p:nvSpPr>
            <p:spPr bwMode="gray">
              <a:xfrm>
                <a:off x="1670683" y="5976931"/>
                <a:ext cx="142668" cy="307777"/>
              </a:xfrm>
              <a:prstGeom prst="rect">
                <a:avLst/>
              </a:prstGeom>
              <a:noFill/>
            </p:spPr>
            <p:txBody>
              <a:bodyPr wrap="none" lIns="0" tIns="0" rIns="0" bIns="0" rtlCol="0" anchor="ctr">
                <a:spAutoFit/>
              </a:bodyPr>
              <a:lstStyle/>
              <a:p>
                <a:pPr algn="ctr">
                  <a:defRPr/>
                </a:pPr>
                <a:r>
                  <a:rPr lang="en-US" sz="1999" dirty="0">
                    <a:solidFill>
                      <a:schemeClr val="accent1"/>
                    </a:solidFill>
                    <a:cs typeface="Arial" panose="020B0604020202020204" pitchFamily="34" charset="0"/>
                  </a:rPr>
                  <a:t>–</a:t>
                </a:r>
              </a:p>
            </p:txBody>
          </p:sp>
          <p:sp>
            <p:nvSpPr>
              <p:cNvPr id="22" name="RectanNcCfwp1CAg0C6Bt9Z6WU4Ng"/>
              <p:cNvSpPr>
                <a:spLocks noChangeArrowheads="1"/>
              </p:cNvSpPr>
              <p:nvPr/>
            </p:nvSpPr>
            <p:spPr bwMode="gray">
              <a:xfrm>
                <a:off x="1849351" y="6074221"/>
                <a:ext cx="100828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p>
                <a:r>
                  <a:rPr lang="en-US" sz="999" dirty="0">
                    <a:solidFill>
                      <a:srgbClr val="66667E"/>
                    </a:solidFill>
                    <a:cs typeface="Arial" panose="020B0604020202020204" pitchFamily="34" charset="0"/>
                  </a:rPr>
                  <a:t>Partially covered </a:t>
                </a:r>
              </a:p>
            </p:txBody>
          </p:sp>
        </p:grpSp>
        <p:grpSp>
          <p:nvGrpSpPr>
            <p:cNvPr id="23" name="Gruppieren 13"/>
            <p:cNvGrpSpPr>
              <a:grpSpLocks/>
            </p:cNvGrpSpPr>
            <p:nvPr/>
          </p:nvGrpSpPr>
          <p:grpSpPr bwMode="gray">
            <a:xfrm>
              <a:off x="2899644" y="5916314"/>
              <a:ext cx="866357" cy="307777"/>
              <a:chOff x="3362871" y="5976931"/>
              <a:chExt cx="866357" cy="307777"/>
            </a:xfrm>
          </p:grpSpPr>
          <p:sp>
            <p:nvSpPr>
              <p:cNvPr id="24" name="Textfeld 14"/>
              <p:cNvSpPr txBox="1">
                <a:spLocks/>
              </p:cNvSpPr>
              <p:nvPr/>
            </p:nvSpPr>
            <p:spPr bwMode="gray">
              <a:xfrm>
                <a:off x="3362871" y="5976931"/>
                <a:ext cx="142668" cy="307777"/>
              </a:xfrm>
              <a:prstGeom prst="rect">
                <a:avLst/>
              </a:prstGeom>
              <a:noFill/>
            </p:spPr>
            <p:txBody>
              <a:bodyPr wrap="none" lIns="0" tIns="0" rIns="0" bIns="0" rtlCol="0" anchor="ctr">
                <a:spAutoFit/>
              </a:bodyPr>
              <a:lstStyle/>
              <a:p>
                <a:pPr algn="ctr">
                  <a:defRPr/>
                </a:pPr>
                <a:r>
                  <a:rPr lang="en-US" sz="1999" dirty="0">
                    <a:solidFill>
                      <a:schemeClr val="accent1"/>
                    </a:solidFill>
                    <a:cs typeface="Arial" panose="020B0604020202020204" pitchFamily="34" charset="0"/>
                  </a:rPr>
                  <a:t>o</a:t>
                </a:r>
              </a:p>
            </p:txBody>
          </p:sp>
          <p:sp>
            <p:nvSpPr>
              <p:cNvPr id="25" name="RectanNcCfwp1CAg0C6Bt9Z6WU4Ng"/>
              <p:cNvSpPr>
                <a:spLocks noChangeArrowheads="1"/>
              </p:cNvSpPr>
              <p:nvPr/>
            </p:nvSpPr>
            <p:spPr bwMode="gray">
              <a:xfrm>
                <a:off x="3541539" y="6074221"/>
                <a:ext cx="68768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p>
                <a:r>
                  <a:rPr lang="en-US" sz="999" dirty="0">
                    <a:solidFill>
                      <a:srgbClr val="66667E"/>
                    </a:solidFill>
                    <a:cs typeface="Arial" panose="020B0604020202020204" pitchFamily="34" charset="0"/>
                  </a:rPr>
                  <a:t>Not covered</a:t>
                </a:r>
              </a:p>
            </p:txBody>
          </p:sp>
        </p:grpSp>
      </p:grpSp>
      <p:sp>
        <p:nvSpPr>
          <p:cNvPr id="4" name="Footer Placeholder 3">
            <a:extLst>
              <a:ext uri="{FF2B5EF4-FFF2-40B4-BE49-F238E27FC236}">
                <a16:creationId xmlns:a16="http://schemas.microsoft.com/office/drawing/2014/main" id="{DD340D9B-0708-4D15-886A-C73D4B204501}"/>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7" name="Slide Number Placeholder 6">
            <a:extLst>
              <a:ext uri="{FF2B5EF4-FFF2-40B4-BE49-F238E27FC236}">
                <a16:creationId xmlns:a16="http://schemas.microsoft.com/office/drawing/2014/main" id="{BA9BB0DA-86E8-4D77-9352-F3C158B1A93E}"/>
              </a:ext>
            </a:extLst>
          </p:cNvPr>
          <p:cNvSpPr>
            <a:spLocks noGrp="1"/>
          </p:cNvSpPr>
          <p:nvPr>
            <p:ph type="sldNum" sz="quarter" idx="11"/>
          </p:nvPr>
        </p:nvSpPr>
        <p:spPr/>
        <p:txBody>
          <a:bodyPr/>
          <a:lstStyle/>
          <a:p>
            <a:r>
              <a:rPr lang="en-US" dirty="0"/>
              <a:t>Page </a:t>
            </a:r>
            <a:fld id="{15EBE321-CBB1-4E91-BD14-37C8D44326FB}" type="slidenum">
              <a:rPr lang="en-US" smtClean="0"/>
              <a:pPr/>
              <a:t>198</a:t>
            </a:fld>
            <a:endParaRPr lang="en-US" dirty="0"/>
          </a:p>
        </p:txBody>
      </p:sp>
    </p:spTree>
    <p:extLst>
      <p:ext uri="{BB962C8B-B14F-4D97-AF65-F5344CB8AC3E}">
        <p14:creationId xmlns:p14="http://schemas.microsoft.com/office/powerpoint/2010/main" val="3923003178"/>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3" imgW="360" imgH="360" progId="">
                  <p:embed/>
                </p:oleObj>
              </mc:Choice>
              <mc:Fallback>
                <p:oleObj name="think-cell Folie" r:id="rId3" imgW="360" imgH="360" progId="">
                  <p:embed/>
                  <p:pic>
                    <p:nvPicPr>
                      <p:cNvPr id="6" name="Objek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en-US" noProof="0" dirty="0"/>
              <a:t>Project plan and status </a:t>
            </a:r>
          </a:p>
        </p:txBody>
      </p:sp>
      <p:graphicFrame>
        <p:nvGraphicFramePr>
          <p:cNvPr id="5" name="Content Placeholder 3"/>
          <p:cNvGraphicFramePr>
            <a:graphicFrameLocks/>
          </p:cNvGraphicFramePr>
          <p:nvPr>
            <p:extLst>
              <p:ext uri="{D42A27DB-BD31-4B8C-83A1-F6EECF244321}">
                <p14:modId xmlns:p14="http://schemas.microsoft.com/office/powerpoint/2010/main" val="4039237267"/>
              </p:ext>
            </p:extLst>
          </p:nvPr>
        </p:nvGraphicFramePr>
        <p:xfrm>
          <a:off x="410400" y="1415849"/>
          <a:ext cx="11376000" cy="4371723"/>
        </p:xfrm>
        <a:graphic>
          <a:graphicData uri="http://schemas.openxmlformats.org/drawingml/2006/table">
            <a:tbl>
              <a:tblPr firstRow="1" bandCol="1">
                <a:tableStyleId>{0E3FDE45-AF77-4B5C-9715-49D594BDF05E}</a:tableStyleId>
              </a:tblPr>
              <a:tblGrid>
                <a:gridCol w="3312000">
                  <a:extLst>
                    <a:ext uri="{9D8B030D-6E8A-4147-A177-3AD203B41FA5}">
                      <a16:colId xmlns:a16="http://schemas.microsoft.com/office/drawing/2014/main" val="20000"/>
                    </a:ext>
                  </a:extLst>
                </a:gridCol>
                <a:gridCol w="1008000">
                  <a:extLst>
                    <a:ext uri="{9D8B030D-6E8A-4147-A177-3AD203B41FA5}">
                      <a16:colId xmlns:a16="http://schemas.microsoft.com/office/drawing/2014/main" val="20001"/>
                    </a:ext>
                  </a:extLst>
                </a:gridCol>
                <a:gridCol w="1008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gridCol w="1008000">
                  <a:extLst>
                    <a:ext uri="{9D8B030D-6E8A-4147-A177-3AD203B41FA5}">
                      <a16:colId xmlns:a16="http://schemas.microsoft.com/office/drawing/2014/main" val="20005"/>
                    </a:ext>
                  </a:extLst>
                </a:gridCol>
                <a:gridCol w="1008000">
                  <a:extLst>
                    <a:ext uri="{9D8B030D-6E8A-4147-A177-3AD203B41FA5}">
                      <a16:colId xmlns:a16="http://schemas.microsoft.com/office/drawing/2014/main" val="20006"/>
                    </a:ext>
                  </a:extLst>
                </a:gridCol>
                <a:gridCol w="1008000">
                  <a:extLst>
                    <a:ext uri="{9D8B030D-6E8A-4147-A177-3AD203B41FA5}">
                      <a16:colId xmlns:a16="http://schemas.microsoft.com/office/drawing/2014/main" val="20007"/>
                    </a:ext>
                  </a:extLst>
                </a:gridCol>
                <a:gridCol w="1008000">
                  <a:extLst>
                    <a:ext uri="{9D8B030D-6E8A-4147-A177-3AD203B41FA5}">
                      <a16:colId xmlns:a16="http://schemas.microsoft.com/office/drawing/2014/main" val="20008"/>
                    </a:ext>
                  </a:extLst>
                </a:gridCol>
              </a:tblGrid>
              <a:tr h="485747">
                <a:tc>
                  <a:txBody>
                    <a:bodyPr/>
                    <a:lstStyle/>
                    <a:p>
                      <a:pPr algn="l" fontAlgn="b"/>
                      <a:r>
                        <a:rPr lang="en-US" sz="1600" u="none" strike="noStrike" dirty="0">
                          <a:solidFill>
                            <a:srgbClr val="9999A9"/>
                          </a:solidFill>
                          <a:effectLst/>
                        </a:rPr>
                        <a:t>Cras ultricies mi eu</a:t>
                      </a:r>
                      <a:endParaRPr lang="en-US" sz="1600" b="1" u="none" strike="noStrike" dirty="0">
                        <a:solidFill>
                          <a:srgbClr val="9999A9"/>
                        </a:solidFill>
                        <a:effectLst/>
                      </a:endParaRPr>
                    </a:p>
                  </a:txBody>
                  <a:tcPr marL="0" marR="71963" marT="71963" marB="71963" anchor="ctr">
                    <a:lnB w="28575" cap="flat" cmpd="sng" algn="ctr">
                      <a:solidFill>
                        <a:srgbClr val="9999A9"/>
                      </a:solidFill>
                      <a:prstDash val="solid"/>
                      <a:round/>
                      <a:headEnd type="none" w="med" len="med"/>
                      <a:tailEnd type="none" w="med" len="med"/>
                    </a:lnB>
                    <a:noFill/>
                  </a:tcPr>
                </a:tc>
                <a:tc>
                  <a:txBody>
                    <a:bodyPr/>
                    <a:lstStyle/>
                    <a:p>
                      <a:pPr algn="ctr" fontAlgn="b"/>
                      <a:r>
                        <a:rPr lang="en-US" sz="1600" u="none" strike="noStrike" dirty="0">
                          <a:solidFill>
                            <a:srgbClr val="9999A9"/>
                          </a:solidFill>
                          <a:effectLst/>
                        </a:rPr>
                        <a:t>Lorem</a:t>
                      </a:r>
                      <a:endParaRPr lang="en-US" sz="1600" b="1" i="0" u="none" strike="noStrike" dirty="0">
                        <a:solidFill>
                          <a:srgbClr val="9999A9"/>
                        </a:solidFill>
                        <a:effectLst/>
                        <a:latin typeface="Arial" panose="020B0604020202020204" pitchFamily="34" charset="0"/>
                        <a:cs typeface="Arial" panose="020B0604020202020204" pitchFamily="34" charset="0"/>
                      </a:endParaRPr>
                    </a:p>
                  </a:txBody>
                  <a:tcPr marL="71963" marR="71963" marT="71963" marB="71963" anchor="ctr">
                    <a:lnB w="28575" cap="flat" cmpd="sng" algn="ctr">
                      <a:solidFill>
                        <a:srgbClr val="9999A9"/>
                      </a:solidFill>
                      <a:prstDash val="solid"/>
                      <a:round/>
                      <a:headEnd type="none" w="med" len="med"/>
                      <a:tailEnd type="none" w="med" len="med"/>
                    </a:lnB>
                    <a:noFill/>
                  </a:tcPr>
                </a:tc>
                <a:tc>
                  <a:txBody>
                    <a:bodyPr/>
                    <a:lstStyle/>
                    <a:p>
                      <a:pPr algn="ctr" fontAlgn="b"/>
                      <a:r>
                        <a:rPr lang="en-US" sz="1600" u="none" strike="noStrike" dirty="0">
                          <a:solidFill>
                            <a:srgbClr val="9999A9"/>
                          </a:solidFill>
                          <a:effectLst/>
                        </a:rPr>
                        <a:t>Ipsum</a:t>
                      </a:r>
                      <a:endParaRPr lang="en-US" sz="1600" b="1" i="0" u="none" strike="noStrike" dirty="0">
                        <a:solidFill>
                          <a:srgbClr val="9999A9"/>
                        </a:solidFill>
                        <a:effectLst/>
                        <a:latin typeface="Arial" panose="020B0604020202020204" pitchFamily="34" charset="0"/>
                        <a:cs typeface="Arial" panose="020B0604020202020204" pitchFamily="34" charset="0"/>
                      </a:endParaRPr>
                    </a:p>
                  </a:txBody>
                  <a:tcPr marL="71963" marR="71963" marT="71963" marB="71963" anchor="ctr">
                    <a:lnB w="28575" cap="flat" cmpd="sng" algn="ctr">
                      <a:solidFill>
                        <a:srgbClr val="9999A9"/>
                      </a:solidFill>
                      <a:prstDash val="solid"/>
                      <a:round/>
                      <a:headEnd type="none" w="med" len="med"/>
                      <a:tailEnd type="none" w="med" len="med"/>
                    </a:lnB>
                    <a:noFill/>
                  </a:tcPr>
                </a:tc>
                <a:tc>
                  <a:txBody>
                    <a:bodyPr/>
                    <a:lstStyle/>
                    <a:p>
                      <a:pPr algn="ctr" fontAlgn="b"/>
                      <a:r>
                        <a:rPr lang="en-US" sz="1600" u="none" strike="noStrike" dirty="0">
                          <a:solidFill>
                            <a:srgbClr val="9999A9"/>
                          </a:solidFill>
                          <a:effectLst/>
                        </a:rPr>
                        <a:t>Concor</a:t>
                      </a:r>
                      <a:endParaRPr lang="en-US" sz="1600" b="1" i="0" u="none" strike="noStrike" dirty="0">
                        <a:solidFill>
                          <a:srgbClr val="9999A9"/>
                        </a:solidFill>
                        <a:effectLst/>
                        <a:latin typeface="Arial" panose="020B0604020202020204" pitchFamily="34" charset="0"/>
                        <a:cs typeface="Arial" panose="020B0604020202020204" pitchFamily="34" charset="0"/>
                      </a:endParaRPr>
                    </a:p>
                  </a:txBody>
                  <a:tcPr marL="71963" marR="71963" marT="71963" marB="71963" anchor="ctr">
                    <a:lnB w="28575" cap="flat" cmpd="sng" algn="ctr">
                      <a:solidFill>
                        <a:srgbClr val="9999A9"/>
                      </a:solidFill>
                      <a:prstDash val="solid"/>
                      <a:round/>
                      <a:headEnd type="none" w="med" len="med"/>
                      <a:tailEnd type="none" w="med" len="med"/>
                    </a:lnB>
                    <a:noFill/>
                  </a:tcPr>
                </a:tc>
                <a:tc>
                  <a:txBody>
                    <a:bodyPr/>
                    <a:lstStyle/>
                    <a:p>
                      <a:pPr algn="ctr" fontAlgn="b"/>
                      <a:r>
                        <a:rPr lang="en-US" sz="1600" u="none" strike="noStrike" dirty="0">
                          <a:solidFill>
                            <a:srgbClr val="9999A9"/>
                          </a:solidFill>
                          <a:effectLst/>
                        </a:rPr>
                        <a:t>Dolore</a:t>
                      </a:r>
                      <a:endParaRPr lang="en-US" sz="1600" b="1" i="0" u="none" strike="noStrike" dirty="0">
                        <a:solidFill>
                          <a:srgbClr val="9999A9"/>
                        </a:solidFill>
                        <a:effectLst/>
                        <a:latin typeface="Arial" panose="020B0604020202020204" pitchFamily="34" charset="0"/>
                        <a:cs typeface="Arial" panose="020B0604020202020204" pitchFamily="34" charset="0"/>
                      </a:endParaRPr>
                    </a:p>
                  </a:txBody>
                  <a:tcPr marL="71963" marR="71963" marT="71963" marB="71963" anchor="ctr">
                    <a:lnB w="28575" cap="flat" cmpd="sng" algn="ctr">
                      <a:solidFill>
                        <a:srgbClr val="9999A9"/>
                      </a:solidFill>
                      <a:prstDash val="solid"/>
                      <a:round/>
                      <a:headEnd type="none" w="med" len="med"/>
                      <a:tailEnd type="none" w="med" len="med"/>
                    </a:lnB>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600" u="none" strike="noStrike" dirty="0">
                          <a:solidFill>
                            <a:srgbClr val="9999A9"/>
                          </a:solidFill>
                          <a:effectLst/>
                        </a:rPr>
                        <a:t>Ripsa</a:t>
                      </a:r>
                      <a:endParaRPr lang="en-US" sz="1600" b="1" i="0" u="none" strike="noStrike" dirty="0">
                        <a:solidFill>
                          <a:srgbClr val="9999A9"/>
                        </a:solidFill>
                        <a:effectLst/>
                        <a:latin typeface="Arial" panose="020B0604020202020204" pitchFamily="34" charset="0"/>
                        <a:cs typeface="Arial" panose="020B0604020202020204" pitchFamily="34" charset="0"/>
                      </a:endParaRPr>
                    </a:p>
                  </a:txBody>
                  <a:tcPr marL="71963" marR="71963" marT="71963" marB="71963" anchor="ctr">
                    <a:lnB w="28575" cap="flat" cmpd="sng" algn="ctr">
                      <a:solidFill>
                        <a:srgbClr val="9999A9"/>
                      </a:solidFill>
                      <a:prstDash val="solid"/>
                      <a:round/>
                      <a:headEnd type="none" w="med" len="med"/>
                      <a:tailEnd type="none" w="med" len="med"/>
                    </a:lnB>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600" u="none" strike="noStrike" dirty="0">
                          <a:solidFill>
                            <a:srgbClr val="9999A9"/>
                          </a:solidFill>
                          <a:effectLst/>
                        </a:rPr>
                        <a:t>Varias</a:t>
                      </a:r>
                      <a:endParaRPr lang="en-US" sz="1600" b="1" i="0" u="none" strike="noStrike" dirty="0">
                        <a:solidFill>
                          <a:srgbClr val="9999A9"/>
                        </a:solidFill>
                        <a:effectLst/>
                        <a:latin typeface="Arial" panose="020B0604020202020204" pitchFamily="34" charset="0"/>
                        <a:cs typeface="Arial" panose="020B0604020202020204" pitchFamily="34" charset="0"/>
                      </a:endParaRPr>
                    </a:p>
                  </a:txBody>
                  <a:tcPr marL="71963" marR="71963" marT="71963" marB="71963" anchor="ctr">
                    <a:lnB w="28575" cap="flat" cmpd="sng" algn="ctr">
                      <a:solidFill>
                        <a:srgbClr val="9999A9"/>
                      </a:solidFill>
                      <a:prstDash val="solid"/>
                      <a:round/>
                      <a:headEnd type="none" w="med" len="med"/>
                      <a:tailEnd type="none" w="med" len="med"/>
                    </a:lnB>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600" u="none" strike="noStrike" dirty="0">
                          <a:solidFill>
                            <a:srgbClr val="9999A9"/>
                          </a:solidFill>
                          <a:effectLst/>
                        </a:rPr>
                        <a:t>Winio</a:t>
                      </a:r>
                      <a:endParaRPr lang="en-US" sz="1600" b="1" i="0" u="none" strike="noStrike" dirty="0">
                        <a:solidFill>
                          <a:srgbClr val="9999A9"/>
                        </a:solidFill>
                        <a:effectLst/>
                        <a:latin typeface="Arial" panose="020B0604020202020204" pitchFamily="34" charset="0"/>
                        <a:cs typeface="Arial" panose="020B0604020202020204" pitchFamily="34" charset="0"/>
                      </a:endParaRPr>
                    </a:p>
                  </a:txBody>
                  <a:tcPr marL="71963" marR="71963" marT="71963" marB="71963" anchor="ctr">
                    <a:lnB w="28575" cap="flat" cmpd="sng" algn="ctr">
                      <a:solidFill>
                        <a:srgbClr val="9999A9"/>
                      </a:solidFill>
                      <a:prstDash val="solid"/>
                      <a:round/>
                      <a:headEnd type="none" w="med" len="med"/>
                      <a:tailEnd type="none" w="med" len="med"/>
                    </a:lnB>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600" u="none" strike="noStrike" dirty="0">
                          <a:solidFill>
                            <a:srgbClr val="9999A9"/>
                          </a:solidFill>
                          <a:effectLst/>
                        </a:rPr>
                        <a:t>Concer</a:t>
                      </a:r>
                      <a:endParaRPr lang="en-US" sz="1600" b="1" i="0" u="none" strike="noStrike" dirty="0">
                        <a:solidFill>
                          <a:srgbClr val="9999A9"/>
                        </a:solidFill>
                        <a:effectLst/>
                        <a:latin typeface="Arial" panose="020B0604020202020204" pitchFamily="34" charset="0"/>
                        <a:cs typeface="Arial" panose="020B0604020202020204" pitchFamily="34" charset="0"/>
                      </a:endParaRPr>
                    </a:p>
                  </a:txBody>
                  <a:tcPr marL="71963" marR="71963" marT="71963" marB="71963" anchor="ctr">
                    <a:lnB w="28575" cap="flat" cmpd="sng" algn="ctr">
                      <a:solidFill>
                        <a:srgbClr val="9999A9"/>
                      </a:solidFill>
                      <a:prstDash val="solid"/>
                      <a:round/>
                      <a:headEnd type="none" w="med" len="med"/>
                      <a:tailEnd type="none" w="med" len="med"/>
                    </a:lnB>
                    <a:noFill/>
                  </a:tcPr>
                </a:tc>
                <a:extLst>
                  <a:ext uri="{0D108BD9-81ED-4DB2-BD59-A6C34878D82A}">
                    <a16:rowId xmlns:a16="http://schemas.microsoft.com/office/drawing/2014/main" val="10000"/>
                  </a:ext>
                </a:extLst>
              </a:tr>
              <a:tr h="485747">
                <a:tc>
                  <a:txBody>
                    <a:bodyPr/>
                    <a:lstStyle/>
                    <a:p>
                      <a:r>
                        <a:rPr lang="en-US" sz="1600" dirty="0">
                          <a:solidFill>
                            <a:srgbClr val="9999A9"/>
                          </a:solidFill>
                        </a:rPr>
                        <a:t>Duis arcu tortor</a:t>
                      </a:r>
                      <a:endParaRPr lang="en-US" sz="1600" b="0" dirty="0">
                        <a:solidFill>
                          <a:srgbClr val="9999A9"/>
                        </a:solidFill>
                      </a:endParaRPr>
                    </a:p>
                  </a:txBody>
                  <a:tcPr marL="0" marR="71963" marT="71963" marB="71963" anchor="ctr">
                    <a:lnT w="28575" cap="flat" cmpd="sng" algn="ctr">
                      <a:solidFill>
                        <a:srgbClr val="9999A9"/>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1200" cap="none" spc="0" normalizeH="0" baseline="0" noProof="0" dirty="0">
                          <a:ln>
                            <a:noFill/>
                          </a:ln>
                          <a:solidFill>
                            <a:srgbClr val="00FFB9"/>
                          </a:solidFill>
                          <a:effectLst/>
                          <a:uLnTx/>
                          <a:uFillTx/>
                        </a:rPr>
                        <a:t>+</a:t>
                      </a:r>
                      <a:endParaRPr kumimoji="0" lang="en-US" sz="2000" b="0" i="0" u="none" strike="noStrike" kern="1200" cap="none" spc="0" normalizeH="0" baseline="0" noProof="0" dirty="0">
                        <a:ln>
                          <a:noFill/>
                        </a:ln>
                        <a:solidFill>
                          <a:srgbClr val="00FFB9"/>
                        </a:solidFill>
                        <a:effectLst/>
                        <a:uLnTx/>
                        <a:uFillTx/>
                        <a:latin typeface="Arial" pitchFamily="34" charset="0"/>
                        <a:ea typeface="ＭＳ Ｐゴシック" charset="-128"/>
                        <a:cs typeface="Arial" panose="020B0604020202020204" pitchFamily="34" charset="0"/>
                      </a:endParaRPr>
                    </a:p>
                  </a:txBody>
                  <a:tcPr marL="107944" marR="107944" marT="17991" marB="17991" anchor="ctr">
                    <a:lnT w="28575" cap="flat" cmpd="sng" algn="ctr">
                      <a:solidFill>
                        <a:srgbClr val="9999A9"/>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kumimoji="0" lang="en-US" sz="2000" u="none" strike="noStrike" kern="1200" cap="none" spc="0" normalizeH="0" baseline="0" noProof="0" dirty="0">
                          <a:ln>
                            <a:noFill/>
                          </a:ln>
                          <a:solidFill>
                            <a:srgbClr val="00FFB9"/>
                          </a:solidFill>
                          <a:effectLst/>
                          <a:uLnTx/>
                          <a:uFillTx/>
                        </a:rPr>
                        <a:t>+</a:t>
                      </a:r>
                      <a:endParaRPr lang="de-DE" sz="2000" b="0" dirty="0">
                        <a:solidFill>
                          <a:srgbClr val="00FFB9"/>
                        </a:solidFill>
                      </a:endParaRPr>
                    </a:p>
                  </a:txBody>
                  <a:tcPr marL="107944" marR="107944" marT="17991" marB="17991" anchor="ctr">
                    <a:lnT w="28575" cap="flat" cmpd="sng" algn="ctr">
                      <a:solidFill>
                        <a:srgbClr val="9999A9"/>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r>
                        <a:rPr kumimoji="0" lang="en-US" sz="2000" u="none" strike="noStrike" kern="1200" cap="none" spc="0" normalizeH="0" baseline="0" noProof="0" dirty="0">
                          <a:ln>
                            <a:noFill/>
                          </a:ln>
                          <a:solidFill>
                            <a:srgbClr val="00FFB9"/>
                          </a:solidFill>
                          <a:effectLst/>
                          <a:uLnTx/>
                          <a:uFillTx/>
                        </a:rPr>
                        <a:t>+</a:t>
                      </a:r>
                      <a:endParaRPr lang="de-DE" sz="2000" b="0" dirty="0">
                        <a:solidFill>
                          <a:srgbClr val="00FFB9"/>
                        </a:solidFill>
                      </a:endParaRPr>
                    </a:p>
                  </a:txBody>
                  <a:tcPr marL="107944" marR="107944" marT="17991" marB="17991" anchor="ctr">
                    <a:lnT w="28575" cap="flat" cmpd="sng" algn="ctr">
                      <a:solidFill>
                        <a:srgbClr val="9999A9"/>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kumimoji="0" lang="en-US" sz="2000" u="none" strike="noStrike" kern="1200" cap="none" spc="0" normalizeH="0" baseline="0" noProof="0" dirty="0">
                          <a:ln>
                            <a:noFill/>
                          </a:ln>
                          <a:solidFill>
                            <a:srgbClr val="00FFB9"/>
                          </a:solidFill>
                          <a:effectLst/>
                          <a:uLnTx/>
                          <a:uFillTx/>
                        </a:rPr>
                        <a:t>+</a:t>
                      </a:r>
                      <a:endParaRPr lang="de-DE" sz="2000" b="0" dirty="0">
                        <a:solidFill>
                          <a:srgbClr val="00FFB9"/>
                        </a:solidFill>
                      </a:endParaRPr>
                    </a:p>
                  </a:txBody>
                  <a:tcPr marL="107944" marR="107944" marT="17991" marB="17991" anchor="ctr">
                    <a:lnT w="28575" cap="flat" cmpd="sng" algn="ctr">
                      <a:solidFill>
                        <a:srgbClr val="9999A9"/>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r>
                        <a:rPr kumimoji="0" lang="en-US" sz="2000" u="none" strike="noStrike" kern="1200" cap="none" spc="0" normalizeH="0" baseline="0" noProof="0" dirty="0">
                          <a:ln>
                            <a:noFill/>
                          </a:ln>
                          <a:solidFill>
                            <a:srgbClr val="00FFB9"/>
                          </a:solidFill>
                          <a:effectLst/>
                          <a:uLnTx/>
                          <a:uFillTx/>
                        </a:rPr>
                        <a:t>+</a:t>
                      </a:r>
                      <a:endParaRPr lang="de-DE" sz="2000" b="0" dirty="0">
                        <a:solidFill>
                          <a:srgbClr val="00FFB9"/>
                        </a:solidFill>
                      </a:endParaRPr>
                    </a:p>
                  </a:txBody>
                  <a:tcPr marL="107944" marR="107944" marT="17991" marB="17991" anchor="ctr">
                    <a:lnT w="28575" cap="flat" cmpd="sng" algn="ctr">
                      <a:solidFill>
                        <a:srgbClr val="9999A9"/>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kumimoji="0" lang="en-US" sz="2000" u="none" strike="noStrike" kern="1200" cap="none" spc="0" normalizeH="0" baseline="0" noProof="0" dirty="0">
                          <a:ln>
                            <a:noFill/>
                          </a:ln>
                          <a:solidFill>
                            <a:srgbClr val="00FFB9"/>
                          </a:solidFill>
                          <a:effectLst/>
                          <a:uLnTx/>
                          <a:uFillTx/>
                        </a:rPr>
                        <a:t>+</a:t>
                      </a:r>
                      <a:endParaRPr lang="de-DE" sz="2000" b="0" dirty="0">
                        <a:solidFill>
                          <a:srgbClr val="00FFB9"/>
                        </a:solidFill>
                      </a:endParaRPr>
                    </a:p>
                  </a:txBody>
                  <a:tcPr marL="107944" marR="107944" marT="17991" marB="17991" anchor="ctr">
                    <a:lnT w="28575" cap="flat" cmpd="sng" algn="ctr">
                      <a:solidFill>
                        <a:srgbClr val="9999A9"/>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r>
                        <a:rPr kumimoji="0" lang="en-US" sz="2000" u="none" strike="noStrike" kern="1200" cap="none" spc="0" normalizeH="0" baseline="0" noProof="0" dirty="0">
                          <a:ln>
                            <a:noFill/>
                          </a:ln>
                          <a:solidFill>
                            <a:srgbClr val="00FFB9"/>
                          </a:solidFill>
                          <a:effectLst/>
                          <a:uLnTx/>
                          <a:uFillTx/>
                        </a:rPr>
                        <a:t>+</a:t>
                      </a:r>
                      <a:endParaRPr lang="de-DE" sz="2000" b="0" dirty="0">
                        <a:solidFill>
                          <a:srgbClr val="00FFB9"/>
                        </a:solidFill>
                      </a:endParaRPr>
                    </a:p>
                  </a:txBody>
                  <a:tcPr marL="107944" marR="107944" marT="17991" marB="17991" anchor="ctr">
                    <a:lnT w="28575" cap="flat" cmpd="sng" algn="ctr">
                      <a:solidFill>
                        <a:srgbClr val="9999A9"/>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kumimoji="0" lang="en-US" sz="2000" u="none" strike="noStrike" kern="1200" cap="none" spc="0" normalizeH="0" baseline="0" noProof="0" dirty="0">
                          <a:ln>
                            <a:noFill/>
                          </a:ln>
                          <a:solidFill>
                            <a:srgbClr val="00FFB9"/>
                          </a:solidFill>
                          <a:effectLst/>
                          <a:uLnTx/>
                          <a:uFillTx/>
                        </a:rPr>
                        <a:t>+</a:t>
                      </a:r>
                      <a:endParaRPr lang="de-DE" sz="2000" b="0" dirty="0">
                        <a:solidFill>
                          <a:srgbClr val="00FFB9"/>
                        </a:solidFill>
                      </a:endParaRPr>
                    </a:p>
                  </a:txBody>
                  <a:tcPr marL="107944" marR="107944" marT="17991" marB="17991" anchor="ctr">
                    <a:lnT w="28575" cap="flat" cmpd="sng" algn="ctr">
                      <a:solidFill>
                        <a:srgbClr val="9999A9"/>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extLst>
                  <a:ext uri="{0D108BD9-81ED-4DB2-BD59-A6C34878D82A}">
                    <a16:rowId xmlns:a16="http://schemas.microsoft.com/office/drawing/2014/main" val="10001"/>
                  </a:ext>
                </a:extLst>
              </a:tr>
              <a:tr h="485747">
                <a:tc>
                  <a:txBody>
                    <a:bodyPr/>
                    <a:lstStyle/>
                    <a:p>
                      <a:r>
                        <a:rPr lang="en-US" sz="1600" dirty="0">
                          <a:solidFill>
                            <a:srgbClr val="9999A9"/>
                          </a:solidFill>
                        </a:rPr>
                        <a:t>Phasellus nec sem</a:t>
                      </a:r>
                      <a:endParaRPr lang="en-US" sz="1600" b="0" dirty="0">
                        <a:solidFill>
                          <a:srgbClr val="9999A9"/>
                        </a:solidFill>
                      </a:endParaRPr>
                    </a:p>
                  </a:txBody>
                  <a:tcPr marL="0" marR="71963"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1200" cap="none" spc="0" normalizeH="0" baseline="0" noProof="0" dirty="0">
                          <a:ln>
                            <a:noFill/>
                          </a:ln>
                          <a:solidFill>
                            <a:srgbClr val="00FFB9"/>
                          </a:solidFill>
                          <a:effectLst/>
                          <a:uLnTx/>
                          <a:uFillTx/>
                        </a:rPr>
                        <a:t>+</a:t>
                      </a:r>
                      <a:endParaRPr kumimoji="0" lang="en-US" sz="2000" b="0" i="0" u="none" strike="noStrike" kern="1200" cap="none" spc="0" normalizeH="0" baseline="0" noProof="0" dirty="0">
                        <a:ln>
                          <a:noFill/>
                        </a:ln>
                        <a:solidFill>
                          <a:srgbClr val="00FFB9"/>
                        </a:solidFill>
                        <a:effectLst/>
                        <a:uLnTx/>
                        <a:uFillTx/>
                        <a:latin typeface="Arial" pitchFamily="34" charset="0"/>
                        <a:ea typeface="ＭＳ Ｐゴシック" charset="-128"/>
                        <a:cs typeface="Arial" panose="020B0604020202020204" pitchFamily="34" charset="0"/>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kumimoji="0" lang="en-US" sz="2000" u="none" strike="noStrike" kern="1200" cap="none" spc="0" normalizeH="0" baseline="0" noProof="0" dirty="0">
                          <a:ln>
                            <a:noFill/>
                          </a:ln>
                          <a:solidFill>
                            <a:srgbClr val="00FFB9"/>
                          </a:solidFill>
                          <a:effectLst/>
                          <a:uLnTx/>
                          <a:uFillTx/>
                        </a:rPr>
                        <a:t>+</a:t>
                      </a:r>
                      <a:endParaRPr lang="de-DE" sz="2000" b="0" dirty="0">
                        <a:solidFill>
                          <a:srgbClr val="00FFB9"/>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r>
                        <a:rPr kumimoji="0" lang="en-US" sz="2000" u="none" strike="noStrike" kern="1200" cap="none" spc="0" normalizeH="0" baseline="0" noProof="0" dirty="0">
                          <a:ln>
                            <a:noFill/>
                          </a:ln>
                          <a:solidFill>
                            <a:srgbClr val="00FFB9"/>
                          </a:solidFill>
                          <a:effectLst/>
                          <a:uLnTx/>
                          <a:uFillTx/>
                        </a:rPr>
                        <a:t>+</a:t>
                      </a:r>
                      <a:endParaRPr lang="de-DE" sz="2000" b="0" dirty="0">
                        <a:solidFill>
                          <a:srgbClr val="00FFB9"/>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kumimoji="0" lang="en-US" sz="2000" u="none" strike="noStrike" kern="1200" cap="none" spc="0" normalizeH="0" baseline="0" noProof="0" dirty="0">
                          <a:ln>
                            <a:noFill/>
                          </a:ln>
                          <a:solidFill>
                            <a:srgbClr val="00FFB9"/>
                          </a:solidFill>
                          <a:effectLst/>
                          <a:uLnTx/>
                          <a:uFillTx/>
                        </a:rPr>
                        <a:t>+</a:t>
                      </a:r>
                      <a:endParaRPr lang="de-DE" sz="2000" b="0" dirty="0">
                        <a:solidFill>
                          <a:srgbClr val="00FFB9"/>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r>
                        <a:rPr kumimoji="0" lang="en-US" sz="2000" u="none" strike="noStrike" kern="1200" cap="none" spc="0" normalizeH="0" baseline="0" noProof="0" dirty="0">
                          <a:ln>
                            <a:noFill/>
                          </a:ln>
                          <a:solidFill>
                            <a:srgbClr val="00FFB9"/>
                          </a:solidFill>
                          <a:effectLst/>
                          <a:uLnTx/>
                          <a:uFillTx/>
                        </a:rPr>
                        <a:t>+</a:t>
                      </a:r>
                      <a:endParaRPr lang="de-DE" sz="2000" b="0" dirty="0">
                        <a:solidFill>
                          <a:srgbClr val="00FFB9"/>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kumimoji="0" lang="en-US" sz="2000" u="none" strike="noStrike" kern="1200" cap="none" spc="0" normalizeH="0" baseline="0" noProof="0" dirty="0">
                          <a:ln>
                            <a:noFill/>
                          </a:ln>
                          <a:solidFill>
                            <a:srgbClr val="00FFB9"/>
                          </a:solidFill>
                          <a:effectLst/>
                          <a:uLnTx/>
                          <a:uFillTx/>
                        </a:rPr>
                        <a:t>+</a:t>
                      </a:r>
                      <a:endParaRPr lang="de-DE" sz="2000" b="0" dirty="0">
                        <a:solidFill>
                          <a:srgbClr val="00FFB9"/>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r>
                        <a:rPr kumimoji="0" lang="en-US" sz="2000" u="none" strike="noStrike" kern="1200" cap="none" spc="0" normalizeH="0" baseline="0" noProof="0" dirty="0">
                          <a:ln>
                            <a:noFill/>
                          </a:ln>
                          <a:solidFill>
                            <a:srgbClr val="00FFB9"/>
                          </a:solidFill>
                          <a:effectLst/>
                          <a:uLnTx/>
                          <a:uFillTx/>
                        </a:rPr>
                        <a:t>+</a:t>
                      </a:r>
                      <a:endParaRPr lang="de-DE" sz="2000" b="0" dirty="0">
                        <a:solidFill>
                          <a:srgbClr val="00FFB9"/>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kumimoji="0" lang="en-US" sz="2000" u="none" strike="noStrike" kern="1200" cap="none" spc="0" normalizeH="0" baseline="0" noProof="0" dirty="0">
                          <a:ln>
                            <a:noFill/>
                          </a:ln>
                          <a:solidFill>
                            <a:srgbClr val="00FFB9"/>
                          </a:solidFill>
                          <a:effectLst/>
                          <a:uLnTx/>
                          <a:uFillTx/>
                        </a:rPr>
                        <a:t>+</a:t>
                      </a:r>
                      <a:endParaRPr lang="de-DE" sz="2000" b="0" dirty="0">
                        <a:solidFill>
                          <a:srgbClr val="00FFB9"/>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extLst>
                  <a:ext uri="{0D108BD9-81ED-4DB2-BD59-A6C34878D82A}">
                    <a16:rowId xmlns:a16="http://schemas.microsoft.com/office/drawing/2014/main" val="10002"/>
                  </a:ext>
                </a:extLst>
              </a:tr>
              <a:tr h="485747">
                <a:tc>
                  <a:txBody>
                    <a:bodyPr/>
                    <a:lstStyle/>
                    <a:p>
                      <a:r>
                        <a:rPr lang="en-US" sz="1600" dirty="0">
                          <a:solidFill>
                            <a:srgbClr val="9999A9"/>
                          </a:solidFill>
                        </a:rPr>
                        <a:t>Cras ultricies mi eu</a:t>
                      </a:r>
                      <a:endParaRPr lang="en-US" sz="1600" b="0" dirty="0">
                        <a:solidFill>
                          <a:srgbClr val="9999A9"/>
                        </a:solidFill>
                      </a:endParaRPr>
                    </a:p>
                  </a:txBody>
                  <a:tcPr marL="0" marR="71963"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1200" cap="none" spc="0" normalizeH="0" baseline="0" noProof="0" dirty="0">
                          <a:ln>
                            <a:noFill/>
                          </a:ln>
                          <a:solidFill>
                            <a:srgbClr val="00FFB9"/>
                          </a:solidFill>
                          <a:effectLst/>
                          <a:uLnTx/>
                          <a:uFillTx/>
                        </a:rPr>
                        <a:t>+</a:t>
                      </a:r>
                      <a:endParaRPr kumimoji="0" lang="en-US" sz="2000" b="0" i="0" u="none" strike="noStrike" kern="1200" cap="none" spc="0" normalizeH="0" baseline="0" noProof="0" dirty="0">
                        <a:ln>
                          <a:noFill/>
                        </a:ln>
                        <a:solidFill>
                          <a:srgbClr val="00FFB9"/>
                        </a:solidFill>
                        <a:effectLst/>
                        <a:uLnTx/>
                        <a:uFillTx/>
                        <a:latin typeface="Arial" pitchFamily="34" charset="0"/>
                        <a:ea typeface="ＭＳ Ｐゴシック" charset="-128"/>
                        <a:cs typeface="Arial" panose="020B0604020202020204" pitchFamily="34" charset="0"/>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kumimoji="0" lang="en-US" sz="2000" u="none" strike="noStrike" kern="1200" cap="none" spc="0" normalizeH="0" baseline="0" noProof="0" dirty="0">
                          <a:ln>
                            <a:noFill/>
                          </a:ln>
                          <a:solidFill>
                            <a:srgbClr val="00FFB9"/>
                          </a:solidFill>
                          <a:effectLst/>
                          <a:uLnTx/>
                          <a:uFillTx/>
                        </a:rPr>
                        <a:t>+</a:t>
                      </a:r>
                      <a:endParaRPr lang="de-DE" sz="2000" b="0" dirty="0">
                        <a:solidFill>
                          <a:srgbClr val="00FFB9"/>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r>
                        <a:rPr kumimoji="0" lang="en-US" sz="2000" u="none" strike="noStrike" kern="1200" cap="none" spc="0" normalizeH="0" baseline="0" noProof="0" dirty="0">
                          <a:ln>
                            <a:noFill/>
                          </a:ln>
                          <a:solidFill>
                            <a:srgbClr val="00FFB9"/>
                          </a:solidFill>
                          <a:effectLst/>
                          <a:uLnTx/>
                          <a:uFillTx/>
                        </a:rPr>
                        <a:t>+</a:t>
                      </a:r>
                      <a:endParaRPr lang="de-DE" sz="2000" b="0" dirty="0">
                        <a:solidFill>
                          <a:srgbClr val="00FFB9"/>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kumimoji="0" lang="en-US" sz="2000" u="none" strike="noStrike" kern="1200" cap="none" spc="0" normalizeH="0" baseline="0" noProof="0" dirty="0">
                          <a:ln>
                            <a:noFill/>
                          </a:ln>
                          <a:solidFill>
                            <a:srgbClr val="00FFB9"/>
                          </a:solidFill>
                          <a:effectLst/>
                          <a:uLnTx/>
                          <a:uFillTx/>
                        </a:rPr>
                        <a:t>+</a:t>
                      </a:r>
                      <a:endParaRPr lang="de-DE" sz="2000" b="0" dirty="0">
                        <a:solidFill>
                          <a:srgbClr val="00FFB9"/>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r>
                        <a:rPr kumimoji="0" lang="en-US" sz="2000" u="none" strike="noStrike" kern="1200" cap="none" spc="0" normalizeH="0" baseline="0" noProof="0" dirty="0">
                          <a:ln>
                            <a:noFill/>
                          </a:ln>
                          <a:solidFill>
                            <a:srgbClr val="00FFB9"/>
                          </a:solidFill>
                          <a:effectLst/>
                          <a:uLnTx/>
                          <a:uFillTx/>
                        </a:rPr>
                        <a:t>+</a:t>
                      </a:r>
                      <a:endParaRPr lang="de-DE" sz="2000" b="0" dirty="0">
                        <a:solidFill>
                          <a:srgbClr val="00FFB9"/>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kumimoji="0" lang="en-US" sz="2000" u="none" strike="noStrike" kern="1200" cap="none" spc="0" normalizeH="0" baseline="0" noProof="0" dirty="0">
                          <a:ln>
                            <a:noFill/>
                          </a:ln>
                          <a:solidFill>
                            <a:srgbClr val="00FFB9"/>
                          </a:solidFill>
                          <a:effectLst/>
                          <a:uLnTx/>
                          <a:uFillTx/>
                        </a:rPr>
                        <a:t>+</a:t>
                      </a:r>
                      <a:endParaRPr lang="de-DE" sz="2000" b="0" dirty="0">
                        <a:solidFill>
                          <a:srgbClr val="00FFB9"/>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r>
                        <a:rPr kumimoji="0" lang="en-US" sz="2000" u="none" strike="noStrike" kern="1200" cap="none" spc="0" normalizeH="0" baseline="0" noProof="0" dirty="0">
                          <a:ln>
                            <a:noFill/>
                          </a:ln>
                          <a:solidFill>
                            <a:srgbClr val="00FFB9"/>
                          </a:solidFill>
                          <a:effectLst/>
                          <a:uLnTx/>
                          <a:uFillTx/>
                        </a:rPr>
                        <a:t>+</a:t>
                      </a:r>
                      <a:endParaRPr lang="de-DE" sz="2000" b="0" dirty="0">
                        <a:solidFill>
                          <a:srgbClr val="00FFB9"/>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kumimoji="0" lang="en-US" sz="2000" u="none" strike="noStrike" kern="1200" cap="none" spc="0" normalizeH="0" baseline="0" noProof="0" dirty="0">
                          <a:ln>
                            <a:noFill/>
                          </a:ln>
                          <a:solidFill>
                            <a:srgbClr val="00FFB9"/>
                          </a:solidFill>
                          <a:effectLst/>
                          <a:uLnTx/>
                          <a:uFillTx/>
                        </a:rPr>
                        <a:t>+</a:t>
                      </a:r>
                      <a:endParaRPr lang="de-DE" sz="2000" b="0" dirty="0">
                        <a:solidFill>
                          <a:srgbClr val="00FFB9"/>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extLst>
                  <a:ext uri="{0D108BD9-81ED-4DB2-BD59-A6C34878D82A}">
                    <a16:rowId xmlns:a16="http://schemas.microsoft.com/office/drawing/2014/main" val="10003"/>
                  </a:ext>
                </a:extLst>
              </a:tr>
              <a:tr h="485747">
                <a:tc>
                  <a:txBody>
                    <a:bodyPr/>
                    <a:lstStyle/>
                    <a:p>
                      <a:r>
                        <a:rPr lang="en-US" sz="1600" dirty="0">
                          <a:solidFill>
                            <a:srgbClr val="9999A9"/>
                          </a:solidFill>
                        </a:rPr>
                        <a:t>Phasellus nec sem</a:t>
                      </a:r>
                      <a:endParaRPr lang="en-US" sz="1600" b="0" dirty="0">
                        <a:solidFill>
                          <a:srgbClr val="9999A9"/>
                        </a:solidFill>
                      </a:endParaRPr>
                    </a:p>
                  </a:txBody>
                  <a:tcPr marL="0" marR="71963"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00FFB9"/>
                          </a:solidFill>
                        </a:rPr>
                        <a:t>–</a:t>
                      </a:r>
                      <a:endParaRPr lang="en-US" sz="2000" b="0" dirty="0">
                        <a:solidFill>
                          <a:srgbClr val="00FFB9"/>
                        </a:solidFill>
                        <a:ea typeface="+mn-ea"/>
                        <a:cs typeface="Arial" panose="020B0604020202020204" pitchFamily="34" charset="0"/>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lang="en-US" sz="2000" dirty="0">
                          <a:solidFill>
                            <a:srgbClr val="00FFB9"/>
                          </a:solidFill>
                        </a:rPr>
                        <a:t>–</a:t>
                      </a:r>
                      <a:endParaRPr lang="de-DE" sz="2000" b="0" dirty="0">
                        <a:solidFill>
                          <a:srgbClr val="00FFB9"/>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r>
                        <a:rPr lang="en-US" sz="2000" dirty="0">
                          <a:solidFill>
                            <a:srgbClr val="00FFB9"/>
                          </a:solidFill>
                        </a:rPr>
                        <a:t>–</a:t>
                      </a:r>
                      <a:endParaRPr lang="de-DE" sz="2000" b="0" dirty="0">
                        <a:solidFill>
                          <a:srgbClr val="00FFB9"/>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lang="en-US" sz="2000" dirty="0">
                          <a:solidFill>
                            <a:srgbClr val="00FFB9"/>
                          </a:solidFill>
                        </a:rPr>
                        <a:t>–</a:t>
                      </a:r>
                      <a:endParaRPr lang="de-DE" sz="2000" b="0" dirty="0">
                        <a:solidFill>
                          <a:srgbClr val="00FFB9"/>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r>
                        <a:rPr lang="en-US" sz="2000" dirty="0">
                          <a:solidFill>
                            <a:srgbClr val="00FFB9"/>
                          </a:solidFill>
                        </a:rPr>
                        <a:t>–</a:t>
                      </a:r>
                      <a:endParaRPr lang="de-DE" sz="2000" b="0" dirty="0">
                        <a:solidFill>
                          <a:srgbClr val="00FFB9"/>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lang="en-US" sz="2000" dirty="0">
                          <a:solidFill>
                            <a:srgbClr val="00FFB9"/>
                          </a:solidFill>
                        </a:rPr>
                        <a:t>–</a:t>
                      </a:r>
                      <a:endParaRPr lang="de-DE" sz="2000" b="0" dirty="0">
                        <a:solidFill>
                          <a:srgbClr val="00FFB9"/>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r>
                        <a:rPr lang="en-US" sz="2000" dirty="0">
                          <a:solidFill>
                            <a:srgbClr val="00FFB9"/>
                          </a:solidFill>
                        </a:rPr>
                        <a:t>–</a:t>
                      </a:r>
                      <a:endParaRPr lang="de-DE" sz="2000" b="0" dirty="0">
                        <a:solidFill>
                          <a:srgbClr val="00FFB9"/>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lang="en-US" sz="2000" dirty="0">
                          <a:solidFill>
                            <a:srgbClr val="00FFB9"/>
                          </a:solidFill>
                        </a:rPr>
                        <a:t>–</a:t>
                      </a:r>
                      <a:endParaRPr lang="de-DE" sz="2000" b="0" dirty="0">
                        <a:solidFill>
                          <a:srgbClr val="00FFB9"/>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extLst>
                  <a:ext uri="{0D108BD9-81ED-4DB2-BD59-A6C34878D82A}">
                    <a16:rowId xmlns:a16="http://schemas.microsoft.com/office/drawing/2014/main" val="10004"/>
                  </a:ext>
                </a:extLst>
              </a:tr>
              <a:tr h="485747">
                <a:tc>
                  <a:txBody>
                    <a:bodyPr/>
                    <a:lstStyle/>
                    <a:p>
                      <a:r>
                        <a:rPr lang="en-US" sz="1600" dirty="0">
                          <a:solidFill>
                            <a:srgbClr val="9999A9"/>
                          </a:solidFill>
                        </a:rPr>
                        <a:t>Duis arcu tortor</a:t>
                      </a:r>
                      <a:endParaRPr lang="en-US" sz="1600" b="0" dirty="0">
                        <a:solidFill>
                          <a:srgbClr val="9999A9"/>
                        </a:solidFill>
                      </a:endParaRPr>
                    </a:p>
                  </a:txBody>
                  <a:tcPr marL="0" marR="71963"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00FFB9"/>
                          </a:solidFill>
                        </a:rPr>
                        <a:t>–</a:t>
                      </a:r>
                      <a:endParaRPr lang="en-US" sz="2000" b="0" dirty="0">
                        <a:solidFill>
                          <a:srgbClr val="00FFB9"/>
                        </a:solidFill>
                        <a:ea typeface="+mn-ea"/>
                        <a:cs typeface="Arial" panose="020B0604020202020204" pitchFamily="34" charset="0"/>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lang="en-US" sz="2000" dirty="0">
                          <a:solidFill>
                            <a:srgbClr val="00FFB9"/>
                          </a:solidFill>
                        </a:rPr>
                        <a:t>–</a:t>
                      </a:r>
                      <a:endParaRPr lang="de-DE" sz="2000" b="0" dirty="0">
                        <a:solidFill>
                          <a:srgbClr val="00FFB9"/>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r>
                        <a:rPr lang="en-US" sz="2000" dirty="0">
                          <a:solidFill>
                            <a:srgbClr val="00FFB9"/>
                          </a:solidFill>
                        </a:rPr>
                        <a:t>–</a:t>
                      </a:r>
                      <a:endParaRPr lang="de-DE" sz="2000" b="0" dirty="0">
                        <a:solidFill>
                          <a:srgbClr val="00FFB9"/>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lang="en-US" sz="2000" dirty="0">
                          <a:solidFill>
                            <a:srgbClr val="00FFB9"/>
                          </a:solidFill>
                        </a:rPr>
                        <a:t>–</a:t>
                      </a:r>
                      <a:endParaRPr lang="de-DE" sz="2000" b="0" dirty="0">
                        <a:solidFill>
                          <a:srgbClr val="00FFB9"/>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r>
                        <a:rPr lang="en-US" sz="2000" dirty="0">
                          <a:solidFill>
                            <a:srgbClr val="00FFB9"/>
                          </a:solidFill>
                        </a:rPr>
                        <a:t>–</a:t>
                      </a:r>
                      <a:endParaRPr lang="de-DE" sz="2000" b="0" dirty="0">
                        <a:solidFill>
                          <a:srgbClr val="00FFB9"/>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lang="en-US" sz="2000" dirty="0">
                          <a:solidFill>
                            <a:srgbClr val="00FFB9"/>
                          </a:solidFill>
                        </a:rPr>
                        <a:t>–</a:t>
                      </a:r>
                      <a:endParaRPr lang="de-DE" sz="2000" b="0" dirty="0">
                        <a:solidFill>
                          <a:srgbClr val="00FFB9"/>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r>
                        <a:rPr lang="en-US" sz="2000" dirty="0">
                          <a:solidFill>
                            <a:srgbClr val="00FFB9"/>
                          </a:solidFill>
                        </a:rPr>
                        <a:t>–</a:t>
                      </a:r>
                      <a:endParaRPr lang="de-DE" sz="2000" b="0" dirty="0">
                        <a:solidFill>
                          <a:srgbClr val="00FFB9"/>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lang="en-US" sz="2000" dirty="0">
                          <a:solidFill>
                            <a:srgbClr val="00FFB9"/>
                          </a:solidFill>
                        </a:rPr>
                        <a:t>–</a:t>
                      </a:r>
                      <a:endParaRPr lang="de-DE" sz="2000" b="0" dirty="0">
                        <a:solidFill>
                          <a:srgbClr val="00FFB9"/>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extLst>
                  <a:ext uri="{0D108BD9-81ED-4DB2-BD59-A6C34878D82A}">
                    <a16:rowId xmlns:a16="http://schemas.microsoft.com/office/drawing/2014/main" val="10005"/>
                  </a:ext>
                </a:extLst>
              </a:tr>
              <a:tr h="485747">
                <a:tc>
                  <a:txBody>
                    <a:bodyPr/>
                    <a:lstStyle/>
                    <a:p>
                      <a:r>
                        <a:rPr lang="en-US" sz="1600" dirty="0">
                          <a:solidFill>
                            <a:srgbClr val="9999A9"/>
                          </a:solidFill>
                        </a:rPr>
                        <a:t>Cras ultricies mi eu</a:t>
                      </a:r>
                      <a:endParaRPr lang="en-US" sz="1600" b="0" dirty="0">
                        <a:solidFill>
                          <a:srgbClr val="9999A9"/>
                        </a:solidFill>
                      </a:endParaRPr>
                    </a:p>
                  </a:txBody>
                  <a:tcPr marL="0" marR="71963"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00FFB9"/>
                          </a:solidFill>
                        </a:rPr>
                        <a:t>–</a:t>
                      </a:r>
                      <a:endParaRPr lang="en-US" sz="2000" b="0" dirty="0">
                        <a:solidFill>
                          <a:srgbClr val="00FFB9"/>
                        </a:solidFill>
                        <a:ea typeface="+mn-ea"/>
                        <a:cs typeface="Arial" panose="020B0604020202020204" pitchFamily="34" charset="0"/>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lang="en-US" sz="2000" dirty="0">
                          <a:solidFill>
                            <a:srgbClr val="00FFB9"/>
                          </a:solidFill>
                        </a:rPr>
                        <a:t>–</a:t>
                      </a:r>
                      <a:endParaRPr lang="de-DE" sz="2000" b="0" dirty="0">
                        <a:solidFill>
                          <a:srgbClr val="00FFB9"/>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r>
                        <a:rPr lang="en-US" sz="2000" dirty="0">
                          <a:solidFill>
                            <a:srgbClr val="00FFB9"/>
                          </a:solidFill>
                        </a:rPr>
                        <a:t>–</a:t>
                      </a:r>
                      <a:endParaRPr lang="de-DE" sz="2000" b="0" dirty="0">
                        <a:solidFill>
                          <a:srgbClr val="00FFB9"/>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lang="en-US" sz="2000" dirty="0">
                          <a:solidFill>
                            <a:srgbClr val="00FFB9"/>
                          </a:solidFill>
                        </a:rPr>
                        <a:t>–</a:t>
                      </a:r>
                      <a:endParaRPr lang="de-DE" sz="2000" b="0" dirty="0">
                        <a:solidFill>
                          <a:srgbClr val="00FFB9"/>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r>
                        <a:rPr lang="en-US" sz="2000" dirty="0">
                          <a:solidFill>
                            <a:srgbClr val="00FFB9"/>
                          </a:solidFill>
                        </a:rPr>
                        <a:t>–</a:t>
                      </a:r>
                      <a:endParaRPr lang="de-DE" sz="2000" b="0" dirty="0">
                        <a:solidFill>
                          <a:srgbClr val="00FFB9"/>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lang="en-US" sz="2000" dirty="0">
                          <a:solidFill>
                            <a:srgbClr val="00FFB9"/>
                          </a:solidFill>
                        </a:rPr>
                        <a:t>–</a:t>
                      </a:r>
                      <a:endParaRPr lang="de-DE" sz="2000" b="0" dirty="0">
                        <a:solidFill>
                          <a:srgbClr val="00FFB9"/>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r>
                        <a:rPr lang="en-US" sz="2000" dirty="0">
                          <a:solidFill>
                            <a:srgbClr val="00FFB9"/>
                          </a:solidFill>
                        </a:rPr>
                        <a:t>–</a:t>
                      </a:r>
                      <a:endParaRPr lang="de-DE" sz="2000" b="0" dirty="0">
                        <a:solidFill>
                          <a:srgbClr val="00FFB9"/>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r>
                        <a:rPr lang="en-US" sz="2000" dirty="0">
                          <a:solidFill>
                            <a:srgbClr val="00FFB9"/>
                          </a:solidFill>
                        </a:rPr>
                        <a:t>–</a:t>
                      </a:r>
                      <a:endParaRPr lang="de-DE" sz="2000" b="0" dirty="0">
                        <a:solidFill>
                          <a:srgbClr val="00FFB9"/>
                        </a:solidFill>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extLst>
                  <a:ext uri="{0D108BD9-81ED-4DB2-BD59-A6C34878D82A}">
                    <a16:rowId xmlns:a16="http://schemas.microsoft.com/office/drawing/2014/main" val="10006"/>
                  </a:ext>
                </a:extLst>
              </a:tr>
              <a:tr h="485747">
                <a:tc>
                  <a:txBody>
                    <a:bodyPr/>
                    <a:lstStyle/>
                    <a:p>
                      <a:r>
                        <a:rPr lang="en-US" sz="1600" dirty="0">
                          <a:solidFill>
                            <a:srgbClr val="9999A9"/>
                          </a:solidFill>
                        </a:rPr>
                        <a:t>Cras ultricies mi eu</a:t>
                      </a:r>
                      <a:endParaRPr lang="en-US" sz="1600" b="0" dirty="0">
                        <a:solidFill>
                          <a:srgbClr val="9999A9"/>
                        </a:solidFill>
                      </a:endParaRPr>
                    </a:p>
                  </a:txBody>
                  <a:tcPr marL="0" marR="71963"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00FFB9"/>
                          </a:solidFill>
                        </a:rPr>
                        <a:t>o</a:t>
                      </a:r>
                      <a:endParaRPr lang="en-US" sz="2000" b="0" dirty="0">
                        <a:solidFill>
                          <a:srgbClr val="00FFB9"/>
                        </a:solidFill>
                        <a:ea typeface="+mn-ea"/>
                        <a:cs typeface="Arial" panose="020B0604020202020204" pitchFamily="34" charset="0"/>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00FFB9"/>
                          </a:solidFill>
                        </a:rPr>
                        <a:t>o</a:t>
                      </a:r>
                      <a:endParaRPr lang="en-US" sz="2000" b="0" dirty="0">
                        <a:solidFill>
                          <a:srgbClr val="00FFB9"/>
                        </a:solidFill>
                        <a:ea typeface="+mn-ea"/>
                        <a:cs typeface="Arial" panose="020B0604020202020204" pitchFamily="34" charset="0"/>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00FFB9"/>
                          </a:solidFill>
                        </a:rPr>
                        <a:t>o</a:t>
                      </a:r>
                      <a:endParaRPr lang="en-US" sz="2000" b="0" dirty="0">
                        <a:solidFill>
                          <a:srgbClr val="00FFB9"/>
                        </a:solidFill>
                        <a:ea typeface="+mn-ea"/>
                        <a:cs typeface="Arial" panose="020B0604020202020204" pitchFamily="34" charset="0"/>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00FFB9"/>
                          </a:solidFill>
                        </a:rPr>
                        <a:t>o</a:t>
                      </a:r>
                      <a:endParaRPr lang="en-US" sz="2000" b="0" dirty="0">
                        <a:solidFill>
                          <a:srgbClr val="00FFB9"/>
                        </a:solidFill>
                        <a:ea typeface="+mn-ea"/>
                        <a:cs typeface="Arial" panose="020B0604020202020204" pitchFamily="34" charset="0"/>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00FFB9"/>
                          </a:solidFill>
                        </a:rPr>
                        <a:t>o</a:t>
                      </a:r>
                      <a:endParaRPr lang="en-US" sz="2000" b="0" dirty="0">
                        <a:solidFill>
                          <a:srgbClr val="00FFB9"/>
                        </a:solidFill>
                        <a:ea typeface="+mn-ea"/>
                        <a:cs typeface="Arial" panose="020B0604020202020204" pitchFamily="34" charset="0"/>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00FFB9"/>
                          </a:solidFill>
                        </a:rPr>
                        <a:t>o</a:t>
                      </a:r>
                      <a:endParaRPr lang="en-US" sz="2000" b="0" dirty="0">
                        <a:solidFill>
                          <a:srgbClr val="00FFB9"/>
                        </a:solidFill>
                        <a:ea typeface="+mn-ea"/>
                        <a:cs typeface="Arial" panose="020B0604020202020204" pitchFamily="34" charset="0"/>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00FFB9"/>
                          </a:solidFill>
                        </a:rPr>
                        <a:t>o</a:t>
                      </a:r>
                      <a:endParaRPr lang="en-US" sz="2000" b="0" dirty="0">
                        <a:solidFill>
                          <a:srgbClr val="00FFB9"/>
                        </a:solidFill>
                        <a:ea typeface="+mn-ea"/>
                        <a:cs typeface="Arial" panose="020B0604020202020204" pitchFamily="34" charset="0"/>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00FFB9"/>
                          </a:solidFill>
                        </a:rPr>
                        <a:t>o</a:t>
                      </a:r>
                      <a:endParaRPr lang="en-US" sz="2000" b="0" dirty="0">
                        <a:solidFill>
                          <a:srgbClr val="00FFB9"/>
                        </a:solidFill>
                        <a:ea typeface="+mn-ea"/>
                        <a:cs typeface="Arial" panose="020B0604020202020204" pitchFamily="34" charset="0"/>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extLst>
                  <a:ext uri="{0D108BD9-81ED-4DB2-BD59-A6C34878D82A}">
                    <a16:rowId xmlns:a16="http://schemas.microsoft.com/office/drawing/2014/main" val="10007"/>
                  </a:ext>
                </a:extLst>
              </a:tr>
              <a:tr h="485747">
                <a:tc>
                  <a:txBody>
                    <a:bodyPr/>
                    <a:lstStyle/>
                    <a:p>
                      <a:r>
                        <a:rPr lang="en-US" sz="1600" dirty="0">
                          <a:solidFill>
                            <a:srgbClr val="9999A9"/>
                          </a:solidFill>
                        </a:rPr>
                        <a:t>Duis arcu tortor</a:t>
                      </a:r>
                      <a:endParaRPr lang="en-US" sz="1600" b="0" dirty="0">
                        <a:solidFill>
                          <a:srgbClr val="9999A9"/>
                        </a:solidFill>
                      </a:endParaRPr>
                    </a:p>
                  </a:txBody>
                  <a:tcPr marL="0" marR="71963"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00FFB9"/>
                          </a:solidFill>
                        </a:rPr>
                        <a:t>o</a:t>
                      </a:r>
                      <a:endParaRPr lang="en-US" sz="2000" b="0" dirty="0">
                        <a:solidFill>
                          <a:srgbClr val="00FFB9"/>
                        </a:solidFill>
                        <a:ea typeface="+mn-ea"/>
                        <a:cs typeface="Arial" panose="020B0604020202020204" pitchFamily="34" charset="0"/>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00FFB9"/>
                          </a:solidFill>
                        </a:rPr>
                        <a:t>o</a:t>
                      </a:r>
                      <a:endParaRPr lang="en-US" sz="2000" b="0" dirty="0">
                        <a:solidFill>
                          <a:srgbClr val="00FFB9"/>
                        </a:solidFill>
                        <a:ea typeface="+mn-ea"/>
                        <a:cs typeface="Arial" panose="020B0604020202020204" pitchFamily="34" charset="0"/>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00FFB9"/>
                          </a:solidFill>
                        </a:rPr>
                        <a:t>o</a:t>
                      </a:r>
                      <a:endParaRPr lang="en-US" sz="2000" b="0" dirty="0">
                        <a:solidFill>
                          <a:srgbClr val="00FFB9"/>
                        </a:solidFill>
                        <a:ea typeface="+mn-ea"/>
                        <a:cs typeface="Arial" panose="020B0604020202020204" pitchFamily="34" charset="0"/>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00FFB9"/>
                          </a:solidFill>
                        </a:rPr>
                        <a:t>o</a:t>
                      </a:r>
                      <a:endParaRPr lang="en-US" sz="2000" b="0" dirty="0">
                        <a:solidFill>
                          <a:srgbClr val="00FFB9"/>
                        </a:solidFill>
                        <a:ea typeface="+mn-ea"/>
                        <a:cs typeface="Arial" panose="020B0604020202020204" pitchFamily="34" charset="0"/>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00FFB9"/>
                          </a:solidFill>
                        </a:rPr>
                        <a:t>o</a:t>
                      </a:r>
                      <a:endParaRPr lang="en-US" sz="2000" b="0" dirty="0">
                        <a:solidFill>
                          <a:srgbClr val="00FFB9"/>
                        </a:solidFill>
                        <a:ea typeface="+mn-ea"/>
                        <a:cs typeface="Arial" panose="020B0604020202020204" pitchFamily="34" charset="0"/>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00FFB9"/>
                          </a:solidFill>
                        </a:rPr>
                        <a:t>o</a:t>
                      </a:r>
                      <a:endParaRPr lang="en-US" sz="2000" b="0" dirty="0">
                        <a:solidFill>
                          <a:srgbClr val="00FFB9"/>
                        </a:solidFill>
                        <a:ea typeface="+mn-ea"/>
                        <a:cs typeface="Arial" panose="020B0604020202020204" pitchFamily="34" charset="0"/>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00FFB9"/>
                          </a:solidFill>
                        </a:rPr>
                        <a:t>o</a:t>
                      </a:r>
                      <a:endParaRPr lang="en-US" sz="2000" b="0" dirty="0">
                        <a:solidFill>
                          <a:srgbClr val="00FFB9"/>
                        </a:solidFill>
                        <a:ea typeface="+mn-ea"/>
                        <a:cs typeface="Arial" panose="020B0604020202020204" pitchFamily="34" charset="0"/>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00FFB9"/>
                          </a:solidFill>
                        </a:rPr>
                        <a:t>o</a:t>
                      </a:r>
                      <a:endParaRPr lang="en-US" sz="2000" b="0" dirty="0">
                        <a:solidFill>
                          <a:srgbClr val="00FFB9"/>
                        </a:solidFill>
                        <a:ea typeface="+mn-ea"/>
                        <a:cs typeface="Arial" panose="020B0604020202020204" pitchFamily="34" charset="0"/>
                      </a:endParaRPr>
                    </a:p>
                  </a:txBody>
                  <a:tcPr marL="107944" marR="107944" marT="17991" marB="17991"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extLst>
                  <a:ext uri="{0D108BD9-81ED-4DB2-BD59-A6C34878D82A}">
                    <a16:rowId xmlns:a16="http://schemas.microsoft.com/office/drawing/2014/main" val="10009"/>
                  </a:ext>
                </a:extLst>
              </a:tr>
            </a:tbl>
          </a:graphicData>
        </a:graphic>
      </p:graphicFrame>
      <p:grpSp>
        <p:nvGrpSpPr>
          <p:cNvPr id="3" name="Group 2">
            <a:extLst>
              <a:ext uri="{FF2B5EF4-FFF2-40B4-BE49-F238E27FC236}">
                <a16:creationId xmlns:a16="http://schemas.microsoft.com/office/drawing/2014/main" id="{CF235AE5-11B1-4478-B0D9-7F54430935AB}"/>
              </a:ext>
            </a:extLst>
          </p:cNvPr>
          <p:cNvGrpSpPr/>
          <p:nvPr/>
        </p:nvGrpSpPr>
        <p:grpSpPr>
          <a:xfrm>
            <a:off x="410400" y="5950800"/>
            <a:ext cx="3147321" cy="307617"/>
            <a:chOff x="617041" y="5916314"/>
            <a:chExt cx="3148960" cy="307777"/>
          </a:xfrm>
        </p:grpSpPr>
        <p:grpSp>
          <p:nvGrpSpPr>
            <p:cNvPr id="17" name="Gruppieren 7"/>
            <p:cNvGrpSpPr/>
            <p:nvPr/>
          </p:nvGrpSpPr>
          <p:grpSpPr bwMode="gray">
            <a:xfrm>
              <a:off x="617041" y="5916314"/>
              <a:ext cx="667584" cy="307777"/>
              <a:chOff x="627063" y="5976931"/>
              <a:chExt cx="667584" cy="307777"/>
            </a:xfrm>
          </p:grpSpPr>
          <p:sp>
            <p:nvSpPr>
              <p:cNvPr id="18" name="RectanNcCfwp1CAg0C6Bt9Z6WU4Ng"/>
              <p:cNvSpPr>
                <a:spLocks noChangeArrowheads="1"/>
              </p:cNvSpPr>
              <p:nvPr/>
            </p:nvSpPr>
            <p:spPr bwMode="gray">
              <a:xfrm>
                <a:off x="812143" y="6074221"/>
                <a:ext cx="482504"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p>
                <a:r>
                  <a:rPr lang="en-US" sz="999" dirty="0">
                    <a:solidFill>
                      <a:srgbClr val="9999A9"/>
                    </a:solidFill>
                    <a:cs typeface="Arial" panose="020B0604020202020204" pitchFamily="34" charset="0"/>
                  </a:rPr>
                  <a:t>Covered</a:t>
                </a:r>
              </a:p>
            </p:txBody>
          </p:sp>
          <p:sp>
            <p:nvSpPr>
              <p:cNvPr id="19" name="Textfeld 9"/>
              <p:cNvSpPr txBox="1"/>
              <p:nvPr/>
            </p:nvSpPr>
            <p:spPr bwMode="gray">
              <a:xfrm>
                <a:off x="627063" y="5976931"/>
                <a:ext cx="149080" cy="307777"/>
              </a:xfrm>
              <a:prstGeom prst="rect">
                <a:avLst/>
              </a:prstGeom>
              <a:noFill/>
            </p:spPr>
            <p:txBody>
              <a:bodyPr wrap="none" lIns="0" tIns="0" rIns="0" bIns="0" rtlCol="0" anchor="ctr">
                <a:spAutoFit/>
              </a:bodyPr>
              <a:lstStyle/>
              <a:p>
                <a:pPr algn="ctr">
                  <a:defRPr/>
                </a:pPr>
                <a:r>
                  <a:rPr lang="en-US" sz="1999" dirty="0">
                    <a:solidFill>
                      <a:srgbClr val="00FFB9"/>
                    </a:solidFill>
                    <a:cs typeface="Arial" panose="020B0604020202020204" pitchFamily="34" charset="0"/>
                  </a:rPr>
                  <a:t>+</a:t>
                </a:r>
              </a:p>
            </p:txBody>
          </p:sp>
        </p:grpSp>
        <p:grpSp>
          <p:nvGrpSpPr>
            <p:cNvPr id="20" name="Gruppieren 10"/>
            <p:cNvGrpSpPr>
              <a:grpSpLocks/>
            </p:cNvGrpSpPr>
            <p:nvPr/>
          </p:nvGrpSpPr>
          <p:grpSpPr bwMode="gray">
            <a:xfrm>
              <a:off x="1532677" y="5916314"/>
              <a:ext cx="1186957" cy="307777"/>
              <a:chOff x="1670683" y="5976931"/>
              <a:chExt cx="1186957" cy="307777"/>
            </a:xfrm>
          </p:grpSpPr>
          <p:sp>
            <p:nvSpPr>
              <p:cNvPr id="21" name="Textfeld 11"/>
              <p:cNvSpPr txBox="1">
                <a:spLocks/>
              </p:cNvSpPr>
              <p:nvPr/>
            </p:nvSpPr>
            <p:spPr bwMode="gray">
              <a:xfrm>
                <a:off x="1670683" y="5976931"/>
                <a:ext cx="142668" cy="307777"/>
              </a:xfrm>
              <a:prstGeom prst="rect">
                <a:avLst/>
              </a:prstGeom>
              <a:noFill/>
            </p:spPr>
            <p:txBody>
              <a:bodyPr wrap="none" lIns="0" tIns="0" rIns="0" bIns="0" rtlCol="0" anchor="ctr">
                <a:spAutoFit/>
              </a:bodyPr>
              <a:lstStyle/>
              <a:p>
                <a:pPr algn="ctr">
                  <a:defRPr/>
                </a:pPr>
                <a:r>
                  <a:rPr lang="en-US" sz="1999" dirty="0">
                    <a:solidFill>
                      <a:srgbClr val="00FFB9"/>
                    </a:solidFill>
                    <a:cs typeface="Arial" panose="020B0604020202020204" pitchFamily="34" charset="0"/>
                  </a:rPr>
                  <a:t>–</a:t>
                </a:r>
              </a:p>
            </p:txBody>
          </p:sp>
          <p:sp>
            <p:nvSpPr>
              <p:cNvPr id="22" name="RectanNcCfwp1CAg0C6Bt9Z6WU4Ng"/>
              <p:cNvSpPr>
                <a:spLocks noChangeArrowheads="1"/>
              </p:cNvSpPr>
              <p:nvPr/>
            </p:nvSpPr>
            <p:spPr bwMode="gray">
              <a:xfrm>
                <a:off x="1849351" y="6074221"/>
                <a:ext cx="100828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p>
                <a:r>
                  <a:rPr lang="en-US" sz="999" dirty="0">
                    <a:solidFill>
                      <a:srgbClr val="9999A9"/>
                    </a:solidFill>
                    <a:cs typeface="Arial" panose="020B0604020202020204" pitchFamily="34" charset="0"/>
                  </a:rPr>
                  <a:t>Partially covered </a:t>
                </a:r>
              </a:p>
            </p:txBody>
          </p:sp>
        </p:grpSp>
        <p:grpSp>
          <p:nvGrpSpPr>
            <p:cNvPr id="23" name="Gruppieren 13"/>
            <p:cNvGrpSpPr>
              <a:grpSpLocks/>
            </p:cNvGrpSpPr>
            <p:nvPr/>
          </p:nvGrpSpPr>
          <p:grpSpPr bwMode="gray">
            <a:xfrm>
              <a:off x="2899644" y="5916314"/>
              <a:ext cx="866357" cy="307777"/>
              <a:chOff x="3362871" y="5976931"/>
              <a:chExt cx="866357" cy="307777"/>
            </a:xfrm>
          </p:grpSpPr>
          <p:sp>
            <p:nvSpPr>
              <p:cNvPr id="24" name="Textfeld 14"/>
              <p:cNvSpPr txBox="1">
                <a:spLocks/>
              </p:cNvSpPr>
              <p:nvPr/>
            </p:nvSpPr>
            <p:spPr bwMode="gray">
              <a:xfrm>
                <a:off x="3362871" y="5976931"/>
                <a:ext cx="142668" cy="307777"/>
              </a:xfrm>
              <a:prstGeom prst="rect">
                <a:avLst/>
              </a:prstGeom>
              <a:noFill/>
            </p:spPr>
            <p:txBody>
              <a:bodyPr wrap="none" lIns="0" tIns="0" rIns="0" bIns="0" rtlCol="0" anchor="ctr">
                <a:spAutoFit/>
              </a:bodyPr>
              <a:lstStyle/>
              <a:p>
                <a:pPr algn="ctr">
                  <a:defRPr/>
                </a:pPr>
                <a:r>
                  <a:rPr lang="en-US" sz="1999" dirty="0">
                    <a:solidFill>
                      <a:srgbClr val="00FFB9"/>
                    </a:solidFill>
                    <a:cs typeface="Arial" panose="020B0604020202020204" pitchFamily="34" charset="0"/>
                  </a:rPr>
                  <a:t>o</a:t>
                </a:r>
              </a:p>
            </p:txBody>
          </p:sp>
          <p:sp>
            <p:nvSpPr>
              <p:cNvPr id="25" name="RectanNcCfwp1CAg0C6Bt9Z6WU4Ng"/>
              <p:cNvSpPr>
                <a:spLocks noChangeArrowheads="1"/>
              </p:cNvSpPr>
              <p:nvPr/>
            </p:nvSpPr>
            <p:spPr bwMode="gray">
              <a:xfrm>
                <a:off x="3541539" y="6074221"/>
                <a:ext cx="68768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p>
                <a:r>
                  <a:rPr lang="en-US" sz="999" dirty="0">
                    <a:solidFill>
                      <a:srgbClr val="9999A9"/>
                    </a:solidFill>
                    <a:cs typeface="Arial" panose="020B0604020202020204" pitchFamily="34" charset="0"/>
                  </a:rPr>
                  <a:t>Not covered</a:t>
                </a:r>
              </a:p>
            </p:txBody>
          </p:sp>
        </p:grpSp>
      </p:grpSp>
      <p:sp>
        <p:nvSpPr>
          <p:cNvPr id="4" name="Footer Placeholder 3">
            <a:extLst>
              <a:ext uri="{FF2B5EF4-FFF2-40B4-BE49-F238E27FC236}">
                <a16:creationId xmlns:a16="http://schemas.microsoft.com/office/drawing/2014/main" id="{2978FBCA-FACB-4D45-A3D4-9983F7924AFD}"/>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7" name="Slide Number Placeholder 6">
            <a:extLst>
              <a:ext uri="{FF2B5EF4-FFF2-40B4-BE49-F238E27FC236}">
                <a16:creationId xmlns:a16="http://schemas.microsoft.com/office/drawing/2014/main" id="{BF792A0E-00F3-4483-87A1-45C89EB69E10}"/>
              </a:ext>
            </a:extLst>
          </p:cNvPr>
          <p:cNvSpPr>
            <a:spLocks noGrp="1"/>
          </p:cNvSpPr>
          <p:nvPr>
            <p:ph type="sldNum" sz="quarter" idx="11"/>
          </p:nvPr>
        </p:nvSpPr>
        <p:spPr/>
        <p:txBody>
          <a:bodyPr/>
          <a:lstStyle/>
          <a:p>
            <a:r>
              <a:rPr lang="en-US" dirty="0"/>
              <a:t>Page </a:t>
            </a:r>
            <a:fld id="{15EBE321-CBB1-4E91-BD14-37C8D44326FB}" type="slidenum">
              <a:rPr lang="en-US" smtClean="0"/>
              <a:pPr/>
              <a:t>199</a:t>
            </a:fld>
            <a:endParaRPr lang="en-US" dirty="0"/>
          </a:p>
        </p:txBody>
      </p:sp>
    </p:spTree>
    <p:extLst>
      <p:ext uri="{BB962C8B-B14F-4D97-AF65-F5344CB8AC3E}">
        <p14:creationId xmlns:p14="http://schemas.microsoft.com/office/powerpoint/2010/main" val="2740131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CB660B31-840B-4A3B-8110-09C2D60E070C}"/>
              </a:ext>
            </a:extLst>
          </p:cNvPr>
          <p:cNvSpPr>
            <a:spLocks noGrp="1"/>
          </p:cNvSpPr>
          <p:nvPr>
            <p:ph type="title"/>
          </p:nvPr>
        </p:nvSpPr>
        <p:spPr/>
        <p:txBody>
          <a:bodyPr/>
          <a:lstStyle/>
          <a:p>
            <a:r>
              <a:rPr lang="en-US" dirty="0"/>
              <a:t>Color palette</a:t>
            </a:r>
            <a:br>
              <a:rPr lang="en-US" dirty="0"/>
            </a:br>
            <a:r>
              <a:rPr lang="en-US" b="0" dirty="0"/>
              <a:t>Theme Colors and Custom Colors</a:t>
            </a:r>
          </a:p>
        </p:txBody>
      </p:sp>
      <p:sp>
        <p:nvSpPr>
          <p:cNvPr id="92" name="Theme Colors">
            <a:extLst>
              <a:ext uri="{FF2B5EF4-FFF2-40B4-BE49-F238E27FC236}">
                <a16:creationId xmlns:a16="http://schemas.microsoft.com/office/drawing/2014/main" id="{86AE98CA-6C0C-4038-8052-AEE98EA24F09}"/>
              </a:ext>
            </a:extLst>
          </p:cNvPr>
          <p:cNvSpPr txBox="1"/>
          <p:nvPr/>
        </p:nvSpPr>
        <p:spPr>
          <a:xfrm>
            <a:off x="9050400" y="1414463"/>
            <a:ext cx="2736000" cy="720000"/>
          </a:xfrm>
          <a:prstGeom prst="rect">
            <a:avLst/>
          </a:prstGeom>
          <a:noFill/>
        </p:spPr>
        <p:txBody>
          <a:bodyPr wrap="square" lIns="0" tIns="0" rIns="0" bIns="0" rtlCol="0" anchor="b">
            <a:noAutofit/>
          </a:bodyPr>
          <a:lstStyle/>
          <a:p>
            <a:pPr algn="l"/>
            <a:r>
              <a:rPr lang="en-US" b="1" dirty="0">
                <a:solidFill>
                  <a:schemeClr val="accent1"/>
                </a:solidFill>
              </a:rPr>
              <a:t>Theme Colors</a:t>
            </a:r>
          </a:p>
        </p:txBody>
      </p:sp>
      <p:sp>
        <p:nvSpPr>
          <p:cNvPr id="156" name="Custom Colors">
            <a:extLst>
              <a:ext uri="{FF2B5EF4-FFF2-40B4-BE49-F238E27FC236}">
                <a16:creationId xmlns:a16="http://schemas.microsoft.com/office/drawing/2014/main" id="{FB8CF230-A14D-4113-AA7C-FB33DB37166F}"/>
              </a:ext>
            </a:extLst>
          </p:cNvPr>
          <p:cNvSpPr txBox="1"/>
          <p:nvPr/>
        </p:nvSpPr>
        <p:spPr>
          <a:xfrm>
            <a:off x="9050400" y="2998800"/>
            <a:ext cx="2736000" cy="720000"/>
          </a:xfrm>
          <a:prstGeom prst="rect">
            <a:avLst/>
          </a:prstGeom>
          <a:noFill/>
        </p:spPr>
        <p:txBody>
          <a:bodyPr wrap="square" lIns="0" tIns="0" rIns="0" bIns="0" rtlCol="0" anchor="b">
            <a:noAutofit/>
          </a:bodyPr>
          <a:lstStyle/>
          <a:p>
            <a:pPr algn="l"/>
            <a:r>
              <a:rPr lang="en-US" b="1" dirty="0">
                <a:solidFill>
                  <a:schemeClr val="accent1"/>
                </a:solidFill>
              </a:rPr>
              <a:t>Custom Colors</a:t>
            </a:r>
          </a:p>
        </p:txBody>
      </p:sp>
      <p:sp>
        <p:nvSpPr>
          <p:cNvPr id="2" name="Footer Placeholder">
            <a:extLst>
              <a:ext uri="{FF2B5EF4-FFF2-40B4-BE49-F238E27FC236}">
                <a16:creationId xmlns:a16="http://schemas.microsoft.com/office/drawing/2014/main" id="{AB274CE4-8BCC-4948-A159-168DB871E508}"/>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3" name="Slide Number Placeholder">
            <a:extLst>
              <a:ext uri="{FF2B5EF4-FFF2-40B4-BE49-F238E27FC236}">
                <a16:creationId xmlns:a16="http://schemas.microsoft.com/office/drawing/2014/main" id="{09E5BF8C-9C5D-459F-8B40-C7FC3423A4FB}"/>
              </a:ext>
            </a:extLst>
          </p:cNvPr>
          <p:cNvSpPr>
            <a:spLocks noGrp="1"/>
          </p:cNvSpPr>
          <p:nvPr>
            <p:ph type="sldNum" sz="quarter" idx="11"/>
          </p:nvPr>
        </p:nvSpPr>
        <p:spPr/>
        <p:txBody>
          <a:bodyPr/>
          <a:lstStyle/>
          <a:p>
            <a:r>
              <a:rPr lang="en-US" dirty="0"/>
              <a:t>Page </a:t>
            </a:r>
            <a:fld id="{15EBE321-CBB1-4E91-BD14-37C8D44326FB}" type="slidenum">
              <a:rPr lang="en-US" smtClean="0"/>
              <a:pPr/>
              <a:t>2</a:t>
            </a:fld>
            <a:endParaRPr lang="en-US" dirty="0"/>
          </a:p>
        </p:txBody>
      </p:sp>
      <p:sp>
        <p:nvSpPr>
          <p:cNvPr id="89" name="White">
            <a:extLst>
              <a:ext uri="{FF2B5EF4-FFF2-40B4-BE49-F238E27FC236}">
                <a16:creationId xmlns:a16="http://schemas.microsoft.com/office/drawing/2014/main" id="{E72183FE-2CB7-47E5-ACD9-FE3E4E214989}"/>
              </a:ext>
            </a:extLst>
          </p:cNvPr>
          <p:cNvSpPr>
            <a:spLocks noChangeAspect="1"/>
          </p:cNvSpPr>
          <p:nvPr/>
        </p:nvSpPr>
        <p:spPr>
          <a:xfrm>
            <a:off x="411162" y="1414463"/>
            <a:ext cx="720000" cy="720000"/>
          </a:xfrm>
          <a:prstGeom prst="rect">
            <a:avLst/>
          </a:prstGeom>
          <a:solidFill>
            <a:schemeClr val="bg1"/>
          </a:solidFill>
          <a:ln w="3175">
            <a:solidFill>
              <a:srgbClr val="66667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0" dirty="0"/>
          </a:p>
        </p:txBody>
      </p:sp>
      <p:sp>
        <p:nvSpPr>
          <p:cNvPr id="90" name="Copy White">
            <a:extLst>
              <a:ext uri="{FF2B5EF4-FFF2-40B4-BE49-F238E27FC236}">
                <a16:creationId xmlns:a16="http://schemas.microsoft.com/office/drawing/2014/main" id="{2CBDADB0-7E66-4F5D-B75C-03B45E781073}"/>
              </a:ext>
            </a:extLst>
          </p:cNvPr>
          <p:cNvSpPr txBox="1"/>
          <p:nvPr/>
        </p:nvSpPr>
        <p:spPr>
          <a:xfrm>
            <a:off x="411162" y="2134800"/>
            <a:ext cx="720000" cy="288000"/>
          </a:xfrm>
          <a:prstGeom prst="rect">
            <a:avLst/>
          </a:prstGeom>
          <a:noFill/>
        </p:spPr>
        <p:txBody>
          <a:bodyPr wrap="square" lIns="0" tIns="72000" rIns="0" bIns="0" rtlCol="0">
            <a:noAutofit/>
          </a:bodyPr>
          <a:lstStyle/>
          <a:p>
            <a:pPr algn="l"/>
            <a:r>
              <a:rPr lang="en-US" sz="550" dirty="0"/>
              <a:t>White</a:t>
            </a:r>
          </a:p>
          <a:p>
            <a:pPr algn="l"/>
            <a:r>
              <a:rPr lang="en-US" sz="550" dirty="0"/>
              <a:t>#FFFFFF</a:t>
            </a:r>
            <a:br>
              <a:rPr lang="en-US" sz="550" dirty="0"/>
            </a:br>
            <a:endParaRPr lang="en-US" sz="550" dirty="0"/>
          </a:p>
        </p:txBody>
      </p:sp>
      <p:sp>
        <p:nvSpPr>
          <p:cNvPr id="91" name="Black">
            <a:extLst>
              <a:ext uri="{FF2B5EF4-FFF2-40B4-BE49-F238E27FC236}">
                <a16:creationId xmlns:a16="http://schemas.microsoft.com/office/drawing/2014/main" id="{4839FFF0-75E3-450C-B9B4-5432C013012E}"/>
              </a:ext>
            </a:extLst>
          </p:cNvPr>
          <p:cNvSpPr>
            <a:spLocks noChangeAspect="1"/>
          </p:cNvSpPr>
          <p:nvPr/>
        </p:nvSpPr>
        <p:spPr>
          <a:xfrm>
            <a:off x="1275077" y="1414463"/>
            <a:ext cx="720000" cy="720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0" dirty="0"/>
          </a:p>
        </p:txBody>
      </p:sp>
      <p:sp>
        <p:nvSpPr>
          <p:cNvPr id="94" name="Copy Black">
            <a:extLst>
              <a:ext uri="{FF2B5EF4-FFF2-40B4-BE49-F238E27FC236}">
                <a16:creationId xmlns:a16="http://schemas.microsoft.com/office/drawing/2014/main" id="{05927165-E6E2-47D7-A404-4A04BD0901CD}"/>
              </a:ext>
            </a:extLst>
          </p:cNvPr>
          <p:cNvSpPr txBox="1"/>
          <p:nvPr/>
        </p:nvSpPr>
        <p:spPr>
          <a:xfrm>
            <a:off x="1275077" y="2134800"/>
            <a:ext cx="720000" cy="288000"/>
          </a:xfrm>
          <a:prstGeom prst="rect">
            <a:avLst/>
          </a:prstGeom>
          <a:noFill/>
        </p:spPr>
        <p:txBody>
          <a:bodyPr wrap="square" lIns="0" tIns="72000" rIns="0" bIns="0" rtlCol="0">
            <a:noAutofit/>
          </a:bodyPr>
          <a:lstStyle/>
          <a:p>
            <a:pPr algn="l"/>
            <a:r>
              <a:rPr lang="en-US" sz="550" dirty="0"/>
              <a:t>Black</a:t>
            </a:r>
          </a:p>
          <a:p>
            <a:pPr algn="l"/>
            <a:r>
              <a:rPr lang="en-US" sz="550" dirty="0"/>
              <a:t>#000000</a:t>
            </a:r>
          </a:p>
        </p:txBody>
      </p:sp>
      <p:sp>
        <p:nvSpPr>
          <p:cNvPr id="95" name="Light Sand">
            <a:extLst>
              <a:ext uri="{FF2B5EF4-FFF2-40B4-BE49-F238E27FC236}">
                <a16:creationId xmlns:a16="http://schemas.microsoft.com/office/drawing/2014/main" id="{F6448ABB-5C77-482D-B07D-91AE0CB58BED}"/>
              </a:ext>
            </a:extLst>
          </p:cNvPr>
          <p:cNvSpPr>
            <a:spLocks noChangeAspect="1"/>
          </p:cNvSpPr>
          <p:nvPr/>
        </p:nvSpPr>
        <p:spPr>
          <a:xfrm>
            <a:off x="2138992" y="1414463"/>
            <a:ext cx="720000" cy="72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0" dirty="0"/>
          </a:p>
        </p:txBody>
      </p:sp>
      <p:sp>
        <p:nvSpPr>
          <p:cNvPr id="96" name="Copy Sand Light">
            <a:extLst>
              <a:ext uri="{FF2B5EF4-FFF2-40B4-BE49-F238E27FC236}">
                <a16:creationId xmlns:a16="http://schemas.microsoft.com/office/drawing/2014/main" id="{DBA845F2-7C8F-450F-B986-277A0956EC3F}"/>
              </a:ext>
            </a:extLst>
          </p:cNvPr>
          <p:cNvSpPr txBox="1"/>
          <p:nvPr/>
        </p:nvSpPr>
        <p:spPr>
          <a:xfrm>
            <a:off x="2138992" y="2134800"/>
            <a:ext cx="720000" cy="288000"/>
          </a:xfrm>
          <a:prstGeom prst="rect">
            <a:avLst/>
          </a:prstGeom>
          <a:noFill/>
        </p:spPr>
        <p:txBody>
          <a:bodyPr wrap="square" lIns="0" tIns="72000" rIns="0" bIns="0" rtlCol="0">
            <a:noAutofit/>
          </a:bodyPr>
          <a:lstStyle/>
          <a:p>
            <a:pPr algn="l"/>
            <a:r>
              <a:rPr lang="en-US" sz="550" dirty="0"/>
              <a:t>Light Sand</a:t>
            </a:r>
          </a:p>
          <a:p>
            <a:pPr algn="l"/>
            <a:r>
              <a:rPr lang="en-US" sz="550" dirty="0"/>
              <a:t>#F3F3F0</a:t>
            </a:r>
          </a:p>
        </p:txBody>
      </p:sp>
      <p:sp>
        <p:nvSpPr>
          <p:cNvPr id="97" name="Deep Blue">
            <a:extLst>
              <a:ext uri="{FF2B5EF4-FFF2-40B4-BE49-F238E27FC236}">
                <a16:creationId xmlns:a16="http://schemas.microsoft.com/office/drawing/2014/main" id="{ECEF5299-88B9-4AC8-9646-1EF16D8C5F62}"/>
              </a:ext>
            </a:extLst>
          </p:cNvPr>
          <p:cNvSpPr>
            <a:spLocks noChangeAspect="1"/>
          </p:cNvSpPr>
          <p:nvPr/>
        </p:nvSpPr>
        <p:spPr>
          <a:xfrm>
            <a:off x="3002907" y="1414463"/>
            <a:ext cx="720000" cy="7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0" dirty="0"/>
          </a:p>
        </p:txBody>
      </p:sp>
      <p:sp>
        <p:nvSpPr>
          <p:cNvPr id="98" name="Copy Deep Blue">
            <a:extLst>
              <a:ext uri="{FF2B5EF4-FFF2-40B4-BE49-F238E27FC236}">
                <a16:creationId xmlns:a16="http://schemas.microsoft.com/office/drawing/2014/main" id="{9F8CF8BF-58F8-45A3-B6DB-5253119DDC8D}"/>
              </a:ext>
            </a:extLst>
          </p:cNvPr>
          <p:cNvSpPr txBox="1"/>
          <p:nvPr/>
        </p:nvSpPr>
        <p:spPr>
          <a:xfrm>
            <a:off x="3002907" y="2134800"/>
            <a:ext cx="720000" cy="288000"/>
          </a:xfrm>
          <a:prstGeom prst="rect">
            <a:avLst/>
          </a:prstGeom>
          <a:noFill/>
        </p:spPr>
        <p:txBody>
          <a:bodyPr wrap="square" lIns="0" tIns="72000" rIns="0" bIns="0" rtlCol="0">
            <a:noAutofit/>
          </a:bodyPr>
          <a:lstStyle/>
          <a:p>
            <a:r>
              <a:rPr lang="en-US" sz="550" dirty="0"/>
              <a:t>Deep Blue</a:t>
            </a:r>
          </a:p>
          <a:p>
            <a:r>
              <a:rPr lang="en-US" sz="550" dirty="0"/>
              <a:t>#000028</a:t>
            </a:r>
          </a:p>
        </p:txBody>
      </p:sp>
      <p:sp>
        <p:nvSpPr>
          <p:cNvPr id="100" name="Siemens Petrol">
            <a:extLst>
              <a:ext uri="{FF2B5EF4-FFF2-40B4-BE49-F238E27FC236}">
                <a16:creationId xmlns:a16="http://schemas.microsoft.com/office/drawing/2014/main" id="{1E07D888-279C-4A33-98C3-E90EFCEEB0CD}"/>
              </a:ext>
            </a:extLst>
          </p:cNvPr>
          <p:cNvSpPr>
            <a:spLocks noChangeAspect="1"/>
          </p:cNvSpPr>
          <p:nvPr/>
        </p:nvSpPr>
        <p:spPr>
          <a:xfrm>
            <a:off x="3866822" y="1414463"/>
            <a:ext cx="720000" cy="72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0" dirty="0"/>
          </a:p>
        </p:txBody>
      </p:sp>
      <p:sp>
        <p:nvSpPr>
          <p:cNvPr id="101" name="Copy Siemens Petrol">
            <a:extLst>
              <a:ext uri="{FF2B5EF4-FFF2-40B4-BE49-F238E27FC236}">
                <a16:creationId xmlns:a16="http://schemas.microsoft.com/office/drawing/2014/main" id="{7B419CB8-9EBE-4D8C-ACFA-78A32E964371}"/>
              </a:ext>
            </a:extLst>
          </p:cNvPr>
          <p:cNvSpPr txBox="1"/>
          <p:nvPr/>
        </p:nvSpPr>
        <p:spPr>
          <a:xfrm>
            <a:off x="3866822" y="2134800"/>
            <a:ext cx="720000" cy="288000"/>
          </a:xfrm>
          <a:prstGeom prst="rect">
            <a:avLst/>
          </a:prstGeom>
          <a:noFill/>
        </p:spPr>
        <p:txBody>
          <a:bodyPr wrap="square" lIns="0" tIns="72000" rIns="0" bIns="0" rtlCol="0">
            <a:noAutofit/>
          </a:bodyPr>
          <a:lstStyle/>
          <a:p>
            <a:pPr algn="l"/>
            <a:r>
              <a:rPr lang="en-US" sz="550" dirty="0"/>
              <a:t>Siemens Petrol</a:t>
            </a:r>
          </a:p>
          <a:p>
            <a:pPr algn="l"/>
            <a:r>
              <a:rPr lang="en-US" sz="550" dirty="0"/>
              <a:t>#009999</a:t>
            </a:r>
          </a:p>
        </p:txBody>
      </p:sp>
      <p:sp>
        <p:nvSpPr>
          <p:cNvPr id="102" name="Soft Green">
            <a:extLst>
              <a:ext uri="{FF2B5EF4-FFF2-40B4-BE49-F238E27FC236}">
                <a16:creationId xmlns:a16="http://schemas.microsoft.com/office/drawing/2014/main" id="{D48FBDB0-5535-42D2-88D6-84CCE3688B75}"/>
              </a:ext>
            </a:extLst>
          </p:cNvPr>
          <p:cNvSpPr>
            <a:spLocks noChangeAspect="1"/>
          </p:cNvSpPr>
          <p:nvPr/>
        </p:nvSpPr>
        <p:spPr>
          <a:xfrm>
            <a:off x="4730737" y="1414463"/>
            <a:ext cx="720000" cy="72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0" dirty="0"/>
          </a:p>
        </p:txBody>
      </p:sp>
      <p:sp>
        <p:nvSpPr>
          <p:cNvPr id="103" name="Copy Soft Green">
            <a:extLst>
              <a:ext uri="{FF2B5EF4-FFF2-40B4-BE49-F238E27FC236}">
                <a16:creationId xmlns:a16="http://schemas.microsoft.com/office/drawing/2014/main" id="{766BA176-6424-4640-8A8C-B47E134AF10C}"/>
              </a:ext>
            </a:extLst>
          </p:cNvPr>
          <p:cNvSpPr txBox="1"/>
          <p:nvPr/>
        </p:nvSpPr>
        <p:spPr>
          <a:xfrm>
            <a:off x="4730737" y="2134800"/>
            <a:ext cx="720000" cy="288000"/>
          </a:xfrm>
          <a:prstGeom prst="rect">
            <a:avLst/>
          </a:prstGeom>
          <a:noFill/>
        </p:spPr>
        <p:txBody>
          <a:bodyPr wrap="square" lIns="0" tIns="72000" rIns="0" bIns="0" rtlCol="0">
            <a:noAutofit/>
          </a:bodyPr>
          <a:lstStyle/>
          <a:p>
            <a:pPr algn="l"/>
            <a:r>
              <a:rPr lang="en-US" sz="550" dirty="0"/>
              <a:t>Soft Green</a:t>
            </a:r>
          </a:p>
          <a:p>
            <a:pPr algn="l"/>
            <a:r>
              <a:rPr lang="en-US" sz="550" dirty="0"/>
              <a:t>#00D7A0</a:t>
            </a:r>
          </a:p>
        </p:txBody>
      </p:sp>
      <p:sp>
        <p:nvSpPr>
          <p:cNvPr id="104" name="Soft Blue">
            <a:extLst>
              <a:ext uri="{FF2B5EF4-FFF2-40B4-BE49-F238E27FC236}">
                <a16:creationId xmlns:a16="http://schemas.microsoft.com/office/drawing/2014/main" id="{B391B2CB-CFF3-4A92-B669-BABE1A261101}"/>
              </a:ext>
            </a:extLst>
          </p:cNvPr>
          <p:cNvSpPr>
            <a:spLocks noChangeAspect="1"/>
          </p:cNvSpPr>
          <p:nvPr/>
        </p:nvSpPr>
        <p:spPr>
          <a:xfrm>
            <a:off x="5594652" y="1414463"/>
            <a:ext cx="720000" cy="72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0" dirty="0"/>
          </a:p>
        </p:txBody>
      </p:sp>
      <p:sp>
        <p:nvSpPr>
          <p:cNvPr id="105" name="Copy Soft Blue">
            <a:extLst>
              <a:ext uri="{FF2B5EF4-FFF2-40B4-BE49-F238E27FC236}">
                <a16:creationId xmlns:a16="http://schemas.microsoft.com/office/drawing/2014/main" id="{4FA2CE02-27AF-42D9-9A83-35C07065EC0D}"/>
              </a:ext>
            </a:extLst>
          </p:cNvPr>
          <p:cNvSpPr txBox="1"/>
          <p:nvPr/>
        </p:nvSpPr>
        <p:spPr>
          <a:xfrm>
            <a:off x="5594652" y="2134800"/>
            <a:ext cx="720000" cy="288000"/>
          </a:xfrm>
          <a:prstGeom prst="rect">
            <a:avLst/>
          </a:prstGeom>
          <a:noFill/>
        </p:spPr>
        <p:txBody>
          <a:bodyPr wrap="square" lIns="0" tIns="72000" rIns="0" bIns="0" rtlCol="0">
            <a:noAutofit/>
          </a:bodyPr>
          <a:lstStyle/>
          <a:p>
            <a:r>
              <a:rPr lang="en-US" sz="550" dirty="0"/>
              <a:t>Soft Blue</a:t>
            </a:r>
          </a:p>
          <a:p>
            <a:r>
              <a:rPr lang="en-US" sz="550" dirty="0"/>
              <a:t>#00BEDC</a:t>
            </a:r>
          </a:p>
        </p:txBody>
      </p:sp>
      <p:sp>
        <p:nvSpPr>
          <p:cNvPr id="106" name="Bright Blue">
            <a:extLst>
              <a:ext uri="{FF2B5EF4-FFF2-40B4-BE49-F238E27FC236}">
                <a16:creationId xmlns:a16="http://schemas.microsoft.com/office/drawing/2014/main" id="{3E161449-0B06-4F5B-BEAB-2337B0BB39CB}"/>
              </a:ext>
            </a:extLst>
          </p:cNvPr>
          <p:cNvSpPr>
            <a:spLocks noChangeAspect="1"/>
          </p:cNvSpPr>
          <p:nvPr/>
        </p:nvSpPr>
        <p:spPr>
          <a:xfrm>
            <a:off x="6458567" y="1414463"/>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0" dirty="0"/>
          </a:p>
        </p:txBody>
      </p:sp>
      <p:sp>
        <p:nvSpPr>
          <p:cNvPr id="107" name="Copy Bright Blue">
            <a:extLst>
              <a:ext uri="{FF2B5EF4-FFF2-40B4-BE49-F238E27FC236}">
                <a16:creationId xmlns:a16="http://schemas.microsoft.com/office/drawing/2014/main" id="{EF86B70D-CB4C-4F7D-A118-07D27DB0039C}"/>
              </a:ext>
            </a:extLst>
          </p:cNvPr>
          <p:cNvSpPr txBox="1"/>
          <p:nvPr/>
        </p:nvSpPr>
        <p:spPr>
          <a:xfrm>
            <a:off x="6458567" y="2134800"/>
            <a:ext cx="720000" cy="288000"/>
          </a:xfrm>
          <a:prstGeom prst="rect">
            <a:avLst/>
          </a:prstGeom>
          <a:noFill/>
        </p:spPr>
        <p:txBody>
          <a:bodyPr wrap="square" lIns="0" tIns="72000" rIns="0" bIns="0" rtlCol="0">
            <a:noAutofit/>
          </a:bodyPr>
          <a:lstStyle/>
          <a:p>
            <a:r>
              <a:rPr lang="en-US" sz="550" dirty="0"/>
              <a:t>Blue</a:t>
            </a:r>
          </a:p>
          <a:p>
            <a:r>
              <a:rPr lang="en-US" sz="550" dirty="0"/>
              <a:t>#0087BE</a:t>
            </a:r>
          </a:p>
        </p:txBody>
      </p:sp>
      <p:sp>
        <p:nvSpPr>
          <p:cNvPr id="108" name="Dark Blue">
            <a:extLst>
              <a:ext uri="{FF2B5EF4-FFF2-40B4-BE49-F238E27FC236}">
                <a16:creationId xmlns:a16="http://schemas.microsoft.com/office/drawing/2014/main" id="{5EFD1105-B103-41F9-9ACF-D0FD71A71F62}"/>
              </a:ext>
            </a:extLst>
          </p:cNvPr>
          <p:cNvSpPr>
            <a:spLocks noChangeAspect="1"/>
          </p:cNvSpPr>
          <p:nvPr/>
        </p:nvSpPr>
        <p:spPr>
          <a:xfrm>
            <a:off x="7322482" y="1414463"/>
            <a:ext cx="720000" cy="72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0" dirty="0"/>
          </a:p>
        </p:txBody>
      </p:sp>
      <p:sp>
        <p:nvSpPr>
          <p:cNvPr id="109" name="Copy Dark Blue">
            <a:extLst>
              <a:ext uri="{FF2B5EF4-FFF2-40B4-BE49-F238E27FC236}">
                <a16:creationId xmlns:a16="http://schemas.microsoft.com/office/drawing/2014/main" id="{FB9A3C3D-05D6-4BFC-BCC9-56FF3B70285C}"/>
              </a:ext>
            </a:extLst>
          </p:cNvPr>
          <p:cNvSpPr txBox="1"/>
          <p:nvPr/>
        </p:nvSpPr>
        <p:spPr>
          <a:xfrm>
            <a:off x="7322482" y="2134800"/>
            <a:ext cx="720000" cy="288000"/>
          </a:xfrm>
          <a:prstGeom prst="rect">
            <a:avLst/>
          </a:prstGeom>
          <a:noFill/>
        </p:spPr>
        <p:txBody>
          <a:bodyPr wrap="square" lIns="0" tIns="72000" rIns="0" bIns="0" rtlCol="0">
            <a:noAutofit/>
          </a:bodyPr>
          <a:lstStyle/>
          <a:p>
            <a:r>
              <a:rPr lang="en-US" sz="550" dirty="0"/>
              <a:t>Dark Blue</a:t>
            </a:r>
          </a:p>
          <a:p>
            <a:r>
              <a:rPr lang="en-US" sz="550" dirty="0"/>
              <a:t>#00557C</a:t>
            </a:r>
          </a:p>
        </p:txBody>
      </p:sp>
      <p:sp>
        <p:nvSpPr>
          <p:cNvPr id="110" name="Deep Blue">
            <a:extLst>
              <a:ext uri="{FF2B5EF4-FFF2-40B4-BE49-F238E27FC236}">
                <a16:creationId xmlns:a16="http://schemas.microsoft.com/office/drawing/2014/main" id="{829C7538-FB96-44AF-A70C-9F0E3AC50739}"/>
              </a:ext>
            </a:extLst>
          </p:cNvPr>
          <p:cNvSpPr>
            <a:spLocks noChangeAspect="1"/>
          </p:cNvSpPr>
          <p:nvPr/>
        </p:nvSpPr>
        <p:spPr>
          <a:xfrm>
            <a:off x="8186400" y="1414463"/>
            <a:ext cx="720000" cy="720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0" dirty="0"/>
          </a:p>
        </p:txBody>
      </p:sp>
      <p:sp>
        <p:nvSpPr>
          <p:cNvPr id="111" name="Copy Deep Blue">
            <a:extLst>
              <a:ext uri="{FF2B5EF4-FFF2-40B4-BE49-F238E27FC236}">
                <a16:creationId xmlns:a16="http://schemas.microsoft.com/office/drawing/2014/main" id="{ED45A7A0-3B43-4C83-92F3-D074DE8CB670}"/>
              </a:ext>
            </a:extLst>
          </p:cNvPr>
          <p:cNvSpPr txBox="1"/>
          <p:nvPr/>
        </p:nvSpPr>
        <p:spPr>
          <a:xfrm>
            <a:off x="8186400" y="2134800"/>
            <a:ext cx="720000" cy="288000"/>
          </a:xfrm>
          <a:prstGeom prst="rect">
            <a:avLst/>
          </a:prstGeom>
          <a:noFill/>
        </p:spPr>
        <p:txBody>
          <a:bodyPr wrap="square" lIns="0" tIns="72000" rIns="0" bIns="0" rtlCol="0">
            <a:noAutofit/>
          </a:bodyPr>
          <a:lstStyle/>
          <a:p>
            <a:r>
              <a:rPr lang="en-US" sz="550" dirty="0"/>
              <a:t>Deep Blue</a:t>
            </a:r>
          </a:p>
          <a:p>
            <a:r>
              <a:rPr lang="en-US" sz="550" dirty="0"/>
              <a:t>#000028</a:t>
            </a:r>
          </a:p>
        </p:txBody>
      </p:sp>
      <p:sp>
        <p:nvSpPr>
          <p:cNvPr id="113" name="Dark Gray">
            <a:extLst>
              <a:ext uri="{FF2B5EF4-FFF2-40B4-BE49-F238E27FC236}">
                <a16:creationId xmlns:a16="http://schemas.microsoft.com/office/drawing/2014/main" id="{B85AEC89-A0D3-4AE1-8EBB-A28184426205}"/>
              </a:ext>
            </a:extLst>
          </p:cNvPr>
          <p:cNvSpPr>
            <a:spLocks noChangeAspect="1"/>
          </p:cNvSpPr>
          <p:nvPr/>
        </p:nvSpPr>
        <p:spPr>
          <a:xfrm>
            <a:off x="411162" y="2998800"/>
            <a:ext cx="720000" cy="720000"/>
          </a:xfrm>
          <a:prstGeom prst="rect">
            <a:avLst/>
          </a:prstGeom>
          <a:solidFill>
            <a:srgbClr val="009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0" dirty="0"/>
          </a:p>
        </p:txBody>
      </p:sp>
      <p:sp>
        <p:nvSpPr>
          <p:cNvPr id="114" name="Copy Dark Gray">
            <a:extLst>
              <a:ext uri="{FF2B5EF4-FFF2-40B4-BE49-F238E27FC236}">
                <a16:creationId xmlns:a16="http://schemas.microsoft.com/office/drawing/2014/main" id="{22D926E6-D8B6-4CB4-963A-556DED0B0AFC}"/>
              </a:ext>
            </a:extLst>
          </p:cNvPr>
          <p:cNvSpPr txBox="1"/>
          <p:nvPr/>
        </p:nvSpPr>
        <p:spPr>
          <a:xfrm>
            <a:off x="411162" y="3718800"/>
            <a:ext cx="720000" cy="288000"/>
          </a:xfrm>
          <a:prstGeom prst="rect">
            <a:avLst/>
          </a:prstGeom>
          <a:noFill/>
        </p:spPr>
        <p:txBody>
          <a:bodyPr wrap="square" lIns="0" tIns="72000" rIns="0" bIns="0" rtlCol="0">
            <a:noAutofit/>
          </a:bodyPr>
          <a:lstStyle/>
          <a:p>
            <a:r>
              <a:rPr lang="en-US" sz="550" dirty="0"/>
              <a:t>Siemens Petrol</a:t>
            </a:r>
          </a:p>
          <a:p>
            <a:r>
              <a:rPr lang="en-US" sz="550" dirty="0"/>
              <a:t>#009999</a:t>
            </a:r>
          </a:p>
        </p:txBody>
      </p:sp>
      <p:sp>
        <p:nvSpPr>
          <p:cNvPr id="115" name="Gray">
            <a:extLst>
              <a:ext uri="{FF2B5EF4-FFF2-40B4-BE49-F238E27FC236}">
                <a16:creationId xmlns:a16="http://schemas.microsoft.com/office/drawing/2014/main" id="{03A80359-2509-4687-9255-AAB6AC9BE400}"/>
              </a:ext>
            </a:extLst>
          </p:cNvPr>
          <p:cNvSpPr>
            <a:spLocks noChangeAspect="1"/>
          </p:cNvSpPr>
          <p:nvPr/>
        </p:nvSpPr>
        <p:spPr>
          <a:xfrm>
            <a:off x="1275077" y="2998800"/>
            <a:ext cx="720000" cy="720000"/>
          </a:xfrm>
          <a:prstGeom prst="rect">
            <a:avLst/>
          </a:prstGeom>
          <a:solidFill>
            <a:srgbClr val="FFFFFF"/>
          </a:solidFill>
          <a:ln w="3175">
            <a:solidFill>
              <a:srgbClr val="CCCC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0" dirty="0"/>
          </a:p>
        </p:txBody>
      </p:sp>
      <p:sp>
        <p:nvSpPr>
          <p:cNvPr id="116" name="Copy Gray">
            <a:extLst>
              <a:ext uri="{FF2B5EF4-FFF2-40B4-BE49-F238E27FC236}">
                <a16:creationId xmlns:a16="http://schemas.microsoft.com/office/drawing/2014/main" id="{ED2FCE21-2E76-4431-AEB5-38F75FC0765E}"/>
              </a:ext>
            </a:extLst>
          </p:cNvPr>
          <p:cNvSpPr txBox="1"/>
          <p:nvPr/>
        </p:nvSpPr>
        <p:spPr>
          <a:xfrm>
            <a:off x="1275077" y="3718800"/>
            <a:ext cx="720000" cy="288000"/>
          </a:xfrm>
          <a:prstGeom prst="rect">
            <a:avLst/>
          </a:prstGeom>
          <a:noFill/>
        </p:spPr>
        <p:txBody>
          <a:bodyPr wrap="square" lIns="0" tIns="72000" rIns="0" bIns="0" rtlCol="0">
            <a:noAutofit/>
          </a:bodyPr>
          <a:lstStyle/>
          <a:p>
            <a:r>
              <a:rPr lang="en-US" sz="550" dirty="0">
                <a:solidFill>
                  <a:srgbClr val="9999A9"/>
                </a:solidFill>
              </a:rPr>
              <a:t>No color</a:t>
            </a:r>
          </a:p>
        </p:txBody>
      </p:sp>
      <p:sp>
        <p:nvSpPr>
          <p:cNvPr id="117" name="Soft Gray">
            <a:extLst>
              <a:ext uri="{FF2B5EF4-FFF2-40B4-BE49-F238E27FC236}">
                <a16:creationId xmlns:a16="http://schemas.microsoft.com/office/drawing/2014/main" id="{B66C55F2-E28C-4D25-981B-0D2E079E730F}"/>
              </a:ext>
            </a:extLst>
          </p:cNvPr>
          <p:cNvSpPr>
            <a:spLocks noChangeAspect="1"/>
          </p:cNvSpPr>
          <p:nvPr/>
        </p:nvSpPr>
        <p:spPr>
          <a:xfrm>
            <a:off x="2138992" y="2998800"/>
            <a:ext cx="720000" cy="720000"/>
          </a:xfrm>
          <a:prstGeom prst="rect">
            <a:avLst/>
          </a:prstGeom>
          <a:solidFill>
            <a:srgbClr val="0055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0" dirty="0"/>
          </a:p>
        </p:txBody>
      </p:sp>
      <p:sp>
        <p:nvSpPr>
          <p:cNvPr id="118" name="Copy Soft Gray">
            <a:extLst>
              <a:ext uri="{FF2B5EF4-FFF2-40B4-BE49-F238E27FC236}">
                <a16:creationId xmlns:a16="http://schemas.microsoft.com/office/drawing/2014/main" id="{08BA7174-EC90-40B2-B0EA-200CE5AE00F4}"/>
              </a:ext>
            </a:extLst>
          </p:cNvPr>
          <p:cNvSpPr txBox="1"/>
          <p:nvPr/>
        </p:nvSpPr>
        <p:spPr>
          <a:xfrm>
            <a:off x="2138992" y="3718800"/>
            <a:ext cx="720000" cy="288000"/>
          </a:xfrm>
          <a:prstGeom prst="rect">
            <a:avLst/>
          </a:prstGeom>
          <a:noFill/>
        </p:spPr>
        <p:txBody>
          <a:bodyPr wrap="square" lIns="0" tIns="72000" rIns="0" bIns="0" rtlCol="0">
            <a:noAutofit/>
          </a:bodyPr>
          <a:lstStyle/>
          <a:p>
            <a:r>
              <a:rPr lang="en-US" sz="550" dirty="0"/>
              <a:t>Dark Blue</a:t>
            </a:r>
          </a:p>
          <a:p>
            <a:r>
              <a:rPr lang="en-US" sz="550" dirty="0"/>
              <a:t>#00557C</a:t>
            </a:r>
          </a:p>
        </p:txBody>
      </p:sp>
      <p:sp>
        <p:nvSpPr>
          <p:cNvPr id="119" name="Light Gray">
            <a:extLst>
              <a:ext uri="{FF2B5EF4-FFF2-40B4-BE49-F238E27FC236}">
                <a16:creationId xmlns:a16="http://schemas.microsoft.com/office/drawing/2014/main" id="{9027B64E-0E1E-4AD9-A938-BA1FE25497DA}"/>
              </a:ext>
            </a:extLst>
          </p:cNvPr>
          <p:cNvSpPr>
            <a:spLocks noChangeAspect="1"/>
          </p:cNvSpPr>
          <p:nvPr/>
        </p:nvSpPr>
        <p:spPr>
          <a:xfrm>
            <a:off x="3002907" y="2998800"/>
            <a:ext cx="720000" cy="720000"/>
          </a:xfrm>
          <a:prstGeom prst="rect">
            <a:avLst/>
          </a:prstGeom>
          <a:solidFill>
            <a:srgbClr val="0064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0" dirty="0"/>
          </a:p>
        </p:txBody>
      </p:sp>
      <p:sp>
        <p:nvSpPr>
          <p:cNvPr id="120" name="Copy Light Gray">
            <a:extLst>
              <a:ext uri="{FF2B5EF4-FFF2-40B4-BE49-F238E27FC236}">
                <a16:creationId xmlns:a16="http://schemas.microsoft.com/office/drawing/2014/main" id="{9AE7C54F-9EAC-4172-818C-46882C19AC23}"/>
              </a:ext>
            </a:extLst>
          </p:cNvPr>
          <p:cNvSpPr txBox="1"/>
          <p:nvPr/>
        </p:nvSpPr>
        <p:spPr>
          <a:xfrm>
            <a:off x="3002907" y="3718800"/>
            <a:ext cx="720000" cy="288000"/>
          </a:xfrm>
          <a:prstGeom prst="rect">
            <a:avLst/>
          </a:prstGeom>
          <a:noFill/>
        </p:spPr>
        <p:txBody>
          <a:bodyPr wrap="square" lIns="0" tIns="72000" rIns="0" bIns="0" rtlCol="0">
            <a:noAutofit/>
          </a:bodyPr>
          <a:lstStyle/>
          <a:p>
            <a:r>
              <a:rPr lang="en-US" sz="550" dirty="0"/>
              <a:t>Dark Green</a:t>
            </a:r>
          </a:p>
          <a:p>
            <a:r>
              <a:rPr lang="en-US" sz="550" dirty="0"/>
              <a:t>#00646E</a:t>
            </a:r>
          </a:p>
        </p:txBody>
      </p:sp>
      <p:sp>
        <p:nvSpPr>
          <p:cNvPr id="121" name="Purple">
            <a:extLst>
              <a:ext uri="{FF2B5EF4-FFF2-40B4-BE49-F238E27FC236}">
                <a16:creationId xmlns:a16="http://schemas.microsoft.com/office/drawing/2014/main" id="{2E6B0AD1-19F3-4657-9C8B-5A7623AA5370}"/>
              </a:ext>
            </a:extLst>
          </p:cNvPr>
          <p:cNvSpPr>
            <a:spLocks noChangeAspect="1"/>
          </p:cNvSpPr>
          <p:nvPr/>
        </p:nvSpPr>
        <p:spPr>
          <a:xfrm>
            <a:off x="3866822" y="2998800"/>
            <a:ext cx="720000" cy="720000"/>
          </a:xfrm>
          <a:prstGeom prst="rect">
            <a:avLst/>
          </a:prstGeom>
          <a:solidFill>
            <a:srgbClr val="AAAA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0" dirty="0"/>
          </a:p>
        </p:txBody>
      </p:sp>
      <p:sp>
        <p:nvSpPr>
          <p:cNvPr id="122" name="Copy Purple">
            <a:extLst>
              <a:ext uri="{FF2B5EF4-FFF2-40B4-BE49-F238E27FC236}">
                <a16:creationId xmlns:a16="http://schemas.microsoft.com/office/drawing/2014/main" id="{DF06091A-10D7-4790-B64F-DE2DFDA09AFA}"/>
              </a:ext>
            </a:extLst>
          </p:cNvPr>
          <p:cNvSpPr txBox="1"/>
          <p:nvPr/>
        </p:nvSpPr>
        <p:spPr>
          <a:xfrm>
            <a:off x="3866822" y="3718800"/>
            <a:ext cx="720000" cy="288000"/>
          </a:xfrm>
          <a:prstGeom prst="rect">
            <a:avLst/>
          </a:prstGeom>
          <a:noFill/>
        </p:spPr>
        <p:txBody>
          <a:bodyPr wrap="square" lIns="0" tIns="72000" rIns="0" bIns="0" rtlCol="0">
            <a:noAutofit/>
          </a:bodyPr>
          <a:lstStyle/>
          <a:p>
            <a:r>
              <a:rPr lang="en-US" sz="550" dirty="0"/>
              <a:t>Dark Sand</a:t>
            </a:r>
          </a:p>
          <a:p>
            <a:r>
              <a:rPr lang="en-US" sz="550" dirty="0"/>
              <a:t>#AAAA96</a:t>
            </a:r>
          </a:p>
        </p:txBody>
      </p:sp>
      <p:sp>
        <p:nvSpPr>
          <p:cNvPr id="123" name="Dark Purple">
            <a:extLst>
              <a:ext uri="{FF2B5EF4-FFF2-40B4-BE49-F238E27FC236}">
                <a16:creationId xmlns:a16="http://schemas.microsoft.com/office/drawing/2014/main" id="{66179EE8-C746-4AE0-86F4-3D37925578F6}"/>
              </a:ext>
            </a:extLst>
          </p:cNvPr>
          <p:cNvSpPr>
            <a:spLocks noChangeAspect="1"/>
          </p:cNvSpPr>
          <p:nvPr/>
        </p:nvSpPr>
        <p:spPr>
          <a:xfrm>
            <a:off x="4730737" y="2998800"/>
            <a:ext cx="720000" cy="720000"/>
          </a:xfrm>
          <a:prstGeom prst="rect">
            <a:avLst/>
          </a:prstGeom>
          <a:solidFill>
            <a:srgbClr val="00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0" dirty="0"/>
          </a:p>
        </p:txBody>
      </p:sp>
      <p:sp>
        <p:nvSpPr>
          <p:cNvPr id="124" name="Copy Dark Purple">
            <a:extLst>
              <a:ext uri="{FF2B5EF4-FFF2-40B4-BE49-F238E27FC236}">
                <a16:creationId xmlns:a16="http://schemas.microsoft.com/office/drawing/2014/main" id="{7C2E931D-4521-4841-B797-23B1BA634C8C}"/>
              </a:ext>
            </a:extLst>
          </p:cNvPr>
          <p:cNvSpPr txBox="1"/>
          <p:nvPr/>
        </p:nvSpPr>
        <p:spPr>
          <a:xfrm>
            <a:off x="4730737" y="3718800"/>
            <a:ext cx="720000" cy="288000"/>
          </a:xfrm>
          <a:prstGeom prst="rect">
            <a:avLst/>
          </a:prstGeom>
          <a:noFill/>
        </p:spPr>
        <p:txBody>
          <a:bodyPr wrap="square" lIns="0" tIns="72000" rIns="0" bIns="0" rtlCol="0">
            <a:noAutofit/>
          </a:bodyPr>
          <a:lstStyle/>
          <a:p>
            <a:r>
              <a:rPr lang="en-US" sz="550" dirty="0"/>
              <a:t>Deep Blue</a:t>
            </a:r>
          </a:p>
          <a:p>
            <a:r>
              <a:rPr lang="en-US" sz="550" dirty="0"/>
              <a:t>#000028</a:t>
            </a:r>
          </a:p>
        </p:txBody>
      </p:sp>
      <p:sp>
        <p:nvSpPr>
          <p:cNvPr id="125" name="Yellow">
            <a:extLst>
              <a:ext uri="{FF2B5EF4-FFF2-40B4-BE49-F238E27FC236}">
                <a16:creationId xmlns:a16="http://schemas.microsoft.com/office/drawing/2014/main" id="{FA5EC3A0-CA6B-4A31-8115-D8BEDC8C331E}"/>
              </a:ext>
            </a:extLst>
          </p:cNvPr>
          <p:cNvSpPr>
            <a:spLocks noChangeAspect="1"/>
          </p:cNvSpPr>
          <p:nvPr/>
        </p:nvSpPr>
        <p:spPr>
          <a:xfrm>
            <a:off x="5594652" y="2998800"/>
            <a:ext cx="720000" cy="720000"/>
          </a:xfrm>
          <a:prstGeom prst="rect">
            <a:avLst/>
          </a:prstGeom>
          <a:solidFill>
            <a:srgbClr val="9999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0" dirty="0"/>
          </a:p>
        </p:txBody>
      </p:sp>
      <p:sp>
        <p:nvSpPr>
          <p:cNvPr id="126" name="Copy Yellow">
            <a:extLst>
              <a:ext uri="{FF2B5EF4-FFF2-40B4-BE49-F238E27FC236}">
                <a16:creationId xmlns:a16="http://schemas.microsoft.com/office/drawing/2014/main" id="{3C0D9D7F-0409-4110-8DA8-F73A5E7C88F3}"/>
              </a:ext>
            </a:extLst>
          </p:cNvPr>
          <p:cNvSpPr txBox="1"/>
          <p:nvPr/>
        </p:nvSpPr>
        <p:spPr>
          <a:xfrm>
            <a:off x="5594652" y="3718800"/>
            <a:ext cx="720000" cy="288000"/>
          </a:xfrm>
          <a:prstGeom prst="rect">
            <a:avLst/>
          </a:prstGeom>
          <a:noFill/>
        </p:spPr>
        <p:txBody>
          <a:bodyPr wrap="square" lIns="0" tIns="72000" rIns="0" bIns="0" rtlCol="0">
            <a:noAutofit/>
          </a:bodyPr>
          <a:lstStyle/>
          <a:p>
            <a:r>
              <a:rPr lang="en-US" sz="550" dirty="0"/>
              <a:t>Deep Blue 40% (Gray)</a:t>
            </a:r>
          </a:p>
          <a:p>
            <a:r>
              <a:rPr lang="en-US" sz="550" dirty="0"/>
              <a:t>#9999A9</a:t>
            </a:r>
          </a:p>
        </p:txBody>
      </p:sp>
      <p:sp>
        <p:nvSpPr>
          <p:cNvPr id="127" name="Orange">
            <a:extLst>
              <a:ext uri="{FF2B5EF4-FFF2-40B4-BE49-F238E27FC236}">
                <a16:creationId xmlns:a16="http://schemas.microsoft.com/office/drawing/2014/main" id="{3D16BCD6-3236-433B-A01B-438FC984E2C3}"/>
              </a:ext>
            </a:extLst>
          </p:cNvPr>
          <p:cNvSpPr>
            <a:spLocks noChangeAspect="1"/>
          </p:cNvSpPr>
          <p:nvPr/>
        </p:nvSpPr>
        <p:spPr>
          <a:xfrm>
            <a:off x="6458567" y="2998800"/>
            <a:ext cx="720000" cy="720000"/>
          </a:xfrm>
          <a:prstGeom prst="rect">
            <a:avLst/>
          </a:prstGeom>
          <a:solidFill>
            <a:srgbClr val="5000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0" dirty="0"/>
          </a:p>
        </p:txBody>
      </p:sp>
      <p:sp>
        <p:nvSpPr>
          <p:cNvPr id="128" name="Copy Orange">
            <a:extLst>
              <a:ext uri="{FF2B5EF4-FFF2-40B4-BE49-F238E27FC236}">
                <a16:creationId xmlns:a16="http://schemas.microsoft.com/office/drawing/2014/main" id="{4A7E09CA-96A0-40CE-8984-21CE52578093}"/>
              </a:ext>
            </a:extLst>
          </p:cNvPr>
          <p:cNvSpPr txBox="1"/>
          <p:nvPr/>
        </p:nvSpPr>
        <p:spPr>
          <a:xfrm>
            <a:off x="6458567" y="3718800"/>
            <a:ext cx="720000" cy="288000"/>
          </a:xfrm>
          <a:prstGeom prst="rect">
            <a:avLst/>
          </a:prstGeom>
          <a:noFill/>
        </p:spPr>
        <p:txBody>
          <a:bodyPr wrap="square" lIns="0" tIns="72000" rIns="0" bIns="0" rtlCol="0">
            <a:noAutofit/>
          </a:bodyPr>
          <a:lstStyle/>
          <a:p>
            <a:r>
              <a:rPr lang="en-US" sz="550" dirty="0"/>
              <a:t>Dark Purple</a:t>
            </a:r>
          </a:p>
          <a:p>
            <a:r>
              <a:rPr lang="en-US" sz="550" dirty="0"/>
              <a:t>#500078</a:t>
            </a:r>
          </a:p>
        </p:txBody>
      </p:sp>
      <p:sp>
        <p:nvSpPr>
          <p:cNvPr id="129" name="Soft Red">
            <a:extLst>
              <a:ext uri="{FF2B5EF4-FFF2-40B4-BE49-F238E27FC236}">
                <a16:creationId xmlns:a16="http://schemas.microsoft.com/office/drawing/2014/main" id="{85B67A62-E71A-45A1-A448-DB6B04FF5479}"/>
              </a:ext>
            </a:extLst>
          </p:cNvPr>
          <p:cNvSpPr>
            <a:spLocks noChangeAspect="1"/>
          </p:cNvSpPr>
          <p:nvPr/>
        </p:nvSpPr>
        <p:spPr>
          <a:xfrm>
            <a:off x="7322482" y="2998800"/>
            <a:ext cx="720000" cy="720000"/>
          </a:xfrm>
          <a:prstGeom prst="rect">
            <a:avLst/>
          </a:prstGeom>
          <a:solidFill>
            <a:srgbClr val="EC66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0" dirty="0"/>
          </a:p>
        </p:txBody>
      </p:sp>
      <p:sp>
        <p:nvSpPr>
          <p:cNvPr id="130" name="Copy Soft Red">
            <a:extLst>
              <a:ext uri="{FF2B5EF4-FFF2-40B4-BE49-F238E27FC236}">
                <a16:creationId xmlns:a16="http://schemas.microsoft.com/office/drawing/2014/main" id="{15FBFC6A-EA4A-4B7C-94A6-7581C4C462DE}"/>
              </a:ext>
            </a:extLst>
          </p:cNvPr>
          <p:cNvSpPr txBox="1"/>
          <p:nvPr/>
        </p:nvSpPr>
        <p:spPr>
          <a:xfrm>
            <a:off x="7322482" y="3718800"/>
            <a:ext cx="720000" cy="288000"/>
          </a:xfrm>
          <a:prstGeom prst="rect">
            <a:avLst/>
          </a:prstGeom>
          <a:noFill/>
        </p:spPr>
        <p:txBody>
          <a:bodyPr wrap="square" lIns="0" tIns="72000" rIns="0" bIns="0" rtlCol="0">
            <a:noAutofit/>
          </a:bodyPr>
          <a:lstStyle/>
          <a:p>
            <a:r>
              <a:rPr lang="en-US" sz="550" dirty="0"/>
              <a:t>Dark Orange</a:t>
            </a:r>
          </a:p>
          <a:p>
            <a:r>
              <a:rPr lang="en-US" sz="550" dirty="0"/>
              <a:t>#EC6602</a:t>
            </a:r>
          </a:p>
        </p:txBody>
      </p:sp>
      <p:sp>
        <p:nvSpPr>
          <p:cNvPr id="131" name="Red">
            <a:extLst>
              <a:ext uri="{FF2B5EF4-FFF2-40B4-BE49-F238E27FC236}">
                <a16:creationId xmlns:a16="http://schemas.microsoft.com/office/drawing/2014/main" id="{D9FE818C-37EA-4370-944C-5B91F3757C7B}"/>
              </a:ext>
            </a:extLst>
          </p:cNvPr>
          <p:cNvSpPr>
            <a:spLocks noChangeAspect="1"/>
          </p:cNvSpPr>
          <p:nvPr/>
        </p:nvSpPr>
        <p:spPr>
          <a:xfrm>
            <a:off x="8186400" y="2998800"/>
            <a:ext cx="720000" cy="720000"/>
          </a:xfrm>
          <a:prstGeom prst="rect">
            <a:avLst/>
          </a:prstGeom>
          <a:solidFill>
            <a:srgbClr val="EF01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0" dirty="0"/>
          </a:p>
        </p:txBody>
      </p:sp>
      <p:sp>
        <p:nvSpPr>
          <p:cNvPr id="132" name="Copy Red">
            <a:extLst>
              <a:ext uri="{FF2B5EF4-FFF2-40B4-BE49-F238E27FC236}">
                <a16:creationId xmlns:a16="http://schemas.microsoft.com/office/drawing/2014/main" id="{FCF3522B-BE21-495E-9963-53AB75BCADC2}"/>
              </a:ext>
            </a:extLst>
          </p:cNvPr>
          <p:cNvSpPr txBox="1"/>
          <p:nvPr/>
        </p:nvSpPr>
        <p:spPr>
          <a:xfrm>
            <a:off x="8186400" y="3718800"/>
            <a:ext cx="720000" cy="288000"/>
          </a:xfrm>
          <a:prstGeom prst="rect">
            <a:avLst/>
          </a:prstGeom>
          <a:noFill/>
        </p:spPr>
        <p:txBody>
          <a:bodyPr wrap="square" lIns="0" tIns="72000" rIns="0" bIns="0" rtlCol="0">
            <a:noAutofit/>
          </a:bodyPr>
          <a:lstStyle/>
          <a:p>
            <a:r>
              <a:rPr lang="en-US" sz="550" dirty="0"/>
              <a:t>Red</a:t>
            </a:r>
          </a:p>
          <a:p>
            <a:r>
              <a:rPr lang="en-US" sz="550" dirty="0"/>
              <a:t>#EF0137</a:t>
            </a:r>
          </a:p>
        </p:txBody>
      </p:sp>
      <p:sp>
        <p:nvSpPr>
          <p:cNvPr id="133" name="Bold Green">
            <a:extLst>
              <a:ext uri="{FF2B5EF4-FFF2-40B4-BE49-F238E27FC236}">
                <a16:creationId xmlns:a16="http://schemas.microsoft.com/office/drawing/2014/main" id="{D983C87D-91A0-43DB-93D4-16FEDEBF804A}"/>
              </a:ext>
            </a:extLst>
          </p:cNvPr>
          <p:cNvSpPr>
            <a:spLocks noChangeAspect="1"/>
          </p:cNvSpPr>
          <p:nvPr/>
        </p:nvSpPr>
        <p:spPr>
          <a:xfrm>
            <a:off x="411162" y="4078800"/>
            <a:ext cx="720000" cy="720000"/>
          </a:xfrm>
          <a:prstGeom prst="rect">
            <a:avLst/>
          </a:prstGeom>
          <a:solidFill>
            <a:srgbClr val="00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0" dirty="0"/>
          </a:p>
        </p:txBody>
      </p:sp>
      <p:sp>
        <p:nvSpPr>
          <p:cNvPr id="134" name="Copy Bold Green">
            <a:extLst>
              <a:ext uri="{FF2B5EF4-FFF2-40B4-BE49-F238E27FC236}">
                <a16:creationId xmlns:a16="http://schemas.microsoft.com/office/drawing/2014/main" id="{0BD54186-1038-498A-BA7C-763E4794AAE6}"/>
              </a:ext>
            </a:extLst>
          </p:cNvPr>
          <p:cNvSpPr txBox="1"/>
          <p:nvPr/>
        </p:nvSpPr>
        <p:spPr>
          <a:xfrm>
            <a:off x="411162" y="4798800"/>
            <a:ext cx="720000" cy="288000"/>
          </a:xfrm>
          <a:prstGeom prst="rect">
            <a:avLst/>
          </a:prstGeom>
          <a:noFill/>
        </p:spPr>
        <p:txBody>
          <a:bodyPr wrap="square" lIns="0" tIns="72000" rIns="0" bIns="0" rtlCol="0">
            <a:noAutofit/>
          </a:bodyPr>
          <a:lstStyle/>
          <a:p>
            <a:r>
              <a:rPr lang="en-US" sz="550" dirty="0"/>
              <a:t>Deep Blue</a:t>
            </a:r>
          </a:p>
          <a:p>
            <a:r>
              <a:rPr lang="en-US" sz="550" dirty="0"/>
              <a:t>#000028</a:t>
            </a:r>
          </a:p>
        </p:txBody>
      </p:sp>
      <p:sp>
        <p:nvSpPr>
          <p:cNvPr id="135" name="Bold Blue">
            <a:extLst>
              <a:ext uri="{FF2B5EF4-FFF2-40B4-BE49-F238E27FC236}">
                <a16:creationId xmlns:a16="http://schemas.microsoft.com/office/drawing/2014/main" id="{07B50BE9-DC5C-4915-BEB2-9870FCC2B05B}"/>
              </a:ext>
            </a:extLst>
          </p:cNvPr>
          <p:cNvSpPr>
            <a:spLocks noChangeAspect="1"/>
          </p:cNvSpPr>
          <p:nvPr/>
        </p:nvSpPr>
        <p:spPr>
          <a:xfrm>
            <a:off x="1275077" y="4078800"/>
            <a:ext cx="720000" cy="720000"/>
          </a:xfrm>
          <a:prstGeom prst="rect">
            <a:avLst/>
          </a:prstGeom>
          <a:solidFill>
            <a:srgbClr val="FFFFFF"/>
          </a:solidFill>
          <a:ln w="3175">
            <a:solidFill>
              <a:srgbClr val="CCCC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0" dirty="0"/>
          </a:p>
        </p:txBody>
      </p:sp>
      <p:sp>
        <p:nvSpPr>
          <p:cNvPr id="136" name="Copy Bold Blue">
            <a:extLst>
              <a:ext uri="{FF2B5EF4-FFF2-40B4-BE49-F238E27FC236}">
                <a16:creationId xmlns:a16="http://schemas.microsoft.com/office/drawing/2014/main" id="{5CEBE026-6A5D-4D46-94DC-9F754B2DDC65}"/>
              </a:ext>
            </a:extLst>
          </p:cNvPr>
          <p:cNvSpPr txBox="1"/>
          <p:nvPr/>
        </p:nvSpPr>
        <p:spPr>
          <a:xfrm>
            <a:off x="1275077" y="4798800"/>
            <a:ext cx="720000" cy="288000"/>
          </a:xfrm>
          <a:prstGeom prst="rect">
            <a:avLst/>
          </a:prstGeom>
          <a:noFill/>
        </p:spPr>
        <p:txBody>
          <a:bodyPr wrap="square" lIns="0" tIns="72000" rIns="0" bIns="0" rtlCol="0">
            <a:noAutofit/>
          </a:bodyPr>
          <a:lstStyle/>
          <a:p>
            <a:r>
              <a:rPr lang="en-US" sz="550" dirty="0">
                <a:solidFill>
                  <a:srgbClr val="9999A9"/>
                </a:solidFill>
              </a:rPr>
              <a:t>No color</a:t>
            </a:r>
          </a:p>
        </p:txBody>
      </p:sp>
      <p:sp>
        <p:nvSpPr>
          <p:cNvPr id="137" name="Light Sand">
            <a:extLst>
              <a:ext uri="{FF2B5EF4-FFF2-40B4-BE49-F238E27FC236}">
                <a16:creationId xmlns:a16="http://schemas.microsoft.com/office/drawing/2014/main" id="{55169D8D-0B32-439A-9537-76A101FFCA9D}"/>
              </a:ext>
            </a:extLst>
          </p:cNvPr>
          <p:cNvSpPr>
            <a:spLocks noChangeAspect="1"/>
          </p:cNvSpPr>
          <p:nvPr/>
        </p:nvSpPr>
        <p:spPr>
          <a:xfrm>
            <a:off x="2138992" y="4078800"/>
            <a:ext cx="720000" cy="720000"/>
          </a:xfrm>
          <a:prstGeom prst="rect">
            <a:avLst/>
          </a:prstGeom>
          <a:solidFill>
            <a:srgbClr val="0087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0" dirty="0"/>
          </a:p>
        </p:txBody>
      </p:sp>
      <p:sp>
        <p:nvSpPr>
          <p:cNvPr id="138" name="Copy Sand Light">
            <a:extLst>
              <a:ext uri="{FF2B5EF4-FFF2-40B4-BE49-F238E27FC236}">
                <a16:creationId xmlns:a16="http://schemas.microsoft.com/office/drawing/2014/main" id="{4251DCAE-9CEC-4E53-840B-70E3DEE0E501}"/>
              </a:ext>
            </a:extLst>
          </p:cNvPr>
          <p:cNvSpPr txBox="1"/>
          <p:nvPr/>
        </p:nvSpPr>
        <p:spPr>
          <a:xfrm>
            <a:off x="2138992" y="4798800"/>
            <a:ext cx="720000" cy="288000"/>
          </a:xfrm>
          <a:prstGeom prst="rect">
            <a:avLst/>
          </a:prstGeom>
          <a:noFill/>
        </p:spPr>
        <p:txBody>
          <a:bodyPr wrap="square" lIns="0" tIns="72000" rIns="0" bIns="0" rtlCol="0">
            <a:noAutofit/>
          </a:bodyPr>
          <a:lstStyle/>
          <a:p>
            <a:r>
              <a:rPr lang="en-US" sz="550" dirty="0"/>
              <a:t>Blue</a:t>
            </a:r>
          </a:p>
          <a:p>
            <a:r>
              <a:rPr lang="en-US" sz="550" dirty="0"/>
              <a:t>#0087BE</a:t>
            </a:r>
          </a:p>
        </p:txBody>
      </p:sp>
      <p:sp>
        <p:nvSpPr>
          <p:cNvPr id="181" name="Siemens Petrol">
            <a:extLst>
              <a:ext uri="{FF2B5EF4-FFF2-40B4-BE49-F238E27FC236}">
                <a16:creationId xmlns:a16="http://schemas.microsoft.com/office/drawing/2014/main" id="{86008B53-1228-495F-8CCC-EA69C5700EC2}"/>
              </a:ext>
            </a:extLst>
          </p:cNvPr>
          <p:cNvSpPr>
            <a:spLocks noChangeAspect="1"/>
          </p:cNvSpPr>
          <p:nvPr/>
        </p:nvSpPr>
        <p:spPr>
          <a:xfrm>
            <a:off x="3002907" y="4078800"/>
            <a:ext cx="720000" cy="720000"/>
          </a:xfrm>
          <a:prstGeom prst="rect">
            <a:avLst/>
          </a:prstGeom>
          <a:solidFill>
            <a:srgbClr val="00AF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0" dirty="0"/>
          </a:p>
        </p:txBody>
      </p:sp>
      <p:sp>
        <p:nvSpPr>
          <p:cNvPr id="189" name="Copy Siemens Petrol">
            <a:extLst>
              <a:ext uri="{FF2B5EF4-FFF2-40B4-BE49-F238E27FC236}">
                <a16:creationId xmlns:a16="http://schemas.microsoft.com/office/drawing/2014/main" id="{DD6E2CA9-D284-428E-8C6D-2D511FE4017F}"/>
              </a:ext>
            </a:extLst>
          </p:cNvPr>
          <p:cNvSpPr txBox="1"/>
          <p:nvPr/>
        </p:nvSpPr>
        <p:spPr>
          <a:xfrm>
            <a:off x="3002907" y="4798800"/>
            <a:ext cx="720000" cy="288000"/>
          </a:xfrm>
          <a:prstGeom prst="rect">
            <a:avLst/>
          </a:prstGeom>
          <a:noFill/>
        </p:spPr>
        <p:txBody>
          <a:bodyPr wrap="square" lIns="0" tIns="72000" rIns="0" bIns="0" rtlCol="0">
            <a:noAutofit/>
          </a:bodyPr>
          <a:lstStyle/>
          <a:p>
            <a:r>
              <a:rPr lang="en-US" sz="550" dirty="0"/>
              <a:t>Green</a:t>
            </a:r>
          </a:p>
          <a:p>
            <a:r>
              <a:rPr lang="en-US" sz="550" dirty="0"/>
              <a:t>#00AF8E</a:t>
            </a:r>
          </a:p>
        </p:txBody>
      </p:sp>
      <p:sp>
        <p:nvSpPr>
          <p:cNvPr id="197" name="Soft Green">
            <a:extLst>
              <a:ext uri="{FF2B5EF4-FFF2-40B4-BE49-F238E27FC236}">
                <a16:creationId xmlns:a16="http://schemas.microsoft.com/office/drawing/2014/main" id="{BF09DE25-BCB9-4B95-810F-A09267EF7130}"/>
              </a:ext>
            </a:extLst>
          </p:cNvPr>
          <p:cNvSpPr>
            <a:spLocks noChangeAspect="1"/>
          </p:cNvSpPr>
          <p:nvPr/>
        </p:nvSpPr>
        <p:spPr>
          <a:xfrm>
            <a:off x="3866822" y="4078800"/>
            <a:ext cx="720000" cy="720000"/>
          </a:xfrm>
          <a:prstGeom prst="rect">
            <a:avLst/>
          </a:prstGeom>
          <a:solidFill>
            <a:srgbClr val="C5C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0" dirty="0"/>
          </a:p>
        </p:txBody>
      </p:sp>
      <p:sp>
        <p:nvSpPr>
          <p:cNvPr id="198" name="Copy Soft Green">
            <a:extLst>
              <a:ext uri="{FF2B5EF4-FFF2-40B4-BE49-F238E27FC236}">
                <a16:creationId xmlns:a16="http://schemas.microsoft.com/office/drawing/2014/main" id="{53DEE644-3745-4E41-B2EF-6F968125D61B}"/>
              </a:ext>
            </a:extLst>
          </p:cNvPr>
          <p:cNvSpPr txBox="1"/>
          <p:nvPr/>
        </p:nvSpPr>
        <p:spPr>
          <a:xfrm>
            <a:off x="3866822" y="4798800"/>
            <a:ext cx="720000" cy="288000"/>
          </a:xfrm>
          <a:prstGeom prst="rect">
            <a:avLst/>
          </a:prstGeom>
          <a:noFill/>
        </p:spPr>
        <p:txBody>
          <a:bodyPr wrap="square" lIns="0" tIns="72000" rIns="0" bIns="0" rtlCol="0">
            <a:noAutofit/>
          </a:bodyPr>
          <a:lstStyle/>
          <a:p>
            <a:r>
              <a:rPr lang="en-US" sz="550" dirty="0"/>
              <a:t>Soft Sand</a:t>
            </a:r>
          </a:p>
          <a:p>
            <a:r>
              <a:rPr lang="en-US" sz="550" dirty="0"/>
              <a:t>#C5C5B8</a:t>
            </a:r>
          </a:p>
        </p:txBody>
      </p:sp>
      <p:sp>
        <p:nvSpPr>
          <p:cNvPr id="199" name="Soft Blue">
            <a:extLst>
              <a:ext uri="{FF2B5EF4-FFF2-40B4-BE49-F238E27FC236}">
                <a16:creationId xmlns:a16="http://schemas.microsoft.com/office/drawing/2014/main" id="{487C833D-02FE-46BC-ACDC-1170F5D5D032}"/>
              </a:ext>
            </a:extLst>
          </p:cNvPr>
          <p:cNvSpPr>
            <a:spLocks noChangeAspect="1"/>
          </p:cNvSpPr>
          <p:nvPr/>
        </p:nvSpPr>
        <p:spPr>
          <a:xfrm>
            <a:off x="5594652" y="4078800"/>
            <a:ext cx="720000" cy="720000"/>
          </a:xfrm>
          <a:prstGeom prst="rect">
            <a:avLst/>
          </a:prstGeom>
          <a:solidFill>
            <a:srgbClr val="CCCC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0" dirty="0"/>
          </a:p>
        </p:txBody>
      </p:sp>
      <p:sp>
        <p:nvSpPr>
          <p:cNvPr id="200" name="Copy Soft Blue">
            <a:extLst>
              <a:ext uri="{FF2B5EF4-FFF2-40B4-BE49-F238E27FC236}">
                <a16:creationId xmlns:a16="http://schemas.microsoft.com/office/drawing/2014/main" id="{157CBCA5-B68E-4C38-AEE8-178B18FE5962}"/>
              </a:ext>
            </a:extLst>
          </p:cNvPr>
          <p:cNvSpPr txBox="1"/>
          <p:nvPr/>
        </p:nvSpPr>
        <p:spPr>
          <a:xfrm>
            <a:off x="5594652" y="4798800"/>
            <a:ext cx="720000" cy="288000"/>
          </a:xfrm>
          <a:prstGeom prst="rect">
            <a:avLst/>
          </a:prstGeom>
          <a:noFill/>
        </p:spPr>
        <p:txBody>
          <a:bodyPr wrap="square" lIns="0" tIns="72000" rIns="0" bIns="0" rtlCol="0">
            <a:noAutofit/>
          </a:bodyPr>
          <a:lstStyle/>
          <a:p>
            <a:r>
              <a:rPr lang="en-US" sz="550" dirty="0"/>
              <a:t>Deep Blue 20% (Soft Gray) #CCCCD4</a:t>
            </a:r>
          </a:p>
        </p:txBody>
      </p:sp>
      <p:sp>
        <p:nvSpPr>
          <p:cNvPr id="201" name="Bright Blue">
            <a:extLst>
              <a:ext uri="{FF2B5EF4-FFF2-40B4-BE49-F238E27FC236}">
                <a16:creationId xmlns:a16="http://schemas.microsoft.com/office/drawing/2014/main" id="{662A0730-EE13-4DB1-B589-ADC50CDCCCAF}"/>
              </a:ext>
            </a:extLst>
          </p:cNvPr>
          <p:cNvSpPr>
            <a:spLocks noChangeAspect="1"/>
          </p:cNvSpPr>
          <p:nvPr/>
        </p:nvSpPr>
        <p:spPr>
          <a:xfrm>
            <a:off x="6458567" y="4078800"/>
            <a:ext cx="720000" cy="720000"/>
          </a:xfrm>
          <a:prstGeom prst="rect">
            <a:avLst/>
          </a:prstGeom>
          <a:solidFill>
            <a:srgbClr val="AA32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0" dirty="0"/>
          </a:p>
        </p:txBody>
      </p:sp>
      <p:sp>
        <p:nvSpPr>
          <p:cNvPr id="202" name="Copy Bright Blue">
            <a:extLst>
              <a:ext uri="{FF2B5EF4-FFF2-40B4-BE49-F238E27FC236}">
                <a16:creationId xmlns:a16="http://schemas.microsoft.com/office/drawing/2014/main" id="{D4D49BE7-B5FE-432B-85C5-8AB6E0D482F7}"/>
              </a:ext>
            </a:extLst>
          </p:cNvPr>
          <p:cNvSpPr txBox="1"/>
          <p:nvPr/>
        </p:nvSpPr>
        <p:spPr>
          <a:xfrm>
            <a:off x="6458567" y="4798800"/>
            <a:ext cx="720000" cy="288000"/>
          </a:xfrm>
          <a:prstGeom prst="rect">
            <a:avLst/>
          </a:prstGeom>
          <a:noFill/>
        </p:spPr>
        <p:txBody>
          <a:bodyPr wrap="square" lIns="0" tIns="72000" rIns="0" bIns="0" rtlCol="0">
            <a:noAutofit/>
          </a:bodyPr>
          <a:lstStyle/>
          <a:p>
            <a:r>
              <a:rPr lang="en-US" sz="550" dirty="0"/>
              <a:t>Purple</a:t>
            </a:r>
          </a:p>
          <a:p>
            <a:r>
              <a:rPr lang="en-US" sz="550" dirty="0"/>
              <a:t>#AA32BE</a:t>
            </a:r>
          </a:p>
        </p:txBody>
      </p:sp>
      <p:sp>
        <p:nvSpPr>
          <p:cNvPr id="203" name="Dark Blue">
            <a:extLst>
              <a:ext uri="{FF2B5EF4-FFF2-40B4-BE49-F238E27FC236}">
                <a16:creationId xmlns:a16="http://schemas.microsoft.com/office/drawing/2014/main" id="{B7B46592-BA58-4636-830B-8F4355B7BB61}"/>
              </a:ext>
            </a:extLst>
          </p:cNvPr>
          <p:cNvSpPr>
            <a:spLocks noChangeAspect="1"/>
          </p:cNvSpPr>
          <p:nvPr/>
        </p:nvSpPr>
        <p:spPr>
          <a:xfrm>
            <a:off x="7322482" y="4078800"/>
            <a:ext cx="720000" cy="720000"/>
          </a:xfrm>
          <a:prstGeom prst="rect">
            <a:avLst/>
          </a:prstGeom>
          <a:solidFill>
            <a:srgbClr val="FF9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0" dirty="0"/>
          </a:p>
        </p:txBody>
      </p:sp>
      <p:sp>
        <p:nvSpPr>
          <p:cNvPr id="204" name="Copy Dark Blue">
            <a:extLst>
              <a:ext uri="{FF2B5EF4-FFF2-40B4-BE49-F238E27FC236}">
                <a16:creationId xmlns:a16="http://schemas.microsoft.com/office/drawing/2014/main" id="{05670216-67A8-4F22-9B1A-8A5EBCA5A784}"/>
              </a:ext>
            </a:extLst>
          </p:cNvPr>
          <p:cNvSpPr txBox="1"/>
          <p:nvPr/>
        </p:nvSpPr>
        <p:spPr>
          <a:xfrm>
            <a:off x="7322482" y="4798800"/>
            <a:ext cx="720000" cy="288000"/>
          </a:xfrm>
          <a:prstGeom prst="rect">
            <a:avLst/>
          </a:prstGeom>
          <a:noFill/>
        </p:spPr>
        <p:txBody>
          <a:bodyPr wrap="square" lIns="0" tIns="72000" rIns="0" bIns="0" rtlCol="0">
            <a:noAutofit/>
          </a:bodyPr>
          <a:lstStyle/>
          <a:p>
            <a:r>
              <a:rPr lang="en-US" sz="550" dirty="0"/>
              <a:t>Orange</a:t>
            </a:r>
          </a:p>
          <a:p>
            <a:r>
              <a:rPr lang="en-US" sz="550" dirty="0"/>
              <a:t>#FF9000</a:t>
            </a:r>
          </a:p>
        </p:txBody>
      </p:sp>
      <p:sp>
        <p:nvSpPr>
          <p:cNvPr id="205" name="Deep Blue">
            <a:extLst>
              <a:ext uri="{FF2B5EF4-FFF2-40B4-BE49-F238E27FC236}">
                <a16:creationId xmlns:a16="http://schemas.microsoft.com/office/drawing/2014/main" id="{0D63588B-6605-4E0D-B55E-566642E010BA}"/>
              </a:ext>
            </a:extLst>
          </p:cNvPr>
          <p:cNvSpPr>
            <a:spLocks noChangeAspect="1"/>
          </p:cNvSpPr>
          <p:nvPr/>
        </p:nvSpPr>
        <p:spPr>
          <a:xfrm>
            <a:off x="8186400" y="4078800"/>
            <a:ext cx="720000" cy="720000"/>
          </a:xfrm>
          <a:prstGeom prst="rect">
            <a:avLst/>
          </a:prstGeom>
          <a:solidFill>
            <a:srgbClr val="FE83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0" dirty="0"/>
          </a:p>
        </p:txBody>
      </p:sp>
      <p:sp>
        <p:nvSpPr>
          <p:cNvPr id="206" name="Copy Deep Blue">
            <a:extLst>
              <a:ext uri="{FF2B5EF4-FFF2-40B4-BE49-F238E27FC236}">
                <a16:creationId xmlns:a16="http://schemas.microsoft.com/office/drawing/2014/main" id="{E2968DE9-042C-4D72-B98C-9EAA05AE94A2}"/>
              </a:ext>
            </a:extLst>
          </p:cNvPr>
          <p:cNvSpPr txBox="1"/>
          <p:nvPr/>
        </p:nvSpPr>
        <p:spPr>
          <a:xfrm>
            <a:off x="8186400" y="4798800"/>
            <a:ext cx="720000" cy="288000"/>
          </a:xfrm>
          <a:prstGeom prst="rect">
            <a:avLst/>
          </a:prstGeom>
          <a:noFill/>
        </p:spPr>
        <p:txBody>
          <a:bodyPr wrap="square" lIns="0" tIns="72000" rIns="0" bIns="0" rtlCol="0">
            <a:noAutofit/>
          </a:bodyPr>
          <a:lstStyle/>
          <a:p>
            <a:r>
              <a:rPr lang="en-US" sz="550" dirty="0"/>
              <a:t>Soft Red</a:t>
            </a:r>
          </a:p>
          <a:p>
            <a:r>
              <a:rPr lang="en-US" sz="550" dirty="0"/>
              <a:t>#FE8389</a:t>
            </a:r>
          </a:p>
        </p:txBody>
      </p:sp>
      <p:sp>
        <p:nvSpPr>
          <p:cNvPr id="207" name="Soft Green">
            <a:extLst>
              <a:ext uri="{FF2B5EF4-FFF2-40B4-BE49-F238E27FC236}">
                <a16:creationId xmlns:a16="http://schemas.microsoft.com/office/drawing/2014/main" id="{A82C2896-6AD8-4678-ADDA-14D7E25A60B8}"/>
              </a:ext>
            </a:extLst>
          </p:cNvPr>
          <p:cNvSpPr>
            <a:spLocks noChangeAspect="1"/>
          </p:cNvSpPr>
          <p:nvPr/>
        </p:nvSpPr>
        <p:spPr>
          <a:xfrm>
            <a:off x="4730737" y="4078800"/>
            <a:ext cx="720000" cy="720000"/>
          </a:xfrm>
          <a:prstGeom prst="rect">
            <a:avLst/>
          </a:prstGeom>
          <a:solidFill>
            <a:srgbClr val="333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0" dirty="0"/>
          </a:p>
        </p:txBody>
      </p:sp>
      <p:sp>
        <p:nvSpPr>
          <p:cNvPr id="208" name="Copy Soft Green">
            <a:extLst>
              <a:ext uri="{FF2B5EF4-FFF2-40B4-BE49-F238E27FC236}">
                <a16:creationId xmlns:a16="http://schemas.microsoft.com/office/drawing/2014/main" id="{DD029D02-23B0-42B1-9F79-891EAFE1BD6C}"/>
              </a:ext>
            </a:extLst>
          </p:cNvPr>
          <p:cNvSpPr txBox="1"/>
          <p:nvPr/>
        </p:nvSpPr>
        <p:spPr>
          <a:xfrm>
            <a:off x="4730737" y="4798800"/>
            <a:ext cx="720000" cy="288000"/>
          </a:xfrm>
          <a:prstGeom prst="rect">
            <a:avLst/>
          </a:prstGeom>
          <a:noFill/>
        </p:spPr>
        <p:txBody>
          <a:bodyPr wrap="square" lIns="0" tIns="72000" rIns="0" bIns="0" rtlCol="0">
            <a:noAutofit/>
          </a:bodyPr>
          <a:lstStyle/>
          <a:p>
            <a:r>
              <a:rPr lang="en-US" sz="550" dirty="0"/>
              <a:t>Deep Blue 80%</a:t>
            </a:r>
          </a:p>
          <a:p>
            <a:r>
              <a:rPr lang="en-US" sz="550" dirty="0"/>
              <a:t>#333353</a:t>
            </a:r>
          </a:p>
        </p:txBody>
      </p:sp>
      <p:sp>
        <p:nvSpPr>
          <p:cNvPr id="209" name="Bold Green">
            <a:extLst>
              <a:ext uri="{FF2B5EF4-FFF2-40B4-BE49-F238E27FC236}">
                <a16:creationId xmlns:a16="http://schemas.microsoft.com/office/drawing/2014/main" id="{A804758D-F033-4CF3-AACA-479E3D891C55}"/>
              </a:ext>
            </a:extLst>
          </p:cNvPr>
          <p:cNvSpPr>
            <a:spLocks noChangeAspect="1"/>
          </p:cNvSpPr>
          <p:nvPr/>
        </p:nvSpPr>
        <p:spPr>
          <a:xfrm>
            <a:off x="411162" y="5158800"/>
            <a:ext cx="720000" cy="720000"/>
          </a:xfrm>
          <a:prstGeom prst="rect">
            <a:avLst/>
          </a:prstGeom>
          <a:solidFill>
            <a:srgbClr val="F3F3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0" dirty="0"/>
          </a:p>
        </p:txBody>
      </p:sp>
      <p:sp>
        <p:nvSpPr>
          <p:cNvPr id="210" name="Bold Blue">
            <a:extLst>
              <a:ext uri="{FF2B5EF4-FFF2-40B4-BE49-F238E27FC236}">
                <a16:creationId xmlns:a16="http://schemas.microsoft.com/office/drawing/2014/main" id="{F065F9FA-0C22-43F7-9036-C2DF1E6F1E75}"/>
              </a:ext>
            </a:extLst>
          </p:cNvPr>
          <p:cNvSpPr>
            <a:spLocks noChangeAspect="1"/>
          </p:cNvSpPr>
          <p:nvPr/>
        </p:nvSpPr>
        <p:spPr>
          <a:xfrm>
            <a:off x="1275077" y="5158800"/>
            <a:ext cx="720000" cy="720000"/>
          </a:xfrm>
          <a:prstGeom prst="rect">
            <a:avLst/>
          </a:prstGeom>
          <a:solidFill>
            <a:srgbClr val="FFFFFF"/>
          </a:solidFill>
          <a:ln w="3175">
            <a:solidFill>
              <a:srgbClr val="CCCC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0" dirty="0"/>
          </a:p>
        </p:txBody>
      </p:sp>
      <p:sp>
        <p:nvSpPr>
          <p:cNvPr id="211" name="Light Sand">
            <a:extLst>
              <a:ext uri="{FF2B5EF4-FFF2-40B4-BE49-F238E27FC236}">
                <a16:creationId xmlns:a16="http://schemas.microsoft.com/office/drawing/2014/main" id="{A3CC3A85-3D7B-4E60-BCED-A5E13AD2772D}"/>
              </a:ext>
            </a:extLst>
          </p:cNvPr>
          <p:cNvSpPr>
            <a:spLocks noChangeAspect="1"/>
          </p:cNvSpPr>
          <p:nvPr/>
        </p:nvSpPr>
        <p:spPr>
          <a:xfrm>
            <a:off x="2138992" y="5158800"/>
            <a:ext cx="720000" cy="720000"/>
          </a:xfrm>
          <a:prstGeom prst="rect">
            <a:avLst/>
          </a:prstGeom>
          <a:solidFill>
            <a:srgbClr val="00BE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0" dirty="0"/>
          </a:p>
        </p:txBody>
      </p:sp>
      <p:sp>
        <p:nvSpPr>
          <p:cNvPr id="212" name="Siemens Petrol">
            <a:extLst>
              <a:ext uri="{FF2B5EF4-FFF2-40B4-BE49-F238E27FC236}">
                <a16:creationId xmlns:a16="http://schemas.microsoft.com/office/drawing/2014/main" id="{5B538192-3002-4266-80B7-C599172C4BBE}"/>
              </a:ext>
            </a:extLst>
          </p:cNvPr>
          <p:cNvSpPr>
            <a:spLocks noChangeAspect="1"/>
          </p:cNvSpPr>
          <p:nvPr/>
        </p:nvSpPr>
        <p:spPr>
          <a:xfrm>
            <a:off x="3002907" y="5158800"/>
            <a:ext cx="720000" cy="720000"/>
          </a:xfrm>
          <a:prstGeom prst="rect">
            <a:avLst/>
          </a:prstGeom>
          <a:solidFill>
            <a:srgbClr val="00D7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0" dirty="0"/>
          </a:p>
        </p:txBody>
      </p:sp>
      <p:sp>
        <p:nvSpPr>
          <p:cNvPr id="213" name="Soft Green">
            <a:extLst>
              <a:ext uri="{FF2B5EF4-FFF2-40B4-BE49-F238E27FC236}">
                <a16:creationId xmlns:a16="http://schemas.microsoft.com/office/drawing/2014/main" id="{40E2588F-AFDB-4E8E-8908-DA9132CBFC02}"/>
              </a:ext>
            </a:extLst>
          </p:cNvPr>
          <p:cNvSpPr>
            <a:spLocks noChangeAspect="1"/>
          </p:cNvSpPr>
          <p:nvPr/>
        </p:nvSpPr>
        <p:spPr>
          <a:xfrm>
            <a:off x="3866822" y="5158800"/>
            <a:ext cx="720000" cy="720000"/>
          </a:xfrm>
          <a:prstGeom prst="rect">
            <a:avLst/>
          </a:prstGeom>
          <a:solidFill>
            <a:srgbClr val="DFD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0" dirty="0"/>
          </a:p>
        </p:txBody>
      </p:sp>
      <p:sp>
        <p:nvSpPr>
          <p:cNvPr id="214" name="Soft Blue">
            <a:extLst>
              <a:ext uri="{FF2B5EF4-FFF2-40B4-BE49-F238E27FC236}">
                <a16:creationId xmlns:a16="http://schemas.microsoft.com/office/drawing/2014/main" id="{285A55E6-72A7-4BC3-AB77-3AE25402AA9F}"/>
              </a:ext>
            </a:extLst>
          </p:cNvPr>
          <p:cNvSpPr>
            <a:spLocks noChangeAspect="1"/>
          </p:cNvSpPr>
          <p:nvPr/>
        </p:nvSpPr>
        <p:spPr>
          <a:xfrm>
            <a:off x="5594652" y="5158800"/>
            <a:ext cx="720000" cy="720000"/>
          </a:xfrm>
          <a:prstGeom prst="rect">
            <a:avLst/>
          </a:prstGeom>
          <a:solidFill>
            <a:srgbClr val="E5E5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0" dirty="0"/>
          </a:p>
        </p:txBody>
      </p:sp>
      <p:sp>
        <p:nvSpPr>
          <p:cNvPr id="215" name="Bright Blue">
            <a:extLst>
              <a:ext uri="{FF2B5EF4-FFF2-40B4-BE49-F238E27FC236}">
                <a16:creationId xmlns:a16="http://schemas.microsoft.com/office/drawing/2014/main" id="{0EE09C4C-6B57-49E2-BDDA-B7651BA29430}"/>
              </a:ext>
            </a:extLst>
          </p:cNvPr>
          <p:cNvSpPr>
            <a:spLocks noChangeAspect="1"/>
          </p:cNvSpPr>
          <p:nvPr/>
        </p:nvSpPr>
        <p:spPr>
          <a:xfrm>
            <a:off x="6458567" y="5158800"/>
            <a:ext cx="720000" cy="720000"/>
          </a:xfrm>
          <a:prstGeom prst="rect">
            <a:avLst/>
          </a:prstGeom>
          <a:solidFill>
            <a:srgbClr val="FFD7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0" dirty="0"/>
          </a:p>
        </p:txBody>
      </p:sp>
      <p:sp>
        <p:nvSpPr>
          <p:cNvPr id="216" name="Dark Blue">
            <a:extLst>
              <a:ext uri="{FF2B5EF4-FFF2-40B4-BE49-F238E27FC236}">
                <a16:creationId xmlns:a16="http://schemas.microsoft.com/office/drawing/2014/main" id="{20C4588F-166A-4054-BAB5-7FA8D61185D0}"/>
              </a:ext>
            </a:extLst>
          </p:cNvPr>
          <p:cNvSpPr>
            <a:spLocks noChangeAspect="1"/>
          </p:cNvSpPr>
          <p:nvPr/>
        </p:nvSpPr>
        <p:spPr>
          <a:xfrm>
            <a:off x="7322482" y="5158800"/>
            <a:ext cx="720000" cy="720000"/>
          </a:xfrm>
          <a:prstGeom prst="rect">
            <a:avLst/>
          </a:prstGeom>
          <a:solidFill>
            <a:srgbClr val="00FF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0" dirty="0"/>
          </a:p>
        </p:txBody>
      </p:sp>
      <p:sp>
        <p:nvSpPr>
          <p:cNvPr id="217" name="Deep Blue">
            <a:extLst>
              <a:ext uri="{FF2B5EF4-FFF2-40B4-BE49-F238E27FC236}">
                <a16:creationId xmlns:a16="http://schemas.microsoft.com/office/drawing/2014/main" id="{046AEB84-1A6A-4038-88F8-D9AED9F9F941}"/>
              </a:ext>
            </a:extLst>
          </p:cNvPr>
          <p:cNvSpPr>
            <a:spLocks noChangeAspect="1"/>
          </p:cNvSpPr>
          <p:nvPr/>
        </p:nvSpPr>
        <p:spPr>
          <a:xfrm>
            <a:off x="8186400" y="5158800"/>
            <a:ext cx="720000" cy="720000"/>
          </a:xfrm>
          <a:prstGeom prst="rect">
            <a:avLst/>
          </a:prstGeom>
          <a:solidFill>
            <a:srgbClr val="00E6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0" dirty="0"/>
          </a:p>
        </p:txBody>
      </p:sp>
      <p:sp>
        <p:nvSpPr>
          <p:cNvPr id="218" name="Soft Green">
            <a:extLst>
              <a:ext uri="{FF2B5EF4-FFF2-40B4-BE49-F238E27FC236}">
                <a16:creationId xmlns:a16="http://schemas.microsoft.com/office/drawing/2014/main" id="{A8263F74-5A9F-47D2-9CD1-D9526176F7AC}"/>
              </a:ext>
            </a:extLst>
          </p:cNvPr>
          <p:cNvSpPr>
            <a:spLocks noChangeAspect="1"/>
          </p:cNvSpPr>
          <p:nvPr/>
        </p:nvSpPr>
        <p:spPr>
          <a:xfrm>
            <a:off x="4730737" y="5158800"/>
            <a:ext cx="720000" cy="720000"/>
          </a:xfrm>
          <a:prstGeom prst="rect">
            <a:avLst/>
          </a:prstGeom>
          <a:solidFill>
            <a:srgbClr val="6666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0" dirty="0"/>
          </a:p>
        </p:txBody>
      </p:sp>
      <p:sp>
        <p:nvSpPr>
          <p:cNvPr id="219" name="Copy Bold Green">
            <a:extLst>
              <a:ext uri="{FF2B5EF4-FFF2-40B4-BE49-F238E27FC236}">
                <a16:creationId xmlns:a16="http://schemas.microsoft.com/office/drawing/2014/main" id="{AEC7403B-9CA6-4F52-82AA-55504A6E599B}"/>
              </a:ext>
            </a:extLst>
          </p:cNvPr>
          <p:cNvSpPr txBox="1"/>
          <p:nvPr/>
        </p:nvSpPr>
        <p:spPr>
          <a:xfrm>
            <a:off x="411162" y="5878800"/>
            <a:ext cx="720000" cy="288000"/>
          </a:xfrm>
          <a:prstGeom prst="rect">
            <a:avLst/>
          </a:prstGeom>
          <a:noFill/>
        </p:spPr>
        <p:txBody>
          <a:bodyPr wrap="square" lIns="0" tIns="72000" rIns="0" bIns="0" rtlCol="0">
            <a:noAutofit/>
          </a:bodyPr>
          <a:lstStyle/>
          <a:p>
            <a:r>
              <a:rPr lang="en-US" sz="550" dirty="0"/>
              <a:t>Light Sand</a:t>
            </a:r>
          </a:p>
          <a:p>
            <a:r>
              <a:rPr lang="en-US" sz="550" dirty="0"/>
              <a:t>#F3F3F0</a:t>
            </a:r>
          </a:p>
        </p:txBody>
      </p:sp>
      <p:sp>
        <p:nvSpPr>
          <p:cNvPr id="220" name="Copy Bold Blue">
            <a:extLst>
              <a:ext uri="{FF2B5EF4-FFF2-40B4-BE49-F238E27FC236}">
                <a16:creationId xmlns:a16="http://schemas.microsoft.com/office/drawing/2014/main" id="{4FEBA443-BB3B-49F8-B014-745449F9D260}"/>
              </a:ext>
            </a:extLst>
          </p:cNvPr>
          <p:cNvSpPr txBox="1"/>
          <p:nvPr/>
        </p:nvSpPr>
        <p:spPr>
          <a:xfrm>
            <a:off x="1275077" y="5878800"/>
            <a:ext cx="720000" cy="288000"/>
          </a:xfrm>
          <a:prstGeom prst="rect">
            <a:avLst/>
          </a:prstGeom>
          <a:noFill/>
        </p:spPr>
        <p:txBody>
          <a:bodyPr wrap="square" lIns="0" tIns="72000" rIns="0" bIns="0" rtlCol="0">
            <a:noAutofit/>
          </a:bodyPr>
          <a:lstStyle/>
          <a:p>
            <a:r>
              <a:rPr lang="en-US" sz="550" dirty="0">
                <a:solidFill>
                  <a:srgbClr val="9999A9"/>
                </a:solidFill>
              </a:rPr>
              <a:t>No color</a:t>
            </a:r>
          </a:p>
        </p:txBody>
      </p:sp>
      <p:sp>
        <p:nvSpPr>
          <p:cNvPr id="221" name="Copy Sand Light">
            <a:extLst>
              <a:ext uri="{FF2B5EF4-FFF2-40B4-BE49-F238E27FC236}">
                <a16:creationId xmlns:a16="http://schemas.microsoft.com/office/drawing/2014/main" id="{2364466D-FEAE-49A8-A034-04C95751285C}"/>
              </a:ext>
            </a:extLst>
          </p:cNvPr>
          <p:cNvSpPr txBox="1"/>
          <p:nvPr/>
        </p:nvSpPr>
        <p:spPr>
          <a:xfrm>
            <a:off x="2138992" y="5878800"/>
            <a:ext cx="720000" cy="288000"/>
          </a:xfrm>
          <a:prstGeom prst="rect">
            <a:avLst/>
          </a:prstGeom>
          <a:noFill/>
        </p:spPr>
        <p:txBody>
          <a:bodyPr wrap="square" lIns="0" tIns="72000" rIns="0" bIns="0" rtlCol="0">
            <a:noAutofit/>
          </a:bodyPr>
          <a:lstStyle/>
          <a:p>
            <a:r>
              <a:rPr lang="en-US" sz="550" dirty="0"/>
              <a:t>Soft Blue</a:t>
            </a:r>
          </a:p>
          <a:p>
            <a:r>
              <a:rPr lang="en-US" sz="550" dirty="0"/>
              <a:t>#00BEDC</a:t>
            </a:r>
          </a:p>
        </p:txBody>
      </p:sp>
      <p:sp>
        <p:nvSpPr>
          <p:cNvPr id="222" name="Copy Siemens Petrol">
            <a:extLst>
              <a:ext uri="{FF2B5EF4-FFF2-40B4-BE49-F238E27FC236}">
                <a16:creationId xmlns:a16="http://schemas.microsoft.com/office/drawing/2014/main" id="{08BB23A2-12A0-4AF6-81CB-64110EDC2984}"/>
              </a:ext>
            </a:extLst>
          </p:cNvPr>
          <p:cNvSpPr txBox="1"/>
          <p:nvPr/>
        </p:nvSpPr>
        <p:spPr>
          <a:xfrm>
            <a:off x="3002907" y="5878800"/>
            <a:ext cx="720000" cy="288000"/>
          </a:xfrm>
          <a:prstGeom prst="rect">
            <a:avLst/>
          </a:prstGeom>
          <a:noFill/>
        </p:spPr>
        <p:txBody>
          <a:bodyPr wrap="square" lIns="0" tIns="72000" rIns="0" bIns="0" rtlCol="0">
            <a:noAutofit/>
          </a:bodyPr>
          <a:lstStyle/>
          <a:p>
            <a:r>
              <a:rPr lang="en-US" sz="550" dirty="0"/>
              <a:t>Soft Green</a:t>
            </a:r>
          </a:p>
          <a:p>
            <a:r>
              <a:rPr lang="en-US" sz="550" dirty="0"/>
              <a:t>#00D7A0</a:t>
            </a:r>
          </a:p>
        </p:txBody>
      </p:sp>
      <p:sp>
        <p:nvSpPr>
          <p:cNvPr id="223" name="Copy Soft Green">
            <a:extLst>
              <a:ext uri="{FF2B5EF4-FFF2-40B4-BE49-F238E27FC236}">
                <a16:creationId xmlns:a16="http://schemas.microsoft.com/office/drawing/2014/main" id="{D45B14B4-FE2A-4295-ACB6-E5C445BAB88E}"/>
              </a:ext>
            </a:extLst>
          </p:cNvPr>
          <p:cNvSpPr txBox="1"/>
          <p:nvPr/>
        </p:nvSpPr>
        <p:spPr>
          <a:xfrm>
            <a:off x="3866822" y="5878800"/>
            <a:ext cx="720000" cy="288000"/>
          </a:xfrm>
          <a:prstGeom prst="rect">
            <a:avLst/>
          </a:prstGeom>
          <a:noFill/>
        </p:spPr>
        <p:txBody>
          <a:bodyPr wrap="square" lIns="0" tIns="72000" rIns="0" bIns="0" rtlCol="0">
            <a:noAutofit/>
          </a:bodyPr>
          <a:lstStyle/>
          <a:p>
            <a:r>
              <a:rPr lang="en-US" sz="550" dirty="0"/>
              <a:t>Bright Sand</a:t>
            </a:r>
          </a:p>
          <a:p>
            <a:r>
              <a:rPr lang="en-US" sz="550" dirty="0"/>
              <a:t>#DFDFD9</a:t>
            </a:r>
          </a:p>
        </p:txBody>
      </p:sp>
      <p:sp>
        <p:nvSpPr>
          <p:cNvPr id="224" name="Copy Soft Blue">
            <a:extLst>
              <a:ext uri="{FF2B5EF4-FFF2-40B4-BE49-F238E27FC236}">
                <a16:creationId xmlns:a16="http://schemas.microsoft.com/office/drawing/2014/main" id="{9CF60416-0E66-46C1-B701-037F8966DF8E}"/>
              </a:ext>
            </a:extLst>
          </p:cNvPr>
          <p:cNvSpPr txBox="1"/>
          <p:nvPr/>
        </p:nvSpPr>
        <p:spPr>
          <a:xfrm>
            <a:off x="5594652" y="5878800"/>
            <a:ext cx="720000" cy="288000"/>
          </a:xfrm>
          <a:prstGeom prst="rect">
            <a:avLst/>
          </a:prstGeom>
          <a:noFill/>
        </p:spPr>
        <p:txBody>
          <a:bodyPr wrap="square" lIns="0" tIns="72000" rIns="0" bIns="0" rtlCol="0">
            <a:noAutofit/>
          </a:bodyPr>
          <a:lstStyle/>
          <a:p>
            <a:r>
              <a:rPr lang="en-US" sz="550" dirty="0"/>
              <a:t>Deep Blue 10% (Light Gray) #E5E5E9</a:t>
            </a:r>
          </a:p>
        </p:txBody>
      </p:sp>
      <p:sp>
        <p:nvSpPr>
          <p:cNvPr id="225" name="Copy Bright Blue">
            <a:extLst>
              <a:ext uri="{FF2B5EF4-FFF2-40B4-BE49-F238E27FC236}">
                <a16:creationId xmlns:a16="http://schemas.microsoft.com/office/drawing/2014/main" id="{97588A9E-5985-49C5-9B8F-AAC48A616F0D}"/>
              </a:ext>
            </a:extLst>
          </p:cNvPr>
          <p:cNvSpPr txBox="1"/>
          <p:nvPr/>
        </p:nvSpPr>
        <p:spPr>
          <a:xfrm>
            <a:off x="6458567" y="5878800"/>
            <a:ext cx="720000" cy="288000"/>
          </a:xfrm>
          <a:prstGeom prst="rect">
            <a:avLst/>
          </a:prstGeom>
          <a:noFill/>
        </p:spPr>
        <p:txBody>
          <a:bodyPr wrap="square" lIns="0" tIns="72000" rIns="0" bIns="0" rtlCol="0">
            <a:noAutofit/>
          </a:bodyPr>
          <a:lstStyle/>
          <a:p>
            <a:r>
              <a:rPr lang="en-US" sz="550" dirty="0"/>
              <a:t>Yellow</a:t>
            </a:r>
          </a:p>
          <a:p>
            <a:r>
              <a:rPr lang="en-US" sz="550" dirty="0"/>
              <a:t>#FFD732</a:t>
            </a:r>
          </a:p>
        </p:txBody>
      </p:sp>
      <p:sp>
        <p:nvSpPr>
          <p:cNvPr id="226" name="Copy Dark Blue">
            <a:extLst>
              <a:ext uri="{FF2B5EF4-FFF2-40B4-BE49-F238E27FC236}">
                <a16:creationId xmlns:a16="http://schemas.microsoft.com/office/drawing/2014/main" id="{62864EE5-C54C-4FD2-8877-0D0C858BA528}"/>
              </a:ext>
            </a:extLst>
          </p:cNvPr>
          <p:cNvSpPr txBox="1"/>
          <p:nvPr/>
        </p:nvSpPr>
        <p:spPr>
          <a:xfrm>
            <a:off x="7322482" y="5878800"/>
            <a:ext cx="720000" cy="288000"/>
          </a:xfrm>
          <a:prstGeom prst="rect">
            <a:avLst/>
          </a:prstGeom>
          <a:noFill/>
        </p:spPr>
        <p:txBody>
          <a:bodyPr wrap="square" lIns="0" tIns="72000" rIns="0" bIns="0" rtlCol="0">
            <a:noAutofit/>
          </a:bodyPr>
          <a:lstStyle/>
          <a:p>
            <a:r>
              <a:rPr lang="en-US" sz="550" dirty="0"/>
              <a:t>Bold Green</a:t>
            </a:r>
          </a:p>
          <a:p>
            <a:r>
              <a:rPr lang="en-US" sz="550" dirty="0"/>
              <a:t>#00FFB9</a:t>
            </a:r>
          </a:p>
        </p:txBody>
      </p:sp>
      <p:sp>
        <p:nvSpPr>
          <p:cNvPr id="227" name="Copy Deep Blue">
            <a:extLst>
              <a:ext uri="{FF2B5EF4-FFF2-40B4-BE49-F238E27FC236}">
                <a16:creationId xmlns:a16="http://schemas.microsoft.com/office/drawing/2014/main" id="{DFB9AA61-9CB0-47D8-A343-D389BEE152D9}"/>
              </a:ext>
            </a:extLst>
          </p:cNvPr>
          <p:cNvSpPr txBox="1"/>
          <p:nvPr/>
        </p:nvSpPr>
        <p:spPr>
          <a:xfrm>
            <a:off x="8186400" y="5878800"/>
            <a:ext cx="720000" cy="288000"/>
          </a:xfrm>
          <a:prstGeom prst="rect">
            <a:avLst/>
          </a:prstGeom>
          <a:noFill/>
        </p:spPr>
        <p:txBody>
          <a:bodyPr wrap="square" lIns="0" tIns="72000" rIns="0" bIns="0" rtlCol="0">
            <a:noAutofit/>
          </a:bodyPr>
          <a:lstStyle/>
          <a:p>
            <a:r>
              <a:rPr lang="en-US" sz="550" dirty="0"/>
              <a:t>Bold Blue</a:t>
            </a:r>
          </a:p>
          <a:p>
            <a:r>
              <a:rPr lang="en-US" sz="550" dirty="0"/>
              <a:t>#00E6DC</a:t>
            </a:r>
          </a:p>
        </p:txBody>
      </p:sp>
      <p:sp>
        <p:nvSpPr>
          <p:cNvPr id="228" name="Copy Soft Green">
            <a:extLst>
              <a:ext uri="{FF2B5EF4-FFF2-40B4-BE49-F238E27FC236}">
                <a16:creationId xmlns:a16="http://schemas.microsoft.com/office/drawing/2014/main" id="{F8B80BC0-B85A-4DE1-A4B1-E644E62A14BD}"/>
              </a:ext>
            </a:extLst>
          </p:cNvPr>
          <p:cNvSpPr txBox="1"/>
          <p:nvPr/>
        </p:nvSpPr>
        <p:spPr>
          <a:xfrm>
            <a:off x="4730737" y="5878800"/>
            <a:ext cx="720000" cy="288000"/>
          </a:xfrm>
          <a:prstGeom prst="rect">
            <a:avLst/>
          </a:prstGeom>
          <a:noFill/>
        </p:spPr>
        <p:txBody>
          <a:bodyPr wrap="square" lIns="0" tIns="72000" rIns="0" bIns="0" rtlCol="0">
            <a:noAutofit/>
          </a:bodyPr>
          <a:lstStyle/>
          <a:p>
            <a:r>
              <a:rPr lang="en-US" sz="550" dirty="0"/>
              <a:t>Deep Blue 60% (Dark Gray) #66667E</a:t>
            </a:r>
          </a:p>
        </p:txBody>
      </p:sp>
    </p:spTree>
    <p:extLst>
      <p:ext uri="{BB962C8B-B14F-4D97-AF65-F5344CB8AC3E}">
        <p14:creationId xmlns:p14="http://schemas.microsoft.com/office/powerpoint/2010/main" val="34089860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 name="Objekt 55"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3" imgW="360" imgH="360" progId="">
                  <p:embed/>
                </p:oleObj>
              </mc:Choice>
              <mc:Fallback>
                <p:oleObj name="think-cell Folie" r:id="rId3" imgW="360" imgH="360" progId="">
                  <p:embed/>
                  <p:pic>
                    <p:nvPicPr>
                      <p:cNvPr id="56" name="Objekt 5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55" name="Tabelle 54"/>
          <p:cNvGraphicFramePr>
            <a:graphicFrameLocks noGrp="1"/>
          </p:cNvGraphicFramePr>
          <p:nvPr>
            <p:extLst>
              <p:ext uri="{D42A27DB-BD31-4B8C-83A1-F6EECF244321}">
                <p14:modId xmlns:p14="http://schemas.microsoft.com/office/powerpoint/2010/main" val="1922449371"/>
              </p:ext>
            </p:extLst>
          </p:nvPr>
        </p:nvGraphicFramePr>
        <p:xfrm>
          <a:off x="411163" y="1415849"/>
          <a:ext cx="7775663" cy="4749528"/>
        </p:xfrm>
        <a:graphic>
          <a:graphicData uri="http://schemas.openxmlformats.org/drawingml/2006/table">
            <a:tbl>
              <a:tblPr>
                <a:tableStyleId>{0E3FDE45-AF77-4B5C-9715-49D594BDF05E}</a:tableStyleId>
              </a:tblPr>
              <a:tblGrid>
                <a:gridCol w="647663">
                  <a:extLst>
                    <a:ext uri="{9D8B030D-6E8A-4147-A177-3AD203B41FA5}">
                      <a16:colId xmlns:a16="http://schemas.microsoft.com/office/drawing/2014/main" val="20001"/>
                    </a:ext>
                  </a:extLst>
                </a:gridCol>
                <a:gridCol w="7128000">
                  <a:extLst>
                    <a:ext uri="{9D8B030D-6E8A-4147-A177-3AD203B41FA5}">
                      <a16:colId xmlns:a16="http://schemas.microsoft.com/office/drawing/2014/main" val="20002"/>
                    </a:ext>
                  </a:extLst>
                </a:gridCol>
              </a:tblGrid>
              <a:tr h="791588">
                <a:tc>
                  <a:txBody>
                    <a:bodyPr/>
                    <a:lstStyle/>
                    <a:p>
                      <a:endParaRPr lang="en-US" sz="1800" noProof="0" dirty="0">
                        <a:solidFill>
                          <a:srgbClr val="3C464B"/>
                        </a:solidFill>
                        <a:latin typeface="+mn-lt"/>
                      </a:endParaRPr>
                    </a:p>
                  </a:txBody>
                  <a:tcPr marL="143925" marR="143925" marT="71963" marB="71963" anchor="ctr">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66667E"/>
                          </a:solidFill>
                          <a:effectLst/>
                          <a:uLnTx/>
                          <a:uFillTx/>
                        </a:rPr>
                        <a:t>Cras ultricies mi eu</a:t>
                      </a:r>
                      <a:endParaRPr lang="en-US" sz="1800" noProof="0" dirty="0">
                        <a:solidFill>
                          <a:srgbClr val="66667E"/>
                        </a:solidFill>
                        <a:latin typeface="+mn-lt"/>
                        <a:ea typeface="Arial Unicode MS"/>
                      </a:endParaRPr>
                    </a:p>
                  </a:txBody>
                  <a:tcPr marL="0" marR="0" marT="71963" marB="71963" anchor="ctr">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1"/>
                  </a:ext>
                </a:extLst>
              </a:tr>
              <a:tr h="79158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noProof="0" dirty="0">
                        <a:solidFill>
                          <a:srgbClr val="3C464B"/>
                        </a:solidFill>
                        <a:latin typeface="+mn-lt"/>
                      </a:endParaRPr>
                    </a:p>
                  </a:txBody>
                  <a:tcPr marL="143925" marR="143925"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66667E"/>
                          </a:solidFill>
                          <a:effectLst/>
                          <a:uLnTx/>
                          <a:uFillTx/>
                        </a:rPr>
                        <a:t>At vero eos et accusam</a:t>
                      </a:r>
                      <a:endParaRPr lang="en-US" sz="1800" noProof="0" dirty="0">
                        <a:solidFill>
                          <a:srgbClr val="66667E"/>
                        </a:solidFill>
                        <a:latin typeface="+mn-lt"/>
                        <a:ea typeface="Arial Unicode MS"/>
                      </a:endParaRPr>
                    </a:p>
                  </a:txBody>
                  <a:tcPr marL="0" marR="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2"/>
                  </a:ext>
                </a:extLst>
              </a:tr>
              <a:tr h="79158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noProof="0" dirty="0">
                        <a:solidFill>
                          <a:srgbClr val="3C464B"/>
                        </a:solidFill>
                        <a:latin typeface="+mn-lt"/>
                      </a:endParaRPr>
                    </a:p>
                  </a:txBody>
                  <a:tcPr marL="143925" marR="143925"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s-ES" sz="1800" u="none" strike="noStrike" kern="1200" cap="none" spc="0" normalizeH="0" baseline="0" noProof="0" dirty="0">
                          <a:ln>
                            <a:noFill/>
                          </a:ln>
                          <a:solidFill>
                            <a:srgbClr val="66667E"/>
                          </a:solidFill>
                          <a:effectLst/>
                          <a:uLnTx/>
                          <a:uFillTx/>
                        </a:rPr>
                        <a:t>Duis arcu tortor, suscipit eget</a:t>
                      </a:r>
                      <a:endParaRPr lang="en-US" sz="1800" noProof="0" dirty="0">
                        <a:solidFill>
                          <a:srgbClr val="66667E"/>
                        </a:solidFill>
                        <a:latin typeface="+mn-lt"/>
                        <a:ea typeface="Arial Unicode MS"/>
                      </a:endParaRPr>
                    </a:p>
                  </a:txBody>
                  <a:tcPr marL="0" marR="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3"/>
                  </a:ext>
                </a:extLst>
              </a:tr>
              <a:tr h="79158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noProof="0" dirty="0">
                        <a:solidFill>
                          <a:srgbClr val="3C464B"/>
                        </a:solidFill>
                        <a:latin typeface="+mn-lt"/>
                      </a:endParaRPr>
                    </a:p>
                  </a:txBody>
                  <a:tcPr marL="143925" marR="143925"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66667E"/>
                          </a:solidFill>
                          <a:effectLst/>
                          <a:uLnTx/>
                          <a:uFillTx/>
                        </a:rPr>
                        <a:t>Cras ultricies mi eu</a:t>
                      </a:r>
                      <a:endParaRPr lang="en-US" sz="1800" noProof="0" dirty="0">
                        <a:solidFill>
                          <a:srgbClr val="66667E"/>
                        </a:solidFill>
                        <a:latin typeface="+mn-lt"/>
                        <a:ea typeface="Arial Unicode MS"/>
                      </a:endParaRPr>
                    </a:p>
                  </a:txBody>
                  <a:tcPr marL="0" marR="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4"/>
                  </a:ext>
                </a:extLst>
              </a:tr>
              <a:tr h="79158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noProof="0" dirty="0">
                        <a:solidFill>
                          <a:srgbClr val="3C464B"/>
                        </a:solidFill>
                        <a:latin typeface="+mn-lt"/>
                      </a:endParaRPr>
                    </a:p>
                  </a:txBody>
                  <a:tcPr marL="143925" marR="143925"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66667E"/>
                          </a:solidFill>
                          <a:effectLst/>
                          <a:uLnTx/>
                          <a:uFillTx/>
                        </a:rPr>
                        <a:t>Duis arcu tortor, suscipit eget, imperdiet nec, imperdiet iaculis</a:t>
                      </a:r>
                      <a:endParaRPr lang="en-US" sz="1800" noProof="0" dirty="0">
                        <a:solidFill>
                          <a:srgbClr val="66667E"/>
                        </a:solidFill>
                        <a:latin typeface="+mn-lt"/>
                        <a:ea typeface="Arial Unicode MS"/>
                      </a:endParaRPr>
                    </a:p>
                  </a:txBody>
                  <a:tcPr marL="0" marR="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2514599482"/>
                  </a:ext>
                </a:extLst>
              </a:tr>
              <a:tr h="79158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noProof="0" dirty="0">
                        <a:solidFill>
                          <a:srgbClr val="3C464B"/>
                        </a:solidFill>
                        <a:latin typeface="+mn-lt"/>
                      </a:endParaRPr>
                    </a:p>
                  </a:txBody>
                  <a:tcPr marL="143925" marR="143925"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66667E"/>
                          </a:solidFill>
                          <a:effectLst/>
                          <a:uLnTx/>
                          <a:uFillTx/>
                        </a:rPr>
                        <a:t>At vero eos et accusam</a:t>
                      </a:r>
                      <a:endParaRPr lang="en-US" sz="1800" noProof="0" dirty="0">
                        <a:solidFill>
                          <a:srgbClr val="66667E"/>
                        </a:solidFill>
                        <a:latin typeface="+mn-lt"/>
                        <a:ea typeface="Arial Unicode MS"/>
                      </a:endParaRPr>
                    </a:p>
                  </a:txBody>
                  <a:tcPr marL="0" marR="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237210138"/>
                  </a:ext>
                </a:extLst>
              </a:tr>
            </a:tbl>
          </a:graphicData>
        </a:graphic>
      </p:graphicFrame>
      <p:sp>
        <p:nvSpPr>
          <p:cNvPr id="5" name="Titel 4"/>
          <p:cNvSpPr>
            <a:spLocks noGrp="1"/>
          </p:cNvSpPr>
          <p:nvPr>
            <p:ph type="title"/>
          </p:nvPr>
        </p:nvSpPr>
        <p:spPr/>
        <p:txBody>
          <a:bodyPr/>
          <a:lstStyle/>
          <a:p>
            <a:r>
              <a:rPr lang="en-US" dirty="0"/>
              <a:t>Factors – list view and description, colored</a:t>
            </a:r>
          </a:p>
        </p:txBody>
      </p:sp>
      <p:sp>
        <p:nvSpPr>
          <p:cNvPr id="6" name="Oval 4"/>
          <p:cNvSpPr>
            <a:spLocks noChangeAspect="1" noChangeArrowheads="1"/>
          </p:cNvSpPr>
          <p:nvPr/>
        </p:nvSpPr>
        <p:spPr bwMode="auto">
          <a:xfrm>
            <a:off x="411163" y="1584960"/>
            <a:ext cx="449766" cy="449766"/>
          </a:xfrm>
          <a:prstGeom prst="rect">
            <a:avLst/>
          </a:prstGeom>
          <a:solidFill>
            <a:srgbClr val="00FFB9"/>
          </a:solidFill>
          <a:ln>
            <a:noFill/>
          </a:ln>
          <a:effectLst/>
        </p:spPr>
        <p:txBody>
          <a:bodyPr wrap="none" lIns="84337" tIns="42169" rIns="84337" bIns="42169" anchor="ctr"/>
          <a:lstStyle/>
          <a:p>
            <a:pPr algn="ctr" defTabSz="702911">
              <a:spcBef>
                <a:spcPct val="0"/>
              </a:spcBef>
            </a:pPr>
            <a:r>
              <a:rPr lang="en-US" sz="1799" b="1" dirty="0">
                <a:solidFill>
                  <a:schemeClr val="tx2"/>
                </a:solidFill>
              </a:rPr>
              <a:t>1</a:t>
            </a:r>
          </a:p>
        </p:txBody>
      </p:sp>
      <p:sp>
        <p:nvSpPr>
          <p:cNvPr id="7" name="Oval 4"/>
          <p:cNvSpPr>
            <a:spLocks noChangeAspect="1" noChangeArrowheads="1"/>
          </p:cNvSpPr>
          <p:nvPr/>
        </p:nvSpPr>
        <p:spPr bwMode="auto">
          <a:xfrm>
            <a:off x="411163" y="2378222"/>
            <a:ext cx="449766" cy="449766"/>
          </a:xfrm>
          <a:prstGeom prst="rect">
            <a:avLst/>
          </a:prstGeom>
          <a:solidFill>
            <a:srgbClr val="00AF8E"/>
          </a:solidFill>
          <a:ln>
            <a:noFill/>
          </a:ln>
          <a:effectLst/>
        </p:spPr>
        <p:txBody>
          <a:bodyPr wrap="none" lIns="84337" tIns="42169" rIns="84337" bIns="42169" anchor="ctr"/>
          <a:lstStyle/>
          <a:p>
            <a:pPr algn="ctr" defTabSz="702911">
              <a:spcBef>
                <a:spcPct val="0"/>
              </a:spcBef>
            </a:pPr>
            <a:r>
              <a:rPr lang="en-US" sz="1799" b="1" dirty="0">
                <a:solidFill>
                  <a:schemeClr val="tx2"/>
                </a:solidFill>
              </a:rPr>
              <a:t>2</a:t>
            </a:r>
          </a:p>
        </p:txBody>
      </p:sp>
      <p:sp>
        <p:nvSpPr>
          <p:cNvPr id="8" name="Oval 4"/>
          <p:cNvSpPr>
            <a:spLocks noChangeAspect="1" noChangeArrowheads="1"/>
          </p:cNvSpPr>
          <p:nvPr/>
        </p:nvSpPr>
        <p:spPr bwMode="auto">
          <a:xfrm>
            <a:off x="411163" y="3171484"/>
            <a:ext cx="449766" cy="449766"/>
          </a:xfrm>
          <a:prstGeom prst="rect">
            <a:avLst/>
          </a:prstGeom>
          <a:solidFill>
            <a:srgbClr val="00646E"/>
          </a:solidFill>
          <a:ln>
            <a:noFill/>
          </a:ln>
          <a:effectLst/>
        </p:spPr>
        <p:txBody>
          <a:bodyPr wrap="none" lIns="84337" tIns="42169" rIns="84337" bIns="42169" anchor="ctr"/>
          <a:lstStyle/>
          <a:p>
            <a:pPr algn="ctr" defTabSz="702911">
              <a:spcBef>
                <a:spcPct val="0"/>
              </a:spcBef>
            </a:pPr>
            <a:r>
              <a:rPr lang="en-US" sz="1799" b="1" dirty="0">
                <a:solidFill>
                  <a:schemeClr val="bg2"/>
                </a:solidFill>
              </a:rPr>
              <a:t>3</a:t>
            </a:r>
          </a:p>
        </p:txBody>
      </p:sp>
      <p:sp>
        <p:nvSpPr>
          <p:cNvPr id="9" name="Oval 4"/>
          <p:cNvSpPr>
            <a:spLocks noChangeAspect="1" noChangeArrowheads="1"/>
          </p:cNvSpPr>
          <p:nvPr/>
        </p:nvSpPr>
        <p:spPr bwMode="auto">
          <a:xfrm>
            <a:off x="411163" y="3964746"/>
            <a:ext cx="449766" cy="449766"/>
          </a:xfrm>
          <a:prstGeom prst="rect">
            <a:avLst/>
          </a:prstGeom>
          <a:solidFill>
            <a:srgbClr val="9999A9"/>
          </a:solidFill>
          <a:ln>
            <a:noFill/>
          </a:ln>
          <a:effectLst/>
        </p:spPr>
        <p:txBody>
          <a:bodyPr wrap="none" lIns="84337" tIns="42169" rIns="84337" bIns="42169" anchor="ctr"/>
          <a:lstStyle/>
          <a:p>
            <a:pPr algn="ctr" defTabSz="702911">
              <a:spcBef>
                <a:spcPct val="0"/>
              </a:spcBef>
            </a:pPr>
            <a:r>
              <a:rPr lang="en-US" sz="1799" b="1" dirty="0">
                <a:solidFill>
                  <a:schemeClr val="bg2"/>
                </a:solidFill>
              </a:rPr>
              <a:t>4</a:t>
            </a:r>
          </a:p>
        </p:txBody>
      </p:sp>
      <p:sp>
        <p:nvSpPr>
          <p:cNvPr id="10" name="Oval 4"/>
          <p:cNvSpPr>
            <a:spLocks noChangeAspect="1" noChangeArrowheads="1"/>
          </p:cNvSpPr>
          <p:nvPr/>
        </p:nvSpPr>
        <p:spPr bwMode="auto">
          <a:xfrm>
            <a:off x="411163" y="4758008"/>
            <a:ext cx="449766" cy="449766"/>
          </a:xfrm>
          <a:prstGeom prst="rect">
            <a:avLst/>
          </a:prstGeom>
          <a:solidFill>
            <a:srgbClr val="66667E"/>
          </a:solidFill>
          <a:ln>
            <a:noFill/>
          </a:ln>
          <a:effectLst/>
        </p:spPr>
        <p:txBody>
          <a:bodyPr wrap="none" lIns="84337" tIns="42169" rIns="84337" bIns="42169" anchor="ctr"/>
          <a:lstStyle/>
          <a:p>
            <a:pPr algn="ctr" defTabSz="702911">
              <a:spcBef>
                <a:spcPct val="0"/>
              </a:spcBef>
            </a:pPr>
            <a:r>
              <a:rPr lang="en-US" sz="1799" b="1" dirty="0">
                <a:solidFill>
                  <a:schemeClr val="bg2"/>
                </a:solidFill>
              </a:rPr>
              <a:t>5</a:t>
            </a:r>
          </a:p>
        </p:txBody>
      </p:sp>
      <p:sp>
        <p:nvSpPr>
          <p:cNvPr id="11" name="Oval 4"/>
          <p:cNvSpPr>
            <a:spLocks noChangeAspect="1" noChangeArrowheads="1"/>
          </p:cNvSpPr>
          <p:nvPr/>
        </p:nvSpPr>
        <p:spPr bwMode="auto">
          <a:xfrm>
            <a:off x="411163" y="5551269"/>
            <a:ext cx="449766" cy="449766"/>
          </a:xfrm>
          <a:prstGeom prst="rect">
            <a:avLst/>
          </a:prstGeom>
          <a:solidFill>
            <a:srgbClr val="333353"/>
          </a:solidFill>
          <a:ln>
            <a:noFill/>
          </a:ln>
          <a:effectLst/>
        </p:spPr>
        <p:txBody>
          <a:bodyPr wrap="none" lIns="84337" tIns="42169" rIns="84337" bIns="42169" anchor="ctr"/>
          <a:lstStyle/>
          <a:p>
            <a:pPr algn="ctr" defTabSz="702911">
              <a:spcBef>
                <a:spcPct val="0"/>
              </a:spcBef>
            </a:pPr>
            <a:r>
              <a:rPr lang="en-US" sz="1799" b="1" dirty="0">
                <a:solidFill>
                  <a:schemeClr val="bg2"/>
                </a:solidFill>
              </a:rPr>
              <a:t>6</a:t>
            </a:r>
          </a:p>
        </p:txBody>
      </p:sp>
      <p:sp>
        <p:nvSpPr>
          <p:cNvPr id="2" name="Footer Placeholder 1">
            <a:extLst>
              <a:ext uri="{FF2B5EF4-FFF2-40B4-BE49-F238E27FC236}">
                <a16:creationId xmlns:a16="http://schemas.microsoft.com/office/drawing/2014/main" id="{693A36E6-DAC3-4EBF-A312-292EDD6B6847}"/>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3" name="Slide Number Placeholder 2">
            <a:extLst>
              <a:ext uri="{FF2B5EF4-FFF2-40B4-BE49-F238E27FC236}">
                <a16:creationId xmlns:a16="http://schemas.microsoft.com/office/drawing/2014/main" id="{7C487A81-25D0-4594-902A-4BA9017F077A}"/>
              </a:ext>
            </a:extLst>
          </p:cNvPr>
          <p:cNvSpPr>
            <a:spLocks noGrp="1"/>
          </p:cNvSpPr>
          <p:nvPr>
            <p:ph type="sldNum" sz="quarter" idx="11"/>
          </p:nvPr>
        </p:nvSpPr>
        <p:spPr/>
        <p:txBody>
          <a:bodyPr/>
          <a:lstStyle/>
          <a:p>
            <a:r>
              <a:rPr lang="en-US" dirty="0"/>
              <a:t>Page </a:t>
            </a:r>
            <a:fld id="{15EBE321-CBB1-4E91-BD14-37C8D44326FB}" type="slidenum">
              <a:rPr lang="en-US" smtClean="0"/>
              <a:pPr/>
              <a:t>20</a:t>
            </a:fld>
            <a:endParaRPr lang="en-US" dirty="0"/>
          </a:p>
        </p:txBody>
      </p:sp>
    </p:spTree>
    <p:extLst>
      <p:ext uri="{BB962C8B-B14F-4D97-AF65-F5344CB8AC3E}">
        <p14:creationId xmlns:p14="http://schemas.microsoft.com/office/powerpoint/2010/main" val="1827902711"/>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4" imgW="360" imgH="360" progId="">
                  <p:embed/>
                </p:oleObj>
              </mc:Choice>
              <mc:Fallback>
                <p:oleObj name="think-cell Folie" r:id="rId4" imgW="360" imgH="360" progId="">
                  <p:embed/>
                  <p:pic>
                    <p:nvPicPr>
                      <p:cNvPr id="5" name="Objek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feld 2"/>
          <p:cNvSpPr txBox="1"/>
          <p:nvPr/>
        </p:nvSpPr>
        <p:spPr>
          <a:xfrm>
            <a:off x="411162" y="955289"/>
            <a:ext cx="9863138" cy="3629872"/>
          </a:xfrm>
          <a:prstGeom prst="rect">
            <a:avLst/>
          </a:prstGeom>
          <a:noFill/>
        </p:spPr>
        <p:txBody>
          <a:bodyPr wrap="square" lIns="0" tIns="0" rIns="0" bIns="0" rtlCol="0">
            <a:spAutoFit/>
          </a:bodyPr>
          <a:lstStyle/>
          <a:p>
            <a:pPr>
              <a:spcBef>
                <a:spcPts val="2399"/>
              </a:spcBef>
            </a:pPr>
            <a:r>
              <a:rPr lang="en-US" sz="3598" b="1" dirty="0">
                <a:ea typeface="Arial Unicode MS"/>
              </a:rPr>
              <a:t>“Maecenas nec odio dolor sit amet, consetetur sadipscing elitr, sed diam nonumy eirmod tempor invidunt ut labore et dolore magna erat, sed diam voluptua. </a:t>
            </a:r>
          </a:p>
          <a:p>
            <a:pPr>
              <a:spcBef>
                <a:spcPts val="2399"/>
              </a:spcBef>
            </a:pPr>
            <a:r>
              <a:rPr lang="en-US" sz="3598" b="1" dirty="0">
                <a:ea typeface="Arial Unicode MS"/>
              </a:rPr>
              <a:t>At vero eos et accusam et justo duo </a:t>
            </a:r>
            <a:br>
              <a:rPr lang="en-US" sz="3598" b="1" dirty="0">
                <a:ea typeface="Arial Unicode MS"/>
              </a:rPr>
            </a:br>
            <a:r>
              <a:rPr lang="en-US" sz="3598" b="1" dirty="0">
                <a:ea typeface="Arial Unicode MS"/>
              </a:rPr>
              <a:t>dolores et ea rebum.”</a:t>
            </a:r>
          </a:p>
        </p:txBody>
      </p:sp>
      <p:sp>
        <p:nvSpPr>
          <p:cNvPr id="78" name="Textfeld 77"/>
          <p:cNvSpPr txBox="1"/>
          <p:nvPr/>
        </p:nvSpPr>
        <p:spPr>
          <a:xfrm>
            <a:off x="411162" y="4585161"/>
            <a:ext cx="2319940" cy="844370"/>
          </a:xfrm>
          <a:prstGeom prst="rect">
            <a:avLst/>
          </a:prstGeom>
          <a:noFill/>
        </p:spPr>
        <p:txBody>
          <a:bodyPr wrap="none" lIns="0" tIns="287850" rIns="0" bIns="0" rtlCol="0" anchor="b">
            <a:spAutoFit/>
          </a:bodyPr>
          <a:lstStyle/>
          <a:p>
            <a:r>
              <a:rPr lang="en-US" sz="1799" dirty="0">
                <a:ea typeface="Arial Unicode MS"/>
              </a:rPr>
              <a:t>Author</a:t>
            </a:r>
            <a:br>
              <a:rPr lang="en-US" sz="1799" dirty="0">
                <a:ea typeface="Arial Unicode MS"/>
              </a:rPr>
            </a:br>
            <a:r>
              <a:rPr lang="en-US" sz="1799" dirty="0">
                <a:ea typeface="Arial Unicode MS"/>
              </a:rPr>
              <a:t>Function, Organization</a:t>
            </a:r>
          </a:p>
        </p:txBody>
      </p:sp>
      <p:sp>
        <p:nvSpPr>
          <p:cNvPr id="4" name="Footer Placeholder 3">
            <a:extLst>
              <a:ext uri="{FF2B5EF4-FFF2-40B4-BE49-F238E27FC236}">
                <a16:creationId xmlns:a16="http://schemas.microsoft.com/office/drawing/2014/main" id="{35B216D0-50E4-4A5D-A143-4C6207805B2A}"/>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6" name="Slide Number Placeholder 5">
            <a:extLst>
              <a:ext uri="{FF2B5EF4-FFF2-40B4-BE49-F238E27FC236}">
                <a16:creationId xmlns:a16="http://schemas.microsoft.com/office/drawing/2014/main" id="{2B55DBC4-D9C9-4E73-932C-7773BAB70708}"/>
              </a:ext>
            </a:extLst>
          </p:cNvPr>
          <p:cNvSpPr>
            <a:spLocks noGrp="1"/>
          </p:cNvSpPr>
          <p:nvPr>
            <p:ph type="sldNum" sz="quarter" idx="11"/>
          </p:nvPr>
        </p:nvSpPr>
        <p:spPr>
          <a:xfrm>
            <a:off x="411162" y="6310800"/>
            <a:ext cx="648000" cy="547200"/>
          </a:xfrm>
        </p:spPr>
        <p:txBody>
          <a:bodyPr/>
          <a:lstStyle/>
          <a:p>
            <a:r>
              <a:rPr lang="en-US" dirty="0"/>
              <a:t>Page </a:t>
            </a:r>
            <a:fld id="{15EBE321-CBB1-4E91-BD14-37C8D44326FB}" type="slidenum">
              <a:rPr lang="en-US" smtClean="0"/>
              <a:pPr/>
              <a:t>200</a:t>
            </a:fld>
            <a:endParaRPr lang="en-US" dirty="0"/>
          </a:p>
        </p:txBody>
      </p:sp>
    </p:spTree>
    <p:extLst>
      <p:ext uri="{BB962C8B-B14F-4D97-AF65-F5344CB8AC3E}">
        <p14:creationId xmlns:p14="http://schemas.microsoft.com/office/powerpoint/2010/main" val="231331680"/>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bwMode="auto">
          <a:xfrm>
            <a:off x="967684" y="-8967"/>
            <a:ext cx="10182189" cy="6028978"/>
          </a:xfrm>
          <a:custGeom>
            <a:avLst/>
            <a:gdLst>
              <a:gd name="connsiteX0" fmla="*/ 0 w 10187492"/>
              <a:gd name="connsiteY0" fmla="*/ 0 h 6032118"/>
              <a:gd name="connsiteX1" fmla="*/ 10187492 w 10187492"/>
              <a:gd name="connsiteY1" fmla="*/ 10758 h 6032118"/>
              <a:gd name="connsiteX2" fmla="*/ 9574306 w 10187492"/>
              <a:gd name="connsiteY2" fmla="*/ 5131398 h 6032118"/>
              <a:gd name="connsiteX3" fmla="*/ 2970687 w 10187492"/>
              <a:gd name="connsiteY3" fmla="*/ 5131398 h 6032118"/>
              <a:gd name="connsiteX4" fmla="*/ 1602497 w 10187492"/>
              <a:gd name="connsiteY4" fmla="*/ 6032118 h 6032118"/>
              <a:gd name="connsiteX5" fmla="*/ 1602497 w 10187492"/>
              <a:gd name="connsiteY5" fmla="*/ 5131398 h 6032118"/>
              <a:gd name="connsiteX6" fmla="*/ 484094 w 10187492"/>
              <a:gd name="connsiteY6" fmla="*/ 5131398 h 6032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87492" h="6032118">
                <a:moveTo>
                  <a:pt x="0" y="0"/>
                </a:moveTo>
                <a:lnTo>
                  <a:pt x="10187492" y="10758"/>
                </a:lnTo>
                <a:lnTo>
                  <a:pt x="9574306" y="5131398"/>
                </a:lnTo>
                <a:lnTo>
                  <a:pt x="2970687" y="5131398"/>
                </a:lnTo>
                <a:lnTo>
                  <a:pt x="1602497" y="6032118"/>
                </a:lnTo>
                <a:lnTo>
                  <a:pt x="1602497" y="5131398"/>
                </a:lnTo>
                <a:lnTo>
                  <a:pt x="484094" y="5131398"/>
                </a:lnTo>
                <a:close/>
              </a:path>
            </a:pathLst>
          </a:custGeom>
          <a:solidFill>
            <a:srgbClr val="333353"/>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graphicFrame>
        <p:nvGraphicFramePr>
          <p:cNvPr id="5" name="Objekt 4"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4" imgW="360" imgH="360" progId="">
                  <p:embed/>
                </p:oleObj>
              </mc:Choice>
              <mc:Fallback>
                <p:oleObj name="think-cell Folie" r:id="rId4" imgW="360" imgH="360" progId="">
                  <p:embed/>
                  <p:pic>
                    <p:nvPicPr>
                      <p:cNvPr id="5" name="Objek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feld 2"/>
          <p:cNvSpPr txBox="1"/>
          <p:nvPr/>
        </p:nvSpPr>
        <p:spPr>
          <a:xfrm>
            <a:off x="2137511" y="955289"/>
            <a:ext cx="8276840" cy="2768547"/>
          </a:xfrm>
          <a:prstGeom prst="rect">
            <a:avLst/>
          </a:prstGeom>
          <a:noFill/>
        </p:spPr>
        <p:txBody>
          <a:bodyPr wrap="square" lIns="0" tIns="0" rIns="0" bIns="0" rtlCol="0">
            <a:spAutoFit/>
          </a:bodyPr>
          <a:lstStyle/>
          <a:p>
            <a:pPr>
              <a:spcBef>
                <a:spcPts val="2399"/>
              </a:spcBef>
            </a:pPr>
            <a:r>
              <a:rPr lang="en-US" sz="3598" b="1" dirty="0">
                <a:solidFill>
                  <a:srgbClr val="FFFFFF"/>
                </a:solidFill>
                <a:ea typeface="Arial Unicode MS"/>
              </a:rPr>
              <a:t>“Lorem ipsum dolor sit amet, con setetur sadipscing elitr, sed diam nonumy eirmod tempor invidunt utlabore et dolore magna erat, sed diam voluptua.”</a:t>
            </a:r>
          </a:p>
        </p:txBody>
      </p:sp>
      <p:sp>
        <p:nvSpPr>
          <p:cNvPr id="78" name="Textfeld 77"/>
          <p:cNvSpPr txBox="1"/>
          <p:nvPr/>
        </p:nvSpPr>
        <p:spPr>
          <a:xfrm>
            <a:off x="2137511" y="3723836"/>
            <a:ext cx="2319940" cy="844370"/>
          </a:xfrm>
          <a:prstGeom prst="rect">
            <a:avLst/>
          </a:prstGeom>
          <a:noFill/>
        </p:spPr>
        <p:txBody>
          <a:bodyPr wrap="none" lIns="0" tIns="287850" rIns="0" bIns="0" rtlCol="0" anchor="b">
            <a:spAutoFit/>
          </a:bodyPr>
          <a:lstStyle/>
          <a:p>
            <a:r>
              <a:rPr lang="en-US" sz="1799" dirty="0">
                <a:ea typeface="Arial Unicode MS"/>
              </a:rPr>
              <a:t>Author</a:t>
            </a:r>
            <a:br>
              <a:rPr lang="en-US" sz="1799" dirty="0">
                <a:ea typeface="Arial Unicode MS"/>
              </a:rPr>
            </a:br>
            <a:r>
              <a:rPr lang="en-US" sz="1799" dirty="0">
                <a:ea typeface="Arial Unicode MS"/>
              </a:rPr>
              <a:t>Function, Organization</a:t>
            </a:r>
          </a:p>
        </p:txBody>
      </p:sp>
      <p:sp>
        <p:nvSpPr>
          <p:cNvPr id="4" name="Footer Placeholder 3">
            <a:extLst>
              <a:ext uri="{FF2B5EF4-FFF2-40B4-BE49-F238E27FC236}">
                <a16:creationId xmlns:a16="http://schemas.microsoft.com/office/drawing/2014/main" id="{1A05E05D-B92A-46D9-97C1-AAC092BC5FF5}"/>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6" name="Slide Number Placeholder 5">
            <a:extLst>
              <a:ext uri="{FF2B5EF4-FFF2-40B4-BE49-F238E27FC236}">
                <a16:creationId xmlns:a16="http://schemas.microsoft.com/office/drawing/2014/main" id="{AC24FBF4-106A-4B34-A871-A6FDA639C9EB}"/>
              </a:ext>
            </a:extLst>
          </p:cNvPr>
          <p:cNvSpPr>
            <a:spLocks noGrp="1"/>
          </p:cNvSpPr>
          <p:nvPr>
            <p:ph type="sldNum" sz="quarter" idx="11"/>
          </p:nvPr>
        </p:nvSpPr>
        <p:spPr/>
        <p:txBody>
          <a:bodyPr/>
          <a:lstStyle/>
          <a:p>
            <a:r>
              <a:rPr lang="en-US" dirty="0"/>
              <a:t>Page </a:t>
            </a:r>
            <a:fld id="{15EBE321-CBB1-4E91-BD14-37C8D44326FB}" type="slidenum">
              <a:rPr lang="en-US" smtClean="0"/>
              <a:pPr/>
              <a:t>201</a:t>
            </a:fld>
            <a:endParaRPr lang="en-US" dirty="0"/>
          </a:p>
        </p:txBody>
      </p:sp>
    </p:spTree>
    <p:extLst>
      <p:ext uri="{BB962C8B-B14F-4D97-AF65-F5344CB8AC3E}">
        <p14:creationId xmlns:p14="http://schemas.microsoft.com/office/powerpoint/2010/main" val="1618586948"/>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4" imgW="360" imgH="360" progId="">
                  <p:embed/>
                </p:oleObj>
              </mc:Choice>
              <mc:Fallback>
                <p:oleObj name="think-cell Folie" r:id="rId4" imgW="360" imgH="360" progId="">
                  <p:embed/>
                  <p:pic>
                    <p:nvPicPr>
                      <p:cNvPr id="5" name="Objek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feld 2"/>
          <p:cNvSpPr txBox="1"/>
          <p:nvPr/>
        </p:nvSpPr>
        <p:spPr>
          <a:xfrm>
            <a:off x="411162" y="1764867"/>
            <a:ext cx="9863138" cy="2153314"/>
          </a:xfrm>
          <a:prstGeom prst="rect">
            <a:avLst/>
          </a:prstGeom>
          <a:noFill/>
        </p:spPr>
        <p:txBody>
          <a:bodyPr wrap="square" lIns="0" tIns="0" rIns="0" bIns="0" rtlCol="0">
            <a:spAutoFit/>
          </a:bodyPr>
          <a:lstStyle/>
          <a:p>
            <a:pPr>
              <a:spcBef>
                <a:spcPts val="2399"/>
              </a:spcBef>
            </a:pPr>
            <a:r>
              <a:rPr lang="en-US" sz="2799" b="1" dirty="0">
                <a:solidFill>
                  <a:srgbClr val="FFFFFF"/>
                </a:solidFill>
                <a:ea typeface="Arial Unicode MS"/>
              </a:rPr>
              <a:t>“Lorem ipsum dolor sit amet, consetetur </a:t>
            </a:r>
            <a:br>
              <a:rPr lang="en-US" sz="2799" b="1" dirty="0">
                <a:solidFill>
                  <a:srgbClr val="FFFFFF"/>
                </a:solidFill>
                <a:ea typeface="Arial Unicode MS"/>
              </a:rPr>
            </a:br>
            <a:r>
              <a:rPr lang="en-US" sz="2799" b="1" dirty="0">
                <a:solidFill>
                  <a:srgbClr val="FFFFFF"/>
                </a:solidFill>
                <a:ea typeface="Arial Unicode MS"/>
              </a:rPr>
              <a:t>sadipscing elitr, sed diam nonumy eirmod tempor invidunt ut labore et dolore magna aliquyam erat, </a:t>
            </a:r>
            <a:br>
              <a:rPr lang="en-US" sz="2799" b="1" dirty="0">
                <a:solidFill>
                  <a:srgbClr val="FFFFFF"/>
                </a:solidFill>
                <a:ea typeface="Arial Unicode MS"/>
              </a:rPr>
            </a:br>
            <a:r>
              <a:rPr lang="en-US" sz="2799" b="1" dirty="0">
                <a:solidFill>
                  <a:srgbClr val="FFFFFF"/>
                </a:solidFill>
                <a:ea typeface="Arial Unicode MS"/>
              </a:rPr>
              <a:t>sed diam voluptua. At vero eos et accusam et justo duo dolores et ea rebum.”</a:t>
            </a:r>
          </a:p>
        </p:txBody>
      </p:sp>
      <p:sp>
        <p:nvSpPr>
          <p:cNvPr id="78" name="Textfeld 77"/>
          <p:cNvSpPr txBox="1"/>
          <p:nvPr/>
        </p:nvSpPr>
        <p:spPr>
          <a:xfrm>
            <a:off x="411162" y="3918181"/>
            <a:ext cx="2319940" cy="844370"/>
          </a:xfrm>
          <a:prstGeom prst="rect">
            <a:avLst/>
          </a:prstGeom>
          <a:noFill/>
        </p:spPr>
        <p:txBody>
          <a:bodyPr wrap="none" lIns="0" tIns="287850" rIns="0" bIns="0" rtlCol="0" anchor="b">
            <a:spAutoFit/>
          </a:bodyPr>
          <a:lstStyle/>
          <a:p>
            <a:r>
              <a:rPr lang="en-US" sz="1799" dirty="0">
                <a:ea typeface="Arial Unicode MS"/>
              </a:rPr>
              <a:t>Author</a:t>
            </a:r>
            <a:br>
              <a:rPr lang="en-US" sz="1799" dirty="0">
                <a:ea typeface="Arial Unicode MS"/>
              </a:rPr>
            </a:br>
            <a:r>
              <a:rPr lang="en-US" sz="1799" dirty="0">
                <a:ea typeface="Arial Unicode MS"/>
              </a:rPr>
              <a:t>Function, Organization</a:t>
            </a:r>
          </a:p>
        </p:txBody>
      </p:sp>
      <p:sp>
        <p:nvSpPr>
          <p:cNvPr id="6" name="Footer Placeholder 5">
            <a:extLst>
              <a:ext uri="{FF2B5EF4-FFF2-40B4-BE49-F238E27FC236}">
                <a16:creationId xmlns:a16="http://schemas.microsoft.com/office/drawing/2014/main" id="{AC80612B-6411-42F2-ACED-9A16E2D6DBDE}"/>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7" name="Slide Number Placeholder 6">
            <a:extLst>
              <a:ext uri="{FF2B5EF4-FFF2-40B4-BE49-F238E27FC236}">
                <a16:creationId xmlns:a16="http://schemas.microsoft.com/office/drawing/2014/main" id="{34A51E62-475B-4412-8B94-6A88AA20C2CC}"/>
              </a:ext>
            </a:extLst>
          </p:cNvPr>
          <p:cNvSpPr>
            <a:spLocks noGrp="1"/>
          </p:cNvSpPr>
          <p:nvPr>
            <p:ph type="sldNum" sz="quarter" idx="11"/>
          </p:nvPr>
        </p:nvSpPr>
        <p:spPr/>
        <p:txBody>
          <a:bodyPr/>
          <a:lstStyle/>
          <a:p>
            <a:r>
              <a:rPr lang="en-US" dirty="0"/>
              <a:t>Page </a:t>
            </a:r>
            <a:fld id="{15EBE321-CBB1-4E91-BD14-37C8D44326FB}" type="slidenum">
              <a:rPr lang="en-US" smtClean="0"/>
              <a:pPr/>
              <a:t>202</a:t>
            </a:fld>
            <a:endParaRPr lang="en-US" dirty="0"/>
          </a:p>
        </p:txBody>
      </p:sp>
      <p:sp>
        <p:nvSpPr>
          <p:cNvPr id="8" name="Graphic 3">
            <a:extLst>
              <a:ext uri="{FF2B5EF4-FFF2-40B4-BE49-F238E27FC236}">
                <a16:creationId xmlns:a16="http://schemas.microsoft.com/office/drawing/2014/main" id="{DF8C965E-7173-4234-9EBC-E4330CF2103A}"/>
              </a:ext>
            </a:extLst>
          </p:cNvPr>
          <p:cNvSpPr/>
          <p:nvPr/>
        </p:nvSpPr>
        <p:spPr>
          <a:xfrm>
            <a:off x="411162" y="-220830"/>
            <a:ext cx="1656486" cy="1297582"/>
          </a:xfrm>
          <a:custGeom>
            <a:avLst/>
            <a:gdLst>
              <a:gd name="connsiteX0" fmla="*/ 1056725 w 1656486"/>
              <a:gd name="connsiteY0" fmla="*/ 0 h 1297582"/>
              <a:gd name="connsiteX1" fmla="*/ 1656487 w 1656486"/>
              <a:gd name="connsiteY1" fmla="*/ 0 h 1297582"/>
              <a:gd name="connsiteX2" fmla="*/ 1656487 w 1656486"/>
              <a:gd name="connsiteY2" fmla="*/ 430306 h 1297582"/>
              <a:gd name="connsiteX3" fmla="*/ 1610791 w 1656486"/>
              <a:gd name="connsiteY3" fmla="*/ 839668 h 1297582"/>
              <a:gd name="connsiteX4" fmla="*/ 1440382 w 1656486"/>
              <a:gd name="connsiteY4" fmla="*/ 1109085 h 1297582"/>
              <a:gd name="connsiteX5" fmla="*/ 1125269 w 1656486"/>
              <a:gd name="connsiteY5" fmla="*/ 1297582 h 1297582"/>
              <a:gd name="connsiteX6" fmla="*/ 1008172 w 1656486"/>
              <a:gd name="connsiteY6" fmla="*/ 1048157 h 1297582"/>
              <a:gd name="connsiteX7" fmla="*/ 1265213 w 1656486"/>
              <a:gd name="connsiteY7" fmla="*/ 881556 h 1297582"/>
              <a:gd name="connsiteX8" fmla="*/ 1345182 w 1656486"/>
              <a:gd name="connsiteY8" fmla="*/ 597859 h 1297582"/>
              <a:gd name="connsiteX9" fmla="*/ 1056725 w 1656486"/>
              <a:gd name="connsiteY9" fmla="*/ 597859 h 1297582"/>
              <a:gd name="connsiteX10" fmla="*/ 1056725 w 1656486"/>
              <a:gd name="connsiteY10" fmla="*/ 0 h 1297582"/>
              <a:gd name="connsiteX11" fmla="*/ 1056725 w 1656486"/>
              <a:gd name="connsiteY11" fmla="*/ 0 h 1297582"/>
              <a:gd name="connsiteX12" fmla="*/ 49504 w 1656486"/>
              <a:gd name="connsiteY12" fmla="*/ 0 h 1297582"/>
              <a:gd name="connsiteX13" fmla="*/ 649267 w 1656486"/>
              <a:gd name="connsiteY13" fmla="*/ 0 h 1297582"/>
              <a:gd name="connsiteX14" fmla="*/ 649267 w 1656486"/>
              <a:gd name="connsiteY14" fmla="*/ 430306 h 1297582"/>
              <a:gd name="connsiteX15" fmla="*/ 604523 w 1656486"/>
              <a:gd name="connsiteY15" fmla="*/ 839668 h 1297582"/>
              <a:gd name="connsiteX16" fmla="*/ 435066 w 1656486"/>
              <a:gd name="connsiteY16" fmla="*/ 1109085 h 1297582"/>
              <a:gd name="connsiteX17" fmla="*/ 118048 w 1656486"/>
              <a:gd name="connsiteY17" fmla="*/ 1297582 h 1297582"/>
              <a:gd name="connsiteX18" fmla="*/ 0 w 1656486"/>
              <a:gd name="connsiteY18" fmla="*/ 1048157 h 1297582"/>
              <a:gd name="connsiteX19" fmla="*/ 257993 w 1656486"/>
              <a:gd name="connsiteY19" fmla="*/ 881556 h 1297582"/>
              <a:gd name="connsiteX20" fmla="*/ 338913 w 1656486"/>
              <a:gd name="connsiteY20" fmla="*/ 597859 h 1297582"/>
              <a:gd name="connsiteX21" fmla="*/ 49504 w 1656486"/>
              <a:gd name="connsiteY21" fmla="*/ 597859 h 1297582"/>
              <a:gd name="connsiteX22" fmla="*/ 49504 w 1656486"/>
              <a:gd name="connsiteY22" fmla="*/ 0 h 1297582"/>
              <a:gd name="connsiteX23" fmla="*/ 49504 w 1656486"/>
              <a:gd name="connsiteY23" fmla="*/ 0 h 1297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656486" h="1297582">
                <a:moveTo>
                  <a:pt x="1056725" y="0"/>
                </a:moveTo>
                <a:lnTo>
                  <a:pt x="1656487" y="0"/>
                </a:lnTo>
                <a:lnTo>
                  <a:pt x="1656487" y="430306"/>
                </a:lnTo>
                <a:cubicBezTo>
                  <a:pt x="1656487" y="603571"/>
                  <a:pt x="1641255" y="739707"/>
                  <a:pt x="1610791" y="839668"/>
                </a:cubicBezTo>
                <a:cubicBezTo>
                  <a:pt x="1580327" y="939628"/>
                  <a:pt x="1523206" y="1029117"/>
                  <a:pt x="1440382" y="1109085"/>
                </a:cubicBezTo>
                <a:cubicBezTo>
                  <a:pt x="1357558" y="1189054"/>
                  <a:pt x="1251885" y="1251886"/>
                  <a:pt x="1125269" y="1297582"/>
                </a:cubicBezTo>
                <a:lnTo>
                  <a:pt x="1008172" y="1048157"/>
                </a:lnTo>
                <a:cubicBezTo>
                  <a:pt x="1128125" y="1008173"/>
                  <a:pt x="1213805" y="952956"/>
                  <a:pt x="1265213" y="881556"/>
                </a:cubicBezTo>
                <a:cubicBezTo>
                  <a:pt x="1316622" y="810156"/>
                  <a:pt x="1344230" y="715907"/>
                  <a:pt x="1345182" y="597859"/>
                </a:cubicBezTo>
                <a:lnTo>
                  <a:pt x="1056725" y="597859"/>
                </a:lnTo>
                <a:lnTo>
                  <a:pt x="1056725" y="0"/>
                </a:lnTo>
                <a:lnTo>
                  <a:pt x="1056725" y="0"/>
                </a:lnTo>
                <a:close/>
                <a:moveTo>
                  <a:pt x="49504" y="0"/>
                </a:moveTo>
                <a:lnTo>
                  <a:pt x="649267" y="0"/>
                </a:lnTo>
                <a:lnTo>
                  <a:pt x="649267" y="430306"/>
                </a:lnTo>
                <a:cubicBezTo>
                  <a:pt x="649267" y="603571"/>
                  <a:pt x="634035" y="739707"/>
                  <a:pt x="604523" y="839668"/>
                </a:cubicBezTo>
                <a:cubicBezTo>
                  <a:pt x="575010" y="939628"/>
                  <a:pt x="517890" y="1029117"/>
                  <a:pt x="435066" y="1109085"/>
                </a:cubicBezTo>
                <a:cubicBezTo>
                  <a:pt x="352242" y="1189054"/>
                  <a:pt x="246569" y="1251886"/>
                  <a:pt x="118048" y="1297582"/>
                </a:cubicBezTo>
                <a:lnTo>
                  <a:pt x="0" y="1048157"/>
                </a:lnTo>
                <a:cubicBezTo>
                  <a:pt x="120905" y="1008173"/>
                  <a:pt x="207537" y="952956"/>
                  <a:pt x="257993" y="881556"/>
                </a:cubicBezTo>
                <a:cubicBezTo>
                  <a:pt x="309401" y="810156"/>
                  <a:pt x="336057" y="715907"/>
                  <a:pt x="338913" y="597859"/>
                </a:cubicBezTo>
                <a:lnTo>
                  <a:pt x="49504" y="597859"/>
                </a:lnTo>
                <a:lnTo>
                  <a:pt x="49504" y="0"/>
                </a:lnTo>
                <a:lnTo>
                  <a:pt x="49504" y="0"/>
                </a:lnTo>
                <a:close/>
              </a:path>
            </a:pathLst>
          </a:custGeom>
          <a:gradFill>
            <a:gsLst>
              <a:gs pos="0">
                <a:srgbClr val="00FFB9"/>
              </a:gs>
              <a:gs pos="100000">
                <a:srgbClr val="00E6DC"/>
              </a:gs>
            </a:gsLst>
            <a:lin ang="5400000" scaled="1"/>
          </a:gradFill>
          <a:ln w="9470" cap="flat">
            <a:noFill/>
            <a:prstDash val="solid"/>
            <a:miter/>
          </a:ln>
        </p:spPr>
        <p:txBody>
          <a:bodyPr rtlCol="0" anchor="ctr"/>
          <a:lstStyle/>
          <a:p>
            <a:endParaRPr lang="en-US" dirty="0"/>
          </a:p>
        </p:txBody>
      </p:sp>
    </p:spTree>
    <p:extLst>
      <p:ext uri="{BB962C8B-B14F-4D97-AF65-F5344CB8AC3E}">
        <p14:creationId xmlns:p14="http://schemas.microsoft.com/office/powerpoint/2010/main" val="4031991732"/>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4" imgW="360" imgH="360" progId="">
                  <p:embed/>
                </p:oleObj>
              </mc:Choice>
              <mc:Fallback>
                <p:oleObj name="think-cell Folie" r:id="rId4" imgW="360" imgH="360" progId="">
                  <p:embed/>
                  <p:pic>
                    <p:nvPicPr>
                      <p:cNvPr id="5" name="Objek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feld 2"/>
          <p:cNvSpPr txBox="1"/>
          <p:nvPr/>
        </p:nvSpPr>
        <p:spPr>
          <a:xfrm>
            <a:off x="410400" y="1009261"/>
            <a:ext cx="9863900" cy="2153314"/>
          </a:xfrm>
          <a:prstGeom prst="rect">
            <a:avLst/>
          </a:prstGeom>
          <a:noFill/>
        </p:spPr>
        <p:txBody>
          <a:bodyPr wrap="square" lIns="0" tIns="0" rIns="0" bIns="0" rtlCol="0">
            <a:spAutoFit/>
          </a:bodyPr>
          <a:lstStyle/>
          <a:p>
            <a:pPr>
              <a:spcBef>
                <a:spcPts val="2399"/>
              </a:spcBef>
            </a:pPr>
            <a:r>
              <a:rPr lang="en-US" sz="2799" b="1" dirty="0">
                <a:solidFill>
                  <a:srgbClr val="FFFFFF"/>
                </a:solidFill>
                <a:ea typeface="Arial Unicode MS"/>
              </a:rPr>
              <a:t>“Lorem ipsum dolor sit amet, consetetur </a:t>
            </a:r>
            <a:br>
              <a:rPr lang="en-US" sz="2799" b="1" dirty="0">
                <a:solidFill>
                  <a:srgbClr val="FFFFFF"/>
                </a:solidFill>
                <a:ea typeface="Arial Unicode MS"/>
              </a:rPr>
            </a:br>
            <a:r>
              <a:rPr lang="en-US" sz="2799" b="1" dirty="0">
                <a:solidFill>
                  <a:srgbClr val="FFFFFF"/>
                </a:solidFill>
                <a:ea typeface="Arial Unicode MS"/>
              </a:rPr>
              <a:t>sadipscing elitr, sed diam nonumy eirmod tempor invidunt ut labore et dolore magna aliquyam erat, </a:t>
            </a:r>
            <a:br>
              <a:rPr lang="en-US" sz="2799" b="1" dirty="0">
                <a:solidFill>
                  <a:srgbClr val="FFFFFF"/>
                </a:solidFill>
                <a:ea typeface="Arial Unicode MS"/>
              </a:rPr>
            </a:br>
            <a:r>
              <a:rPr lang="en-US" sz="2799" b="1" dirty="0">
                <a:solidFill>
                  <a:srgbClr val="FFFFFF"/>
                </a:solidFill>
                <a:ea typeface="Arial Unicode MS"/>
              </a:rPr>
              <a:t>sed diam voluptua. At vero eos et accusam et justo duo dolores et ea rebum.”</a:t>
            </a:r>
          </a:p>
        </p:txBody>
      </p:sp>
      <p:sp>
        <p:nvSpPr>
          <p:cNvPr id="78" name="Textfeld 77"/>
          <p:cNvSpPr txBox="1"/>
          <p:nvPr/>
        </p:nvSpPr>
        <p:spPr>
          <a:xfrm>
            <a:off x="410400" y="3162575"/>
            <a:ext cx="2319940" cy="844370"/>
          </a:xfrm>
          <a:prstGeom prst="rect">
            <a:avLst/>
          </a:prstGeom>
          <a:noFill/>
        </p:spPr>
        <p:txBody>
          <a:bodyPr wrap="none" lIns="0" tIns="287850" rIns="0" bIns="0" rtlCol="0" anchor="b">
            <a:spAutoFit/>
          </a:bodyPr>
          <a:lstStyle/>
          <a:p>
            <a:r>
              <a:rPr lang="en-US" sz="1799" dirty="0">
                <a:ea typeface="Arial Unicode MS"/>
              </a:rPr>
              <a:t>Author</a:t>
            </a:r>
            <a:br>
              <a:rPr lang="en-US" sz="1799" dirty="0">
                <a:ea typeface="Arial Unicode MS"/>
              </a:rPr>
            </a:br>
            <a:r>
              <a:rPr lang="en-US" sz="1799" dirty="0">
                <a:ea typeface="Arial Unicode MS"/>
              </a:rPr>
              <a:t>Function, Organization</a:t>
            </a:r>
          </a:p>
        </p:txBody>
      </p:sp>
      <p:sp>
        <p:nvSpPr>
          <p:cNvPr id="4" name="Footer Placeholder 3">
            <a:extLst>
              <a:ext uri="{FF2B5EF4-FFF2-40B4-BE49-F238E27FC236}">
                <a16:creationId xmlns:a16="http://schemas.microsoft.com/office/drawing/2014/main" id="{832F0FDD-7FBD-4D35-A8FD-017D81E76E89}"/>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6" name="Slide Number Placeholder 5">
            <a:extLst>
              <a:ext uri="{FF2B5EF4-FFF2-40B4-BE49-F238E27FC236}">
                <a16:creationId xmlns:a16="http://schemas.microsoft.com/office/drawing/2014/main" id="{D2D276F2-42F2-45A7-92CE-3F9105EFEFAF}"/>
              </a:ext>
            </a:extLst>
          </p:cNvPr>
          <p:cNvSpPr>
            <a:spLocks noGrp="1"/>
          </p:cNvSpPr>
          <p:nvPr>
            <p:ph type="sldNum" sz="quarter" idx="11"/>
          </p:nvPr>
        </p:nvSpPr>
        <p:spPr/>
        <p:txBody>
          <a:bodyPr/>
          <a:lstStyle/>
          <a:p>
            <a:r>
              <a:rPr lang="en-US" dirty="0"/>
              <a:t>Page </a:t>
            </a:r>
            <a:fld id="{15EBE321-CBB1-4E91-BD14-37C8D44326FB}" type="slidenum">
              <a:rPr lang="en-US" smtClean="0"/>
              <a:pPr/>
              <a:t>203</a:t>
            </a:fld>
            <a:endParaRPr lang="en-US" dirty="0"/>
          </a:p>
        </p:txBody>
      </p:sp>
    </p:spTree>
    <p:extLst>
      <p:ext uri="{BB962C8B-B14F-4D97-AF65-F5344CB8AC3E}">
        <p14:creationId xmlns:p14="http://schemas.microsoft.com/office/powerpoint/2010/main" val="2407701687"/>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4" imgW="360" imgH="360" progId="">
                  <p:embed/>
                </p:oleObj>
              </mc:Choice>
              <mc:Fallback>
                <p:oleObj name="think-cell Folie" r:id="rId4" imgW="360" imgH="360" progId="">
                  <p:embed/>
                  <p:pic>
                    <p:nvPicPr>
                      <p:cNvPr id="5" name="Objek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Freeform 10"/>
          <p:cNvSpPr/>
          <p:nvPr/>
        </p:nvSpPr>
        <p:spPr bwMode="auto">
          <a:xfrm>
            <a:off x="1129154" y="883326"/>
            <a:ext cx="3912225" cy="3290987"/>
          </a:xfrm>
          <a:custGeom>
            <a:avLst/>
            <a:gdLst>
              <a:gd name="connsiteX0" fmla="*/ 0 w 7170801"/>
              <a:gd name="connsiteY0" fmla="*/ 0 h 6032118"/>
              <a:gd name="connsiteX1" fmla="*/ 7170801 w 7170801"/>
              <a:gd name="connsiteY1" fmla="*/ 7572 h 6032118"/>
              <a:gd name="connsiteX2" fmla="*/ 6573992 w 7170801"/>
              <a:gd name="connsiteY2" fmla="*/ 5131398 h 6032118"/>
              <a:gd name="connsiteX3" fmla="*/ 2970687 w 7170801"/>
              <a:gd name="connsiteY3" fmla="*/ 5131398 h 6032118"/>
              <a:gd name="connsiteX4" fmla="*/ 1602497 w 7170801"/>
              <a:gd name="connsiteY4" fmla="*/ 6032118 h 6032118"/>
              <a:gd name="connsiteX5" fmla="*/ 1602497 w 7170801"/>
              <a:gd name="connsiteY5" fmla="*/ 5131398 h 6032118"/>
              <a:gd name="connsiteX6" fmla="*/ 484094 w 7170801"/>
              <a:gd name="connsiteY6" fmla="*/ 5131398 h 6032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70801" h="6032118">
                <a:moveTo>
                  <a:pt x="0" y="0"/>
                </a:moveTo>
                <a:lnTo>
                  <a:pt x="7170801" y="7572"/>
                </a:lnTo>
                <a:lnTo>
                  <a:pt x="6573992" y="5131398"/>
                </a:lnTo>
                <a:lnTo>
                  <a:pt x="2970687" y="5131398"/>
                </a:lnTo>
                <a:lnTo>
                  <a:pt x="1602497" y="6032118"/>
                </a:lnTo>
                <a:lnTo>
                  <a:pt x="1602497" y="5131398"/>
                </a:lnTo>
                <a:lnTo>
                  <a:pt x="484094" y="5131398"/>
                </a:lnTo>
                <a:close/>
              </a:path>
            </a:pathLst>
          </a:custGeom>
          <a:solidFill>
            <a:srgbClr val="CCCCD4"/>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0" name="Freeform 9"/>
          <p:cNvSpPr/>
          <p:nvPr/>
        </p:nvSpPr>
        <p:spPr bwMode="auto">
          <a:xfrm>
            <a:off x="4080770" y="2898557"/>
            <a:ext cx="4354965" cy="3060704"/>
          </a:xfrm>
          <a:custGeom>
            <a:avLst/>
            <a:gdLst>
              <a:gd name="connsiteX0" fmla="*/ 0 w 4357233"/>
              <a:gd name="connsiteY0" fmla="*/ 0 h 3062298"/>
              <a:gd name="connsiteX1" fmla="*/ 4357233 w 4357233"/>
              <a:gd name="connsiteY1" fmla="*/ 0 h 3062298"/>
              <a:gd name="connsiteX2" fmla="*/ 4061717 w 4357233"/>
              <a:gd name="connsiteY2" fmla="*/ 2542701 h 3062298"/>
              <a:gd name="connsiteX3" fmla="*/ 1670637 w 4357233"/>
              <a:gd name="connsiteY3" fmla="*/ 2542700 h 3062298"/>
              <a:gd name="connsiteX4" fmla="*/ 883104 w 4357233"/>
              <a:gd name="connsiteY4" fmla="*/ 3062298 h 3062298"/>
              <a:gd name="connsiteX5" fmla="*/ 883104 w 4357233"/>
              <a:gd name="connsiteY5" fmla="*/ 2542700 h 3062298"/>
              <a:gd name="connsiteX6" fmla="*/ 239350 w 4357233"/>
              <a:gd name="connsiteY6" fmla="*/ 2542700 h 3062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7233" h="3062298">
                <a:moveTo>
                  <a:pt x="0" y="0"/>
                </a:moveTo>
                <a:lnTo>
                  <a:pt x="4357233" y="0"/>
                </a:lnTo>
                <a:lnTo>
                  <a:pt x="4061717" y="2542701"/>
                </a:lnTo>
                <a:lnTo>
                  <a:pt x="1670637" y="2542700"/>
                </a:lnTo>
                <a:lnTo>
                  <a:pt x="883104" y="3062298"/>
                </a:lnTo>
                <a:lnTo>
                  <a:pt x="883104" y="2542700"/>
                </a:lnTo>
                <a:lnTo>
                  <a:pt x="239350" y="2542700"/>
                </a:lnTo>
                <a:close/>
              </a:path>
            </a:pathLst>
          </a:custGeom>
          <a:solidFill>
            <a:schemeClr val="accent1"/>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 name="Footer Placeholder 1">
            <a:extLst>
              <a:ext uri="{FF2B5EF4-FFF2-40B4-BE49-F238E27FC236}">
                <a16:creationId xmlns:a16="http://schemas.microsoft.com/office/drawing/2014/main" id="{61E2B378-29E5-4082-BBE0-03E9DF55C322}"/>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01D98065-CE3A-4AA5-94E9-F50436C02EA1}"/>
              </a:ext>
            </a:extLst>
          </p:cNvPr>
          <p:cNvSpPr>
            <a:spLocks noGrp="1"/>
          </p:cNvSpPr>
          <p:nvPr>
            <p:ph type="sldNum" sz="quarter" idx="11"/>
          </p:nvPr>
        </p:nvSpPr>
        <p:spPr/>
        <p:txBody>
          <a:bodyPr/>
          <a:lstStyle/>
          <a:p>
            <a:r>
              <a:rPr lang="en-US" dirty="0"/>
              <a:t>Page </a:t>
            </a:r>
            <a:fld id="{15EBE321-CBB1-4E91-BD14-37C8D44326FB}" type="slidenum">
              <a:rPr lang="en-US" smtClean="0"/>
              <a:pPr/>
              <a:t>204</a:t>
            </a:fld>
            <a:endParaRPr lang="en-US" dirty="0"/>
          </a:p>
        </p:txBody>
      </p:sp>
      <p:sp>
        <p:nvSpPr>
          <p:cNvPr id="17" name="Textfeld 2">
            <a:extLst>
              <a:ext uri="{FF2B5EF4-FFF2-40B4-BE49-F238E27FC236}">
                <a16:creationId xmlns:a16="http://schemas.microsoft.com/office/drawing/2014/main" id="{1DE80BFB-F273-47EF-BF62-B90C457B5C18}"/>
              </a:ext>
            </a:extLst>
          </p:cNvPr>
          <p:cNvSpPr txBox="1"/>
          <p:nvPr/>
        </p:nvSpPr>
        <p:spPr>
          <a:xfrm>
            <a:off x="1668740" y="1063609"/>
            <a:ext cx="3250157" cy="1291989"/>
          </a:xfrm>
          <a:prstGeom prst="rect">
            <a:avLst/>
          </a:prstGeom>
          <a:noFill/>
        </p:spPr>
        <p:txBody>
          <a:bodyPr wrap="square" lIns="0" tIns="0" rIns="0" bIns="0" rtlCol="0">
            <a:spAutoFit/>
          </a:bodyPr>
          <a:lstStyle/>
          <a:p>
            <a:pPr>
              <a:spcBef>
                <a:spcPts val="2399"/>
              </a:spcBef>
            </a:pPr>
            <a:r>
              <a:rPr lang="en-US" sz="4198" dirty="0">
                <a:solidFill>
                  <a:srgbClr val="333353"/>
                </a:solidFill>
                <a:ea typeface="Arial Unicode MS"/>
              </a:rPr>
              <a:t>Nonumy est da eirmod?</a:t>
            </a:r>
          </a:p>
        </p:txBody>
      </p:sp>
      <p:sp>
        <p:nvSpPr>
          <p:cNvPr id="18" name="Textfeld 77">
            <a:extLst>
              <a:ext uri="{FF2B5EF4-FFF2-40B4-BE49-F238E27FC236}">
                <a16:creationId xmlns:a16="http://schemas.microsoft.com/office/drawing/2014/main" id="{D37E023A-545B-40A4-BACC-B6388781F2FF}"/>
              </a:ext>
            </a:extLst>
          </p:cNvPr>
          <p:cNvSpPr txBox="1"/>
          <p:nvPr/>
        </p:nvSpPr>
        <p:spPr>
          <a:xfrm>
            <a:off x="1668740" y="2360147"/>
            <a:ext cx="2231150" cy="567515"/>
          </a:xfrm>
          <a:prstGeom prst="rect">
            <a:avLst/>
          </a:prstGeom>
          <a:noFill/>
        </p:spPr>
        <p:txBody>
          <a:bodyPr wrap="square" lIns="0" tIns="287850" rIns="0" bIns="0" rtlCol="0" anchor="b">
            <a:spAutoFit/>
          </a:bodyPr>
          <a:lstStyle/>
          <a:p>
            <a:r>
              <a:rPr lang="en-US" sz="1799" dirty="0">
                <a:solidFill>
                  <a:srgbClr val="333353"/>
                </a:solidFill>
                <a:ea typeface="Arial Unicode MS"/>
              </a:rPr>
              <a:t>Author</a:t>
            </a:r>
          </a:p>
        </p:txBody>
      </p:sp>
      <p:sp>
        <p:nvSpPr>
          <p:cNvPr id="19" name="Textfeld 2">
            <a:extLst>
              <a:ext uri="{FF2B5EF4-FFF2-40B4-BE49-F238E27FC236}">
                <a16:creationId xmlns:a16="http://schemas.microsoft.com/office/drawing/2014/main" id="{6E3C0030-0881-4267-B5C8-A6F241B5BEBA}"/>
              </a:ext>
            </a:extLst>
          </p:cNvPr>
          <p:cNvSpPr txBox="1"/>
          <p:nvPr/>
        </p:nvSpPr>
        <p:spPr>
          <a:xfrm>
            <a:off x="4680170" y="3082444"/>
            <a:ext cx="3312825" cy="1230465"/>
          </a:xfrm>
          <a:prstGeom prst="rect">
            <a:avLst/>
          </a:prstGeom>
          <a:noFill/>
        </p:spPr>
        <p:txBody>
          <a:bodyPr wrap="square" lIns="0" tIns="0" rIns="0" bIns="0" rtlCol="0">
            <a:spAutoFit/>
          </a:bodyPr>
          <a:lstStyle/>
          <a:p>
            <a:pPr>
              <a:spcBef>
                <a:spcPts val="2399"/>
              </a:spcBef>
            </a:pPr>
            <a:r>
              <a:rPr lang="en-US" sz="3998" dirty="0">
                <a:solidFill>
                  <a:srgbClr val="FFFFFF"/>
                </a:solidFill>
                <a:ea typeface="Arial Unicode MS"/>
              </a:rPr>
              <a:t>Accusam et justo dolore!</a:t>
            </a:r>
          </a:p>
        </p:txBody>
      </p:sp>
      <p:sp>
        <p:nvSpPr>
          <p:cNvPr id="20" name="Textfeld 77">
            <a:extLst>
              <a:ext uri="{FF2B5EF4-FFF2-40B4-BE49-F238E27FC236}">
                <a16:creationId xmlns:a16="http://schemas.microsoft.com/office/drawing/2014/main" id="{3F317DDF-E42D-48D9-BA4D-2262675A95BE}"/>
              </a:ext>
            </a:extLst>
          </p:cNvPr>
          <p:cNvSpPr txBox="1"/>
          <p:nvPr/>
        </p:nvSpPr>
        <p:spPr>
          <a:xfrm>
            <a:off x="4680170" y="4312909"/>
            <a:ext cx="1866226" cy="567515"/>
          </a:xfrm>
          <a:prstGeom prst="rect">
            <a:avLst/>
          </a:prstGeom>
          <a:noFill/>
        </p:spPr>
        <p:txBody>
          <a:bodyPr wrap="square" lIns="0" tIns="287850" rIns="0" bIns="0" rtlCol="0" anchor="b">
            <a:spAutoFit/>
          </a:bodyPr>
          <a:lstStyle/>
          <a:p>
            <a:r>
              <a:rPr lang="en-US" sz="1799" dirty="0">
                <a:solidFill>
                  <a:srgbClr val="FFFFFF"/>
                </a:solidFill>
                <a:ea typeface="Arial Unicode MS"/>
              </a:rPr>
              <a:t>Author</a:t>
            </a:r>
          </a:p>
        </p:txBody>
      </p:sp>
    </p:spTree>
    <p:extLst>
      <p:ext uri="{BB962C8B-B14F-4D97-AF65-F5344CB8AC3E}">
        <p14:creationId xmlns:p14="http://schemas.microsoft.com/office/powerpoint/2010/main" val="1595167568"/>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4" imgW="360" imgH="360" progId="">
                  <p:embed/>
                </p:oleObj>
              </mc:Choice>
              <mc:Fallback>
                <p:oleObj name="think-cell Folie" r:id="rId4" imgW="360" imgH="360" progId="">
                  <p:embed/>
                  <p:pic>
                    <p:nvPicPr>
                      <p:cNvPr id="5" name="Objek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Freeform 10"/>
          <p:cNvSpPr/>
          <p:nvPr/>
        </p:nvSpPr>
        <p:spPr bwMode="auto">
          <a:xfrm>
            <a:off x="1129154" y="883326"/>
            <a:ext cx="3912225" cy="3290987"/>
          </a:xfrm>
          <a:custGeom>
            <a:avLst/>
            <a:gdLst>
              <a:gd name="connsiteX0" fmla="*/ 0 w 7170801"/>
              <a:gd name="connsiteY0" fmla="*/ 0 h 6032118"/>
              <a:gd name="connsiteX1" fmla="*/ 7170801 w 7170801"/>
              <a:gd name="connsiteY1" fmla="*/ 7572 h 6032118"/>
              <a:gd name="connsiteX2" fmla="*/ 6573992 w 7170801"/>
              <a:gd name="connsiteY2" fmla="*/ 5131398 h 6032118"/>
              <a:gd name="connsiteX3" fmla="*/ 2970687 w 7170801"/>
              <a:gd name="connsiteY3" fmla="*/ 5131398 h 6032118"/>
              <a:gd name="connsiteX4" fmla="*/ 1602497 w 7170801"/>
              <a:gd name="connsiteY4" fmla="*/ 6032118 h 6032118"/>
              <a:gd name="connsiteX5" fmla="*/ 1602497 w 7170801"/>
              <a:gd name="connsiteY5" fmla="*/ 5131398 h 6032118"/>
              <a:gd name="connsiteX6" fmla="*/ 484094 w 7170801"/>
              <a:gd name="connsiteY6" fmla="*/ 5131398 h 6032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70801" h="6032118">
                <a:moveTo>
                  <a:pt x="0" y="0"/>
                </a:moveTo>
                <a:lnTo>
                  <a:pt x="7170801" y="7572"/>
                </a:lnTo>
                <a:lnTo>
                  <a:pt x="6573992" y="5131398"/>
                </a:lnTo>
                <a:lnTo>
                  <a:pt x="2970687" y="5131398"/>
                </a:lnTo>
                <a:lnTo>
                  <a:pt x="1602497" y="6032118"/>
                </a:lnTo>
                <a:lnTo>
                  <a:pt x="1602497" y="5131398"/>
                </a:lnTo>
                <a:lnTo>
                  <a:pt x="484094" y="5131398"/>
                </a:lnTo>
                <a:close/>
              </a:path>
            </a:pathLst>
          </a:custGeom>
          <a:solidFill>
            <a:srgbClr val="333353"/>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0" name="Freeform 9"/>
          <p:cNvSpPr/>
          <p:nvPr/>
        </p:nvSpPr>
        <p:spPr bwMode="auto">
          <a:xfrm>
            <a:off x="4080770" y="2898557"/>
            <a:ext cx="4354965" cy="3060704"/>
          </a:xfrm>
          <a:custGeom>
            <a:avLst/>
            <a:gdLst>
              <a:gd name="connsiteX0" fmla="*/ 0 w 4357233"/>
              <a:gd name="connsiteY0" fmla="*/ 0 h 3062298"/>
              <a:gd name="connsiteX1" fmla="*/ 4357233 w 4357233"/>
              <a:gd name="connsiteY1" fmla="*/ 0 h 3062298"/>
              <a:gd name="connsiteX2" fmla="*/ 4061717 w 4357233"/>
              <a:gd name="connsiteY2" fmla="*/ 2542701 h 3062298"/>
              <a:gd name="connsiteX3" fmla="*/ 1670637 w 4357233"/>
              <a:gd name="connsiteY3" fmla="*/ 2542700 h 3062298"/>
              <a:gd name="connsiteX4" fmla="*/ 883104 w 4357233"/>
              <a:gd name="connsiteY4" fmla="*/ 3062298 h 3062298"/>
              <a:gd name="connsiteX5" fmla="*/ 883104 w 4357233"/>
              <a:gd name="connsiteY5" fmla="*/ 2542700 h 3062298"/>
              <a:gd name="connsiteX6" fmla="*/ 239350 w 4357233"/>
              <a:gd name="connsiteY6" fmla="*/ 2542700 h 3062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7233" h="3062298">
                <a:moveTo>
                  <a:pt x="0" y="0"/>
                </a:moveTo>
                <a:lnTo>
                  <a:pt x="4357233" y="0"/>
                </a:lnTo>
                <a:lnTo>
                  <a:pt x="4061717" y="2542701"/>
                </a:lnTo>
                <a:lnTo>
                  <a:pt x="1670637" y="2542700"/>
                </a:lnTo>
                <a:lnTo>
                  <a:pt x="883104" y="3062298"/>
                </a:lnTo>
                <a:lnTo>
                  <a:pt x="883104" y="2542700"/>
                </a:lnTo>
                <a:lnTo>
                  <a:pt x="239350" y="2542700"/>
                </a:lnTo>
                <a:close/>
              </a:path>
            </a:pathLst>
          </a:custGeom>
          <a:solidFill>
            <a:srgbClr val="00FFB9"/>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42" name="Textfeld 2">
            <a:extLst>
              <a:ext uri="{FF2B5EF4-FFF2-40B4-BE49-F238E27FC236}">
                <a16:creationId xmlns:a16="http://schemas.microsoft.com/office/drawing/2014/main" id="{D551578C-70FC-4DDB-93B7-A91D5205BBDC}"/>
              </a:ext>
            </a:extLst>
          </p:cNvPr>
          <p:cNvSpPr txBox="1"/>
          <p:nvPr/>
        </p:nvSpPr>
        <p:spPr>
          <a:xfrm>
            <a:off x="1668740" y="1063609"/>
            <a:ext cx="3250157" cy="1291989"/>
          </a:xfrm>
          <a:prstGeom prst="rect">
            <a:avLst/>
          </a:prstGeom>
          <a:noFill/>
        </p:spPr>
        <p:txBody>
          <a:bodyPr wrap="square" lIns="0" tIns="0" rIns="0" bIns="0" rtlCol="0">
            <a:spAutoFit/>
          </a:bodyPr>
          <a:lstStyle/>
          <a:p>
            <a:pPr>
              <a:spcBef>
                <a:spcPts val="2399"/>
              </a:spcBef>
            </a:pPr>
            <a:r>
              <a:rPr lang="en-US" sz="4198" b="1" dirty="0">
                <a:solidFill>
                  <a:srgbClr val="FFFFFF"/>
                </a:solidFill>
                <a:ea typeface="Arial Unicode MS"/>
              </a:rPr>
              <a:t>Nonumy et eirmod?</a:t>
            </a:r>
          </a:p>
        </p:txBody>
      </p:sp>
      <p:sp>
        <p:nvSpPr>
          <p:cNvPr id="43" name="Textfeld 77">
            <a:extLst>
              <a:ext uri="{FF2B5EF4-FFF2-40B4-BE49-F238E27FC236}">
                <a16:creationId xmlns:a16="http://schemas.microsoft.com/office/drawing/2014/main" id="{4181CC4F-A2CB-43F3-A49D-9EA78A300F5E}"/>
              </a:ext>
            </a:extLst>
          </p:cNvPr>
          <p:cNvSpPr txBox="1"/>
          <p:nvPr/>
        </p:nvSpPr>
        <p:spPr>
          <a:xfrm>
            <a:off x="1668740" y="2360147"/>
            <a:ext cx="2231150" cy="567515"/>
          </a:xfrm>
          <a:prstGeom prst="rect">
            <a:avLst/>
          </a:prstGeom>
          <a:noFill/>
        </p:spPr>
        <p:txBody>
          <a:bodyPr wrap="square" lIns="0" tIns="287850" rIns="0" bIns="0" rtlCol="0" anchor="b">
            <a:spAutoFit/>
          </a:bodyPr>
          <a:lstStyle/>
          <a:p>
            <a:r>
              <a:rPr lang="en-US" sz="1799" dirty="0">
                <a:solidFill>
                  <a:srgbClr val="FFFFFF"/>
                </a:solidFill>
                <a:ea typeface="Arial Unicode MS"/>
              </a:rPr>
              <a:t>Author</a:t>
            </a:r>
          </a:p>
        </p:txBody>
      </p:sp>
      <p:sp>
        <p:nvSpPr>
          <p:cNvPr id="44" name="Textfeld 2">
            <a:extLst>
              <a:ext uri="{FF2B5EF4-FFF2-40B4-BE49-F238E27FC236}">
                <a16:creationId xmlns:a16="http://schemas.microsoft.com/office/drawing/2014/main" id="{20376B74-62DF-47F1-9D33-94EA5FA3147E}"/>
              </a:ext>
            </a:extLst>
          </p:cNvPr>
          <p:cNvSpPr txBox="1"/>
          <p:nvPr/>
        </p:nvSpPr>
        <p:spPr>
          <a:xfrm>
            <a:off x="4680170" y="3082444"/>
            <a:ext cx="3312825" cy="1230465"/>
          </a:xfrm>
          <a:prstGeom prst="rect">
            <a:avLst/>
          </a:prstGeom>
          <a:noFill/>
        </p:spPr>
        <p:txBody>
          <a:bodyPr wrap="square" lIns="0" tIns="0" rIns="0" bIns="0" rtlCol="0">
            <a:spAutoFit/>
          </a:bodyPr>
          <a:lstStyle/>
          <a:p>
            <a:pPr>
              <a:spcBef>
                <a:spcPts val="2399"/>
              </a:spcBef>
            </a:pPr>
            <a:r>
              <a:rPr lang="en-US" sz="3998" b="1" dirty="0">
                <a:solidFill>
                  <a:schemeClr val="bg2"/>
                </a:solidFill>
                <a:ea typeface="Arial Unicode MS"/>
              </a:rPr>
              <a:t>Accusam et justo dolore!</a:t>
            </a:r>
          </a:p>
        </p:txBody>
      </p:sp>
      <p:sp>
        <p:nvSpPr>
          <p:cNvPr id="45" name="Textfeld 77">
            <a:extLst>
              <a:ext uri="{FF2B5EF4-FFF2-40B4-BE49-F238E27FC236}">
                <a16:creationId xmlns:a16="http://schemas.microsoft.com/office/drawing/2014/main" id="{E55DD9DB-29FA-4062-9426-E19A40B87909}"/>
              </a:ext>
            </a:extLst>
          </p:cNvPr>
          <p:cNvSpPr txBox="1"/>
          <p:nvPr/>
        </p:nvSpPr>
        <p:spPr>
          <a:xfrm>
            <a:off x="4680170" y="4312909"/>
            <a:ext cx="1866226" cy="567515"/>
          </a:xfrm>
          <a:prstGeom prst="rect">
            <a:avLst/>
          </a:prstGeom>
          <a:noFill/>
        </p:spPr>
        <p:txBody>
          <a:bodyPr wrap="square" lIns="0" tIns="287850" rIns="0" bIns="0" rtlCol="0" anchor="b">
            <a:spAutoFit/>
          </a:bodyPr>
          <a:lstStyle/>
          <a:p>
            <a:r>
              <a:rPr lang="en-US" sz="1799" dirty="0">
                <a:solidFill>
                  <a:schemeClr val="bg2"/>
                </a:solidFill>
                <a:ea typeface="Arial Unicode MS"/>
              </a:rPr>
              <a:t>Author</a:t>
            </a:r>
          </a:p>
        </p:txBody>
      </p:sp>
      <p:sp>
        <p:nvSpPr>
          <p:cNvPr id="3" name="Footer Placeholder 2">
            <a:extLst>
              <a:ext uri="{FF2B5EF4-FFF2-40B4-BE49-F238E27FC236}">
                <a16:creationId xmlns:a16="http://schemas.microsoft.com/office/drawing/2014/main" id="{57FA66B2-AC89-4DB7-B2EA-7875D3B07D7A}"/>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4ECDDB9C-A686-492F-8EE6-9F57C291FD59}"/>
              </a:ext>
            </a:extLst>
          </p:cNvPr>
          <p:cNvSpPr>
            <a:spLocks noGrp="1"/>
          </p:cNvSpPr>
          <p:nvPr>
            <p:ph type="sldNum" sz="quarter" idx="11"/>
          </p:nvPr>
        </p:nvSpPr>
        <p:spPr/>
        <p:txBody>
          <a:bodyPr/>
          <a:lstStyle/>
          <a:p>
            <a:r>
              <a:rPr lang="en-US" dirty="0"/>
              <a:t>Page </a:t>
            </a:r>
            <a:fld id="{15EBE321-CBB1-4E91-BD14-37C8D44326FB}" type="slidenum">
              <a:rPr lang="en-US" smtClean="0"/>
              <a:pPr/>
              <a:t>205</a:t>
            </a:fld>
            <a:endParaRPr lang="en-US" dirty="0"/>
          </a:p>
        </p:txBody>
      </p:sp>
    </p:spTree>
    <p:extLst>
      <p:ext uri="{BB962C8B-B14F-4D97-AF65-F5344CB8AC3E}">
        <p14:creationId xmlns:p14="http://schemas.microsoft.com/office/powerpoint/2010/main" val="2575896295"/>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4" imgW="360" imgH="360" progId="">
                  <p:embed/>
                </p:oleObj>
              </mc:Choice>
              <mc:Fallback>
                <p:oleObj name="think-cell Folie" r:id="rId4" imgW="360" imgH="360" progId="">
                  <p:embed/>
                  <p:pic>
                    <p:nvPicPr>
                      <p:cNvPr id="5" name="Objek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a:extLst>
              <a:ext uri="{FF2B5EF4-FFF2-40B4-BE49-F238E27FC236}">
                <a16:creationId xmlns:a16="http://schemas.microsoft.com/office/drawing/2014/main" id="{E468D78D-EDE0-4A34-80DE-3D042952A3C0}"/>
              </a:ext>
            </a:extLst>
          </p:cNvPr>
          <p:cNvSpPr>
            <a:spLocks noGrp="1"/>
          </p:cNvSpPr>
          <p:nvPr>
            <p:ph type="title"/>
          </p:nvPr>
        </p:nvSpPr>
        <p:spPr/>
        <p:txBody>
          <a:bodyPr/>
          <a:lstStyle/>
          <a:p>
            <a:r>
              <a:rPr lang="en-US" dirty="0"/>
              <a:t>Speech bubble</a:t>
            </a:r>
          </a:p>
        </p:txBody>
      </p:sp>
      <p:sp>
        <p:nvSpPr>
          <p:cNvPr id="3" name="Footer Placeholder 2">
            <a:extLst>
              <a:ext uri="{FF2B5EF4-FFF2-40B4-BE49-F238E27FC236}">
                <a16:creationId xmlns:a16="http://schemas.microsoft.com/office/drawing/2014/main" id="{F9999379-E2CC-4D73-9D0D-3F6D73E3E8CE}"/>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F8747109-D50A-4A4B-A264-6BD2066BE713}"/>
              </a:ext>
            </a:extLst>
          </p:cNvPr>
          <p:cNvSpPr>
            <a:spLocks noGrp="1"/>
          </p:cNvSpPr>
          <p:nvPr>
            <p:ph type="sldNum" sz="quarter" idx="11"/>
          </p:nvPr>
        </p:nvSpPr>
        <p:spPr/>
        <p:txBody>
          <a:bodyPr/>
          <a:lstStyle/>
          <a:p>
            <a:r>
              <a:rPr lang="en-US" dirty="0"/>
              <a:t>Page </a:t>
            </a:r>
            <a:fld id="{15EBE321-CBB1-4E91-BD14-37C8D44326FB}" type="slidenum">
              <a:rPr lang="en-US" smtClean="0"/>
              <a:pPr/>
              <a:t>206</a:t>
            </a:fld>
            <a:endParaRPr lang="en-US" dirty="0"/>
          </a:p>
        </p:txBody>
      </p:sp>
      <p:sp>
        <p:nvSpPr>
          <p:cNvPr id="11" name="Rechteck 2">
            <a:extLst>
              <a:ext uri="{FF2B5EF4-FFF2-40B4-BE49-F238E27FC236}">
                <a16:creationId xmlns:a16="http://schemas.microsoft.com/office/drawing/2014/main" id="{1112418B-4484-4543-BEBE-E3935136FD7D}"/>
              </a:ext>
            </a:extLst>
          </p:cNvPr>
          <p:cNvSpPr/>
          <p:nvPr/>
        </p:nvSpPr>
        <p:spPr bwMode="auto">
          <a:xfrm>
            <a:off x="4010025" y="1414463"/>
            <a:ext cx="4176714" cy="4752975"/>
          </a:xfrm>
          <a:prstGeom prst="rect">
            <a:avLst/>
          </a:prstGeom>
          <a:solidFill>
            <a:srgbClr val="00AF8E"/>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3" name="Freeform 9">
            <a:extLst>
              <a:ext uri="{FF2B5EF4-FFF2-40B4-BE49-F238E27FC236}">
                <a16:creationId xmlns:a16="http://schemas.microsoft.com/office/drawing/2014/main" id="{D010408A-E9E5-4F09-9B94-C00EBCABDB36}"/>
              </a:ext>
            </a:extLst>
          </p:cNvPr>
          <p:cNvSpPr/>
          <p:nvPr/>
        </p:nvSpPr>
        <p:spPr bwMode="auto">
          <a:xfrm>
            <a:off x="410400" y="1790945"/>
            <a:ext cx="2806928" cy="1928568"/>
          </a:xfrm>
          <a:custGeom>
            <a:avLst/>
            <a:gdLst>
              <a:gd name="connsiteX0" fmla="*/ 0 w 4357233"/>
              <a:gd name="connsiteY0" fmla="*/ 0 h 3062298"/>
              <a:gd name="connsiteX1" fmla="*/ 4357233 w 4357233"/>
              <a:gd name="connsiteY1" fmla="*/ 0 h 3062298"/>
              <a:gd name="connsiteX2" fmla="*/ 4061717 w 4357233"/>
              <a:gd name="connsiteY2" fmla="*/ 2542701 h 3062298"/>
              <a:gd name="connsiteX3" fmla="*/ 1670637 w 4357233"/>
              <a:gd name="connsiteY3" fmla="*/ 2542700 h 3062298"/>
              <a:gd name="connsiteX4" fmla="*/ 883104 w 4357233"/>
              <a:gd name="connsiteY4" fmla="*/ 3062298 h 3062298"/>
              <a:gd name="connsiteX5" fmla="*/ 883104 w 4357233"/>
              <a:gd name="connsiteY5" fmla="*/ 2542700 h 3062298"/>
              <a:gd name="connsiteX6" fmla="*/ 239350 w 4357233"/>
              <a:gd name="connsiteY6" fmla="*/ 2542700 h 3062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7233" h="3062298">
                <a:moveTo>
                  <a:pt x="0" y="0"/>
                </a:moveTo>
                <a:lnTo>
                  <a:pt x="4357233" y="0"/>
                </a:lnTo>
                <a:lnTo>
                  <a:pt x="4061717" y="2542701"/>
                </a:lnTo>
                <a:lnTo>
                  <a:pt x="1670637" y="2542700"/>
                </a:lnTo>
                <a:lnTo>
                  <a:pt x="883104" y="3062298"/>
                </a:lnTo>
                <a:lnTo>
                  <a:pt x="883104" y="2542700"/>
                </a:lnTo>
                <a:lnTo>
                  <a:pt x="239350" y="2542700"/>
                </a:lnTo>
                <a:close/>
              </a:path>
            </a:pathLst>
          </a:custGeom>
          <a:solidFill>
            <a:srgbClr val="00646E"/>
          </a:solidFill>
          <a:ln>
            <a:noFill/>
          </a:ln>
          <a:effectLst/>
        </p:spPr>
        <p:txBody>
          <a:bodyPr wrap="square" lIns="359813" tIns="287850" rIns="143925" bIns="143925" numCol="1" spcCol="72000" rtlCol="0" anchor="t">
            <a:noAutofit/>
          </a:bodyPr>
          <a:lstStyle/>
          <a:p>
            <a:pPr>
              <a:spcBef>
                <a:spcPts val="2399"/>
              </a:spcBef>
            </a:pPr>
            <a:r>
              <a:rPr lang="en-US" sz="2799" dirty="0">
                <a:solidFill>
                  <a:schemeClr val="bg1"/>
                </a:solidFill>
                <a:ea typeface="Arial Unicode MS"/>
              </a:rPr>
              <a:t>Nonumy est da eirmod?</a:t>
            </a:r>
          </a:p>
        </p:txBody>
      </p:sp>
      <p:sp>
        <p:nvSpPr>
          <p:cNvPr id="24" name="Textfeld 2">
            <a:extLst>
              <a:ext uri="{FF2B5EF4-FFF2-40B4-BE49-F238E27FC236}">
                <a16:creationId xmlns:a16="http://schemas.microsoft.com/office/drawing/2014/main" id="{222629BA-C424-4DA0-B022-ABF4622FF6B2}"/>
              </a:ext>
            </a:extLst>
          </p:cNvPr>
          <p:cNvSpPr txBox="1"/>
          <p:nvPr/>
        </p:nvSpPr>
        <p:spPr>
          <a:xfrm>
            <a:off x="4828565" y="4052996"/>
            <a:ext cx="2673281" cy="830564"/>
          </a:xfrm>
          <a:prstGeom prst="rect">
            <a:avLst/>
          </a:prstGeom>
          <a:noFill/>
        </p:spPr>
        <p:txBody>
          <a:bodyPr wrap="square" lIns="0" tIns="0" rIns="0" bIns="0" rtlCol="0">
            <a:spAutoFit/>
          </a:bodyPr>
          <a:lstStyle/>
          <a:p>
            <a:pPr>
              <a:spcBef>
                <a:spcPts val="2399"/>
              </a:spcBef>
            </a:pPr>
            <a:r>
              <a:rPr lang="en-US" sz="1799" dirty="0">
                <a:solidFill>
                  <a:schemeClr val="bg1"/>
                </a:solidFill>
                <a:ea typeface="Arial Unicode MS"/>
              </a:rPr>
              <a:t>Nonumy est da eirmod.</a:t>
            </a:r>
            <a:br>
              <a:rPr lang="en-US" sz="1799" dirty="0">
                <a:solidFill>
                  <a:schemeClr val="bg1"/>
                </a:solidFill>
                <a:ea typeface="Arial Unicode MS"/>
              </a:rPr>
            </a:br>
            <a:r>
              <a:rPr lang="en-US" sz="1799" dirty="0">
                <a:solidFill>
                  <a:schemeClr val="bg1"/>
                </a:solidFill>
                <a:ea typeface="Arial Unicode MS"/>
              </a:rPr>
              <a:t>Dolor sit allem est sunt </a:t>
            </a:r>
            <a:br>
              <a:rPr lang="en-US" sz="1799" dirty="0">
                <a:solidFill>
                  <a:schemeClr val="bg1"/>
                </a:solidFill>
                <a:ea typeface="Arial Unicode MS"/>
              </a:rPr>
            </a:br>
            <a:r>
              <a:rPr lang="en-US" sz="1799" dirty="0">
                <a:solidFill>
                  <a:schemeClr val="bg1"/>
                </a:solidFill>
                <a:ea typeface="Arial Unicode MS"/>
              </a:rPr>
              <a:t>abamd dolor.</a:t>
            </a:r>
          </a:p>
        </p:txBody>
      </p:sp>
      <p:sp>
        <p:nvSpPr>
          <p:cNvPr id="25" name="Freeform 9">
            <a:extLst>
              <a:ext uri="{FF2B5EF4-FFF2-40B4-BE49-F238E27FC236}">
                <a16:creationId xmlns:a16="http://schemas.microsoft.com/office/drawing/2014/main" id="{87EA92B7-0190-4EB3-A35C-E366FA66B218}"/>
              </a:ext>
            </a:extLst>
          </p:cNvPr>
          <p:cNvSpPr/>
          <p:nvPr/>
        </p:nvSpPr>
        <p:spPr bwMode="auto">
          <a:xfrm>
            <a:off x="4694918" y="1790945"/>
            <a:ext cx="2806928" cy="1928568"/>
          </a:xfrm>
          <a:custGeom>
            <a:avLst/>
            <a:gdLst>
              <a:gd name="connsiteX0" fmla="*/ 0 w 4357233"/>
              <a:gd name="connsiteY0" fmla="*/ 0 h 3062298"/>
              <a:gd name="connsiteX1" fmla="*/ 4357233 w 4357233"/>
              <a:gd name="connsiteY1" fmla="*/ 0 h 3062298"/>
              <a:gd name="connsiteX2" fmla="*/ 4061717 w 4357233"/>
              <a:gd name="connsiteY2" fmla="*/ 2542701 h 3062298"/>
              <a:gd name="connsiteX3" fmla="*/ 1670637 w 4357233"/>
              <a:gd name="connsiteY3" fmla="*/ 2542700 h 3062298"/>
              <a:gd name="connsiteX4" fmla="*/ 883104 w 4357233"/>
              <a:gd name="connsiteY4" fmla="*/ 3062298 h 3062298"/>
              <a:gd name="connsiteX5" fmla="*/ 883104 w 4357233"/>
              <a:gd name="connsiteY5" fmla="*/ 2542700 h 3062298"/>
              <a:gd name="connsiteX6" fmla="*/ 239350 w 4357233"/>
              <a:gd name="connsiteY6" fmla="*/ 2542700 h 3062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7233" h="3062298">
                <a:moveTo>
                  <a:pt x="0" y="0"/>
                </a:moveTo>
                <a:lnTo>
                  <a:pt x="4357233" y="0"/>
                </a:lnTo>
                <a:lnTo>
                  <a:pt x="4061717" y="2542701"/>
                </a:lnTo>
                <a:lnTo>
                  <a:pt x="1670637" y="2542700"/>
                </a:lnTo>
                <a:lnTo>
                  <a:pt x="883104" y="3062298"/>
                </a:lnTo>
                <a:lnTo>
                  <a:pt x="883104" y="2542700"/>
                </a:lnTo>
                <a:lnTo>
                  <a:pt x="239350" y="2542700"/>
                </a:lnTo>
                <a:close/>
              </a:path>
            </a:pathLst>
          </a:custGeom>
          <a:solidFill>
            <a:schemeClr val="bg1"/>
          </a:solidFill>
          <a:ln>
            <a:noFill/>
          </a:ln>
          <a:effectLst/>
        </p:spPr>
        <p:txBody>
          <a:bodyPr wrap="square" lIns="359813" tIns="287850" rIns="143925" bIns="143925" numCol="1" spcCol="72000" rtlCol="0" anchor="t">
            <a:noAutofit/>
          </a:bodyPr>
          <a:lstStyle/>
          <a:p>
            <a:pPr>
              <a:spcBef>
                <a:spcPts val="2399"/>
              </a:spcBef>
            </a:pPr>
            <a:r>
              <a:rPr lang="en-US" sz="2799" dirty="0">
                <a:solidFill>
                  <a:schemeClr val="tx2"/>
                </a:solidFill>
                <a:ea typeface="Arial Unicode MS"/>
              </a:rPr>
              <a:t>Nonumy est da eirmod?</a:t>
            </a:r>
          </a:p>
        </p:txBody>
      </p:sp>
      <p:sp>
        <p:nvSpPr>
          <p:cNvPr id="26" name="Freeform 9">
            <a:extLst>
              <a:ext uri="{FF2B5EF4-FFF2-40B4-BE49-F238E27FC236}">
                <a16:creationId xmlns:a16="http://schemas.microsoft.com/office/drawing/2014/main" id="{A7281E6D-5ABC-48FF-B31A-1CC3D591BE5D}"/>
              </a:ext>
            </a:extLst>
          </p:cNvPr>
          <p:cNvSpPr/>
          <p:nvPr/>
        </p:nvSpPr>
        <p:spPr bwMode="auto">
          <a:xfrm>
            <a:off x="8974399" y="1790945"/>
            <a:ext cx="2806928" cy="1928568"/>
          </a:xfrm>
          <a:custGeom>
            <a:avLst/>
            <a:gdLst>
              <a:gd name="connsiteX0" fmla="*/ 0 w 4357233"/>
              <a:gd name="connsiteY0" fmla="*/ 0 h 3062298"/>
              <a:gd name="connsiteX1" fmla="*/ 4357233 w 4357233"/>
              <a:gd name="connsiteY1" fmla="*/ 0 h 3062298"/>
              <a:gd name="connsiteX2" fmla="*/ 4061717 w 4357233"/>
              <a:gd name="connsiteY2" fmla="*/ 2542701 h 3062298"/>
              <a:gd name="connsiteX3" fmla="*/ 1670637 w 4357233"/>
              <a:gd name="connsiteY3" fmla="*/ 2542700 h 3062298"/>
              <a:gd name="connsiteX4" fmla="*/ 883104 w 4357233"/>
              <a:gd name="connsiteY4" fmla="*/ 3062298 h 3062298"/>
              <a:gd name="connsiteX5" fmla="*/ 883104 w 4357233"/>
              <a:gd name="connsiteY5" fmla="*/ 2542700 h 3062298"/>
              <a:gd name="connsiteX6" fmla="*/ 239350 w 4357233"/>
              <a:gd name="connsiteY6" fmla="*/ 2542700 h 3062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7233" h="3062298">
                <a:moveTo>
                  <a:pt x="0" y="0"/>
                </a:moveTo>
                <a:lnTo>
                  <a:pt x="4357233" y="0"/>
                </a:lnTo>
                <a:lnTo>
                  <a:pt x="4061717" y="2542701"/>
                </a:lnTo>
                <a:lnTo>
                  <a:pt x="1670637" y="2542700"/>
                </a:lnTo>
                <a:lnTo>
                  <a:pt x="883104" y="3062298"/>
                </a:lnTo>
                <a:lnTo>
                  <a:pt x="883104" y="2542700"/>
                </a:lnTo>
                <a:lnTo>
                  <a:pt x="239350" y="2542700"/>
                </a:lnTo>
                <a:close/>
              </a:path>
            </a:pathLst>
          </a:custGeom>
          <a:solidFill>
            <a:srgbClr val="66667E"/>
          </a:solidFill>
          <a:ln>
            <a:noFill/>
          </a:ln>
          <a:effectLst/>
        </p:spPr>
        <p:txBody>
          <a:bodyPr wrap="square" lIns="359813" tIns="287850" rIns="143925" bIns="143925" numCol="1" spcCol="72000" rtlCol="0" anchor="t">
            <a:noAutofit/>
          </a:bodyPr>
          <a:lstStyle/>
          <a:p>
            <a:pPr>
              <a:spcBef>
                <a:spcPts val="2399"/>
              </a:spcBef>
            </a:pPr>
            <a:r>
              <a:rPr lang="en-US" sz="2799" dirty="0">
                <a:solidFill>
                  <a:schemeClr val="bg1"/>
                </a:solidFill>
                <a:ea typeface="Arial Unicode MS"/>
              </a:rPr>
              <a:t>Nonumy est da eirmod?</a:t>
            </a:r>
          </a:p>
        </p:txBody>
      </p:sp>
      <p:sp>
        <p:nvSpPr>
          <p:cNvPr id="9" name="Textfeld 2">
            <a:extLst>
              <a:ext uri="{FF2B5EF4-FFF2-40B4-BE49-F238E27FC236}">
                <a16:creationId xmlns:a16="http://schemas.microsoft.com/office/drawing/2014/main" id="{9FADC73D-9189-4E73-933A-DFD5A57723E2}"/>
              </a:ext>
            </a:extLst>
          </p:cNvPr>
          <p:cNvSpPr txBox="1"/>
          <p:nvPr/>
        </p:nvSpPr>
        <p:spPr>
          <a:xfrm>
            <a:off x="549084" y="4052996"/>
            <a:ext cx="2673281" cy="830564"/>
          </a:xfrm>
          <a:prstGeom prst="rect">
            <a:avLst/>
          </a:prstGeom>
          <a:noFill/>
        </p:spPr>
        <p:txBody>
          <a:bodyPr wrap="square" lIns="0" tIns="0" rIns="0" bIns="0" rtlCol="0">
            <a:spAutoFit/>
          </a:bodyPr>
          <a:lstStyle/>
          <a:p>
            <a:pPr>
              <a:spcBef>
                <a:spcPts val="2399"/>
              </a:spcBef>
            </a:pPr>
            <a:r>
              <a:rPr lang="en-US" sz="1799" dirty="0">
                <a:solidFill>
                  <a:srgbClr val="66667E"/>
                </a:solidFill>
                <a:ea typeface="Arial Unicode MS"/>
              </a:rPr>
              <a:t>Nonumy est da eirmod.</a:t>
            </a:r>
            <a:br>
              <a:rPr lang="en-US" sz="1799" dirty="0">
                <a:solidFill>
                  <a:srgbClr val="66667E"/>
                </a:solidFill>
                <a:ea typeface="Arial Unicode MS"/>
              </a:rPr>
            </a:br>
            <a:r>
              <a:rPr lang="en-US" sz="1799" dirty="0">
                <a:solidFill>
                  <a:srgbClr val="66667E"/>
                </a:solidFill>
                <a:ea typeface="Arial Unicode MS"/>
              </a:rPr>
              <a:t>Dolor sit allem est sunt </a:t>
            </a:r>
            <a:br>
              <a:rPr lang="en-US" sz="1799" dirty="0">
                <a:solidFill>
                  <a:srgbClr val="66667E"/>
                </a:solidFill>
                <a:ea typeface="Arial Unicode MS"/>
              </a:rPr>
            </a:br>
            <a:r>
              <a:rPr lang="en-US" sz="1799" dirty="0">
                <a:solidFill>
                  <a:srgbClr val="66667E"/>
                </a:solidFill>
                <a:ea typeface="Arial Unicode MS"/>
              </a:rPr>
              <a:t>abamd dolor.</a:t>
            </a:r>
          </a:p>
        </p:txBody>
      </p:sp>
      <p:sp>
        <p:nvSpPr>
          <p:cNvPr id="12" name="Textfeld 2">
            <a:extLst>
              <a:ext uri="{FF2B5EF4-FFF2-40B4-BE49-F238E27FC236}">
                <a16:creationId xmlns:a16="http://schemas.microsoft.com/office/drawing/2014/main" id="{8360B1FB-EB02-4F9A-AC63-5AA4FDF798CA}"/>
              </a:ext>
            </a:extLst>
          </p:cNvPr>
          <p:cNvSpPr txBox="1"/>
          <p:nvPr/>
        </p:nvSpPr>
        <p:spPr>
          <a:xfrm>
            <a:off x="9108047" y="4052996"/>
            <a:ext cx="2673281" cy="830564"/>
          </a:xfrm>
          <a:prstGeom prst="rect">
            <a:avLst/>
          </a:prstGeom>
          <a:noFill/>
        </p:spPr>
        <p:txBody>
          <a:bodyPr wrap="square" lIns="0" tIns="0" rIns="0" bIns="0" rtlCol="0">
            <a:spAutoFit/>
          </a:bodyPr>
          <a:lstStyle/>
          <a:p>
            <a:pPr>
              <a:spcBef>
                <a:spcPts val="2399"/>
              </a:spcBef>
            </a:pPr>
            <a:r>
              <a:rPr lang="en-US" sz="1799" dirty="0">
                <a:solidFill>
                  <a:srgbClr val="66667E"/>
                </a:solidFill>
                <a:ea typeface="Arial Unicode MS"/>
              </a:rPr>
              <a:t>Nonumy est da eirmod.</a:t>
            </a:r>
            <a:br>
              <a:rPr lang="en-US" sz="1799" dirty="0">
                <a:solidFill>
                  <a:srgbClr val="66667E"/>
                </a:solidFill>
                <a:ea typeface="Arial Unicode MS"/>
              </a:rPr>
            </a:br>
            <a:r>
              <a:rPr lang="en-US" sz="1799" dirty="0">
                <a:solidFill>
                  <a:srgbClr val="66667E"/>
                </a:solidFill>
                <a:ea typeface="Arial Unicode MS"/>
              </a:rPr>
              <a:t>Dolor sit allem est sunt </a:t>
            </a:r>
            <a:br>
              <a:rPr lang="en-US" sz="1799" dirty="0">
                <a:solidFill>
                  <a:srgbClr val="66667E"/>
                </a:solidFill>
                <a:ea typeface="Arial Unicode MS"/>
              </a:rPr>
            </a:br>
            <a:r>
              <a:rPr lang="en-US" sz="1799" dirty="0">
                <a:solidFill>
                  <a:srgbClr val="66667E"/>
                </a:solidFill>
                <a:ea typeface="Arial Unicode MS"/>
              </a:rPr>
              <a:t>abamd dolor.</a:t>
            </a:r>
          </a:p>
        </p:txBody>
      </p:sp>
    </p:spTree>
    <p:extLst>
      <p:ext uri="{BB962C8B-B14F-4D97-AF65-F5344CB8AC3E}">
        <p14:creationId xmlns:p14="http://schemas.microsoft.com/office/powerpoint/2010/main" val="2002541212"/>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4" imgW="360" imgH="360" progId="">
                  <p:embed/>
                </p:oleObj>
              </mc:Choice>
              <mc:Fallback>
                <p:oleObj name="think-cell Folie" r:id="rId4" imgW="360" imgH="360" progId="">
                  <p:embed/>
                  <p:pic>
                    <p:nvPicPr>
                      <p:cNvPr id="5" name="Objek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a:extLst>
              <a:ext uri="{FF2B5EF4-FFF2-40B4-BE49-F238E27FC236}">
                <a16:creationId xmlns:a16="http://schemas.microsoft.com/office/drawing/2014/main" id="{E468D78D-EDE0-4A34-80DE-3D042952A3C0}"/>
              </a:ext>
            </a:extLst>
          </p:cNvPr>
          <p:cNvSpPr>
            <a:spLocks noGrp="1"/>
          </p:cNvSpPr>
          <p:nvPr>
            <p:ph type="title"/>
          </p:nvPr>
        </p:nvSpPr>
        <p:spPr/>
        <p:txBody>
          <a:bodyPr/>
          <a:lstStyle/>
          <a:p>
            <a:r>
              <a:rPr lang="en-US" dirty="0"/>
              <a:t>Speech bubble</a:t>
            </a:r>
          </a:p>
        </p:txBody>
      </p:sp>
      <p:sp>
        <p:nvSpPr>
          <p:cNvPr id="3" name="Footer Placeholder 2">
            <a:extLst>
              <a:ext uri="{FF2B5EF4-FFF2-40B4-BE49-F238E27FC236}">
                <a16:creationId xmlns:a16="http://schemas.microsoft.com/office/drawing/2014/main" id="{F9999379-E2CC-4D73-9D0D-3F6D73E3E8CE}"/>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F8747109-D50A-4A4B-A264-6BD2066BE713}"/>
              </a:ext>
            </a:extLst>
          </p:cNvPr>
          <p:cNvSpPr>
            <a:spLocks noGrp="1"/>
          </p:cNvSpPr>
          <p:nvPr>
            <p:ph type="sldNum" sz="quarter" idx="11"/>
          </p:nvPr>
        </p:nvSpPr>
        <p:spPr/>
        <p:txBody>
          <a:bodyPr/>
          <a:lstStyle/>
          <a:p>
            <a:r>
              <a:rPr lang="en-US" dirty="0"/>
              <a:t>Page </a:t>
            </a:r>
            <a:fld id="{15EBE321-CBB1-4E91-BD14-37C8D44326FB}" type="slidenum">
              <a:rPr lang="en-US" smtClean="0"/>
              <a:pPr/>
              <a:t>207</a:t>
            </a:fld>
            <a:endParaRPr lang="en-US" dirty="0"/>
          </a:p>
        </p:txBody>
      </p:sp>
      <p:sp>
        <p:nvSpPr>
          <p:cNvPr id="11" name="Rechteck 2">
            <a:extLst>
              <a:ext uri="{FF2B5EF4-FFF2-40B4-BE49-F238E27FC236}">
                <a16:creationId xmlns:a16="http://schemas.microsoft.com/office/drawing/2014/main" id="{1112418B-4484-4543-BEBE-E3935136FD7D}"/>
              </a:ext>
            </a:extLst>
          </p:cNvPr>
          <p:cNvSpPr/>
          <p:nvPr/>
        </p:nvSpPr>
        <p:spPr bwMode="auto">
          <a:xfrm>
            <a:off x="4010025" y="1414463"/>
            <a:ext cx="4176714" cy="4752975"/>
          </a:xfrm>
          <a:prstGeom prst="rect">
            <a:avLst/>
          </a:prstGeom>
          <a:solidFill>
            <a:srgbClr val="00AF8E"/>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3" name="Freeform 9">
            <a:extLst>
              <a:ext uri="{FF2B5EF4-FFF2-40B4-BE49-F238E27FC236}">
                <a16:creationId xmlns:a16="http://schemas.microsoft.com/office/drawing/2014/main" id="{D010408A-E9E5-4F09-9B94-C00EBCABDB36}"/>
              </a:ext>
            </a:extLst>
          </p:cNvPr>
          <p:cNvSpPr/>
          <p:nvPr/>
        </p:nvSpPr>
        <p:spPr bwMode="auto">
          <a:xfrm>
            <a:off x="410400" y="1790945"/>
            <a:ext cx="2806928" cy="1928568"/>
          </a:xfrm>
          <a:custGeom>
            <a:avLst/>
            <a:gdLst>
              <a:gd name="connsiteX0" fmla="*/ 0 w 4357233"/>
              <a:gd name="connsiteY0" fmla="*/ 0 h 3062298"/>
              <a:gd name="connsiteX1" fmla="*/ 4357233 w 4357233"/>
              <a:gd name="connsiteY1" fmla="*/ 0 h 3062298"/>
              <a:gd name="connsiteX2" fmla="*/ 4061717 w 4357233"/>
              <a:gd name="connsiteY2" fmla="*/ 2542701 h 3062298"/>
              <a:gd name="connsiteX3" fmla="*/ 1670637 w 4357233"/>
              <a:gd name="connsiteY3" fmla="*/ 2542700 h 3062298"/>
              <a:gd name="connsiteX4" fmla="*/ 883104 w 4357233"/>
              <a:gd name="connsiteY4" fmla="*/ 3062298 h 3062298"/>
              <a:gd name="connsiteX5" fmla="*/ 883104 w 4357233"/>
              <a:gd name="connsiteY5" fmla="*/ 2542700 h 3062298"/>
              <a:gd name="connsiteX6" fmla="*/ 239350 w 4357233"/>
              <a:gd name="connsiteY6" fmla="*/ 2542700 h 3062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7233" h="3062298">
                <a:moveTo>
                  <a:pt x="0" y="0"/>
                </a:moveTo>
                <a:lnTo>
                  <a:pt x="4357233" y="0"/>
                </a:lnTo>
                <a:lnTo>
                  <a:pt x="4061717" y="2542701"/>
                </a:lnTo>
                <a:lnTo>
                  <a:pt x="1670637" y="2542700"/>
                </a:lnTo>
                <a:lnTo>
                  <a:pt x="883104" y="3062298"/>
                </a:lnTo>
                <a:lnTo>
                  <a:pt x="883104" y="2542700"/>
                </a:lnTo>
                <a:lnTo>
                  <a:pt x="239350" y="2542700"/>
                </a:lnTo>
                <a:close/>
              </a:path>
            </a:pathLst>
          </a:custGeom>
          <a:solidFill>
            <a:srgbClr val="00646E"/>
          </a:solidFill>
          <a:ln>
            <a:noFill/>
          </a:ln>
          <a:effectLst/>
        </p:spPr>
        <p:txBody>
          <a:bodyPr wrap="square" lIns="359813" tIns="287850" rIns="143925" bIns="143925" numCol="1" spcCol="72000" rtlCol="0" anchor="t">
            <a:noAutofit/>
          </a:bodyPr>
          <a:lstStyle/>
          <a:p>
            <a:pPr>
              <a:spcBef>
                <a:spcPts val="2399"/>
              </a:spcBef>
            </a:pPr>
            <a:r>
              <a:rPr lang="en-US" sz="2799" dirty="0">
                <a:ea typeface="Arial Unicode MS"/>
              </a:rPr>
              <a:t>Nonumy est da eirmod?</a:t>
            </a:r>
          </a:p>
        </p:txBody>
      </p:sp>
      <p:sp>
        <p:nvSpPr>
          <p:cNvPr id="24" name="Textfeld 2">
            <a:extLst>
              <a:ext uri="{FF2B5EF4-FFF2-40B4-BE49-F238E27FC236}">
                <a16:creationId xmlns:a16="http://schemas.microsoft.com/office/drawing/2014/main" id="{222629BA-C424-4DA0-B022-ABF4622FF6B2}"/>
              </a:ext>
            </a:extLst>
          </p:cNvPr>
          <p:cNvSpPr txBox="1"/>
          <p:nvPr/>
        </p:nvSpPr>
        <p:spPr>
          <a:xfrm>
            <a:off x="4828565" y="4052996"/>
            <a:ext cx="2673281" cy="830564"/>
          </a:xfrm>
          <a:prstGeom prst="rect">
            <a:avLst/>
          </a:prstGeom>
          <a:noFill/>
        </p:spPr>
        <p:txBody>
          <a:bodyPr wrap="square" lIns="0" tIns="0" rIns="0" bIns="0" rtlCol="0">
            <a:spAutoFit/>
          </a:bodyPr>
          <a:lstStyle/>
          <a:p>
            <a:pPr>
              <a:spcBef>
                <a:spcPts val="2399"/>
              </a:spcBef>
            </a:pPr>
            <a:r>
              <a:rPr lang="en-US" sz="1799" dirty="0">
                <a:solidFill>
                  <a:schemeClr val="tx2"/>
                </a:solidFill>
                <a:ea typeface="Arial Unicode MS"/>
              </a:rPr>
              <a:t>Nonumy est da eirmod.</a:t>
            </a:r>
            <a:br>
              <a:rPr lang="en-US" sz="1799" dirty="0">
                <a:solidFill>
                  <a:schemeClr val="tx2"/>
                </a:solidFill>
                <a:ea typeface="Arial Unicode MS"/>
              </a:rPr>
            </a:br>
            <a:r>
              <a:rPr lang="en-US" sz="1799" dirty="0">
                <a:solidFill>
                  <a:schemeClr val="tx2"/>
                </a:solidFill>
                <a:ea typeface="Arial Unicode MS"/>
              </a:rPr>
              <a:t>Dolor sit allem est sunt </a:t>
            </a:r>
            <a:br>
              <a:rPr lang="en-US" sz="1799" dirty="0">
                <a:solidFill>
                  <a:schemeClr val="tx2"/>
                </a:solidFill>
                <a:ea typeface="Arial Unicode MS"/>
              </a:rPr>
            </a:br>
            <a:r>
              <a:rPr lang="en-US" sz="1799" dirty="0">
                <a:solidFill>
                  <a:schemeClr val="tx2"/>
                </a:solidFill>
                <a:ea typeface="Arial Unicode MS"/>
              </a:rPr>
              <a:t>abamd dolor.</a:t>
            </a:r>
          </a:p>
        </p:txBody>
      </p:sp>
      <p:sp>
        <p:nvSpPr>
          <p:cNvPr id="25" name="Freeform 9">
            <a:extLst>
              <a:ext uri="{FF2B5EF4-FFF2-40B4-BE49-F238E27FC236}">
                <a16:creationId xmlns:a16="http://schemas.microsoft.com/office/drawing/2014/main" id="{87EA92B7-0190-4EB3-A35C-E366FA66B218}"/>
              </a:ext>
            </a:extLst>
          </p:cNvPr>
          <p:cNvSpPr/>
          <p:nvPr/>
        </p:nvSpPr>
        <p:spPr bwMode="auto">
          <a:xfrm>
            <a:off x="4694918" y="1790945"/>
            <a:ext cx="2806928" cy="1928568"/>
          </a:xfrm>
          <a:custGeom>
            <a:avLst/>
            <a:gdLst>
              <a:gd name="connsiteX0" fmla="*/ 0 w 4357233"/>
              <a:gd name="connsiteY0" fmla="*/ 0 h 3062298"/>
              <a:gd name="connsiteX1" fmla="*/ 4357233 w 4357233"/>
              <a:gd name="connsiteY1" fmla="*/ 0 h 3062298"/>
              <a:gd name="connsiteX2" fmla="*/ 4061717 w 4357233"/>
              <a:gd name="connsiteY2" fmla="*/ 2542701 h 3062298"/>
              <a:gd name="connsiteX3" fmla="*/ 1670637 w 4357233"/>
              <a:gd name="connsiteY3" fmla="*/ 2542700 h 3062298"/>
              <a:gd name="connsiteX4" fmla="*/ 883104 w 4357233"/>
              <a:gd name="connsiteY4" fmla="*/ 3062298 h 3062298"/>
              <a:gd name="connsiteX5" fmla="*/ 883104 w 4357233"/>
              <a:gd name="connsiteY5" fmla="*/ 2542700 h 3062298"/>
              <a:gd name="connsiteX6" fmla="*/ 239350 w 4357233"/>
              <a:gd name="connsiteY6" fmla="*/ 2542700 h 3062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7233" h="3062298">
                <a:moveTo>
                  <a:pt x="0" y="0"/>
                </a:moveTo>
                <a:lnTo>
                  <a:pt x="4357233" y="0"/>
                </a:lnTo>
                <a:lnTo>
                  <a:pt x="4061717" y="2542701"/>
                </a:lnTo>
                <a:lnTo>
                  <a:pt x="1670637" y="2542700"/>
                </a:lnTo>
                <a:lnTo>
                  <a:pt x="883104" y="3062298"/>
                </a:lnTo>
                <a:lnTo>
                  <a:pt x="883104" y="2542700"/>
                </a:lnTo>
                <a:lnTo>
                  <a:pt x="239350" y="2542700"/>
                </a:lnTo>
                <a:close/>
              </a:path>
            </a:pathLst>
          </a:custGeom>
          <a:solidFill>
            <a:schemeClr val="tx1"/>
          </a:solidFill>
          <a:ln>
            <a:noFill/>
          </a:ln>
          <a:effectLst/>
        </p:spPr>
        <p:txBody>
          <a:bodyPr wrap="square" lIns="359813" tIns="287850" rIns="143925" bIns="143925" numCol="1" spcCol="72000" rtlCol="0" anchor="t">
            <a:noAutofit/>
          </a:bodyPr>
          <a:lstStyle/>
          <a:p>
            <a:pPr>
              <a:spcBef>
                <a:spcPts val="2399"/>
              </a:spcBef>
            </a:pPr>
            <a:r>
              <a:rPr lang="en-US" sz="2799" dirty="0">
                <a:solidFill>
                  <a:schemeClr val="bg2"/>
                </a:solidFill>
                <a:ea typeface="Arial Unicode MS"/>
              </a:rPr>
              <a:t>Nonumy est da eirmod?</a:t>
            </a:r>
          </a:p>
        </p:txBody>
      </p:sp>
      <p:sp>
        <p:nvSpPr>
          <p:cNvPr id="26" name="Freeform 9">
            <a:extLst>
              <a:ext uri="{FF2B5EF4-FFF2-40B4-BE49-F238E27FC236}">
                <a16:creationId xmlns:a16="http://schemas.microsoft.com/office/drawing/2014/main" id="{A7281E6D-5ABC-48FF-B31A-1CC3D591BE5D}"/>
              </a:ext>
            </a:extLst>
          </p:cNvPr>
          <p:cNvSpPr/>
          <p:nvPr/>
        </p:nvSpPr>
        <p:spPr bwMode="auto">
          <a:xfrm>
            <a:off x="8974399" y="1790945"/>
            <a:ext cx="2806928" cy="1928568"/>
          </a:xfrm>
          <a:custGeom>
            <a:avLst/>
            <a:gdLst>
              <a:gd name="connsiteX0" fmla="*/ 0 w 4357233"/>
              <a:gd name="connsiteY0" fmla="*/ 0 h 3062298"/>
              <a:gd name="connsiteX1" fmla="*/ 4357233 w 4357233"/>
              <a:gd name="connsiteY1" fmla="*/ 0 h 3062298"/>
              <a:gd name="connsiteX2" fmla="*/ 4061717 w 4357233"/>
              <a:gd name="connsiteY2" fmla="*/ 2542701 h 3062298"/>
              <a:gd name="connsiteX3" fmla="*/ 1670637 w 4357233"/>
              <a:gd name="connsiteY3" fmla="*/ 2542700 h 3062298"/>
              <a:gd name="connsiteX4" fmla="*/ 883104 w 4357233"/>
              <a:gd name="connsiteY4" fmla="*/ 3062298 h 3062298"/>
              <a:gd name="connsiteX5" fmla="*/ 883104 w 4357233"/>
              <a:gd name="connsiteY5" fmla="*/ 2542700 h 3062298"/>
              <a:gd name="connsiteX6" fmla="*/ 239350 w 4357233"/>
              <a:gd name="connsiteY6" fmla="*/ 2542700 h 3062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7233" h="3062298">
                <a:moveTo>
                  <a:pt x="0" y="0"/>
                </a:moveTo>
                <a:lnTo>
                  <a:pt x="4357233" y="0"/>
                </a:lnTo>
                <a:lnTo>
                  <a:pt x="4061717" y="2542701"/>
                </a:lnTo>
                <a:lnTo>
                  <a:pt x="1670637" y="2542700"/>
                </a:lnTo>
                <a:lnTo>
                  <a:pt x="883104" y="3062298"/>
                </a:lnTo>
                <a:lnTo>
                  <a:pt x="883104" y="2542700"/>
                </a:lnTo>
                <a:lnTo>
                  <a:pt x="239350" y="2542700"/>
                </a:lnTo>
                <a:close/>
              </a:path>
            </a:pathLst>
          </a:custGeom>
          <a:solidFill>
            <a:srgbClr val="9999A9"/>
          </a:solidFill>
          <a:ln>
            <a:noFill/>
          </a:ln>
          <a:effectLst/>
        </p:spPr>
        <p:txBody>
          <a:bodyPr wrap="square" lIns="359813" tIns="287850" rIns="143925" bIns="143925" numCol="1" spcCol="72000" rtlCol="0" anchor="t">
            <a:noAutofit/>
          </a:bodyPr>
          <a:lstStyle/>
          <a:p>
            <a:pPr>
              <a:spcBef>
                <a:spcPts val="2399"/>
              </a:spcBef>
            </a:pPr>
            <a:r>
              <a:rPr lang="en-US" sz="2799" dirty="0">
                <a:solidFill>
                  <a:schemeClr val="bg2"/>
                </a:solidFill>
                <a:ea typeface="Arial Unicode MS"/>
              </a:rPr>
              <a:t>Nonumy est da eirmod?</a:t>
            </a:r>
          </a:p>
        </p:txBody>
      </p:sp>
      <p:sp>
        <p:nvSpPr>
          <p:cNvPr id="9" name="Textfeld 2">
            <a:extLst>
              <a:ext uri="{FF2B5EF4-FFF2-40B4-BE49-F238E27FC236}">
                <a16:creationId xmlns:a16="http://schemas.microsoft.com/office/drawing/2014/main" id="{9FADC73D-9189-4E73-933A-DFD5A57723E2}"/>
              </a:ext>
            </a:extLst>
          </p:cNvPr>
          <p:cNvSpPr txBox="1"/>
          <p:nvPr/>
        </p:nvSpPr>
        <p:spPr>
          <a:xfrm>
            <a:off x="549084" y="4052996"/>
            <a:ext cx="2673281" cy="830564"/>
          </a:xfrm>
          <a:prstGeom prst="rect">
            <a:avLst/>
          </a:prstGeom>
          <a:noFill/>
        </p:spPr>
        <p:txBody>
          <a:bodyPr wrap="square" lIns="0" tIns="0" rIns="0" bIns="0" rtlCol="0">
            <a:spAutoFit/>
          </a:bodyPr>
          <a:lstStyle/>
          <a:p>
            <a:pPr>
              <a:spcBef>
                <a:spcPts val="2399"/>
              </a:spcBef>
            </a:pPr>
            <a:r>
              <a:rPr lang="en-US" sz="1799" dirty="0">
                <a:solidFill>
                  <a:srgbClr val="9999A9"/>
                </a:solidFill>
                <a:ea typeface="Arial Unicode MS"/>
              </a:rPr>
              <a:t>Nonumy est da eirmod.</a:t>
            </a:r>
            <a:br>
              <a:rPr lang="en-US" sz="1799" dirty="0">
                <a:solidFill>
                  <a:srgbClr val="9999A9"/>
                </a:solidFill>
                <a:ea typeface="Arial Unicode MS"/>
              </a:rPr>
            </a:br>
            <a:r>
              <a:rPr lang="en-US" sz="1799" dirty="0">
                <a:solidFill>
                  <a:srgbClr val="9999A9"/>
                </a:solidFill>
                <a:ea typeface="Arial Unicode MS"/>
              </a:rPr>
              <a:t>Dolor sit allem est sunt </a:t>
            </a:r>
            <a:br>
              <a:rPr lang="en-US" sz="1799" dirty="0">
                <a:solidFill>
                  <a:srgbClr val="9999A9"/>
                </a:solidFill>
                <a:ea typeface="Arial Unicode MS"/>
              </a:rPr>
            </a:br>
            <a:r>
              <a:rPr lang="en-US" sz="1799" dirty="0">
                <a:solidFill>
                  <a:srgbClr val="9999A9"/>
                </a:solidFill>
                <a:ea typeface="Arial Unicode MS"/>
              </a:rPr>
              <a:t>abamd dolor.</a:t>
            </a:r>
          </a:p>
        </p:txBody>
      </p:sp>
      <p:sp>
        <p:nvSpPr>
          <p:cNvPr id="12" name="Textfeld 2">
            <a:extLst>
              <a:ext uri="{FF2B5EF4-FFF2-40B4-BE49-F238E27FC236}">
                <a16:creationId xmlns:a16="http://schemas.microsoft.com/office/drawing/2014/main" id="{8360B1FB-EB02-4F9A-AC63-5AA4FDF798CA}"/>
              </a:ext>
            </a:extLst>
          </p:cNvPr>
          <p:cNvSpPr txBox="1"/>
          <p:nvPr/>
        </p:nvSpPr>
        <p:spPr>
          <a:xfrm>
            <a:off x="9108047" y="4052996"/>
            <a:ext cx="2673281" cy="830564"/>
          </a:xfrm>
          <a:prstGeom prst="rect">
            <a:avLst/>
          </a:prstGeom>
          <a:noFill/>
        </p:spPr>
        <p:txBody>
          <a:bodyPr wrap="square" lIns="0" tIns="0" rIns="0" bIns="0" rtlCol="0">
            <a:spAutoFit/>
          </a:bodyPr>
          <a:lstStyle/>
          <a:p>
            <a:pPr>
              <a:spcBef>
                <a:spcPts val="2399"/>
              </a:spcBef>
            </a:pPr>
            <a:r>
              <a:rPr lang="en-US" sz="1799" dirty="0">
                <a:solidFill>
                  <a:srgbClr val="9999A9"/>
                </a:solidFill>
                <a:ea typeface="Arial Unicode MS"/>
              </a:rPr>
              <a:t>Nonumy est da eirmod.</a:t>
            </a:r>
            <a:br>
              <a:rPr lang="en-US" sz="1799" dirty="0">
                <a:solidFill>
                  <a:srgbClr val="9999A9"/>
                </a:solidFill>
                <a:ea typeface="Arial Unicode MS"/>
              </a:rPr>
            </a:br>
            <a:r>
              <a:rPr lang="en-US" sz="1799" dirty="0">
                <a:solidFill>
                  <a:srgbClr val="9999A9"/>
                </a:solidFill>
                <a:ea typeface="Arial Unicode MS"/>
              </a:rPr>
              <a:t>Dolor sit allem est sunt </a:t>
            </a:r>
            <a:br>
              <a:rPr lang="en-US" sz="1799" dirty="0">
                <a:solidFill>
                  <a:srgbClr val="9999A9"/>
                </a:solidFill>
                <a:ea typeface="Arial Unicode MS"/>
              </a:rPr>
            </a:br>
            <a:r>
              <a:rPr lang="en-US" sz="1799" dirty="0">
                <a:solidFill>
                  <a:srgbClr val="9999A9"/>
                </a:solidFill>
                <a:ea typeface="Arial Unicode MS"/>
              </a:rPr>
              <a:t>abamd dolor.</a:t>
            </a:r>
          </a:p>
        </p:txBody>
      </p:sp>
    </p:spTree>
    <p:extLst>
      <p:ext uri="{BB962C8B-B14F-4D97-AF65-F5344CB8AC3E}">
        <p14:creationId xmlns:p14="http://schemas.microsoft.com/office/powerpoint/2010/main" val="1260649388"/>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 name="Objekt 52"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3" imgW="360" imgH="360" progId="">
                  <p:embed/>
                </p:oleObj>
              </mc:Choice>
              <mc:Fallback>
                <p:oleObj name="think-cell Folie" r:id="rId3" imgW="360" imgH="360" progId="">
                  <p:embed/>
                  <p:pic>
                    <p:nvPicPr>
                      <p:cNvPr id="53" name="Objekt 5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a:xfrm>
            <a:off x="410400" y="478800"/>
            <a:ext cx="9863997" cy="576000"/>
          </a:xfrm>
        </p:spPr>
        <p:txBody>
          <a:bodyPr/>
          <a:lstStyle/>
          <a:p>
            <a:r>
              <a:rPr lang="en-US" dirty="0"/>
              <a:t>Contact overview – team</a:t>
            </a:r>
          </a:p>
        </p:txBody>
      </p:sp>
      <p:sp>
        <p:nvSpPr>
          <p:cNvPr id="3" name="Footer Placeholder 2">
            <a:extLst>
              <a:ext uri="{FF2B5EF4-FFF2-40B4-BE49-F238E27FC236}">
                <a16:creationId xmlns:a16="http://schemas.microsoft.com/office/drawing/2014/main" id="{DECE06E3-ABE6-46C1-AAAA-693D2FFEB4BF}"/>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30" name="Slide Number Placeholder 29">
            <a:extLst>
              <a:ext uri="{FF2B5EF4-FFF2-40B4-BE49-F238E27FC236}">
                <a16:creationId xmlns:a16="http://schemas.microsoft.com/office/drawing/2014/main" id="{A8D00BA1-8147-405C-A3D6-9D25979EF491}"/>
              </a:ext>
            </a:extLst>
          </p:cNvPr>
          <p:cNvSpPr>
            <a:spLocks noGrp="1"/>
          </p:cNvSpPr>
          <p:nvPr>
            <p:ph type="sldNum" sz="quarter" idx="11"/>
          </p:nvPr>
        </p:nvSpPr>
        <p:spPr/>
        <p:txBody>
          <a:bodyPr/>
          <a:lstStyle/>
          <a:p>
            <a:r>
              <a:rPr lang="en-US" dirty="0"/>
              <a:t>Page </a:t>
            </a:r>
            <a:fld id="{15EBE321-CBB1-4E91-BD14-37C8D44326FB}" type="slidenum">
              <a:rPr lang="en-US" smtClean="0"/>
              <a:pPr/>
              <a:t>208</a:t>
            </a:fld>
            <a:endParaRPr lang="en-US" dirty="0"/>
          </a:p>
        </p:txBody>
      </p:sp>
      <p:grpSp>
        <p:nvGrpSpPr>
          <p:cNvPr id="5" name="Gruppieren 4">
            <a:extLst>
              <a:ext uri="{FF2B5EF4-FFF2-40B4-BE49-F238E27FC236}">
                <a16:creationId xmlns:a16="http://schemas.microsoft.com/office/drawing/2014/main" id="{5C8AF14A-8BD5-4D1E-8B4A-004F453C17E5}"/>
              </a:ext>
            </a:extLst>
          </p:cNvPr>
          <p:cNvGrpSpPr/>
          <p:nvPr/>
        </p:nvGrpSpPr>
        <p:grpSpPr>
          <a:xfrm>
            <a:off x="410399" y="1415848"/>
            <a:ext cx="3312001" cy="2302801"/>
            <a:chOff x="627062" y="1414800"/>
            <a:chExt cx="3290971" cy="2304000"/>
          </a:xfrm>
        </p:grpSpPr>
        <p:sp>
          <p:nvSpPr>
            <p:cNvPr id="138" name="Rechteck 137"/>
            <p:cNvSpPr>
              <a:spLocks/>
            </p:cNvSpPr>
            <p:nvPr/>
          </p:nvSpPr>
          <p:spPr bwMode="auto">
            <a:xfrm>
              <a:off x="627062" y="1414800"/>
              <a:ext cx="1788571" cy="2303463"/>
            </a:xfrm>
            <a:prstGeom prst="rect">
              <a:avLst/>
            </a:prstGeom>
            <a:solidFill>
              <a:srgbClr val="E5E5E9"/>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45" name="Textfeld 8"/>
            <p:cNvSpPr txBox="1">
              <a:spLocks/>
            </p:cNvSpPr>
            <p:nvPr/>
          </p:nvSpPr>
          <p:spPr bwMode="gray">
            <a:xfrm>
              <a:off x="2415634" y="1414800"/>
              <a:ext cx="1502399" cy="2304000"/>
            </a:xfrm>
            <a:prstGeom prst="rect">
              <a:avLst/>
            </a:prstGeom>
            <a:solidFill>
              <a:schemeClr val="tx2"/>
            </a:solidFill>
            <a:ln>
              <a:noFill/>
            </a:ln>
          </p:spPr>
          <p:txBody>
            <a:bodyPr wrap="square" lIns="143925" tIns="71963" rIns="71963" bIns="71963" rtlCol="0" anchor="b">
              <a:noAutofit/>
            </a:bodyPr>
            <a:lstStyle/>
            <a:p>
              <a:pPr>
                <a:spcBef>
                  <a:spcPct val="0"/>
                </a:spcBef>
                <a:buClr>
                  <a:srgbClr val="879BAA"/>
                </a:buClr>
              </a:pPr>
              <a:r>
                <a:rPr lang="en-US" sz="1599" b="1" kern="1400" dirty="0">
                  <a:solidFill>
                    <a:schemeClr val="bg1"/>
                  </a:solidFill>
                  <a:ea typeface="ＭＳ Ｐゴシック" pitchFamily="34" charset="-128"/>
                  <a:cs typeface="Arial" charset="0"/>
                </a:rPr>
                <a:t>Sam Sample</a:t>
              </a:r>
            </a:p>
            <a:p>
              <a:pPr>
                <a:spcBef>
                  <a:spcPts val="300"/>
                </a:spcBef>
                <a:buClr>
                  <a:srgbClr val="879BAA"/>
                </a:buClr>
              </a:pPr>
              <a:r>
                <a:rPr lang="en-US" sz="1199" dirty="0">
                  <a:solidFill>
                    <a:schemeClr val="bg1"/>
                  </a:solidFill>
                  <a:cs typeface="Arial" charset="0"/>
                </a:rPr>
                <a:t>At vero eos et accusam</a:t>
              </a:r>
            </a:p>
          </p:txBody>
        </p:sp>
        <p:sp>
          <p:nvSpPr>
            <p:cNvPr id="253" name="Freeform 70"/>
            <p:cNvSpPr>
              <a:spLocks noEditPoints="1"/>
            </p:cNvSpPr>
            <p:nvPr/>
          </p:nvSpPr>
          <p:spPr bwMode="auto">
            <a:xfrm>
              <a:off x="3254400" y="1483763"/>
              <a:ext cx="593271" cy="774220"/>
            </a:xfrm>
            <a:custGeom>
              <a:avLst/>
              <a:gdLst>
                <a:gd name="T0" fmla="*/ 1439 w 1970"/>
                <a:gd name="T1" fmla="*/ 1960 h 2578"/>
                <a:gd name="T2" fmla="*/ 985 w 1970"/>
                <a:gd name="T3" fmla="*/ 2328 h 2578"/>
                <a:gd name="T4" fmla="*/ 532 w 1970"/>
                <a:gd name="T5" fmla="*/ 1960 h 2578"/>
                <a:gd name="T6" fmla="*/ 601 w 1970"/>
                <a:gd name="T7" fmla="*/ 1955 h 2578"/>
                <a:gd name="T8" fmla="*/ 651 w 1970"/>
                <a:gd name="T9" fmla="*/ 1973 h 2578"/>
                <a:gd name="T10" fmla="*/ 825 w 1970"/>
                <a:gd name="T11" fmla="*/ 2068 h 2578"/>
                <a:gd name="T12" fmla="*/ 985 w 1970"/>
                <a:gd name="T13" fmla="*/ 2014 h 2578"/>
                <a:gd name="T14" fmla="*/ 1145 w 1970"/>
                <a:gd name="T15" fmla="*/ 2068 h 2578"/>
                <a:gd name="T16" fmla="*/ 1320 w 1970"/>
                <a:gd name="T17" fmla="*/ 1973 h 2578"/>
                <a:gd name="T18" fmla="*/ 1369 w 1970"/>
                <a:gd name="T19" fmla="*/ 1955 h 2578"/>
                <a:gd name="T20" fmla="*/ 1911 w 1970"/>
                <a:gd name="T21" fmla="*/ 1316 h 2578"/>
                <a:gd name="T22" fmla="*/ 1740 w 1970"/>
                <a:gd name="T23" fmla="*/ 1613 h 2578"/>
                <a:gd name="T24" fmla="*/ 1478 w 1970"/>
                <a:gd name="T25" fmla="*/ 1833 h 2578"/>
                <a:gd name="T26" fmla="*/ 1156 w 1970"/>
                <a:gd name="T27" fmla="*/ 1950 h 2578"/>
                <a:gd name="T28" fmla="*/ 814 w 1970"/>
                <a:gd name="T29" fmla="*/ 1950 h 2578"/>
                <a:gd name="T30" fmla="*/ 492 w 1970"/>
                <a:gd name="T31" fmla="*/ 1833 h 2578"/>
                <a:gd name="T32" fmla="*/ 230 w 1970"/>
                <a:gd name="T33" fmla="*/ 1613 h 2578"/>
                <a:gd name="T34" fmla="*/ 59 w 1970"/>
                <a:gd name="T35" fmla="*/ 1316 h 2578"/>
                <a:gd name="T36" fmla="*/ 0 w 1970"/>
                <a:gd name="T37" fmla="*/ 979 h 2578"/>
                <a:gd name="T38" fmla="*/ 59 w 1970"/>
                <a:gd name="T39" fmla="*/ 642 h 2578"/>
                <a:gd name="T40" fmla="*/ 230 w 1970"/>
                <a:gd name="T41" fmla="*/ 346 h 2578"/>
                <a:gd name="T42" fmla="*/ 492 w 1970"/>
                <a:gd name="T43" fmla="*/ 126 h 2578"/>
                <a:gd name="T44" fmla="*/ 814 w 1970"/>
                <a:gd name="T45" fmla="*/ 9 h 2578"/>
                <a:gd name="T46" fmla="*/ 1156 w 1970"/>
                <a:gd name="T47" fmla="*/ 9 h 2578"/>
                <a:gd name="T48" fmla="*/ 1478 w 1970"/>
                <a:gd name="T49" fmla="*/ 126 h 2578"/>
                <a:gd name="T50" fmla="*/ 1740 w 1970"/>
                <a:gd name="T51" fmla="*/ 346 h 2578"/>
                <a:gd name="T52" fmla="*/ 1911 w 1970"/>
                <a:gd name="T53" fmla="*/ 642 h 2578"/>
                <a:gd name="T54" fmla="*/ 1970 w 1970"/>
                <a:gd name="T55" fmla="*/ 979 h 2578"/>
                <a:gd name="T56" fmla="*/ 1911 w 1970"/>
                <a:gd name="T57" fmla="*/ 1316 h 2578"/>
                <a:gd name="T58" fmla="*/ 985 w 1970"/>
                <a:gd name="T59" fmla="*/ 203 h 2578"/>
                <a:gd name="T60" fmla="*/ 985 w 1970"/>
                <a:gd name="T61" fmla="*/ 1756 h 2578"/>
                <a:gd name="T62" fmla="*/ 1645 w 1970"/>
                <a:gd name="T63" fmla="*/ 979 h 2578"/>
                <a:gd name="T64" fmla="*/ 326 w 1970"/>
                <a:gd name="T65" fmla="*/ 979 h 2578"/>
                <a:gd name="T66" fmla="*/ 1645 w 1970"/>
                <a:gd name="T67" fmla="*/ 979 h 2578"/>
                <a:gd name="T68" fmla="*/ 732 w 1970"/>
                <a:gd name="T69" fmla="*/ 925 h 2578"/>
                <a:gd name="T70" fmla="*/ 582 w 1970"/>
                <a:gd name="T71" fmla="*/ 816 h 2578"/>
                <a:gd name="T72" fmla="*/ 432 w 1970"/>
                <a:gd name="T73" fmla="*/ 925 h 2578"/>
                <a:gd name="T74" fmla="*/ 490 w 1970"/>
                <a:gd name="T75" fmla="*/ 1101 h 2578"/>
                <a:gd name="T76" fmla="*/ 675 w 1970"/>
                <a:gd name="T77" fmla="*/ 1101 h 2578"/>
                <a:gd name="T78" fmla="*/ 1042 w 1970"/>
                <a:gd name="T79" fmla="*/ 992 h 2578"/>
                <a:gd name="T80" fmla="*/ 1021 w 1970"/>
                <a:gd name="T81" fmla="*/ 925 h 2578"/>
                <a:gd name="T82" fmla="*/ 950 w 1970"/>
                <a:gd name="T83" fmla="*/ 925 h 2578"/>
                <a:gd name="T84" fmla="*/ 928 w 1970"/>
                <a:gd name="T85" fmla="*/ 992 h 2578"/>
                <a:gd name="T86" fmla="*/ 985 w 1970"/>
                <a:gd name="T87" fmla="*/ 1034 h 2578"/>
                <a:gd name="T88" fmla="*/ 1042 w 1970"/>
                <a:gd name="T89" fmla="*/ 992 h 2578"/>
                <a:gd name="T90" fmla="*/ 1538 w 1970"/>
                <a:gd name="T91" fmla="*/ 925 h 2578"/>
                <a:gd name="T92" fmla="*/ 1388 w 1970"/>
                <a:gd name="T93" fmla="*/ 816 h 2578"/>
                <a:gd name="T94" fmla="*/ 1238 w 1970"/>
                <a:gd name="T95" fmla="*/ 925 h 2578"/>
                <a:gd name="T96" fmla="*/ 1295 w 1970"/>
                <a:gd name="T97" fmla="*/ 1101 h 2578"/>
                <a:gd name="T98" fmla="*/ 1481 w 1970"/>
                <a:gd name="T99" fmla="*/ 1101 h 2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70" h="2578">
                  <a:moveTo>
                    <a:pt x="1431" y="1960"/>
                  </a:moveTo>
                  <a:cubicBezTo>
                    <a:pt x="1434" y="1960"/>
                    <a:pt x="1436" y="1960"/>
                    <a:pt x="1439" y="1960"/>
                  </a:cubicBezTo>
                  <a:cubicBezTo>
                    <a:pt x="1439" y="2578"/>
                    <a:pt x="1439" y="2578"/>
                    <a:pt x="1439" y="2578"/>
                  </a:cubicBezTo>
                  <a:cubicBezTo>
                    <a:pt x="985" y="2328"/>
                    <a:pt x="985" y="2328"/>
                    <a:pt x="985" y="2328"/>
                  </a:cubicBezTo>
                  <a:cubicBezTo>
                    <a:pt x="532" y="2578"/>
                    <a:pt x="532" y="2578"/>
                    <a:pt x="532" y="2578"/>
                  </a:cubicBezTo>
                  <a:cubicBezTo>
                    <a:pt x="532" y="1960"/>
                    <a:pt x="532" y="1960"/>
                    <a:pt x="532" y="1960"/>
                  </a:cubicBezTo>
                  <a:cubicBezTo>
                    <a:pt x="534" y="1960"/>
                    <a:pt x="536" y="1960"/>
                    <a:pt x="539" y="1960"/>
                  </a:cubicBezTo>
                  <a:cubicBezTo>
                    <a:pt x="561" y="1960"/>
                    <a:pt x="582" y="1957"/>
                    <a:pt x="601" y="1955"/>
                  </a:cubicBezTo>
                  <a:cubicBezTo>
                    <a:pt x="612" y="1954"/>
                    <a:pt x="623" y="1953"/>
                    <a:pt x="631" y="1952"/>
                  </a:cubicBezTo>
                  <a:cubicBezTo>
                    <a:pt x="637" y="1958"/>
                    <a:pt x="645" y="1966"/>
                    <a:pt x="651" y="1973"/>
                  </a:cubicBezTo>
                  <a:cubicBezTo>
                    <a:pt x="682" y="2007"/>
                    <a:pt x="725" y="2053"/>
                    <a:pt x="794" y="2065"/>
                  </a:cubicBezTo>
                  <a:cubicBezTo>
                    <a:pt x="804" y="2067"/>
                    <a:pt x="815" y="2068"/>
                    <a:pt x="825" y="2068"/>
                  </a:cubicBezTo>
                  <a:cubicBezTo>
                    <a:pt x="879" y="2068"/>
                    <a:pt x="922" y="2046"/>
                    <a:pt x="957" y="2028"/>
                  </a:cubicBezTo>
                  <a:cubicBezTo>
                    <a:pt x="966" y="2023"/>
                    <a:pt x="977" y="2017"/>
                    <a:pt x="985" y="2014"/>
                  </a:cubicBezTo>
                  <a:cubicBezTo>
                    <a:pt x="993" y="2017"/>
                    <a:pt x="1005" y="2023"/>
                    <a:pt x="1013" y="2028"/>
                  </a:cubicBezTo>
                  <a:cubicBezTo>
                    <a:pt x="1048" y="2046"/>
                    <a:pt x="1092" y="2068"/>
                    <a:pt x="1145" y="2068"/>
                  </a:cubicBezTo>
                  <a:cubicBezTo>
                    <a:pt x="1156" y="2068"/>
                    <a:pt x="1166" y="2067"/>
                    <a:pt x="1176" y="2065"/>
                  </a:cubicBezTo>
                  <a:cubicBezTo>
                    <a:pt x="1245" y="2053"/>
                    <a:pt x="1288" y="2007"/>
                    <a:pt x="1320" y="1973"/>
                  </a:cubicBezTo>
                  <a:cubicBezTo>
                    <a:pt x="1325" y="1966"/>
                    <a:pt x="1334" y="1958"/>
                    <a:pt x="1339" y="1952"/>
                  </a:cubicBezTo>
                  <a:cubicBezTo>
                    <a:pt x="1348" y="1953"/>
                    <a:pt x="1359" y="1954"/>
                    <a:pt x="1369" y="1955"/>
                  </a:cubicBezTo>
                  <a:cubicBezTo>
                    <a:pt x="1388" y="1957"/>
                    <a:pt x="1409" y="1960"/>
                    <a:pt x="1431" y="1960"/>
                  </a:cubicBezTo>
                  <a:close/>
                  <a:moveTo>
                    <a:pt x="1911" y="1316"/>
                  </a:moveTo>
                  <a:cubicBezTo>
                    <a:pt x="1892" y="1369"/>
                    <a:pt x="1806" y="1390"/>
                    <a:pt x="1779" y="1437"/>
                  </a:cubicBezTo>
                  <a:cubicBezTo>
                    <a:pt x="1751" y="1485"/>
                    <a:pt x="1775" y="1570"/>
                    <a:pt x="1740" y="1613"/>
                  </a:cubicBezTo>
                  <a:cubicBezTo>
                    <a:pt x="1704" y="1655"/>
                    <a:pt x="1616" y="1645"/>
                    <a:pt x="1574" y="1681"/>
                  </a:cubicBezTo>
                  <a:cubicBezTo>
                    <a:pt x="1532" y="1717"/>
                    <a:pt x="1526" y="1805"/>
                    <a:pt x="1478" y="1833"/>
                  </a:cubicBezTo>
                  <a:cubicBezTo>
                    <a:pt x="1430" y="1860"/>
                    <a:pt x="1351" y="1821"/>
                    <a:pt x="1298" y="1840"/>
                  </a:cubicBezTo>
                  <a:cubicBezTo>
                    <a:pt x="1247" y="1859"/>
                    <a:pt x="1211" y="1940"/>
                    <a:pt x="1156" y="1950"/>
                  </a:cubicBezTo>
                  <a:cubicBezTo>
                    <a:pt x="1103" y="1959"/>
                    <a:pt x="1041" y="1895"/>
                    <a:pt x="985" y="1895"/>
                  </a:cubicBezTo>
                  <a:cubicBezTo>
                    <a:pt x="929" y="1895"/>
                    <a:pt x="868" y="1959"/>
                    <a:pt x="814" y="1950"/>
                  </a:cubicBezTo>
                  <a:cubicBezTo>
                    <a:pt x="759" y="1940"/>
                    <a:pt x="723" y="1859"/>
                    <a:pt x="672" y="1840"/>
                  </a:cubicBezTo>
                  <a:cubicBezTo>
                    <a:pt x="619" y="1821"/>
                    <a:pt x="540" y="1860"/>
                    <a:pt x="492" y="1833"/>
                  </a:cubicBezTo>
                  <a:cubicBezTo>
                    <a:pt x="444" y="1805"/>
                    <a:pt x="439" y="1717"/>
                    <a:pt x="396" y="1681"/>
                  </a:cubicBezTo>
                  <a:cubicBezTo>
                    <a:pt x="354" y="1645"/>
                    <a:pt x="266" y="1655"/>
                    <a:pt x="230" y="1613"/>
                  </a:cubicBezTo>
                  <a:cubicBezTo>
                    <a:pt x="195" y="1570"/>
                    <a:pt x="219" y="1485"/>
                    <a:pt x="192" y="1437"/>
                  </a:cubicBezTo>
                  <a:cubicBezTo>
                    <a:pt x="164" y="1390"/>
                    <a:pt x="78" y="1369"/>
                    <a:pt x="59" y="1316"/>
                  </a:cubicBezTo>
                  <a:cubicBezTo>
                    <a:pt x="40" y="1265"/>
                    <a:pt x="92" y="1194"/>
                    <a:pt x="83" y="1138"/>
                  </a:cubicBezTo>
                  <a:cubicBezTo>
                    <a:pt x="73" y="1085"/>
                    <a:pt x="0" y="1036"/>
                    <a:pt x="0" y="979"/>
                  </a:cubicBezTo>
                  <a:cubicBezTo>
                    <a:pt x="0" y="923"/>
                    <a:pt x="73" y="874"/>
                    <a:pt x="83" y="820"/>
                  </a:cubicBezTo>
                  <a:cubicBezTo>
                    <a:pt x="92" y="765"/>
                    <a:pt x="40" y="694"/>
                    <a:pt x="59" y="642"/>
                  </a:cubicBezTo>
                  <a:cubicBezTo>
                    <a:pt x="78" y="590"/>
                    <a:pt x="164" y="569"/>
                    <a:pt x="192" y="521"/>
                  </a:cubicBezTo>
                  <a:cubicBezTo>
                    <a:pt x="219" y="473"/>
                    <a:pt x="195" y="388"/>
                    <a:pt x="230" y="346"/>
                  </a:cubicBezTo>
                  <a:cubicBezTo>
                    <a:pt x="266" y="304"/>
                    <a:pt x="354" y="313"/>
                    <a:pt x="396" y="278"/>
                  </a:cubicBezTo>
                  <a:cubicBezTo>
                    <a:pt x="439" y="242"/>
                    <a:pt x="444" y="154"/>
                    <a:pt x="492" y="126"/>
                  </a:cubicBezTo>
                  <a:cubicBezTo>
                    <a:pt x="540" y="98"/>
                    <a:pt x="619" y="137"/>
                    <a:pt x="672" y="118"/>
                  </a:cubicBezTo>
                  <a:cubicBezTo>
                    <a:pt x="723" y="100"/>
                    <a:pt x="759" y="19"/>
                    <a:pt x="814" y="9"/>
                  </a:cubicBezTo>
                  <a:cubicBezTo>
                    <a:pt x="868" y="0"/>
                    <a:pt x="929" y="63"/>
                    <a:pt x="985" y="63"/>
                  </a:cubicBezTo>
                  <a:cubicBezTo>
                    <a:pt x="1041" y="63"/>
                    <a:pt x="1103" y="0"/>
                    <a:pt x="1156" y="9"/>
                  </a:cubicBezTo>
                  <a:cubicBezTo>
                    <a:pt x="1211" y="19"/>
                    <a:pt x="1247" y="100"/>
                    <a:pt x="1298" y="118"/>
                  </a:cubicBezTo>
                  <a:cubicBezTo>
                    <a:pt x="1351" y="137"/>
                    <a:pt x="1430" y="98"/>
                    <a:pt x="1478" y="126"/>
                  </a:cubicBezTo>
                  <a:cubicBezTo>
                    <a:pt x="1526" y="154"/>
                    <a:pt x="1532" y="242"/>
                    <a:pt x="1574" y="278"/>
                  </a:cubicBezTo>
                  <a:cubicBezTo>
                    <a:pt x="1616" y="313"/>
                    <a:pt x="1704" y="304"/>
                    <a:pt x="1740" y="346"/>
                  </a:cubicBezTo>
                  <a:cubicBezTo>
                    <a:pt x="1775" y="388"/>
                    <a:pt x="1751" y="473"/>
                    <a:pt x="1779" y="521"/>
                  </a:cubicBezTo>
                  <a:cubicBezTo>
                    <a:pt x="1806" y="569"/>
                    <a:pt x="1892" y="590"/>
                    <a:pt x="1911" y="642"/>
                  </a:cubicBezTo>
                  <a:cubicBezTo>
                    <a:pt x="1930" y="694"/>
                    <a:pt x="1878" y="765"/>
                    <a:pt x="1887" y="820"/>
                  </a:cubicBezTo>
                  <a:cubicBezTo>
                    <a:pt x="1897" y="874"/>
                    <a:pt x="1970" y="923"/>
                    <a:pt x="1970" y="979"/>
                  </a:cubicBezTo>
                  <a:cubicBezTo>
                    <a:pt x="1970" y="1036"/>
                    <a:pt x="1897" y="1085"/>
                    <a:pt x="1887" y="1138"/>
                  </a:cubicBezTo>
                  <a:cubicBezTo>
                    <a:pt x="1878" y="1194"/>
                    <a:pt x="1930" y="1265"/>
                    <a:pt x="1911" y="1316"/>
                  </a:cubicBezTo>
                  <a:close/>
                  <a:moveTo>
                    <a:pt x="1762" y="979"/>
                  </a:moveTo>
                  <a:cubicBezTo>
                    <a:pt x="1762" y="551"/>
                    <a:pt x="1413" y="203"/>
                    <a:pt x="985" y="203"/>
                  </a:cubicBezTo>
                  <a:cubicBezTo>
                    <a:pt x="557" y="203"/>
                    <a:pt x="208" y="551"/>
                    <a:pt x="208" y="979"/>
                  </a:cubicBezTo>
                  <a:cubicBezTo>
                    <a:pt x="208" y="1408"/>
                    <a:pt x="557" y="1756"/>
                    <a:pt x="985" y="1756"/>
                  </a:cubicBezTo>
                  <a:cubicBezTo>
                    <a:pt x="1413" y="1756"/>
                    <a:pt x="1762" y="1408"/>
                    <a:pt x="1762" y="979"/>
                  </a:cubicBezTo>
                  <a:close/>
                  <a:moveTo>
                    <a:pt x="1645" y="979"/>
                  </a:moveTo>
                  <a:cubicBezTo>
                    <a:pt x="1645" y="1343"/>
                    <a:pt x="1349" y="1639"/>
                    <a:pt x="985" y="1639"/>
                  </a:cubicBezTo>
                  <a:cubicBezTo>
                    <a:pt x="621" y="1639"/>
                    <a:pt x="326" y="1343"/>
                    <a:pt x="326" y="979"/>
                  </a:cubicBezTo>
                  <a:cubicBezTo>
                    <a:pt x="326" y="616"/>
                    <a:pt x="621" y="320"/>
                    <a:pt x="985" y="320"/>
                  </a:cubicBezTo>
                  <a:cubicBezTo>
                    <a:pt x="1349" y="320"/>
                    <a:pt x="1645" y="616"/>
                    <a:pt x="1645" y="979"/>
                  </a:cubicBezTo>
                  <a:close/>
                  <a:moveTo>
                    <a:pt x="640" y="992"/>
                  </a:moveTo>
                  <a:cubicBezTo>
                    <a:pt x="732" y="925"/>
                    <a:pt x="732" y="925"/>
                    <a:pt x="732" y="925"/>
                  </a:cubicBezTo>
                  <a:cubicBezTo>
                    <a:pt x="618" y="925"/>
                    <a:pt x="618" y="925"/>
                    <a:pt x="618" y="925"/>
                  </a:cubicBezTo>
                  <a:cubicBezTo>
                    <a:pt x="582" y="816"/>
                    <a:pt x="582" y="816"/>
                    <a:pt x="582" y="816"/>
                  </a:cubicBezTo>
                  <a:cubicBezTo>
                    <a:pt x="547" y="925"/>
                    <a:pt x="547" y="925"/>
                    <a:pt x="547" y="925"/>
                  </a:cubicBezTo>
                  <a:cubicBezTo>
                    <a:pt x="432" y="925"/>
                    <a:pt x="432" y="925"/>
                    <a:pt x="432" y="925"/>
                  </a:cubicBezTo>
                  <a:cubicBezTo>
                    <a:pt x="525" y="992"/>
                    <a:pt x="525" y="992"/>
                    <a:pt x="525" y="992"/>
                  </a:cubicBezTo>
                  <a:cubicBezTo>
                    <a:pt x="490" y="1101"/>
                    <a:pt x="490" y="1101"/>
                    <a:pt x="490" y="1101"/>
                  </a:cubicBezTo>
                  <a:cubicBezTo>
                    <a:pt x="582" y="1034"/>
                    <a:pt x="582" y="1034"/>
                    <a:pt x="582" y="1034"/>
                  </a:cubicBezTo>
                  <a:cubicBezTo>
                    <a:pt x="675" y="1101"/>
                    <a:pt x="675" y="1101"/>
                    <a:pt x="675" y="1101"/>
                  </a:cubicBezTo>
                  <a:lnTo>
                    <a:pt x="640" y="992"/>
                  </a:lnTo>
                  <a:close/>
                  <a:moveTo>
                    <a:pt x="1042" y="992"/>
                  </a:moveTo>
                  <a:cubicBezTo>
                    <a:pt x="1135" y="925"/>
                    <a:pt x="1135" y="925"/>
                    <a:pt x="1135" y="925"/>
                  </a:cubicBezTo>
                  <a:cubicBezTo>
                    <a:pt x="1021" y="925"/>
                    <a:pt x="1021" y="925"/>
                    <a:pt x="1021" y="925"/>
                  </a:cubicBezTo>
                  <a:cubicBezTo>
                    <a:pt x="985" y="816"/>
                    <a:pt x="985" y="816"/>
                    <a:pt x="985" y="816"/>
                  </a:cubicBezTo>
                  <a:cubicBezTo>
                    <a:pt x="950" y="925"/>
                    <a:pt x="950" y="925"/>
                    <a:pt x="950" y="925"/>
                  </a:cubicBezTo>
                  <a:cubicBezTo>
                    <a:pt x="835" y="925"/>
                    <a:pt x="835" y="925"/>
                    <a:pt x="835" y="925"/>
                  </a:cubicBezTo>
                  <a:cubicBezTo>
                    <a:pt x="928" y="992"/>
                    <a:pt x="928" y="992"/>
                    <a:pt x="928" y="992"/>
                  </a:cubicBezTo>
                  <a:cubicBezTo>
                    <a:pt x="892" y="1101"/>
                    <a:pt x="892" y="1101"/>
                    <a:pt x="892" y="1101"/>
                  </a:cubicBezTo>
                  <a:cubicBezTo>
                    <a:pt x="985" y="1034"/>
                    <a:pt x="985" y="1034"/>
                    <a:pt x="985" y="1034"/>
                  </a:cubicBezTo>
                  <a:cubicBezTo>
                    <a:pt x="1078" y="1101"/>
                    <a:pt x="1078" y="1101"/>
                    <a:pt x="1078" y="1101"/>
                  </a:cubicBezTo>
                  <a:lnTo>
                    <a:pt x="1042" y="992"/>
                  </a:lnTo>
                  <a:close/>
                  <a:moveTo>
                    <a:pt x="1445" y="992"/>
                  </a:moveTo>
                  <a:cubicBezTo>
                    <a:pt x="1538" y="925"/>
                    <a:pt x="1538" y="925"/>
                    <a:pt x="1538" y="925"/>
                  </a:cubicBezTo>
                  <a:cubicBezTo>
                    <a:pt x="1423" y="925"/>
                    <a:pt x="1423" y="925"/>
                    <a:pt x="1423" y="925"/>
                  </a:cubicBezTo>
                  <a:cubicBezTo>
                    <a:pt x="1388" y="816"/>
                    <a:pt x="1388" y="816"/>
                    <a:pt x="1388" y="816"/>
                  </a:cubicBezTo>
                  <a:cubicBezTo>
                    <a:pt x="1352" y="925"/>
                    <a:pt x="1352" y="925"/>
                    <a:pt x="1352" y="925"/>
                  </a:cubicBezTo>
                  <a:cubicBezTo>
                    <a:pt x="1238" y="925"/>
                    <a:pt x="1238" y="925"/>
                    <a:pt x="1238" y="925"/>
                  </a:cubicBezTo>
                  <a:cubicBezTo>
                    <a:pt x="1330" y="992"/>
                    <a:pt x="1330" y="992"/>
                    <a:pt x="1330" y="992"/>
                  </a:cubicBezTo>
                  <a:cubicBezTo>
                    <a:pt x="1295" y="1101"/>
                    <a:pt x="1295" y="1101"/>
                    <a:pt x="1295" y="1101"/>
                  </a:cubicBezTo>
                  <a:cubicBezTo>
                    <a:pt x="1388" y="1034"/>
                    <a:pt x="1388" y="1034"/>
                    <a:pt x="1388" y="1034"/>
                  </a:cubicBezTo>
                  <a:cubicBezTo>
                    <a:pt x="1481" y="1101"/>
                    <a:pt x="1481" y="1101"/>
                    <a:pt x="1481" y="1101"/>
                  </a:cubicBezTo>
                  <a:lnTo>
                    <a:pt x="1445" y="992"/>
                  </a:lnTo>
                  <a:close/>
                </a:path>
              </a:pathLst>
            </a:custGeom>
            <a:solidFill>
              <a:schemeClr val="bg1"/>
            </a:solidFill>
            <a:ln>
              <a:noFill/>
            </a:ln>
          </p:spPr>
          <p:txBody>
            <a:bodyPr vert="horz" wrap="square" lIns="91392" tIns="45696" rIns="91392" bIns="45696" numCol="1" anchor="t" anchorCtr="0" compatLnSpc="1">
              <a:prstTxWarp prst="textNoShape">
                <a:avLst/>
              </a:prstTxWarp>
            </a:bodyPr>
            <a:lstStyle/>
            <a:p>
              <a:endParaRPr lang="en-US" sz="1799" dirty="0"/>
            </a:p>
          </p:txBody>
        </p:sp>
        <p:sp>
          <p:nvSpPr>
            <p:cNvPr id="255" name="Freeform 96"/>
            <p:cNvSpPr>
              <a:spLocks noEditPoints="1"/>
            </p:cNvSpPr>
            <p:nvPr/>
          </p:nvSpPr>
          <p:spPr bwMode="auto">
            <a:xfrm>
              <a:off x="818998" y="1865039"/>
              <a:ext cx="1412995" cy="1853224"/>
            </a:xfrm>
            <a:custGeom>
              <a:avLst/>
              <a:gdLst>
                <a:gd name="T0" fmla="*/ 520 w 1965"/>
                <a:gd name="T1" fmla="*/ 529 h 2570"/>
                <a:gd name="T2" fmla="*/ 983 w 1965"/>
                <a:gd name="T3" fmla="*/ 0 h 2570"/>
                <a:gd name="T4" fmla="*/ 1446 w 1965"/>
                <a:gd name="T5" fmla="*/ 529 h 2570"/>
                <a:gd name="T6" fmla="*/ 983 w 1965"/>
                <a:gd name="T7" fmla="*/ 1058 h 2570"/>
                <a:gd name="T8" fmla="*/ 520 w 1965"/>
                <a:gd name="T9" fmla="*/ 529 h 2570"/>
                <a:gd name="T10" fmla="*/ 1965 w 1965"/>
                <a:gd name="T11" fmla="*/ 1684 h 2570"/>
                <a:gd name="T12" fmla="*/ 1648 w 1965"/>
                <a:gd name="T13" fmla="*/ 1302 h 2570"/>
                <a:gd name="T14" fmla="*/ 1648 w 1965"/>
                <a:gd name="T15" fmla="*/ 1302 h 2570"/>
                <a:gd name="T16" fmla="*/ 1310 w 1965"/>
                <a:gd name="T17" fmla="*/ 1278 h 2570"/>
                <a:gd name="T18" fmla="*/ 1310 w 1965"/>
                <a:gd name="T19" fmla="*/ 1278 h 2570"/>
                <a:gd name="T20" fmla="*/ 1310 w 1965"/>
                <a:gd name="T21" fmla="*/ 1278 h 2570"/>
                <a:gd name="T22" fmla="*/ 983 w 1965"/>
                <a:gd name="T23" fmla="*/ 1606 h 2570"/>
                <a:gd name="T24" fmla="*/ 983 w 1965"/>
                <a:gd name="T25" fmla="*/ 1606 h 2570"/>
                <a:gd name="T26" fmla="*/ 655 w 1965"/>
                <a:gd name="T27" fmla="*/ 1278 h 2570"/>
                <a:gd name="T28" fmla="*/ 655 w 1965"/>
                <a:gd name="T29" fmla="*/ 1278 h 2570"/>
                <a:gd name="T30" fmla="*/ 655 w 1965"/>
                <a:gd name="T31" fmla="*/ 1278 h 2570"/>
                <a:gd name="T32" fmla="*/ 317 w 1965"/>
                <a:gd name="T33" fmla="*/ 1302 h 2570"/>
                <a:gd name="T34" fmla="*/ 317 w 1965"/>
                <a:gd name="T35" fmla="*/ 1302 h 2570"/>
                <a:gd name="T36" fmla="*/ 0 w 1965"/>
                <a:gd name="T37" fmla="*/ 1684 h 2570"/>
                <a:gd name="T38" fmla="*/ 0 w 1965"/>
                <a:gd name="T39" fmla="*/ 1684 h 2570"/>
                <a:gd name="T40" fmla="*/ 0 w 1965"/>
                <a:gd name="T41" fmla="*/ 2570 h 2570"/>
                <a:gd name="T42" fmla="*/ 1965 w 1965"/>
                <a:gd name="T43" fmla="*/ 2570 h 2570"/>
                <a:gd name="T44" fmla="*/ 1965 w 1965"/>
                <a:gd name="T45" fmla="*/ 1684 h 2570"/>
                <a:gd name="T46" fmla="*/ 1965 w 1965"/>
                <a:gd name="T47" fmla="*/ 1684 h 2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5" h="2570">
                  <a:moveTo>
                    <a:pt x="520" y="529"/>
                  </a:moveTo>
                  <a:cubicBezTo>
                    <a:pt x="520" y="212"/>
                    <a:pt x="707" y="0"/>
                    <a:pt x="983" y="0"/>
                  </a:cubicBezTo>
                  <a:cubicBezTo>
                    <a:pt x="1258" y="0"/>
                    <a:pt x="1446" y="212"/>
                    <a:pt x="1446" y="529"/>
                  </a:cubicBezTo>
                  <a:cubicBezTo>
                    <a:pt x="1446" y="846"/>
                    <a:pt x="1258" y="1058"/>
                    <a:pt x="983" y="1058"/>
                  </a:cubicBezTo>
                  <a:cubicBezTo>
                    <a:pt x="707" y="1058"/>
                    <a:pt x="520" y="846"/>
                    <a:pt x="520" y="529"/>
                  </a:cubicBezTo>
                  <a:close/>
                  <a:moveTo>
                    <a:pt x="1965" y="1684"/>
                  </a:moveTo>
                  <a:cubicBezTo>
                    <a:pt x="1961" y="1464"/>
                    <a:pt x="1835" y="1316"/>
                    <a:pt x="1648" y="1302"/>
                  </a:cubicBezTo>
                  <a:cubicBezTo>
                    <a:pt x="1648" y="1302"/>
                    <a:pt x="1648" y="1302"/>
                    <a:pt x="1648" y="1302"/>
                  </a:cubicBezTo>
                  <a:cubicBezTo>
                    <a:pt x="1310" y="1278"/>
                    <a:pt x="1310" y="1278"/>
                    <a:pt x="1310" y="1278"/>
                  </a:cubicBezTo>
                  <a:cubicBezTo>
                    <a:pt x="1310" y="1278"/>
                    <a:pt x="1310" y="1278"/>
                    <a:pt x="1310" y="1278"/>
                  </a:cubicBezTo>
                  <a:cubicBezTo>
                    <a:pt x="1310" y="1278"/>
                    <a:pt x="1310" y="1278"/>
                    <a:pt x="1310" y="1278"/>
                  </a:cubicBezTo>
                  <a:cubicBezTo>
                    <a:pt x="983" y="1606"/>
                    <a:pt x="983" y="1606"/>
                    <a:pt x="983" y="1606"/>
                  </a:cubicBezTo>
                  <a:cubicBezTo>
                    <a:pt x="983" y="1606"/>
                    <a:pt x="983" y="1606"/>
                    <a:pt x="983" y="1606"/>
                  </a:cubicBezTo>
                  <a:cubicBezTo>
                    <a:pt x="655" y="1278"/>
                    <a:pt x="655" y="1278"/>
                    <a:pt x="655" y="1278"/>
                  </a:cubicBezTo>
                  <a:cubicBezTo>
                    <a:pt x="655" y="1278"/>
                    <a:pt x="655" y="1278"/>
                    <a:pt x="655" y="1278"/>
                  </a:cubicBezTo>
                  <a:cubicBezTo>
                    <a:pt x="655" y="1278"/>
                    <a:pt x="655" y="1278"/>
                    <a:pt x="655" y="1278"/>
                  </a:cubicBezTo>
                  <a:cubicBezTo>
                    <a:pt x="317" y="1302"/>
                    <a:pt x="317" y="1302"/>
                    <a:pt x="317" y="1302"/>
                  </a:cubicBezTo>
                  <a:cubicBezTo>
                    <a:pt x="317" y="1302"/>
                    <a:pt x="317" y="1302"/>
                    <a:pt x="317" y="1302"/>
                  </a:cubicBezTo>
                  <a:cubicBezTo>
                    <a:pt x="130" y="1316"/>
                    <a:pt x="4" y="1464"/>
                    <a:pt x="0" y="1684"/>
                  </a:cubicBezTo>
                  <a:cubicBezTo>
                    <a:pt x="0" y="1684"/>
                    <a:pt x="0" y="1684"/>
                    <a:pt x="0" y="1684"/>
                  </a:cubicBezTo>
                  <a:cubicBezTo>
                    <a:pt x="0" y="1761"/>
                    <a:pt x="0" y="2183"/>
                    <a:pt x="0" y="2570"/>
                  </a:cubicBezTo>
                  <a:cubicBezTo>
                    <a:pt x="1965" y="2570"/>
                    <a:pt x="1965" y="2570"/>
                    <a:pt x="1965" y="2570"/>
                  </a:cubicBezTo>
                  <a:cubicBezTo>
                    <a:pt x="1965" y="2183"/>
                    <a:pt x="1965" y="1761"/>
                    <a:pt x="1965" y="1684"/>
                  </a:cubicBezTo>
                  <a:cubicBezTo>
                    <a:pt x="1965" y="1684"/>
                    <a:pt x="1965" y="1684"/>
                    <a:pt x="1965" y="1684"/>
                  </a:cubicBezTo>
                  <a:close/>
                </a:path>
              </a:pathLst>
            </a:custGeom>
            <a:solidFill>
              <a:srgbClr val="66667E"/>
            </a:solidFill>
            <a:ln>
              <a:noFill/>
            </a:ln>
          </p:spPr>
          <p:txBody>
            <a:bodyPr vert="horz" wrap="square" lIns="91392" tIns="45696" rIns="91392" bIns="45696" numCol="1" anchor="t" anchorCtr="0" compatLnSpc="1">
              <a:prstTxWarp prst="textNoShape">
                <a:avLst/>
              </a:prstTxWarp>
            </a:bodyPr>
            <a:lstStyle/>
            <a:p>
              <a:endParaRPr lang="en-US" sz="1799" dirty="0"/>
            </a:p>
          </p:txBody>
        </p:sp>
      </p:grpSp>
      <p:grpSp>
        <p:nvGrpSpPr>
          <p:cNvPr id="6" name="Gruppieren 5">
            <a:extLst>
              <a:ext uri="{FF2B5EF4-FFF2-40B4-BE49-F238E27FC236}">
                <a16:creationId xmlns:a16="http://schemas.microsoft.com/office/drawing/2014/main" id="{18EDB8FC-811E-4659-884B-4CE1A775E196}"/>
              </a:ext>
            </a:extLst>
          </p:cNvPr>
          <p:cNvGrpSpPr/>
          <p:nvPr/>
        </p:nvGrpSpPr>
        <p:grpSpPr>
          <a:xfrm>
            <a:off x="410399" y="3863549"/>
            <a:ext cx="3312001" cy="2302801"/>
            <a:chOff x="627062" y="3863776"/>
            <a:chExt cx="3290971" cy="2304000"/>
          </a:xfrm>
        </p:grpSpPr>
        <p:sp>
          <p:nvSpPr>
            <p:cNvPr id="140" name="Rechteck 139"/>
            <p:cNvSpPr>
              <a:spLocks/>
            </p:cNvSpPr>
            <p:nvPr/>
          </p:nvSpPr>
          <p:spPr bwMode="auto">
            <a:xfrm>
              <a:off x="627062" y="3863845"/>
              <a:ext cx="1788571" cy="2303931"/>
            </a:xfrm>
            <a:prstGeom prst="rect">
              <a:avLst/>
            </a:prstGeom>
            <a:solidFill>
              <a:srgbClr val="E5E5E9"/>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52" name="Textfeld 8"/>
            <p:cNvSpPr txBox="1">
              <a:spLocks/>
            </p:cNvSpPr>
            <p:nvPr/>
          </p:nvSpPr>
          <p:spPr bwMode="gray">
            <a:xfrm>
              <a:off x="2415634" y="3863776"/>
              <a:ext cx="1502399" cy="2304000"/>
            </a:xfrm>
            <a:prstGeom prst="rect">
              <a:avLst/>
            </a:prstGeom>
            <a:solidFill>
              <a:srgbClr val="00646E"/>
            </a:solidFill>
            <a:ln>
              <a:noFill/>
            </a:ln>
          </p:spPr>
          <p:txBody>
            <a:bodyPr wrap="square" lIns="143925" tIns="71963" rIns="71963" bIns="71963" rtlCol="0" anchor="b">
              <a:noAutofit/>
            </a:bodyPr>
            <a:lstStyle/>
            <a:p>
              <a:pPr>
                <a:spcBef>
                  <a:spcPct val="0"/>
                </a:spcBef>
                <a:buClr>
                  <a:srgbClr val="879BAA"/>
                </a:buClr>
              </a:pPr>
              <a:r>
                <a:rPr lang="en-US" sz="1599" b="1" kern="1400" dirty="0">
                  <a:solidFill>
                    <a:schemeClr val="bg1"/>
                  </a:solidFill>
                  <a:ea typeface="ＭＳ Ｐゴシック" pitchFamily="34" charset="-128"/>
                  <a:cs typeface="Arial" charset="0"/>
                </a:rPr>
                <a:t>Marianne Mastermind</a:t>
              </a:r>
            </a:p>
            <a:p>
              <a:pPr>
                <a:spcBef>
                  <a:spcPts val="300"/>
                </a:spcBef>
                <a:buClr>
                  <a:srgbClr val="879BAA"/>
                </a:buClr>
              </a:pPr>
              <a:r>
                <a:rPr lang="en-US" sz="1199" dirty="0">
                  <a:solidFill>
                    <a:schemeClr val="bg1"/>
                  </a:solidFill>
                  <a:cs typeface="Arial" charset="0"/>
                </a:rPr>
                <a:t>At vero eos et accusam</a:t>
              </a:r>
            </a:p>
          </p:txBody>
        </p:sp>
        <p:sp>
          <p:nvSpPr>
            <p:cNvPr id="254" name="Freeform 70"/>
            <p:cNvSpPr>
              <a:spLocks noEditPoints="1"/>
            </p:cNvSpPr>
            <p:nvPr/>
          </p:nvSpPr>
          <p:spPr bwMode="auto">
            <a:xfrm>
              <a:off x="3254400" y="3931763"/>
              <a:ext cx="593271" cy="774220"/>
            </a:xfrm>
            <a:custGeom>
              <a:avLst/>
              <a:gdLst>
                <a:gd name="T0" fmla="*/ 1439 w 1970"/>
                <a:gd name="T1" fmla="*/ 1960 h 2578"/>
                <a:gd name="T2" fmla="*/ 985 w 1970"/>
                <a:gd name="T3" fmla="*/ 2328 h 2578"/>
                <a:gd name="T4" fmla="*/ 532 w 1970"/>
                <a:gd name="T5" fmla="*/ 1960 h 2578"/>
                <a:gd name="T6" fmla="*/ 601 w 1970"/>
                <a:gd name="T7" fmla="*/ 1955 h 2578"/>
                <a:gd name="T8" fmla="*/ 651 w 1970"/>
                <a:gd name="T9" fmla="*/ 1973 h 2578"/>
                <a:gd name="T10" fmla="*/ 825 w 1970"/>
                <a:gd name="T11" fmla="*/ 2068 h 2578"/>
                <a:gd name="T12" fmla="*/ 985 w 1970"/>
                <a:gd name="T13" fmla="*/ 2014 h 2578"/>
                <a:gd name="T14" fmla="*/ 1145 w 1970"/>
                <a:gd name="T15" fmla="*/ 2068 h 2578"/>
                <a:gd name="T16" fmla="*/ 1320 w 1970"/>
                <a:gd name="T17" fmla="*/ 1973 h 2578"/>
                <a:gd name="T18" fmla="*/ 1369 w 1970"/>
                <a:gd name="T19" fmla="*/ 1955 h 2578"/>
                <a:gd name="T20" fmla="*/ 1911 w 1970"/>
                <a:gd name="T21" fmla="*/ 1316 h 2578"/>
                <a:gd name="T22" fmla="*/ 1740 w 1970"/>
                <a:gd name="T23" fmla="*/ 1613 h 2578"/>
                <a:gd name="T24" fmla="*/ 1478 w 1970"/>
                <a:gd name="T25" fmla="*/ 1833 h 2578"/>
                <a:gd name="T26" fmla="*/ 1156 w 1970"/>
                <a:gd name="T27" fmla="*/ 1950 h 2578"/>
                <a:gd name="T28" fmla="*/ 814 w 1970"/>
                <a:gd name="T29" fmla="*/ 1950 h 2578"/>
                <a:gd name="T30" fmla="*/ 492 w 1970"/>
                <a:gd name="T31" fmla="*/ 1833 h 2578"/>
                <a:gd name="T32" fmla="*/ 230 w 1970"/>
                <a:gd name="T33" fmla="*/ 1613 h 2578"/>
                <a:gd name="T34" fmla="*/ 59 w 1970"/>
                <a:gd name="T35" fmla="*/ 1316 h 2578"/>
                <a:gd name="T36" fmla="*/ 0 w 1970"/>
                <a:gd name="T37" fmla="*/ 979 h 2578"/>
                <a:gd name="T38" fmla="*/ 59 w 1970"/>
                <a:gd name="T39" fmla="*/ 642 h 2578"/>
                <a:gd name="T40" fmla="*/ 230 w 1970"/>
                <a:gd name="T41" fmla="*/ 346 h 2578"/>
                <a:gd name="T42" fmla="*/ 492 w 1970"/>
                <a:gd name="T43" fmla="*/ 126 h 2578"/>
                <a:gd name="T44" fmla="*/ 814 w 1970"/>
                <a:gd name="T45" fmla="*/ 9 h 2578"/>
                <a:gd name="T46" fmla="*/ 1156 w 1970"/>
                <a:gd name="T47" fmla="*/ 9 h 2578"/>
                <a:gd name="T48" fmla="*/ 1478 w 1970"/>
                <a:gd name="T49" fmla="*/ 126 h 2578"/>
                <a:gd name="T50" fmla="*/ 1740 w 1970"/>
                <a:gd name="T51" fmla="*/ 346 h 2578"/>
                <a:gd name="T52" fmla="*/ 1911 w 1970"/>
                <a:gd name="T53" fmla="*/ 642 h 2578"/>
                <a:gd name="T54" fmla="*/ 1970 w 1970"/>
                <a:gd name="T55" fmla="*/ 979 h 2578"/>
                <a:gd name="T56" fmla="*/ 1911 w 1970"/>
                <a:gd name="T57" fmla="*/ 1316 h 2578"/>
                <a:gd name="T58" fmla="*/ 985 w 1970"/>
                <a:gd name="T59" fmla="*/ 203 h 2578"/>
                <a:gd name="T60" fmla="*/ 985 w 1970"/>
                <a:gd name="T61" fmla="*/ 1756 h 2578"/>
                <a:gd name="T62" fmla="*/ 1645 w 1970"/>
                <a:gd name="T63" fmla="*/ 979 h 2578"/>
                <a:gd name="T64" fmla="*/ 326 w 1970"/>
                <a:gd name="T65" fmla="*/ 979 h 2578"/>
                <a:gd name="T66" fmla="*/ 1645 w 1970"/>
                <a:gd name="T67" fmla="*/ 979 h 2578"/>
                <a:gd name="T68" fmla="*/ 732 w 1970"/>
                <a:gd name="T69" fmla="*/ 925 h 2578"/>
                <a:gd name="T70" fmla="*/ 582 w 1970"/>
                <a:gd name="T71" fmla="*/ 816 h 2578"/>
                <a:gd name="T72" fmla="*/ 432 w 1970"/>
                <a:gd name="T73" fmla="*/ 925 h 2578"/>
                <a:gd name="T74" fmla="*/ 490 w 1970"/>
                <a:gd name="T75" fmla="*/ 1101 h 2578"/>
                <a:gd name="T76" fmla="*/ 675 w 1970"/>
                <a:gd name="T77" fmla="*/ 1101 h 2578"/>
                <a:gd name="T78" fmla="*/ 1042 w 1970"/>
                <a:gd name="T79" fmla="*/ 992 h 2578"/>
                <a:gd name="T80" fmla="*/ 1021 w 1970"/>
                <a:gd name="T81" fmla="*/ 925 h 2578"/>
                <a:gd name="T82" fmla="*/ 950 w 1970"/>
                <a:gd name="T83" fmla="*/ 925 h 2578"/>
                <a:gd name="T84" fmla="*/ 928 w 1970"/>
                <a:gd name="T85" fmla="*/ 992 h 2578"/>
                <a:gd name="T86" fmla="*/ 985 w 1970"/>
                <a:gd name="T87" fmla="*/ 1034 h 2578"/>
                <a:gd name="T88" fmla="*/ 1042 w 1970"/>
                <a:gd name="T89" fmla="*/ 992 h 2578"/>
                <a:gd name="T90" fmla="*/ 1538 w 1970"/>
                <a:gd name="T91" fmla="*/ 925 h 2578"/>
                <a:gd name="T92" fmla="*/ 1388 w 1970"/>
                <a:gd name="T93" fmla="*/ 816 h 2578"/>
                <a:gd name="T94" fmla="*/ 1238 w 1970"/>
                <a:gd name="T95" fmla="*/ 925 h 2578"/>
                <a:gd name="T96" fmla="*/ 1295 w 1970"/>
                <a:gd name="T97" fmla="*/ 1101 h 2578"/>
                <a:gd name="T98" fmla="*/ 1481 w 1970"/>
                <a:gd name="T99" fmla="*/ 1101 h 2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70" h="2578">
                  <a:moveTo>
                    <a:pt x="1431" y="1960"/>
                  </a:moveTo>
                  <a:cubicBezTo>
                    <a:pt x="1434" y="1960"/>
                    <a:pt x="1436" y="1960"/>
                    <a:pt x="1439" y="1960"/>
                  </a:cubicBezTo>
                  <a:cubicBezTo>
                    <a:pt x="1439" y="2578"/>
                    <a:pt x="1439" y="2578"/>
                    <a:pt x="1439" y="2578"/>
                  </a:cubicBezTo>
                  <a:cubicBezTo>
                    <a:pt x="985" y="2328"/>
                    <a:pt x="985" y="2328"/>
                    <a:pt x="985" y="2328"/>
                  </a:cubicBezTo>
                  <a:cubicBezTo>
                    <a:pt x="532" y="2578"/>
                    <a:pt x="532" y="2578"/>
                    <a:pt x="532" y="2578"/>
                  </a:cubicBezTo>
                  <a:cubicBezTo>
                    <a:pt x="532" y="1960"/>
                    <a:pt x="532" y="1960"/>
                    <a:pt x="532" y="1960"/>
                  </a:cubicBezTo>
                  <a:cubicBezTo>
                    <a:pt x="534" y="1960"/>
                    <a:pt x="536" y="1960"/>
                    <a:pt x="539" y="1960"/>
                  </a:cubicBezTo>
                  <a:cubicBezTo>
                    <a:pt x="561" y="1960"/>
                    <a:pt x="582" y="1957"/>
                    <a:pt x="601" y="1955"/>
                  </a:cubicBezTo>
                  <a:cubicBezTo>
                    <a:pt x="612" y="1954"/>
                    <a:pt x="623" y="1953"/>
                    <a:pt x="631" y="1952"/>
                  </a:cubicBezTo>
                  <a:cubicBezTo>
                    <a:pt x="637" y="1958"/>
                    <a:pt x="645" y="1966"/>
                    <a:pt x="651" y="1973"/>
                  </a:cubicBezTo>
                  <a:cubicBezTo>
                    <a:pt x="682" y="2007"/>
                    <a:pt x="725" y="2053"/>
                    <a:pt x="794" y="2065"/>
                  </a:cubicBezTo>
                  <a:cubicBezTo>
                    <a:pt x="804" y="2067"/>
                    <a:pt x="815" y="2068"/>
                    <a:pt x="825" y="2068"/>
                  </a:cubicBezTo>
                  <a:cubicBezTo>
                    <a:pt x="879" y="2068"/>
                    <a:pt x="922" y="2046"/>
                    <a:pt x="957" y="2028"/>
                  </a:cubicBezTo>
                  <a:cubicBezTo>
                    <a:pt x="966" y="2023"/>
                    <a:pt x="977" y="2017"/>
                    <a:pt x="985" y="2014"/>
                  </a:cubicBezTo>
                  <a:cubicBezTo>
                    <a:pt x="993" y="2017"/>
                    <a:pt x="1005" y="2023"/>
                    <a:pt x="1013" y="2028"/>
                  </a:cubicBezTo>
                  <a:cubicBezTo>
                    <a:pt x="1048" y="2046"/>
                    <a:pt x="1092" y="2068"/>
                    <a:pt x="1145" y="2068"/>
                  </a:cubicBezTo>
                  <a:cubicBezTo>
                    <a:pt x="1156" y="2068"/>
                    <a:pt x="1166" y="2067"/>
                    <a:pt x="1176" y="2065"/>
                  </a:cubicBezTo>
                  <a:cubicBezTo>
                    <a:pt x="1245" y="2053"/>
                    <a:pt x="1288" y="2007"/>
                    <a:pt x="1320" y="1973"/>
                  </a:cubicBezTo>
                  <a:cubicBezTo>
                    <a:pt x="1325" y="1966"/>
                    <a:pt x="1334" y="1958"/>
                    <a:pt x="1339" y="1952"/>
                  </a:cubicBezTo>
                  <a:cubicBezTo>
                    <a:pt x="1348" y="1953"/>
                    <a:pt x="1359" y="1954"/>
                    <a:pt x="1369" y="1955"/>
                  </a:cubicBezTo>
                  <a:cubicBezTo>
                    <a:pt x="1388" y="1957"/>
                    <a:pt x="1409" y="1960"/>
                    <a:pt x="1431" y="1960"/>
                  </a:cubicBezTo>
                  <a:close/>
                  <a:moveTo>
                    <a:pt x="1911" y="1316"/>
                  </a:moveTo>
                  <a:cubicBezTo>
                    <a:pt x="1892" y="1369"/>
                    <a:pt x="1806" y="1390"/>
                    <a:pt x="1779" y="1437"/>
                  </a:cubicBezTo>
                  <a:cubicBezTo>
                    <a:pt x="1751" y="1485"/>
                    <a:pt x="1775" y="1570"/>
                    <a:pt x="1740" y="1613"/>
                  </a:cubicBezTo>
                  <a:cubicBezTo>
                    <a:pt x="1704" y="1655"/>
                    <a:pt x="1616" y="1645"/>
                    <a:pt x="1574" y="1681"/>
                  </a:cubicBezTo>
                  <a:cubicBezTo>
                    <a:pt x="1532" y="1717"/>
                    <a:pt x="1526" y="1805"/>
                    <a:pt x="1478" y="1833"/>
                  </a:cubicBezTo>
                  <a:cubicBezTo>
                    <a:pt x="1430" y="1860"/>
                    <a:pt x="1351" y="1821"/>
                    <a:pt x="1298" y="1840"/>
                  </a:cubicBezTo>
                  <a:cubicBezTo>
                    <a:pt x="1247" y="1859"/>
                    <a:pt x="1211" y="1940"/>
                    <a:pt x="1156" y="1950"/>
                  </a:cubicBezTo>
                  <a:cubicBezTo>
                    <a:pt x="1103" y="1959"/>
                    <a:pt x="1041" y="1895"/>
                    <a:pt x="985" y="1895"/>
                  </a:cubicBezTo>
                  <a:cubicBezTo>
                    <a:pt x="929" y="1895"/>
                    <a:pt x="868" y="1959"/>
                    <a:pt x="814" y="1950"/>
                  </a:cubicBezTo>
                  <a:cubicBezTo>
                    <a:pt x="759" y="1940"/>
                    <a:pt x="723" y="1859"/>
                    <a:pt x="672" y="1840"/>
                  </a:cubicBezTo>
                  <a:cubicBezTo>
                    <a:pt x="619" y="1821"/>
                    <a:pt x="540" y="1860"/>
                    <a:pt x="492" y="1833"/>
                  </a:cubicBezTo>
                  <a:cubicBezTo>
                    <a:pt x="444" y="1805"/>
                    <a:pt x="439" y="1717"/>
                    <a:pt x="396" y="1681"/>
                  </a:cubicBezTo>
                  <a:cubicBezTo>
                    <a:pt x="354" y="1645"/>
                    <a:pt x="266" y="1655"/>
                    <a:pt x="230" y="1613"/>
                  </a:cubicBezTo>
                  <a:cubicBezTo>
                    <a:pt x="195" y="1570"/>
                    <a:pt x="219" y="1485"/>
                    <a:pt x="192" y="1437"/>
                  </a:cubicBezTo>
                  <a:cubicBezTo>
                    <a:pt x="164" y="1390"/>
                    <a:pt x="78" y="1369"/>
                    <a:pt x="59" y="1316"/>
                  </a:cubicBezTo>
                  <a:cubicBezTo>
                    <a:pt x="40" y="1265"/>
                    <a:pt x="92" y="1194"/>
                    <a:pt x="83" y="1138"/>
                  </a:cubicBezTo>
                  <a:cubicBezTo>
                    <a:pt x="73" y="1085"/>
                    <a:pt x="0" y="1036"/>
                    <a:pt x="0" y="979"/>
                  </a:cubicBezTo>
                  <a:cubicBezTo>
                    <a:pt x="0" y="923"/>
                    <a:pt x="73" y="874"/>
                    <a:pt x="83" y="820"/>
                  </a:cubicBezTo>
                  <a:cubicBezTo>
                    <a:pt x="92" y="765"/>
                    <a:pt x="40" y="694"/>
                    <a:pt x="59" y="642"/>
                  </a:cubicBezTo>
                  <a:cubicBezTo>
                    <a:pt x="78" y="590"/>
                    <a:pt x="164" y="569"/>
                    <a:pt x="192" y="521"/>
                  </a:cubicBezTo>
                  <a:cubicBezTo>
                    <a:pt x="219" y="473"/>
                    <a:pt x="195" y="388"/>
                    <a:pt x="230" y="346"/>
                  </a:cubicBezTo>
                  <a:cubicBezTo>
                    <a:pt x="266" y="304"/>
                    <a:pt x="354" y="313"/>
                    <a:pt x="396" y="278"/>
                  </a:cubicBezTo>
                  <a:cubicBezTo>
                    <a:pt x="439" y="242"/>
                    <a:pt x="444" y="154"/>
                    <a:pt x="492" y="126"/>
                  </a:cubicBezTo>
                  <a:cubicBezTo>
                    <a:pt x="540" y="98"/>
                    <a:pt x="619" y="137"/>
                    <a:pt x="672" y="118"/>
                  </a:cubicBezTo>
                  <a:cubicBezTo>
                    <a:pt x="723" y="100"/>
                    <a:pt x="759" y="19"/>
                    <a:pt x="814" y="9"/>
                  </a:cubicBezTo>
                  <a:cubicBezTo>
                    <a:pt x="868" y="0"/>
                    <a:pt x="929" y="63"/>
                    <a:pt x="985" y="63"/>
                  </a:cubicBezTo>
                  <a:cubicBezTo>
                    <a:pt x="1041" y="63"/>
                    <a:pt x="1103" y="0"/>
                    <a:pt x="1156" y="9"/>
                  </a:cubicBezTo>
                  <a:cubicBezTo>
                    <a:pt x="1211" y="19"/>
                    <a:pt x="1247" y="100"/>
                    <a:pt x="1298" y="118"/>
                  </a:cubicBezTo>
                  <a:cubicBezTo>
                    <a:pt x="1351" y="137"/>
                    <a:pt x="1430" y="98"/>
                    <a:pt x="1478" y="126"/>
                  </a:cubicBezTo>
                  <a:cubicBezTo>
                    <a:pt x="1526" y="154"/>
                    <a:pt x="1532" y="242"/>
                    <a:pt x="1574" y="278"/>
                  </a:cubicBezTo>
                  <a:cubicBezTo>
                    <a:pt x="1616" y="313"/>
                    <a:pt x="1704" y="304"/>
                    <a:pt x="1740" y="346"/>
                  </a:cubicBezTo>
                  <a:cubicBezTo>
                    <a:pt x="1775" y="388"/>
                    <a:pt x="1751" y="473"/>
                    <a:pt x="1779" y="521"/>
                  </a:cubicBezTo>
                  <a:cubicBezTo>
                    <a:pt x="1806" y="569"/>
                    <a:pt x="1892" y="590"/>
                    <a:pt x="1911" y="642"/>
                  </a:cubicBezTo>
                  <a:cubicBezTo>
                    <a:pt x="1930" y="694"/>
                    <a:pt x="1878" y="765"/>
                    <a:pt x="1887" y="820"/>
                  </a:cubicBezTo>
                  <a:cubicBezTo>
                    <a:pt x="1897" y="874"/>
                    <a:pt x="1970" y="923"/>
                    <a:pt x="1970" y="979"/>
                  </a:cubicBezTo>
                  <a:cubicBezTo>
                    <a:pt x="1970" y="1036"/>
                    <a:pt x="1897" y="1085"/>
                    <a:pt x="1887" y="1138"/>
                  </a:cubicBezTo>
                  <a:cubicBezTo>
                    <a:pt x="1878" y="1194"/>
                    <a:pt x="1930" y="1265"/>
                    <a:pt x="1911" y="1316"/>
                  </a:cubicBezTo>
                  <a:close/>
                  <a:moveTo>
                    <a:pt x="1762" y="979"/>
                  </a:moveTo>
                  <a:cubicBezTo>
                    <a:pt x="1762" y="551"/>
                    <a:pt x="1413" y="203"/>
                    <a:pt x="985" y="203"/>
                  </a:cubicBezTo>
                  <a:cubicBezTo>
                    <a:pt x="557" y="203"/>
                    <a:pt x="208" y="551"/>
                    <a:pt x="208" y="979"/>
                  </a:cubicBezTo>
                  <a:cubicBezTo>
                    <a:pt x="208" y="1408"/>
                    <a:pt x="557" y="1756"/>
                    <a:pt x="985" y="1756"/>
                  </a:cubicBezTo>
                  <a:cubicBezTo>
                    <a:pt x="1413" y="1756"/>
                    <a:pt x="1762" y="1408"/>
                    <a:pt x="1762" y="979"/>
                  </a:cubicBezTo>
                  <a:close/>
                  <a:moveTo>
                    <a:pt x="1645" y="979"/>
                  </a:moveTo>
                  <a:cubicBezTo>
                    <a:pt x="1645" y="1343"/>
                    <a:pt x="1349" y="1639"/>
                    <a:pt x="985" y="1639"/>
                  </a:cubicBezTo>
                  <a:cubicBezTo>
                    <a:pt x="621" y="1639"/>
                    <a:pt x="326" y="1343"/>
                    <a:pt x="326" y="979"/>
                  </a:cubicBezTo>
                  <a:cubicBezTo>
                    <a:pt x="326" y="616"/>
                    <a:pt x="621" y="320"/>
                    <a:pt x="985" y="320"/>
                  </a:cubicBezTo>
                  <a:cubicBezTo>
                    <a:pt x="1349" y="320"/>
                    <a:pt x="1645" y="616"/>
                    <a:pt x="1645" y="979"/>
                  </a:cubicBezTo>
                  <a:close/>
                  <a:moveTo>
                    <a:pt x="640" y="992"/>
                  </a:moveTo>
                  <a:cubicBezTo>
                    <a:pt x="732" y="925"/>
                    <a:pt x="732" y="925"/>
                    <a:pt x="732" y="925"/>
                  </a:cubicBezTo>
                  <a:cubicBezTo>
                    <a:pt x="618" y="925"/>
                    <a:pt x="618" y="925"/>
                    <a:pt x="618" y="925"/>
                  </a:cubicBezTo>
                  <a:cubicBezTo>
                    <a:pt x="582" y="816"/>
                    <a:pt x="582" y="816"/>
                    <a:pt x="582" y="816"/>
                  </a:cubicBezTo>
                  <a:cubicBezTo>
                    <a:pt x="547" y="925"/>
                    <a:pt x="547" y="925"/>
                    <a:pt x="547" y="925"/>
                  </a:cubicBezTo>
                  <a:cubicBezTo>
                    <a:pt x="432" y="925"/>
                    <a:pt x="432" y="925"/>
                    <a:pt x="432" y="925"/>
                  </a:cubicBezTo>
                  <a:cubicBezTo>
                    <a:pt x="525" y="992"/>
                    <a:pt x="525" y="992"/>
                    <a:pt x="525" y="992"/>
                  </a:cubicBezTo>
                  <a:cubicBezTo>
                    <a:pt x="490" y="1101"/>
                    <a:pt x="490" y="1101"/>
                    <a:pt x="490" y="1101"/>
                  </a:cubicBezTo>
                  <a:cubicBezTo>
                    <a:pt x="582" y="1034"/>
                    <a:pt x="582" y="1034"/>
                    <a:pt x="582" y="1034"/>
                  </a:cubicBezTo>
                  <a:cubicBezTo>
                    <a:pt x="675" y="1101"/>
                    <a:pt x="675" y="1101"/>
                    <a:pt x="675" y="1101"/>
                  </a:cubicBezTo>
                  <a:lnTo>
                    <a:pt x="640" y="992"/>
                  </a:lnTo>
                  <a:close/>
                  <a:moveTo>
                    <a:pt x="1042" y="992"/>
                  </a:moveTo>
                  <a:cubicBezTo>
                    <a:pt x="1135" y="925"/>
                    <a:pt x="1135" y="925"/>
                    <a:pt x="1135" y="925"/>
                  </a:cubicBezTo>
                  <a:cubicBezTo>
                    <a:pt x="1021" y="925"/>
                    <a:pt x="1021" y="925"/>
                    <a:pt x="1021" y="925"/>
                  </a:cubicBezTo>
                  <a:cubicBezTo>
                    <a:pt x="985" y="816"/>
                    <a:pt x="985" y="816"/>
                    <a:pt x="985" y="816"/>
                  </a:cubicBezTo>
                  <a:cubicBezTo>
                    <a:pt x="950" y="925"/>
                    <a:pt x="950" y="925"/>
                    <a:pt x="950" y="925"/>
                  </a:cubicBezTo>
                  <a:cubicBezTo>
                    <a:pt x="835" y="925"/>
                    <a:pt x="835" y="925"/>
                    <a:pt x="835" y="925"/>
                  </a:cubicBezTo>
                  <a:cubicBezTo>
                    <a:pt x="928" y="992"/>
                    <a:pt x="928" y="992"/>
                    <a:pt x="928" y="992"/>
                  </a:cubicBezTo>
                  <a:cubicBezTo>
                    <a:pt x="892" y="1101"/>
                    <a:pt x="892" y="1101"/>
                    <a:pt x="892" y="1101"/>
                  </a:cubicBezTo>
                  <a:cubicBezTo>
                    <a:pt x="985" y="1034"/>
                    <a:pt x="985" y="1034"/>
                    <a:pt x="985" y="1034"/>
                  </a:cubicBezTo>
                  <a:cubicBezTo>
                    <a:pt x="1078" y="1101"/>
                    <a:pt x="1078" y="1101"/>
                    <a:pt x="1078" y="1101"/>
                  </a:cubicBezTo>
                  <a:lnTo>
                    <a:pt x="1042" y="992"/>
                  </a:lnTo>
                  <a:close/>
                  <a:moveTo>
                    <a:pt x="1445" y="992"/>
                  </a:moveTo>
                  <a:cubicBezTo>
                    <a:pt x="1538" y="925"/>
                    <a:pt x="1538" y="925"/>
                    <a:pt x="1538" y="925"/>
                  </a:cubicBezTo>
                  <a:cubicBezTo>
                    <a:pt x="1423" y="925"/>
                    <a:pt x="1423" y="925"/>
                    <a:pt x="1423" y="925"/>
                  </a:cubicBezTo>
                  <a:cubicBezTo>
                    <a:pt x="1388" y="816"/>
                    <a:pt x="1388" y="816"/>
                    <a:pt x="1388" y="816"/>
                  </a:cubicBezTo>
                  <a:cubicBezTo>
                    <a:pt x="1352" y="925"/>
                    <a:pt x="1352" y="925"/>
                    <a:pt x="1352" y="925"/>
                  </a:cubicBezTo>
                  <a:cubicBezTo>
                    <a:pt x="1238" y="925"/>
                    <a:pt x="1238" y="925"/>
                    <a:pt x="1238" y="925"/>
                  </a:cubicBezTo>
                  <a:cubicBezTo>
                    <a:pt x="1330" y="992"/>
                    <a:pt x="1330" y="992"/>
                    <a:pt x="1330" y="992"/>
                  </a:cubicBezTo>
                  <a:cubicBezTo>
                    <a:pt x="1295" y="1101"/>
                    <a:pt x="1295" y="1101"/>
                    <a:pt x="1295" y="1101"/>
                  </a:cubicBezTo>
                  <a:cubicBezTo>
                    <a:pt x="1388" y="1034"/>
                    <a:pt x="1388" y="1034"/>
                    <a:pt x="1388" y="1034"/>
                  </a:cubicBezTo>
                  <a:cubicBezTo>
                    <a:pt x="1481" y="1101"/>
                    <a:pt x="1481" y="1101"/>
                    <a:pt x="1481" y="1101"/>
                  </a:cubicBezTo>
                  <a:lnTo>
                    <a:pt x="1445" y="992"/>
                  </a:lnTo>
                  <a:close/>
                </a:path>
              </a:pathLst>
            </a:custGeom>
            <a:solidFill>
              <a:schemeClr val="bg1"/>
            </a:solidFill>
            <a:ln>
              <a:noFill/>
            </a:ln>
          </p:spPr>
          <p:txBody>
            <a:bodyPr vert="horz" wrap="square" lIns="91392" tIns="45696" rIns="91392" bIns="45696" numCol="1" anchor="t" anchorCtr="0" compatLnSpc="1">
              <a:prstTxWarp prst="textNoShape">
                <a:avLst/>
              </a:prstTxWarp>
            </a:bodyPr>
            <a:lstStyle/>
            <a:p>
              <a:endParaRPr lang="en-US" sz="1799" dirty="0"/>
            </a:p>
          </p:txBody>
        </p:sp>
        <p:sp>
          <p:nvSpPr>
            <p:cNvPr id="257" name="Freeform 96"/>
            <p:cNvSpPr>
              <a:spLocks noEditPoints="1"/>
            </p:cNvSpPr>
            <p:nvPr/>
          </p:nvSpPr>
          <p:spPr bwMode="auto">
            <a:xfrm>
              <a:off x="818998" y="4314552"/>
              <a:ext cx="1412995" cy="1853224"/>
            </a:xfrm>
            <a:custGeom>
              <a:avLst/>
              <a:gdLst>
                <a:gd name="T0" fmla="*/ 520 w 1965"/>
                <a:gd name="T1" fmla="*/ 529 h 2570"/>
                <a:gd name="T2" fmla="*/ 983 w 1965"/>
                <a:gd name="T3" fmla="*/ 0 h 2570"/>
                <a:gd name="T4" fmla="*/ 1446 w 1965"/>
                <a:gd name="T5" fmla="*/ 529 h 2570"/>
                <a:gd name="T6" fmla="*/ 983 w 1965"/>
                <a:gd name="T7" fmla="*/ 1058 h 2570"/>
                <a:gd name="T8" fmla="*/ 520 w 1965"/>
                <a:gd name="T9" fmla="*/ 529 h 2570"/>
                <a:gd name="T10" fmla="*/ 1965 w 1965"/>
                <a:gd name="T11" fmla="*/ 1684 h 2570"/>
                <a:gd name="T12" fmla="*/ 1648 w 1965"/>
                <a:gd name="T13" fmla="*/ 1302 h 2570"/>
                <a:gd name="T14" fmla="*/ 1648 w 1965"/>
                <a:gd name="T15" fmla="*/ 1302 h 2570"/>
                <a:gd name="T16" fmla="*/ 1310 w 1965"/>
                <a:gd name="T17" fmla="*/ 1278 h 2570"/>
                <a:gd name="T18" fmla="*/ 1310 w 1965"/>
                <a:gd name="T19" fmla="*/ 1278 h 2570"/>
                <a:gd name="T20" fmla="*/ 1310 w 1965"/>
                <a:gd name="T21" fmla="*/ 1278 h 2570"/>
                <a:gd name="T22" fmla="*/ 983 w 1965"/>
                <a:gd name="T23" fmla="*/ 1606 h 2570"/>
                <a:gd name="T24" fmla="*/ 983 w 1965"/>
                <a:gd name="T25" fmla="*/ 1606 h 2570"/>
                <a:gd name="T26" fmla="*/ 655 w 1965"/>
                <a:gd name="T27" fmla="*/ 1278 h 2570"/>
                <a:gd name="T28" fmla="*/ 655 w 1965"/>
                <a:gd name="T29" fmla="*/ 1278 h 2570"/>
                <a:gd name="T30" fmla="*/ 655 w 1965"/>
                <a:gd name="T31" fmla="*/ 1278 h 2570"/>
                <a:gd name="T32" fmla="*/ 317 w 1965"/>
                <a:gd name="T33" fmla="*/ 1302 h 2570"/>
                <a:gd name="T34" fmla="*/ 317 w 1965"/>
                <a:gd name="T35" fmla="*/ 1302 h 2570"/>
                <a:gd name="T36" fmla="*/ 0 w 1965"/>
                <a:gd name="T37" fmla="*/ 1684 h 2570"/>
                <a:gd name="T38" fmla="*/ 0 w 1965"/>
                <a:gd name="T39" fmla="*/ 1684 h 2570"/>
                <a:gd name="T40" fmla="*/ 0 w 1965"/>
                <a:gd name="T41" fmla="*/ 2570 h 2570"/>
                <a:gd name="T42" fmla="*/ 1965 w 1965"/>
                <a:gd name="T43" fmla="*/ 2570 h 2570"/>
                <a:gd name="T44" fmla="*/ 1965 w 1965"/>
                <a:gd name="T45" fmla="*/ 1684 h 2570"/>
                <a:gd name="T46" fmla="*/ 1965 w 1965"/>
                <a:gd name="T47" fmla="*/ 1684 h 2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5" h="2570">
                  <a:moveTo>
                    <a:pt x="520" y="529"/>
                  </a:moveTo>
                  <a:cubicBezTo>
                    <a:pt x="520" y="212"/>
                    <a:pt x="707" y="0"/>
                    <a:pt x="983" y="0"/>
                  </a:cubicBezTo>
                  <a:cubicBezTo>
                    <a:pt x="1258" y="0"/>
                    <a:pt x="1446" y="212"/>
                    <a:pt x="1446" y="529"/>
                  </a:cubicBezTo>
                  <a:cubicBezTo>
                    <a:pt x="1446" y="846"/>
                    <a:pt x="1258" y="1058"/>
                    <a:pt x="983" y="1058"/>
                  </a:cubicBezTo>
                  <a:cubicBezTo>
                    <a:pt x="707" y="1058"/>
                    <a:pt x="520" y="846"/>
                    <a:pt x="520" y="529"/>
                  </a:cubicBezTo>
                  <a:close/>
                  <a:moveTo>
                    <a:pt x="1965" y="1684"/>
                  </a:moveTo>
                  <a:cubicBezTo>
                    <a:pt x="1961" y="1464"/>
                    <a:pt x="1835" y="1316"/>
                    <a:pt x="1648" y="1302"/>
                  </a:cubicBezTo>
                  <a:cubicBezTo>
                    <a:pt x="1648" y="1302"/>
                    <a:pt x="1648" y="1302"/>
                    <a:pt x="1648" y="1302"/>
                  </a:cubicBezTo>
                  <a:cubicBezTo>
                    <a:pt x="1310" y="1278"/>
                    <a:pt x="1310" y="1278"/>
                    <a:pt x="1310" y="1278"/>
                  </a:cubicBezTo>
                  <a:cubicBezTo>
                    <a:pt x="1310" y="1278"/>
                    <a:pt x="1310" y="1278"/>
                    <a:pt x="1310" y="1278"/>
                  </a:cubicBezTo>
                  <a:cubicBezTo>
                    <a:pt x="1310" y="1278"/>
                    <a:pt x="1310" y="1278"/>
                    <a:pt x="1310" y="1278"/>
                  </a:cubicBezTo>
                  <a:cubicBezTo>
                    <a:pt x="983" y="1606"/>
                    <a:pt x="983" y="1606"/>
                    <a:pt x="983" y="1606"/>
                  </a:cubicBezTo>
                  <a:cubicBezTo>
                    <a:pt x="983" y="1606"/>
                    <a:pt x="983" y="1606"/>
                    <a:pt x="983" y="1606"/>
                  </a:cubicBezTo>
                  <a:cubicBezTo>
                    <a:pt x="655" y="1278"/>
                    <a:pt x="655" y="1278"/>
                    <a:pt x="655" y="1278"/>
                  </a:cubicBezTo>
                  <a:cubicBezTo>
                    <a:pt x="655" y="1278"/>
                    <a:pt x="655" y="1278"/>
                    <a:pt x="655" y="1278"/>
                  </a:cubicBezTo>
                  <a:cubicBezTo>
                    <a:pt x="655" y="1278"/>
                    <a:pt x="655" y="1278"/>
                    <a:pt x="655" y="1278"/>
                  </a:cubicBezTo>
                  <a:cubicBezTo>
                    <a:pt x="317" y="1302"/>
                    <a:pt x="317" y="1302"/>
                    <a:pt x="317" y="1302"/>
                  </a:cubicBezTo>
                  <a:cubicBezTo>
                    <a:pt x="317" y="1302"/>
                    <a:pt x="317" y="1302"/>
                    <a:pt x="317" y="1302"/>
                  </a:cubicBezTo>
                  <a:cubicBezTo>
                    <a:pt x="130" y="1316"/>
                    <a:pt x="4" y="1464"/>
                    <a:pt x="0" y="1684"/>
                  </a:cubicBezTo>
                  <a:cubicBezTo>
                    <a:pt x="0" y="1684"/>
                    <a:pt x="0" y="1684"/>
                    <a:pt x="0" y="1684"/>
                  </a:cubicBezTo>
                  <a:cubicBezTo>
                    <a:pt x="0" y="1761"/>
                    <a:pt x="0" y="2183"/>
                    <a:pt x="0" y="2570"/>
                  </a:cubicBezTo>
                  <a:cubicBezTo>
                    <a:pt x="1965" y="2570"/>
                    <a:pt x="1965" y="2570"/>
                    <a:pt x="1965" y="2570"/>
                  </a:cubicBezTo>
                  <a:cubicBezTo>
                    <a:pt x="1965" y="2183"/>
                    <a:pt x="1965" y="1761"/>
                    <a:pt x="1965" y="1684"/>
                  </a:cubicBezTo>
                  <a:cubicBezTo>
                    <a:pt x="1965" y="1684"/>
                    <a:pt x="1965" y="1684"/>
                    <a:pt x="1965" y="1684"/>
                  </a:cubicBezTo>
                  <a:close/>
                </a:path>
              </a:pathLst>
            </a:custGeom>
            <a:solidFill>
              <a:srgbClr val="00646E"/>
            </a:solidFill>
            <a:ln>
              <a:noFill/>
            </a:ln>
          </p:spPr>
          <p:txBody>
            <a:bodyPr vert="horz" wrap="square" lIns="91392" tIns="45696" rIns="91392" bIns="45696" numCol="1" anchor="t" anchorCtr="0" compatLnSpc="1">
              <a:prstTxWarp prst="textNoShape">
                <a:avLst/>
              </a:prstTxWarp>
            </a:bodyPr>
            <a:lstStyle/>
            <a:p>
              <a:endParaRPr lang="en-US" sz="1799" dirty="0"/>
            </a:p>
          </p:txBody>
        </p:sp>
      </p:grpSp>
      <p:grpSp>
        <p:nvGrpSpPr>
          <p:cNvPr id="7" name="Gruppieren 6">
            <a:extLst>
              <a:ext uri="{FF2B5EF4-FFF2-40B4-BE49-F238E27FC236}">
                <a16:creationId xmlns:a16="http://schemas.microsoft.com/office/drawing/2014/main" id="{A1838628-88EE-49F9-8057-5EEC0F12C143}"/>
              </a:ext>
            </a:extLst>
          </p:cNvPr>
          <p:cNvGrpSpPr/>
          <p:nvPr/>
        </p:nvGrpSpPr>
        <p:grpSpPr>
          <a:xfrm>
            <a:off x="4010025" y="1415850"/>
            <a:ext cx="1188000" cy="2301945"/>
            <a:chOff x="4162426" y="1414801"/>
            <a:chExt cx="1188619" cy="2303144"/>
          </a:xfrm>
        </p:grpSpPr>
        <p:sp>
          <p:nvSpPr>
            <p:cNvPr id="4" name="Textfeld 8"/>
            <p:cNvSpPr txBox="1">
              <a:spLocks/>
            </p:cNvSpPr>
            <p:nvPr/>
          </p:nvSpPr>
          <p:spPr bwMode="gray">
            <a:xfrm>
              <a:off x="4162426" y="2853945"/>
              <a:ext cx="1188619" cy="86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71963" rIns="0" bIns="0" rtlCol="0" anchor="t">
              <a:noAutofit/>
            </a:bodyPr>
            <a:lstStyle/>
            <a:p>
              <a:pPr>
                <a:spcBef>
                  <a:spcPct val="0"/>
                </a:spcBef>
                <a:buClr>
                  <a:srgbClr val="879BAA"/>
                </a:buClr>
              </a:pPr>
              <a:r>
                <a:rPr lang="en-US" sz="1199" b="1" kern="1400" dirty="0">
                  <a:solidFill>
                    <a:schemeClr val="tx2"/>
                  </a:solidFill>
                  <a:ea typeface="ＭＳ Ｐゴシック" pitchFamily="34" charset="-128"/>
                  <a:cs typeface="Arial" charset="0"/>
                </a:rPr>
                <a:t>Marianne Mastermind</a:t>
              </a:r>
            </a:p>
            <a:p>
              <a:pPr>
                <a:spcBef>
                  <a:spcPts val="300"/>
                </a:spcBef>
                <a:buClr>
                  <a:srgbClr val="879BAA"/>
                </a:buClr>
              </a:pPr>
              <a:r>
                <a:rPr lang="en-US" sz="1199" dirty="0">
                  <a:solidFill>
                    <a:srgbClr val="66667E"/>
                  </a:solidFill>
                  <a:cs typeface="Arial" charset="0"/>
                </a:rPr>
                <a:t>At vero eos et accusam</a:t>
              </a:r>
            </a:p>
          </p:txBody>
        </p:sp>
        <p:sp>
          <p:nvSpPr>
            <p:cNvPr id="41" name="Rechteck 40"/>
            <p:cNvSpPr>
              <a:spLocks/>
            </p:cNvSpPr>
            <p:nvPr/>
          </p:nvSpPr>
          <p:spPr bwMode="auto">
            <a:xfrm>
              <a:off x="4162426" y="1414801"/>
              <a:ext cx="1188619" cy="1440750"/>
            </a:xfrm>
            <a:prstGeom prst="rect">
              <a:avLst/>
            </a:prstGeom>
            <a:solidFill>
              <a:srgbClr val="E5E5E9"/>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58" name="Freeform 96"/>
            <p:cNvSpPr>
              <a:spLocks noEditPoints="1"/>
            </p:cNvSpPr>
            <p:nvPr/>
          </p:nvSpPr>
          <p:spPr bwMode="auto">
            <a:xfrm>
              <a:off x="4266474" y="1568784"/>
              <a:ext cx="980524" cy="1286013"/>
            </a:xfrm>
            <a:custGeom>
              <a:avLst/>
              <a:gdLst>
                <a:gd name="T0" fmla="*/ 520 w 1965"/>
                <a:gd name="T1" fmla="*/ 529 h 2570"/>
                <a:gd name="T2" fmla="*/ 983 w 1965"/>
                <a:gd name="T3" fmla="*/ 0 h 2570"/>
                <a:gd name="T4" fmla="*/ 1446 w 1965"/>
                <a:gd name="T5" fmla="*/ 529 h 2570"/>
                <a:gd name="T6" fmla="*/ 983 w 1965"/>
                <a:gd name="T7" fmla="*/ 1058 h 2570"/>
                <a:gd name="T8" fmla="*/ 520 w 1965"/>
                <a:gd name="T9" fmla="*/ 529 h 2570"/>
                <a:gd name="T10" fmla="*/ 1965 w 1965"/>
                <a:gd name="T11" fmla="*/ 1684 h 2570"/>
                <a:gd name="T12" fmla="*/ 1648 w 1965"/>
                <a:gd name="T13" fmla="*/ 1302 h 2570"/>
                <a:gd name="T14" fmla="*/ 1648 w 1965"/>
                <a:gd name="T15" fmla="*/ 1302 h 2570"/>
                <a:gd name="T16" fmla="*/ 1310 w 1965"/>
                <a:gd name="T17" fmla="*/ 1278 h 2570"/>
                <a:gd name="T18" fmla="*/ 1310 w 1965"/>
                <a:gd name="T19" fmla="*/ 1278 h 2570"/>
                <a:gd name="T20" fmla="*/ 1310 w 1965"/>
                <a:gd name="T21" fmla="*/ 1278 h 2570"/>
                <a:gd name="T22" fmla="*/ 983 w 1965"/>
                <a:gd name="T23" fmla="*/ 1606 h 2570"/>
                <a:gd name="T24" fmla="*/ 983 w 1965"/>
                <a:gd name="T25" fmla="*/ 1606 h 2570"/>
                <a:gd name="T26" fmla="*/ 655 w 1965"/>
                <a:gd name="T27" fmla="*/ 1278 h 2570"/>
                <a:gd name="T28" fmla="*/ 655 w 1965"/>
                <a:gd name="T29" fmla="*/ 1278 h 2570"/>
                <a:gd name="T30" fmla="*/ 655 w 1965"/>
                <a:gd name="T31" fmla="*/ 1278 h 2570"/>
                <a:gd name="T32" fmla="*/ 317 w 1965"/>
                <a:gd name="T33" fmla="*/ 1302 h 2570"/>
                <a:gd name="T34" fmla="*/ 317 w 1965"/>
                <a:gd name="T35" fmla="*/ 1302 h 2570"/>
                <a:gd name="T36" fmla="*/ 0 w 1965"/>
                <a:gd name="T37" fmla="*/ 1684 h 2570"/>
                <a:gd name="T38" fmla="*/ 0 w 1965"/>
                <a:gd name="T39" fmla="*/ 1684 h 2570"/>
                <a:gd name="T40" fmla="*/ 0 w 1965"/>
                <a:gd name="T41" fmla="*/ 2570 h 2570"/>
                <a:gd name="T42" fmla="*/ 1965 w 1965"/>
                <a:gd name="T43" fmla="*/ 2570 h 2570"/>
                <a:gd name="T44" fmla="*/ 1965 w 1965"/>
                <a:gd name="T45" fmla="*/ 1684 h 2570"/>
                <a:gd name="T46" fmla="*/ 1965 w 1965"/>
                <a:gd name="T47" fmla="*/ 1684 h 2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5" h="2570">
                  <a:moveTo>
                    <a:pt x="520" y="529"/>
                  </a:moveTo>
                  <a:cubicBezTo>
                    <a:pt x="520" y="212"/>
                    <a:pt x="707" y="0"/>
                    <a:pt x="983" y="0"/>
                  </a:cubicBezTo>
                  <a:cubicBezTo>
                    <a:pt x="1258" y="0"/>
                    <a:pt x="1446" y="212"/>
                    <a:pt x="1446" y="529"/>
                  </a:cubicBezTo>
                  <a:cubicBezTo>
                    <a:pt x="1446" y="846"/>
                    <a:pt x="1258" y="1058"/>
                    <a:pt x="983" y="1058"/>
                  </a:cubicBezTo>
                  <a:cubicBezTo>
                    <a:pt x="707" y="1058"/>
                    <a:pt x="520" y="846"/>
                    <a:pt x="520" y="529"/>
                  </a:cubicBezTo>
                  <a:close/>
                  <a:moveTo>
                    <a:pt x="1965" y="1684"/>
                  </a:moveTo>
                  <a:cubicBezTo>
                    <a:pt x="1961" y="1464"/>
                    <a:pt x="1835" y="1316"/>
                    <a:pt x="1648" y="1302"/>
                  </a:cubicBezTo>
                  <a:cubicBezTo>
                    <a:pt x="1648" y="1302"/>
                    <a:pt x="1648" y="1302"/>
                    <a:pt x="1648" y="1302"/>
                  </a:cubicBezTo>
                  <a:cubicBezTo>
                    <a:pt x="1310" y="1278"/>
                    <a:pt x="1310" y="1278"/>
                    <a:pt x="1310" y="1278"/>
                  </a:cubicBezTo>
                  <a:cubicBezTo>
                    <a:pt x="1310" y="1278"/>
                    <a:pt x="1310" y="1278"/>
                    <a:pt x="1310" y="1278"/>
                  </a:cubicBezTo>
                  <a:cubicBezTo>
                    <a:pt x="1310" y="1278"/>
                    <a:pt x="1310" y="1278"/>
                    <a:pt x="1310" y="1278"/>
                  </a:cubicBezTo>
                  <a:cubicBezTo>
                    <a:pt x="983" y="1606"/>
                    <a:pt x="983" y="1606"/>
                    <a:pt x="983" y="1606"/>
                  </a:cubicBezTo>
                  <a:cubicBezTo>
                    <a:pt x="983" y="1606"/>
                    <a:pt x="983" y="1606"/>
                    <a:pt x="983" y="1606"/>
                  </a:cubicBezTo>
                  <a:cubicBezTo>
                    <a:pt x="655" y="1278"/>
                    <a:pt x="655" y="1278"/>
                    <a:pt x="655" y="1278"/>
                  </a:cubicBezTo>
                  <a:cubicBezTo>
                    <a:pt x="655" y="1278"/>
                    <a:pt x="655" y="1278"/>
                    <a:pt x="655" y="1278"/>
                  </a:cubicBezTo>
                  <a:cubicBezTo>
                    <a:pt x="655" y="1278"/>
                    <a:pt x="655" y="1278"/>
                    <a:pt x="655" y="1278"/>
                  </a:cubicBezTo>
                  <a:cubicBezTo>
                    <a:pt x="317" y="1302"/>
                    <a:pt x="317" y="1302"/>
                    <a:pt x="317" y="1302"/>
                  </a:cubicBezTo>
                  <a:cubicBezTo>
                    <a:pt x="317" y="1302"/>
                    <a:pt x="317" y="1302"/>
                    <a:pt x="317" y="1302"/>
                  </a:cubicBezTo>
                  <a:cubicBezTo>
                    <a:pt x="130" y="1316"/>
                    <a:pt x="4" y="1464"/>
                    <a:pt x="0" y="1684"/>
                  </a:cubicBezTo>
                  <a:cubicBezTo>
                    <a:pt x="0" y="1684"/>
                    <a:pt x="0" y="1684"/>
                    <a:pt x="0" y="1684"/>
                  </a:cubicBezTo>
                  <a:cubicBezTo>
                    <a:pt x="0" y="1761"/>
                    <a:pt x="0" y="2183"/>
                    <a:pt x="0" y="2570"/>
                  </a:cubicBezTo>
                  <a:cubicBezTo>
                    <a:pt x="1965" y="2570"/>
                    <a:pt x="1965" y="2570"/>
                    <a:pt x="1965" y="2570"/>
                  </a:cubicBezTo>
                  <a:cubicBezTo>
                    <a:pt x="1965" y="2183"/>
                    <a:pt x="1965" y="1761"/>
                    <a:pt x="1965" y="1684"/>
                  </a:cubicBezTo>
                  <a:cubicBezTo>
                    <a:pt x="1965" y="1684"/>
                    <a:pt x="1965" y="1684"/>
                    <a:pt x="1965" y="1684"/>
                  </a:cubicBezTo>
                  <a:close/>
                </a:path>
              </a:pathLst>
            </a:custGeom>
            <a:solidFill>
              <a:srgbClr val="66667E"/>
            </a:solidFill>
            <a:ln>
              <a:noFill/>
            </a:ln>
          </p:spPr>
          <p:txBody>
            <a:bodyPr vert="horz" wrap="square" lIns="91392" tIns="45696" rIns="91392" bIns="45696" numCol="1" anchor="t" anchorCtr="0" compatLnSpc="1">
              <a:prstTxWarp prst="textNoShape">
                <a:avLst/>
              </a:prstTxWarp>
            </a:bodyPr>
            <a:lstStyle/>
            <a:p>
              <a:endParaRPr lang="en-US" sz="1799" dirty="0"/>
            </a:p>
          </p:txBody>
        </p:sp>
      </p:grpSp>
      <p:grpSp>
        <p:nvGrpSpPr>
          <p:cNvPr id="65" name="Gruppieren 6">
            <a:extLst>
              <a:ext uri="{FF2B5EF4-FFF2-40B4-BE49-F238E27FC236}">
                <a16:creationId xmlns:a16="http://schemas.microsoft.com/office/drawing/2014/main" id="{CF5CD66C-4041-444A-8F1E-48204FEEEB28}"/>
              </a:ext>
            </a:extLst>
          </p:cNvPr>
          <p:cNvGrpSpPr/>
          <p:nvPr/>
        </p:nvGrpSpPr>
        <p:grpSpPr>
          <a:xfrm>
            <a:off x="5327858" y="1415850"/>
            <a:ext cx="1188000" cy="2301945"/>
            <a:chOff x="4162426" y="1414801"/>
            <a:chExt cx="1188619" cy="2303144"/>
          </a:xfrm>
        </p:grpSpPr>
        <p:sp>
          <p:nvSpPr>
            <p:cNvPr id="66" name="Textfeld 8">
              <a:extLst>
                <a:ext uri="{FF2B5EF4-FFF2-40B4-BE49-F238E27FC236}">
                  <a16:creationId xmlns:a16="http://schemas.microsoft.com/office/drawing/2014/main" id="{FA8EF7AA-7BB0-43A3-A72C-1E378FFF3C7C}"/>
                </a:ext>
              </a:extLst>
            </p:cNvPr>
            <p:cNvSpPr txBox="1">
              <a:spLocks/>
            </p:cNvSpPr>
            <p:nvPr/>
          </p:nvSpPr>
          <p:spPr bwMode="gray">
            <a:xfrm>
              <a:off x="4162426" y="2853945"/>
              <a:ext cx="1188619" cy="86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71963" rIns="0" bIns="0" rtlCol="0" anchor="t">
              <a:noAutofit/>
            </a:bodyPr>
            <a:lstStyle/>
            <a:p>
              <a:pPr>
                <a:spcBef>
                  <a:spcPct val="0"/>
                </a:spcBef>
                <a:buClr>
                  <a:srgbClr val="879BAA"/>
                </a:buClr>
              </a:pPr>
              <a:r>
                <a:rPr lang="en-US" sz="1199" b="1" kern="1400" dirty="0">
                  <a:solidFill>
                    <a:schemeClr val="tx2"/>
                  </a:solidFill>
                  <a:ea typeface="ＭＳ Ｐゴシック" pitchFamily="34" charset="-128"/>
                  <a:cs typeface="Arial" charset="0"/>
                </a:rPr>
                <a:t>Gregor Goodjobs</a:t>
              </a:r>
            </a:p>
            <a:p>
              <a:pPr>
                <a:spcBef>
                  <a:spcPts val="300"/>
                </a:spcBef>
                <a:buClr>
                  <a:srgbClr val="879BAA"/>
                </a:buClr>
              </a:pPr>
              <a:r>
                <a:rPr lang="en-US" sz="1199" dirty="0">
                  <a:solidFill>
                    <a:srgbClr val="66667E"/>
                  </a:solidFill>
                  <a:cs typeface="Arial" charset="0"/>
                </a:rPr>
                <a:t>At vero eos et accusam</a:t>
              </a:r>
            </a:p>
          </p:txBody>
        </p:sp>
        <p:sp>
          <p:nvSpPr>
            <p:cNvPr id="67" name="Rechteck 40">
              <a:extLst>
                <a:ext uri="{FF2B5EF4-FFF2-40B4-BE49-F238E27FC236}">
                  <a16:creationId xmlns:a16="http://schemas.microsoft.com/office/drawing/2014/main" id="{05F6945E-36C1-4B11-B26B-CBEC01B61337}"/>
                </a:ext>
              </a:extLst>
            </p:cNvPr>
            <p:cNvSpPr>
              <a:spLocks/>
            </p:cNvSpPr>
            <p:nvPr/>
          </p:nvSpPr>
          <p:spPr bwMode="auto">
            <a:xfrm>
              <a:off x="4162426" y="1414801"/>
              <a:ext cx="1188619" cy="1440750"/>
            </a:xfrm>
            <a:prstGeom prst="rect">
              <a:avLst/>
            </a:prstGeom>
            <a:solidFill>
              <a:srgbClr val="E5E5E9"/>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68" name="Freeform 96">
              <a:extLst>
                <a:ext uri="{FF2B5EF4-FFF2-40B4-BE49-F238E27FC236}">
                  <a16:creationId xmlns:a16="http://schemas.microsoft.com/office/drawing/2014/main" id="{C942EAE0-6708-4863-BB2F-8CD8D6F830E9}"/>
                </a:ext>
              </a:extLst>
            </p:cNvPr>
            <p:cNvSpPr>
              <a:spLocks noEditPoints="1"/>
            </p:cNvSpPr>
            <p:nvPr/>
          </p:nvSpPr>
          <p:spPr bwMode="auto">
            <a:xfrm>
              <a:off x="4266474" y="1568784"/>
              <a:ext cx="980524" cy="1286013"/>
            </a:xfrm>
            <a:custGeom>
              <a:avLst/>
              <a:gdLst>
                <a:gd name="T0" fmla="*/ 520 w 1965"/>
                <a:gd name="T1" fmla="*/ 529 h 2570"/>
                <a:gd name="T2" fmla="*/ 983 w 1965"/>
                <a:gd name="T3" fmla="*/ 0 h 2570"/>
                <a:gd name="T4" fmla="*/ 1446 w 1965"/>
                <a:gd name="T5" fmla="*/ 529 h 2570"/>
                <a:gd name="T6" fmla="*/ 983 w 1965"/>
                <a:gd name="T7" fmla="*/ 1058 h 2570"/>
                <a:gd name="T8" fmla="*/ 520 w 1965"/>
                <a:gd name="T9" fmla="*/ 529 h 2570"/>
                <a:gd name="T10" fmla="*/ 1965 w 1965"/>
                <a:gd name="T11" fmla="*/ 1684 h 2570"/>
                <a:gd name="T12" fmla="*/ 1648 w 1965"/>
                <a:gd name="T13" fmla="*/ 1302 h 2570"/>
                <a:gd name="T14" fmla="*/ 1648 w 1965"/>
                <a:gd name="T15" fmla="*/ 1302 h 2570"/>
                <a:gd name="T16" fmla="*/ 1310 w 1965"/>
                <a:gd name="T17" fmla="*/ 1278 h 2570"/>
                <a:gd name="T18" fmla="*/ 1310 w 1965"/>
                <a:gd name="T19" fmla="*/ 1278 h 2570"/>
                <a:gd name="T20" fmla="*/ 1310 w 1965"/>
                <a:gd name="T21" fmla="*/ 1278 h 2570"/>
                <a:gd name="T22" fmla="*/ 983 w 1965"/>
                <a:gd name="T23" fmla="*/ 1606 h 2570"/>
                <a:gd name="T24" fmla="*/ 983 w 1965"/>
                <a:gd name="T25" fmla="*/ 1606 h 2570"/>
                <a:gd name="T26" fmla="*/ 655 w 1965"/>
                <a:gd name="T27" fmla="*/ 1278 h 2570"/>
                <a:gd name="T28" fmla="*/ 655 w 1965"/>
                <a:gd name="T29" fmla="*/ 1278 h 2570"/>
                <a:gd name="T30" fmla="*/ 655 w 1965"/>
                <a:gd name="T31" fmla="*/ 1278 h 2570"/>
                <a:gd name="T32" fmla="*/ 317 w 1965"/>
                <a:gd name="T33" fmla="*/ 1302 h 2570"/>
                <a:gd name="T34" fmla="*/ 317 w 1965"/>
                <a:gd name="T35" fmla="*/ 1302 h 2570"/>
                <a:gd name="T36" fmla="*/ 0 w 1965"/>
                <a:gd name="T37" fmla="*/ 1684 h 2570"/>
                <a:gd name="T38" fmla="*/ 0 w 1965"/>
                <a:gd name="T39" fmla="*/ 1684 h 2570"/>
                <a:gd name="T40" fmla="*/ 0 w 1965"/>
                <a:gd name="T41" fmla="*/ 2570 h 2570"/>
                <a:gd name="T42" fmla="*/ 1965 w 1965"/>
                <a:gd name="T43" fmla="*/ 2570 h 2570"/>
                <a:gd name="T44" fmla="*/ 1965 w 1965"/>
                <a:gd name="T45" fmla="*/ 1684 h 2570"/>
                <a:gd name="T46" fmla="*/ 1965 w 1965"/>
                <a:gd name="T47" fmla="*/ 1684 h 2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5" h="2570">
                  <a:moveTo>
                    <a:pt x="520" y="529"/>
                  </a:moveTo>
                  <a:cubicBezTo>
                    <a:pt x="520" y="212"/>
                    <a:pt x="707" y="0"/>
                    <a:pt x="983" y="0"/>
                  </a:cubicBezTo>
                  <a:cubicBezTo>
                    <a:pt x="1258" y="0"/>
                    <a:pt x="1446" y="212"/>
                    <a:pt x="1446" y="529"/>
                  </a:cubicBezTo>
                  <a:cubicBezTo>
                    <a:pt x="1446" y="846"/>
                    <a:pt x="1258" y="1058"/>
                    <a:pt x="983" y="1058"/>
                  </a:cubicBezTo>
                  <a:cubicBezTo>
                    <a:pt x="707" y="1058"/>
                    <a:pt x="520" y="846"/>
                    <a:pt x="520" y="529"/>
                  </a:cubicBezTo>
                  <a:close/>
                  <a:moveTo>
                    <a:pt x="1965" y="1684"/>
                  </a:moveTo>
                  <a:cubicBezTo>
                    <a:pt x="1961" y="1464"/>
                    <a:pt x="1835" y="1316"/>
                    <a:pt x="1648" y="1302"/>
                  </a:cubicBezTo>
                  <a:cubicBezTo>
                    <a:pt x="1648" y="1302"/>
                    <a:pt x="1648" y="1302"/>
                    <a:pt x="1648" y="1302"/>
                  </a:cubicBezTo>
                  <a:cubicBezTo>
                    <a:pt x="1310" y="1278"/>
                    <a:pt x="1310" y="1278"/>
                    <a:pt x="1310" y="1278"/>
                  </a:cubicBezTo>
                  <a:cubicBezTo>
                    <a:pt x="1310" y="1278"/>
                    <a:pt x="1310" y="1278"/>
                    <a:pt x="1310" y="1278"/>
                  </a:cubicBezTo>
                  <a:cubicBezTo>
                    <a:pt x="1310" y="1278"/>
                    <a:pt x="1310" y="1278"/>
                    <a:pt x="1310" y="1278"/>
                  </a:cubicBezTo>
                  <a:cubicBezTo>
                    <a:pt x="983" y="1606"/>
                    <a:pt x="983" y="1606"/>
                    <a:pt x="983" y="1606"/>
                  </a:cubicBezTo>
                  <a:cubicBezTo>
                    <a:pt x="983" y="1606"/>
                    <a:pt x="983" y="1606"/>
                    <a:pt x="983" y="1606"/>
                  </a:cubicBezTo>
                  <a:cubicBezTo>
                    <a:pt x="655" y="1278"/>
                    <a:pt x="655" y="1278"/>
                    <a:pt x="655" y="1278"/>
                  </a:cubicBezTo>
                  <a:cubicBezTo>
                    <a:pt x="655" y="1278"/>
                    <a:pt x="655" y="1278"/>
                    <a:pt x="655" y="1278"/>
                  </a:cubicBezTo>
                  <a:cubicBezTo>
                    <a:pt x="655" y="1278"/>
                    <a:pt x="655" y="1278"/>
                    <a:pt x="655" y="1278"/>
                  </a:cubicBezTo>
                  <a:cubicBezTo>
                    <a:pt x="317" y="1302"/>
                    <a:pt x="317" y="1302"/>
                    <a:pt x="317" y="1302"/>
                  </a:cubicBezTo>
                  <a:cubicBezTo>
                    <a:pt x="317" y="1302"/>
                    <a:pt x="317" y="1302"/>
                    <a:pt x="317" y="1302"/>
                  </a:cubicBezTo>
                  <a:cubicBezTo>
                    <a:pt x="130" y="1316"/>
                    <a:pt x="4" y="1464"/>
                    <a:pt x="0" y="1684"/>
                  </a:cubicBezTo>
                  <a:cubicBezTo>
                    <a:pt x="0" y="1684"/>
                    <a:pt x="0" y="1684"/>
                    <a:pt x="0" y="1684"/>
                  </a:cubicBezTo>
                  <a:cubicBezTo>
                    <a:pt x="0" y="1761"/>
                    <a:pt x="0" y="2183"/>
                    <a:pt x="0" y="2570"/>
                  </a:cubicBezTo>
                  <a:cubicBezTo>
                    <a:pt x="1965" y="2570"/>
                    <a:pt x="1965" y="2570"/>
                    <a:pt x="1965" y="2570"/>
                  </a:cubicBezTo>
                  <a:cubicBezTo>
                    <a:pt x="1965" y="2183"/>
                    <a:pt x="1965" y="1761"/>
                    <a:pt x="1965" y="1684"/>
                  </a:cubicBezTo>
                  <a:cubicBezTo>
                    <a:pt x="1965" y="1684"/>
                    <a:pt x="1965" y="1684"/>
                    <a:pt x="1965" y="1684"/>
                  </a:cubicBezTo>
                  <a:close/>
                </a:path>
              </a:pathLst>
            </a:custGeom>
            <a:solidFill>
              <a:srgbClr val="66667E"/>
            </a:solidFill>
            <a:ln>
              <a:noFill/>
            </a:ln>
          </p:spPr>
          <p:txBody>
            <a:bodyPr vert="horz" wrap="square" lIns="91392" tIns="45696" rIns="91392" bIns="45696" numCol="1" anchor="t" anchorCtr="0" compatLnSpc="1">
              <a:prstTxWarp prst="textNoShape">
                <a:avLst/>
              </a:prstTxWarp>
            </a:bodyPr>
            <a:lstStyle/>
            <a:p>
              <a:endParaRPr lang="en-US" sz="1799" dirty="0"/>
            </a:p>
          </p:txBody>
        </p:sp>
      </p:grpSp>
      <p:grpSp>
        <p:nvGrpSpPr>
          <p:cNvPr id="69" name="Gruppieren 6">
            <a:extLst>
              <a:ext uri="{FF2B5EF4-FFF2-40B4-BE49-F238E27FC236}">
                <a16:creationId xmlns:a16="http://schemas.microsoft.com/office/drawing/2014/main" id="{C3538B13-4171-4C81-9F33-DE637124FDEB}"/>
              </a:ext>
            </a:extLst>
          </p:cNvPr>
          <p:cNvGrpSpPr/>
          <p:nvPr/>
        </p:nvGrpSpPr>
        <p:grpSpPr>
          <a:xfrm>
            <a:off x="6645691" y="1415850"/>
            <a:ext cx="1188000" cy="2301945"/>
            <a:chOff x="4162426" y="1414801"/>
            <a:chExt cx="1188619" cy="2303144"/>
          </a:xfrm>
        </p:grpSpPr>
        <p:sp>
          <p:nvSpPr>
            <p:cNvPr id="70" name="Textfeld 8">
              <a:extLst>
                <a:ext uri="{FF2B5EF4-FFF2-40B4-BE49-F238E27FC236}">
                  <a16:creationId xmlns:a16="http://schemas.microsoft.com/office/drawing/2014/main" id="{E09981F3-18FC-41F5-820D-E644DA2A4DE9}"/>
                </a:ext>
              </a:extLst>
            </p:cNvPr>
            <p:cNvSpPr txBox="1">
              <a:spLocks/>
            </p:cNvSpPr>
            <p:nvPr/>
          </p:nvSpPr>
          <p:spPr bwMode="gray">
            <a:xfrm>
              <a:off x="4162426" y="2853945"/>
              <a:ext cx="1188619" cy="86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71963" rIns="0" bIns="0" rtlCol="0" anchor="t">
              <a:noAutofit/>
            </a:bodyPr>
            <a:lstStyle/>
            <a:p>
              <a:pPr>
                <a:spcBef>
                  <a:spcPct val="0"/>
                </a:spcBef>
                <a:buClr>
                  <a:srgbClr val="879BAA"/>
                </a:buClr>
              </a:pPr>
              <a:r>
                <a:rPr lang="en-US" sz="1199" b="1" kern="1400" dirty="0">
                  <a:solidFill>
                    <a:schemeClr val="tx2"/>
                  </a:solidFill>
                  <a:ea typeface="ＭＳ Ｐゴシック" pitchFamily="34" charset="-128"/>
                  <a:cs typeface="Arial" charset="0"/>
                </a:rPr>
                <a:t>Sam Sample</a:t>
              </a:r>
            </a:p>
            <a:p>
              <a:pPr>
                <a:spcBef>
                  <a:spcPts val="300"/>
                </a:spcBef>
                <a:buClr>
                  <a:srgbClr val="879BAA"/>
                </a:buClr>
              </a:pPr>
              <a:r>
                <a:rPr lang="en-US" sz="1199" dirty="0">
                  <a:solidFill>
                    <a:srgbClr val="66667E"/>
                  </a:solidFill>
                  <a:cs typeface="Arial" charset="0"/>
                </a:rPr>
                <a:t>At vero eos et accusam</a:t>
              </a:r>
            </a:p>
          </p:txBody>
        </p:sp>
        <p:sp>
          <p:nvSpPr>
            <p:cNvPr id="71" name="Rechteck 40">
              <a:extLst>
                <a:ext uri="{FF2B5EF4-FFF2-40B4-BE49-F238E27FC236}">
                  <a16:creationId xmlns:a16="http://schemas.microsoft.com/office/drawing/2014/main" id="{678B366E-BC3A-4E9E-A524-643CF12E7BC9}"/>
                </a:ext>
              </a:extLst>
            </p:cNvPr>
            <p:cNvSpPr>
              <a:spLocks/>
            </p:cNvSpPr>
            <p:nvPr/>
          </p:nvSpPr>
          <p:spPr bwMode="auto">
            <a:xfrm>
              <a:off x="4162426" y="1414801"/>
              <a:ext cx="1188619" cy="1440750"/>
            </a:xfrm>
            <a:prstGeom prst="rect">
              <a:avLst/>
            </a:prstGeom>
            <a:solidFill>
              <a:srgbClr val="E5E5E9"/>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72" name="Freeform 96">
              <a:extLst>
                <a:ext uri="{FF2B5EF4-FFF2-40B4-BE49-F238E27FC236}">
                  <a16:creationId xmlns:a16="http://schemas.microsoft.com/office/drawing/2014/main" id="{80E3DD75-C159-4D4B-8453-EADA368EF95C}"/>
                </a:ext>
              </a:extLst>
            </p:cNvPr>
            <p:cNvSpPr>
              <a:spLocks noEditPoints="1"/>
            </p:cNvSpPr>
            <p:nvPr/>
          </p:nvSpPr>
          <p:spPr bwMode="auto">
            <a:xfrm>
              <a:off x="4266474" y="1568784"/>
              <a:ext cx="980524" cy="1286013"/>
            </a:xfrm>
            <a:custGeom>
              <a:avLst/>
              <a:gdLst>
                <a:gd name="T0" fmla="*/ 520 w 1965"/>
                <a:gd name="T1" fmla="*/ 529 h 2570"/>
                <a:gd name="T2" fmla="*/ 983 w 1965"/>
                <a:gd name="T3" fmla="*/ 0 h 2570"/>
                <a:gd name="T4" fmla="*/ 1446 w 1965"/>
                <a:gd name="T5" fmla="*/ 529 h 2570"/>
                <a:gd name="T6" fmla="*/ 983 w 1965"/>
                <a:gd name="T7" fmla="*/ 1058 h 2570"/>
                <a:gd name="T8" fmla="*/ 520 w 1965"/>
                <a:gd name="T9" fmla="*/ 529 h 2570"/>
                <a:gd name="T10" fmla="*/ 1965 w 1965"/>
                <a:gd name="T11" fmla="*/ 1684 h 2570"/>
                <a:gd name="T12" fmla="*/ 1648 w 1965"/>
                <a:gd name="T13" fmla="*/ 1302 h 2570"/>
                <a:gd name="T14" fmla="*/ 1648 w 1965"/>
                <a:gd name="T15" fmla="*/ 1302 h 2570"/>
                <a:gd name="T16" fmla="*/ 1310 w 1965"/>
                <a:gd name="T17" fmla="*/ 1278 h 2570"/>
                <a:gd name="T18" fmla="*/ 1310 w 1965"/>
                <a:gd name="T19" fmla="*/ 1278 h 2570"/>
                <a:gd name="T20" fmla="*/ 1310 w 1965"/>
                <a:gd name="T21" fmla="*/ 1278 h 2570"/>
                <a:gd name="T22" fmla="*/ 983 w 1965"/>
                <a:gd name="T23" fmla="*/ 1606 h 2570"/>
                <a:gd name="T24" fmla="*/ 983 w 1965"/>
                <a:gd name="T25" fmla="*/ 1606 h 2570"/>
                <a:gd name="T26" fmla="*/ 655 w 1965"/>
                <a:gd name="T27" fmla="*/ 1278 h 2570"/>
                <a:gd name="T28" fmla="*/ 655 w 1965"/>
                <a:gd name="T29" fmla="*/ 1278 h 2570"/>
                <a:gd name="T30" fmla="*/ 655 w 1965"/>
                <a:gd name="T31" fmla="*/ 1278 h 2570"/>
                <a:gd name="T32" fmla="*/ 317 w 1965"/>
                <a:gd name="T33" fmla="*/ 1302 h 2570"/>
                <a:gd name="T34" fmla="*/ 317 w 1965"/>
                <a:gd name="T35" fmla="*/ 1302 h 2570"/>
                <a:gd name="T36" fmla="*/ 0 w 1965"/>
                <a:gd name="T37" fmla="*/ 1684 h 2570"/>
                <a:gd name="T38" fmla="*/ 0 w 1965"/>
                <a:gd name="T39" fmla="*/ 1684 h 2570"/>
                <a:gd name="T40" fmla="*/ 0 w 1965"/>
                <a:gd name="T41" fmla="*/ 2570 h 2570"/>
                <a:gd name="T42" fmla="*/ 1965 w 1965"/>
                <a:gd name="T43" fmla="*/ 2570 h 2570"/>
                <a:gd name="T44" fmla="*/ 1965 w 1965"/>
                <a:gd name="T45" fmla="*/ 1684 h 2570"/>
                <a:gd name="T46" fmla="*/ 1965 w 1965"/>
                <a:gd name="T47" fmla="*/ 1684 h 2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5" h="2570">
                  <a:moveTo>
                    <a:pt x="520" y="529"/>
                  </a:moveTo>
                  <a:cubicBezTo>
                    <a:pt x="520" y="212"/>
                    <a:pt x="707" y="0"/>
                    <a:pt x="983" y="0"/>
                  </a:cubicBezTo>
                  <a:cubicBezTo>
                    <a:pt x="1258" y="0"/>
                    <a:pt x="1446" y="212"/>
                    <a:pt x="1446" y="529"/>
                  </a:cubicBezTo>
                  <a:cubicBezTo>
                    <a:pt x="1446" y="846"/>
                    <a:pt x="1258" y="1058"/>
                    <a:pt x="983" y="1058"/>
                  </a:cubicBezTo>
                  <a:cubicBezTo>
                    <a:pt x="707" y="1058"/>
                    <a:pt x="520" y="846"/>
                    <a:pt x="520" y="529"/>
                  </a:cubicBezTo>
                  <a:close/>
                  <a:moveTo>
                    <a:pt x="1965" y="1684"/>
                  </a:moveTo>
                  <a:cubicBezTo>
                    <a:pt x="1961" y="1464"/>
                    <a:pt x="1835" y="1316"/>
                    <a:pt x="1648" y="1302"/>
                  </a:cubicBezTo>
                  <a:cubicBezTo>
                    <a:pt x="1648" y="1302"/>
                    <a:pt x="1648" y="1302"/>
                    <a:pt x="1648" y="1302"/>
                  </a:cubicBezTo>
                  <a:cubicBezTo>
                    <a:pt x="1310" y="1278"/>
                    <a:pt x="1310" y="1278"/>
                    <a:pt x="1310" y="1278"/>
                  </a:cubicBezTo>
                  <a:cubicBezTo>
                    <a:pt x="1310" y="1278"/>
                    <a:pt x="1310" y="1278"/>
                    <a:pt x="1310" y="1278"/>
                  </a:cubicBezTo>
                  <a:cubicBezTo>
                    <a:pt x="1310" y="1278"/>
                    <a:pt x="1310" y="1278"/>
                    <a:pt x="1310" y="1278"/>
                  </a:cubicBezTo>
                  <a:cubicBezTo>
                    <a:pt x="983" y="1606"/>
                    <a:pt x="983" y="1606"/>
                    <a:pt x="983" y="1606"/>
                  </a:cubicBezTo>
                  <a:cubicBezTo>
                    <a:pt x="983" y="1606"/>
                    <a:pt x="983" y="1606"/>
                    <a:pt x="983" y="1606"/>
                  </a:cubicBezTo>
                  <a:cubicBezTo>
                    <a:pt x="655" y="1278"/>
                    <a:pt x="655" y="1278"/>
                    <a:pt x="655" y="1278"/>
                  </a:cubicBezTo>
                  <a:cubicBezTo>
                    <a:pt x="655" y="1278"/>
                    <a:pt x="655" y="1278"/>
                    <a:pt x="655" y="1278"/>
                  </a:cubicBezTo>
                  <a:cubicBezTo>
                    <a:pt x="655" y="1278"/>
                    <a:pt x="655" y="1278"/>
                    <a:pt x="655" y="1278"/>
                  </a:cubicBezTo>
                  <a:cubicBezTo>
                    <a:pt x="317" y="1302"/>
                    <a:pt x="317" y="1302"/>
                    <a:pt x="317" y="1302"/>
                  </a:cubicBezTo>
                  <a:cubicBezTo>
                    <a:pt x="317" y="1302"/>
                    <a:pt x="317" y="1302"/>
                    <a:pt x="317" y="1302"/>
                  </a:cubicBezTo>
                  <a:cubicBezTo>
                    <a:pt x="130" y="1316"/>
                    <a:pt x="4" y="1464"/>
                    <a:pt x="0" y="1684"/>
                  </a:cubicBezTo>
                  <a:cubicBezTo>
                    <a:pt x="0" y="1684"/>
                    <a:pt x="0" y="1684"/>
                    <a:pt x="0" y="1684"/>
                  </a:cubicBezTo>
                  <a:cubicBezTo>
                    <a:pt x="0" y="1761"/>
                    <a:pt x="0" y="2183"/>
                    <a:pt x="0" y="2570"/>
                  </a:cubicBezTo>
                  <a:cubicBezTo>
                    <a:pt x="1965" y="2570"/>
                    <a:pt x="1965" y="2570"/>
                    <a:pt x="1965" y="2570"/>
                  </a:cubicBezTo>
                  <a:cubicBezTo>
                    <a:pt x="1965" y="2183"/>
                    <a:pt x="1965" y="1761"/>
                    <a:pt x="1965" y="1684"/>
                  </a:cubicBezTo>
                  <a:cubicBezTo>
                    <a:pt x="1965" y="1684"/>
                    <a:pt x="1965" y="1684"/>
                    <a:pt x="1965" y="1684"/>
                  </a:cubicBezTo>
                  <a:close/>
                </a:path>
              </a:pathLst>
            </a:custGeom>
            <a:solidFill>
              <a:srgbClr val="66667E"/>
            </a:solidFill>
            <a:ln>
              <a:noFill/>
            </a:ln>
          </p:spPr>
          <p:txBody>
            <a:bodyPr vert="horz" wrap="square" lIns="91392" tIns="45696" rIns="91392" bIns="45696" numCol="1" anchor="t" anchorCtr="0" compatLnSpc="1">
              <a:prstTxWarp prst="textNoShape">
                <a:avLst/>
              </a:prstTxWarp>
            </a:bodyPr>
            <a:lstStyle/>
            <a:p>
              <a:endParaRPr lang="en-US" sz="1799" dirty="0"/>
            </a:p>
          </p:txBody>
        </p:sp>
      </p:grpSp>
      <p:grpSp>
        <p:nvGrpSpPr>
          <p:cNvPr id="73" name="Gruppieren 6">
            <a:extLst>
              <a:ext uri="{FF2B5EF4-FFF2-40B4-BE49-F238E27FC236}">
                <a16:creationId xmlns:a16="http://schemas.microsoft.com/office/drawing/2014/main" id="{386E4F5B-3733-4A9A-B2D6-0E8917317ADF}"/>
              </a:ext>
            </a:extLst>
          </p:cNvPr>
          <p:cNvGrpSpPr/>
          <p:nvPr/>
        </p:nvGrpSpPr>
        <p:grpSpPr>
          <a:xfrm>
            <a:off x="7963524" y="1415850"/>
            <a:ext cx="1188000" cy="2301945"/>
            <a:chOff x="4162426" y="1414801"/>
            <a:chExt cx="1188619" cy="2303144"/>
          </a:xfrm>
        </p:grpSpPr>
        <p:sp>
          <p:nvSpPr>
            <p:cNvPr id="74" name="Textfeld 8">
              <a:extLst>
                <a:ext uri="{FF2B5EF4-FFF2-40B4-BE49-F238E27FC236}">
                  <a16:creationId xmlns:a16="http://schemas.microsoft.com/office/drawing/2014/main" id="{3366F303-D46F-48CA-BA23-D0DBF2EA7D6F}"/>
                </a:ext>
              </a:extLst>
            </p:cNvPr>
            <p:cNvSpPr txBox="1">
              <a:spLocks/>
            </p:cNvSpPr>
            <p:nvPr/>
          </p:nvSpPr>
          <p:spPr bwMode="gray">
            <a:xfrm>
              <a:off x="4162426" y="2853945"/>
              <a:ext cx="1188619" cy="86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71963" rIns="0" bIns="0" rtlCol="0" anchor="t">
              <a:noAutofit/>
            </a:bodyPr>
            <a:lstStyle/>
            <a:p>
              <a:pPr>
                <a:spcBef>
                  <a:spcPct val="0"/>
                </a:spcBef>
                <a:buClr>
                  <a:srgbClr val="879BAA"/>
                </a:buClr>
              </a:pPr>
              <a:r>
                <a:rPr lang="en-US" sz="1199" b="1" kern="1400" dirty="0">
                  <a:solidFill>
                    <a:schemeClr val="tx2"/>
                  </a:solidFill>
                  <a:ea typeface="ＭＳ Ｐゴシック" pitchFamily="34" charset="-128"/>
                  <a:cs typeface="Arial" charset="0"/>
                </a:rPr>
                <a:t>Marianne Mastermind</a:t>
              </a:r>
            </a:p>
            <a:p>
              <a:pPr>
                <a:spcBef>
                  <a:spcPts val="300"/>
                </a:spcBef>
                <a:buClr>
                  <a:srgbClr val="879BAA"/>
                </a:buClr>
              </a:pPr>
              <a:r>
                <a:rPr lang="en-US" sz="1199" dirty="0">
                  <a:solidFill>
                    <a:srgbClr val="66667E"/>
                  </a:solidFill>
                  <a:cs typeface="Arial" charset="0"/>
                </a:rPr>
                <a:t>At vero eos et accusam</a:t>
              </a:r>
            </a:p>
          </p:txBody>
        </p:sp>
        <p:sp>
          <p:nvSpPr>
            <p:cNvPr id="75" name="Rechteck 40">
              <a:extLst>
                <a:ext uri="{FF2B5EF4-FFF2-40B4-BE49-F238E27FC236}">
                  <a16:creationId xmlns:a16="http://schemas.microsoft.com/office/drawing/2014/main" id="{BDEA760B-B1C2-475E-A692-0BF0CFD60CB7}"/>
                </a:ext>
              </a:extLst>
            </p:cNvPr>
            <p:cNvSpPr>
              <a:spLocks/>
            </p:cNvSpPr>
            <p:nvPr/>
          </p:nvSpPr>
          <p:spPr bwMode="auto">
            <a:xfrm>
              <a:off x="4162426" y="1414801"/>
              <a:ext cx="1188619" cy="1440750"/>
            </a:xfrm>
            <a:prstGeom prst="rect">
              <a:avLst/>
            </a:prstGeom>
            <a:solidFill>
              <a:srgbClr val="E5E5E9"/>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76" name="Freeform 96">
              <a:extLst>
                <a:ext uri="{FF2B5EF4-FFF2-40B4-BE49-F238E27FC236}">
                  <a16:creationId xmlns:a16="http://schemas.microsoft.com/office/drawing/2014/main" id="{B9F3F351-5C8E-45A2-9E3F-4E85036C10E3}"/>
                </a:ext>
              </a:extLst>
            </p:cNvPr>
            <p:cNvSpPr>
              <a:spLocks noEditPoints="1"/>
            </p:cNvSpPr>
            <p:nvPr/>
          </p:nvSpPr>
          <p:spPr bwMode="auto">
            <a:xfrm>
              <a:off x="4266474" y="1568784"/>
              <a:ext cx="980524" cy="1286013"/>
            </a:xfrm>
            <a:custGeom>
              <a:avLst/>
              <a:gdLst>
                <a:gd name="T0" fmla="*/ 520 w 1965"/>
                <a:gd name="T1" fmla="*/ 529 h 2570"/>
                <a:gd name="T2" fmla="*/ 983 w 1965"/>
                <a:gd name="T3" fmla="*/ 0 h 2570"/>
                <a:gd name="T4" fmla="*/ 1446 w 1965"/>
                <a:gd name="T5" fmla="*/ 529 h 2570"/>
                <a:gd name="T6" fmla="*/ 983 w 1965"/>
                <a:gd name="T7" fmla="*/ 1058 h 2570"/>
                <a:gd name="T8" fmla="*/ 520 w 1965"/>
                <a:gd name="T9" fmla="*/ 529 h 2570"/>
                <a:gd name="T10" fmla="*/ 1965 w 1965"/>
                <a:gd name="T11" fmla="*/ 1684 h 2570"/>
                <a:gd name="T12" fmla="*/ 1648 w 1965"/>
                <a:gd name="T13" fmla="*/ 1302 h 2570"/>
                <a:gd name="T14" fmla="*/ 1648 w 1965"/>
                <a:gd name="T15" fmla="*/ 1302 h 2570"/>
                <a:gd name="T16" fmla="*/ 1310 w 1965"/>
                <a:gd name="T17" fmla="*/ 1278 h 2570"/>
                <a:gd name="T18" fmla="*/ 1310 w 1965"/>
                <a:gd name="T19" fmla="*/ 1278 h 2570"/>
                <a:gd name="T20" fmla="*/ 1310 w 1965"/>
                <a:gd name="T21" fmla="*/ 1278 h 2570"/>
                <a:gd name="T22" fmla="*/ 983 w 1965"/>
                <a:gd name="T23" fmla="*/ 1606 h 2570"/>
                <a:gd name="T24" fmla="*/ 983 w 1965"/>
                <a:gd name="T25" fmla="*/ 1606 h 2570"/>
                <a:gd name="T26" fmla="*/ 655 w 1965"/>
                <a:gd name="T27" fmla="*/ 1278 h 2570"/>
                <a:gd name="T28" fmla="*/ 655 w 1965"/>
                <a:gd name="T29" fmla="*/ 1278 h 2570"/>
                <a:gd name="T30" fmla="*/ 655 w 1965"/>
                <a:gd name="T31" fmla="*/ 1278 h 2570"/>
                <a:gd name="T32" fmla="*/ 317 w 1965"/>
                <a:gd name="T33" fmla="*/ 1302 h 2570"/>
                <a:gd name="T34" fmla="*/ 317 w 1965"/>
                <a:gd name="T35" fmla="*/ 1302 h 2570"/>
                <a:gd name="T36" fmla="*/ 0 w 1965"/>
                <a:gd name="T37" fmla="*/ 1684 h 2570"/>
                <a:gd name="T38" fmla="*/ 0 w 1965"/>
                <a:gd name="T39" fmla="*/ 1684 h 2570"/>
                <a:gd name="T40" fmla="*/ 0 w 1965"/>
                <a:gd name="T41" fmla="*/ 2570 h 2570"/>
                <a:gd name="T42" fmla="*/ 1965 w 1965"/>
                <a:gd name="T43" fmla="*/ 2570 h 2570"/>
                <a:gd name="T44" fmla="*/ 1965 w 1965"/>
                <a:gd name="T45" fmla="*/ 1684 h 2570"/>
                <a:gd name="T46" fmla="*/ 1965 w 1965"/>
                <a:gd name="T47" fmla="*/ 1684 h 2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5" h="2570">
                  <a:moveTo>
                    <a:pt x="520" y="529"/>
                  </a:moveTo>
                  <a:cubicBezTo>
                    <a:pt x="520" y="212"/>
                    <a:pt x="707" y="0"/>
                    <a:pt x="983" y="0"/>
                  </a:cubicBezTo>
                  <a:cubicBezTo>
                    <a:pt x="1258" y="0"/>
                    <a:pt x="1446" y="212"/>
                    <a:pt x="1446" y="529"/>
                  </a:cubicBezTo>
                  <a:cubicBezTo>
                    <a:pt x="1446" y="846"/>
                    <a:pt x="1258" y="1058"/>
                    <a:pt x="983" y="1058"/>
                  </a:cubicBezTo>
                  <a:cubicBezTo>
                    <a:pt x="707" y="1058"/>
                    <a:pt x="520" y="846"/>
                    <a:pt x="520" y="529"/>
                  </a:cubicBezTo>
                  <a:close/>
                  <a:moveTo>
                    <a:pt x="1965" y="1684"/>
                  </a:moveTo>
                  <a:cubicBezTo>
                    <a:pt x="1961" y="1464"/>
                    <a:pt x="1835" y="1316"/>
                    <a:pt x="1648" y="1302"/>
                  </a:cubicBezTo>
                  <a:cubicBezTo>
                    <a:pt x="1648" y="1302"/>
                    <a:pt x="1648" y="1302"/>
                    <a:pt x="1648" y="1302"/>
                  </a:cubicBezTo>
                  <a:cubicBezTo>
                    <a:pt x="1310" y="1278"/>
                    <a:pt x="1310" y="1278"/>
                    <a:pt x="1310" y="1278"/>
                  </a:cubicBezTo>
                  <a:cubicBezTo>
                    <a:pt x="1310" y="1278"/>
                    <a:pt x="1310" y="1278"/>
                    <a:pt x="1310" y="1278"/>
                  </a:cubicBezTo>
                  <a:cubicBezTo>
                    <a:pt x="1310" y="1278"/>
                    <a:pt x="1310" y="1278"/>
                    <a:pt x="1310" y="1278"/>
                  </a:cubicBezTo>
                  <a:cubicBezTo>
                    <a:pt x="983" y="1606"/>
                    <a:pt x="983" y="1606"/>
                    <a:pt x="983" y="1606"/>
                  </a:cubicBezTo>
                  <a:cubicBezTo>
                    <a:pt x="983" y="1606"/>
                    <a:pt x="983" y="1606"/>
                    <a:pt x="983" y="1606"/>
                  </a:cubicBezTo>
                  <a:cubicBezTo>
                    <a:pt x="655" y="1278"/>
                    <a:pt x="655" y="1278"/>
                    <a:pt x="655" y="1278"/>
                  </a:cubicBezTo>
                  <a:cubicBezTo>
                    <a:pt x="655" y="1278"/>
                    <a:pt x="655" y="1278"/>
                    <a:pt x="655" y="1278"/>
                  </a:cubicBezTo>
                  <a:cubicBezTo>
                    <a:pt x="655" y="1278"/>
                    <a:pt x="655" y="1278"/>
                    <a:pt x="655" y="1278"/>
                  </a:cubicBezTo>
                  <a:cubicBezTo>
                    <a:pt x="317" y="1302"/>
                    <a:pt x="317" y="1302"/>
                    <a:pt x="317" y="1302"/>
                  </a:cubicBezTo>
                  <a:cubicBezTo>
                    <a:pt x="317" y="1302"/>
                    <a:pt x="317" y="1302"/>
                    <a:pt x="317" y="1302"/>
                  </a:cubicBezTo>
                  <a:cubicBezTo>
                    <a:pt x="130" y="1316"/>
                    <a:pt x="4" y="1464"/>
                    <a:pt x="0" y="1684"/>
                  </a:cubicBezTo>
                  <a:cubicBezTo>
                    <a:pt x="0" y="1684"/>
                    <a:pt x="0" y="1684"/>
                    <a:pt x="0" y="1684"/>
                  </a:cubicBezTo>
                  <a:cubicBezTo>
                    <a:pt x="0" y="1761"/>
                    <a:pt x="0" y="2183"/>
                    <a:pt x="0" y="2570"/>
                  </a:cubicBezTo>
                  <a:cubicBezTo>
                    <a:pt x="1965" y="2570"/>
                    <a:pt x="1965" y="2570"/>
                    <a:pt x="1965" y="2570"/>
                  </a:cubicBezTo>
                  <a:cubicBezTo>
                    <a:pt x="1965" y="2183"/>
                    <a:pt x="1965" y="1761"/>
                    <a:pt x="1965" y="1684"/>
                  </a:cubicBezTo>
                  <a:cubicBezTo>
                    <a:pt x="1965" y="1684"/>
                    <a:pt x="1965" y="1684"/>
                    <a:pt x="1965" y="1684"/>
                  </a:cubicBezTo>
                  <a:close/>
                </a:path>
              </a:pathLst>
            </a:custGeom>
            <a:solidFill>
              <a:srgbClr val="66667E"/>
            </a:solidFill>
            <a:ln>
              <a:noFill/>
            </a:ln>
          </p:spPr>
          <p:txBody>
            <a:bodyPr vert="horz" wrap="square" lIns="91392" tIns="45696" rIns="91392" bIns="45696" numCol="1" anchor="t" anchorCtr="0" compatLnSpc="1">
              <a:prstTxWarp prst="textNoShape">
                <a:avLst/>
              </a:prstTxWarp>
            </a:bodyPr>
            <a:lstStyle/>
            <a:p>
              <a:endParaRPr lang="en-US" sz="1799" dirty="0"/>
            </a:p>
          </p:txBody>
        </p:sp>
      </p:grpSp>
      <p:grpSp>
        <p:nvGrpSpPr>
          <p:cNvPr id="77" name="Gruppieren 6">
            <a:extLst>
              <a:ext uri="{FF2B5EF4-FFF2-40B4-BE49-F238E27FC236}">
                <a16:creationId xmlns:a16="http://schemas.microsoft.com/office/drawing/2014/main" id="{863DCF86-DAC2-4FB8-B49A-D384A6F71889}"/>
              </a:ext>
            </a:extLst>
          </p:cNvPr>
          <p:cNvGrpSpPr/>
          <p:nvPr/>
        </p:nvGrpSpPr>
        <p:grpSpPr>
          <a:xfrm>
            <a:off x="9281357" y="1415850"/>
            <a:ext cx="1188000" cy="2301945"/>
            <a:chOff x="4162426" y="1414801"/>
            <a:chExt cx="1188619" cy="2303144"/>
          </a:xfrm>
        </p:grpSpPr>
        <p:sp>
          <p:nvSpPr>
            <p:cNvPr id="78" name="Textfeld 8">
              <a:extLst>
                <a:ext uri="{FF2B5EF4-FFF2-40B4-BE49-F238E27FC236}">
                  <a16:creationId xmlns:a16="http://schemas.microsoft.com/office/drawing/2014/main" id="{744951D0-EB38-4BE3-8D2E-C096B4AFC05A}"/>
                </a:ext>
              </a:extLst>
            </p:cNvPr>
            <p:cNvSpPr txBox="1">
              <a:spLocks/>
            </p:cNvSpPr>
            <p:nvPr/>
          </p:nvSpPr>
          <p:spPr bwMode="gray">
            <a:xfrm>
              <a:off x="4162426" y="2853945"/>
              <a:ext cx="1188619" cy="86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71963" rIns="0" bIns="0" rtlCol="0" anchor="t">
              <a:noAutofit/>
            </a:bodyPr>
            <a:lstStyle/>
            <a:p>
              <a:pPr>
                <a:spcBef>
                  <a:spcPct val="0"/>
                </a:spcBef>
                <a:buClr>
                  <a:srgbClr val="879BAA"/>
                </a:buClr>
              </a:pPr>
              <a:r>
                <a:rPr lang="en-US" sz="1199" b="1" kern="1400" dirty="0">
                  <a:solidFill>
                    <a:schemeClr val="tx2"/>
                  </a:solidFill>
                  <a:ea typeface="ＭＳ Ｐゴシック" pitchFamily="34" charset="-128"/>
                  <a:cs typeface="Arial" charset="0"/>
                </a:rPr>
                <a:t>Gregor Goodjobs</a:t>
              </a:r>
            </a:p>
            <a:p>
              <a:pPr>
                <a:spcBef>
                  <a:spcPts val="300"/>
                </a:spcBef>
                <a:buClr>
                  <a:srgbClr val="879BAA"/>
                </a:buClr>
              </a:pPr>
              <a:r>
                <a:rPr lang="en-US" sz="1199" dirty="0">
                  <a:solidFill>
                    <a:srgbClr val="66667E"/>
                  </a:solidFill>
                  <a:cs typeface="Arial" charset="0"/>
                </a:rPr>
                <a:t>At vero eos et accusam</a:t>
              </a:r>
            </a:p>
          </p:txBody>
        </p:sp>
        <p:sp>
          <p:nvSpPr>
            <p:cNvPr id="79" name="Rechteck 40">
              <a:extLst>
                <a:ext uri="{FF2B5EF4-FFF2-40B4-BE49-F238E27FC236}">
                  <a16:creationId xmlns:a16="http://schemas.microsoft.com/office/drawing/2014/main" id="{F5DEC70B-C472-493A-B282-81A202DFF001}"/>
                </a:ext>
              </a:extLst>
            </p:cNvPr>
            <p:cNvSpPr>
              <a:spLocks/>
            </p:cNvSpPr>
            <p:nvPr/>
          </p:nvSpPr>
          <p:spPr bwMode="auto">
            <a:xfrm>
              <a:off x="4162426" y="1414801"/>
              <a:ext cx="1188619" cy="1440750"/>
            </a:xfrm>
            <a:prstGeom prst="rect">
              <a:avLst/>
            </a:prstGeom>
            <a:solidFill>
              <a:srgbClr val="E5E5E9"/>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80" name="Freeform 96">
              <a:extLst>
                <a:ext uri="{FF2B5EF4-FFF2-40B4-BE49-F238E27FC236}">
                  <a16:creationId xmlns:a16="http://schemas.microsoft.com/office/drawing/2014/main" id="{4699B1FD-3F7A-4734-8365-6E0F0CA7412A}"/>
                </a:ext>
              </a:extLst>
            </p:cNvPr>
            <p:cNvSpPr>
              <a:spLocks noEditPoints="1"/>
            </p:cNvSpPr>
            <p:nvPr/>
          </p:nvSpPr>
          <p:spPr bwMode="auto">
            <a:xfrm>
              <a:off x="4266474" y="1568784"/>
              <a:ext cx="980524" cy="1286013"/>
            </a:xfrm>
            <a:custGeom>
              <a:avLst/>
              <a:gdLst>
                <a:gd name="T0" fmla="*/ 520 w 1965"/>
                <a:gd name="T1" fmla="*/ 529 h 2570"/>
                <a:gd name="T2" fmla="*/ 983 w 1965"/>
                <a:gd name="T3" fmla="*/ 0 h 2570"/>
                <a:gd name="T4" fmla="*/ 1446 w 1965"/>
                <a:gd name="T5" fmla="*/ 529 h 2570"/>
                <a:gd name="T6" fmla="*/ 983 w 1965"/>
                <a:gd name="T7" fmla="*/ 1058 h 2570"/>
                <a:gd name="T8" fmla="*/ 520 w 1965"/>
                <a:gd name="T9" fmla="*/ 529 h 2570"/>
                <a:gd name="T10" fmla="*/ 1965 w 1965"/>
                <a:gd name="T11" fmla="*/ 1684 h 2570"/>
                <a:gd name="T12" fmla="*/ 1648 w 1965"/>
                <a:gd name="T13" fmla="*/ 1302 h 2570"/>
                <a:gd name="T14" fmla="*/ 1648 w 1965"/>
                <a:gd name="T15" fmla="*/ 1302 h 2570"/>
                <a:gd name="T16" fmla="*/ 1310 w 1965"/>
                <a:gd name="T17" fmla="*/ 1278 h 2570"/>
                <a:gd name="T18" fmla="*/ 1310 w 1965"/>
                <a:gd name="T19" fmla="*/ 1278 h 2570"/>
                <a:gd name="T20" fmla="*/ 1310 w 1965"/>
                <a:gd name="T21" fmla="*/ 1278 h 2570"/>
                <a:gd name="T22" fmla="*/ 983 w 1965"/>
                <a:gd name="T23" fmla="*/ 1606 h 2570"/>
                <a:gd name="T24" fmla="*/ 983 w 1965"/>
                <a:gd name="T25" fmla="*/ 1606 h 2570"/>
                <a:gd name="T26" fmla="*/ 655 w 1965"/>
                <a:gd name="T27" fmla="*/ 1278 h 2570"/>
                <a:gd name="T28" fmla="*/ 655 w 1965"/>
                <a:gd name="T29" fmla="*/ 1278 h 2570"/>
                <a:gd name="T30" fmla="*/ 655 w 1965"/>
                <a:gd name="T31" fmla="*/ 1278 h 2570"/>
                <a:gd name="T32" fmla="*/ 317 w 1965"/>
                <a:gd name="T33" fmla="*/ 1302 h 2570"/>
                <a:gd name="T34" fmla="*/ 317 w 1965"/>
                <a:gd name="T35" fmla="*/ 1302 h 2570"/>
                <a:gd name="T36" fmla="*/ 0 w 1965"/>
                <a:gd name="T37" fmla="*/ 1684 h 2570"/>
                <a:gd name="T38" fmla="*/ 0 w 1965"/>
                <a:gd name="T39" fmla="*/ 1684 h 2570"/>
                <a:gd name="T40" fmla="*/ 0 w 1965"/>
                <a:gd name="T41" fmla="*/ 2570 h 2570"/>
                <a:gd name="T42" fmla="*/ 1965 w 1965"/>
                <a:gd name="T43" fmla="*/ 2570 h 2570"/>
                <a:gd name="T44" fmla="*/ 1965 w 1965"/>
                <a:gd name="T45" fmla="*/ 1684 h 2570"/>
                <a:gd name="T46" fmla="*/ 1965 w 1965"/>
                <a:gd name="T47" fmla="*/ 1684 h 2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5" h="2570">
                  <a:moveTo>
                    <a:pt x="520" y="529"/>
                  </a:moveTo>
                  <a:cubicBezTo>
                    <a:pt x="520" y="212"/>
                    <a:pt x="707" y="0"/>
                    <a:pt x="983" y="0"/>
                  </a:cubicBezTo>
                  <a:cubicBezTo>
                    <a:pt x="1258" y="0"/>
                    <a:pt x="1446" y="212"/>
                    <a:pt x="1446" y="529"/>
                  </a:cubicBezTo>
                  <a:cubicBezTo>
                    <a:pt x="1446" y="846"/>
                    <a:pt x="1258" y="1058"/>
                    <a:pt x="983" y="1058"/>
                  </a:cubicBezTo>
                  <a:cubicBezTo>
                    <a:pt x="707" y="1058"/>
                    <a:pt x="520" y="846"/>
                    <a:pt x="520" y="529"/>
                  </a:cubicBezTo>
                  <a:close/>
                  <a:moveTo>
                    <a:pt x="1965" y="1684"/>
                  </a:moveTo>
                  <a:cubicBezTo>
                    <a:pt x="1961" y="1464"/>
                    <a:pt x="1835" y="1316"/>
                    <a:pt x="1648" y="1302"/>
                  </a:cubicBezTo>
                  <a:cubicBezTo>
                    <a:pt x="1648" y="1302"/>
                    <a:pt x="1648" y="1302"/>
                    <a:pt x="1648" y="1302"/>
                  </a:cubicBezTo>
                  <a:cubicBezTo>
                    <a:pt x="1310" y="1278"/>
                    <a:pt x="1310" y="1278"/>
                    <a:pt x="1310" y="1278"/>
                  </a:cubicBezTo>
                  <a:cubicBezTo>
                    <a:pt x="1310" y="1278"/>
                    <a:pt x="1310" y="1278"/>
                    <a:pt x="1310" y="1278"/>
                  </a:cubicBezTo>
                  <a:cubicBezTo>
                    <a:pt x="1310" y="1278"/>
                    <a:pt x="1310" y="1278"/>
                    <a:pt x="1310" y="1278"/>
                  </a:cubicBezTo>
                  <a:cubicBezTo>
                    <a:pt x="983" y="1606"/>
                    <a:pt x="983" y="1606"/>
                    <a:pt x="983" y="1606"/>
                  </a:cubicBezTo>
                  <a:cubicBezTo>
                    <a:pt x="983" y="1606"/>
                    <a:pt x="983" y="1606"/>
                    <a:pt x="983" y="1606"/>
                  </a:cubicBezTo>
                  <a:cubicBezTo>
                    <a:pt x="655" y="1278"/>
                    <a:pt x="655" y="1278"/>
                    <a:pt x="655" y="1278"/>
                  </a:cubicBezTo>
                  <a:cubicBezTo>
                    <a:pt x="655" y="1278"/>
                    <a:pt x="655" y="1278"/>
                    <a:pt x="655" y="1278"/>
                  </a:cubicBezTo>
                  <a:cubicBezTo>
                    <a:pt x="655" y="1278"/>
                    <a:pt x="655" y="1278"/>
                    <a:pt x="655" y="1278"/>
                  </a:cubicBezTo>
                  <a:cubicBezTo>
                    <a:pt x="317" y="1302"/>
                    <a:pt x="317" y="1302"/>
                    <a:pt x="317" y="1302"/>
                  </a:cubicBezTo>
                  <a:cubicBezTo>
                    <a:pt x="317" y="1302"/>
                    <a:pt x="317" y="1302"/>
                    <a:pt x="317" y="1302"/>
                  </a:cubicBezTo>
                  <a:cubicBezTo>
                    <a:pt x="130" y="1316"/>
                    <a:pt x="4" y="1464"/>
                    <a:pt x="0" y="1684"/>
                  </a:cubicBezTo>
                  <a:cubicBezTo>
                    <a:pt x="0" y="1684"/>
                    <a:pt x="0" y="1684"/>
                    <a:pt x="0" y="1684"/>
                  </a:cubicBezTo>
                  <a:cubicBezTo>
                    <a:pt x="0" y="1761"/>
                    <a:pt x="0" y="2183"/>
                    <a:pt x="0" y="2570"/>
                  </a:cubicBezTo>
                  <a:cubicBezTo>
                    <a:pt x="1965" y="2570"/>
                    <a:pt x="1965" y="2570"/>
                    <a:pt x="1965" y="2570"/>
                  </a:cubicBezTo>
                  <a:cubicBezTo>
                    <a:pt x="1965" y="2183"/>
                    <a:pt x="1965" y="1761"/>
                    <a:pt x="1965" y="1684"/>
                  </a:cubicBezTo>
                  <a:cubicBezTo>
                    <a:pt x="1965" y="1684"/>
                    <a:pt x="1965" y="1684"/>
                    <a:pt x="1965" y="1684"/>
                  </a:cubicBezTo>
                  <a:close/>
                </a:path>
              </a:pathLst>
            </a:custGeom>
            <a:solidFill>
              <a:srgbClr val="66667E"/>
            </a:solidFill>
            <a:ln>
              <a:noFill/>
            </a:ln>
          </p:spPr>
          <p:txBody>
            <a:bodyPr vert="horz" wrap="square" lIns="91392" tIns="45696" rIns="91392" bIns="45696" numCol="1" anchor="t" anchorCtr="0" compatLnSpc="1">
              <a:prstTxWarp prst="textNoShape">
                <a:avLst/>
              </a:prstTxWarp>
            </a:bodyPr>
            <a:lstStyle/>
            <a:p>
              <a:endParaRPr lang="en-US" sz="1799" dirty="0"/>
            </a:p>
          </p:txBody>
        </p:sp>
      </p:grpSp>
      <p:grpSp>
        <p:nvGrpSpPr>
          <p:cNvPr id="81" name="Gruppieren 6">
            <a:extLst>
              <a:ext uri="{FF2B5EF4-FFF2-40B4-BE49-F238E27FC236}">
                <a16:creationId xmlns:a16="http://schemas.microsoft.com/office/drawing/2014/main" id="{7619633C-5AD4-4D23-8620-B77D702D97F0}"/>
              </a:ext>
            </a:extLst>
          </p:cNvPr>
          <p:cNvGrpSpPr/>
          <p:nvPr/>
        </p:nvGrpSpPr>
        <p:grpSpPr>
          <a:xfrm>
            <a:off x="10599188" y="1415850"/>
            <a:ext cx="1188000" cy="2301945"/>
            <a:chOff x="4162426" y="1414801"/>
            <a:chExt cx="1188619" cy="2303144"/>
          </a:xfrm>
        </p:grpSpPr>
        <p:sp>
          <p:nvSpPr>
            <p:cNvPr id="82" name="Textfeld 8">
              <a:extLst>
                <a:ext uri="{FF2B5EF4-FFF2-40B4-BE49-F238E27FC236}">
                  <a16:creationId xmlns:a16="http://schemas.microsoft.com/office/drawing/2014/main" id="{C39E57AE-C6F6-4F2F-A11B-5D73595DFF18}"/>
                </a:ext>
              </a:extLst>
            </p:cNvPr>
            <p:cNvSpPr txBox="1">
              <a:spLocks/>
            </p:cNvSpPr>
            <p:nvPr/>
          </p:nvSpPr>
          <p:spPr bwMode="gray">
            <a:xfrm>
              <a:off x="4162426" y="2853945"/>
              <a:ext cx="1188619" cy="86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71963" rIns="0" bIns="0" rtlCol="0" anchor="t">
              <a:noAutofit/>
            </a:bodyPr>
            <a:lstStyle/>
            <a:p>
              <a:pPr>
                <a:spcBef>
                  <a:spcPct val="0"/>
                </a:spcBef>
                <a:buClr>
                  <a:srgbClr val="879BAA"/>
                </a:buClr>
              </a:pPr>
              <a:r>
                <a:rPr lang="en-US" sz="1199" b="1" kern="1400" dirty="0">
                  <a:solidFill>
                    <a:schemeClr val="tx2"/>
                  </a:solidFill>
                  <a:ea typeface="ＭＳ Ｐゴシック" pitchFamily="34" charset="-128"/>
                  <a:cs typeface="Arial" charset="0"/>
                </a:rPr>
                <a:t>Sam Sample</a:t>
              </a:r>
            </a:p>
            <a:p>
              <a:pPr>
                <a:spcBef>
                  <a:spcPts val="300"/>
                </a:spcBef>
                <a:buClr>
                  <a:srgbClr val="879BAA"/>
                </a:buClr>
              </a:pPr>
              <a:r>
                <a:rPr lang="en-US" sz="1199" dirty="0">
                  <a:solidFill>
                    <a:srgbClr val="66667E"/>
                  </a:solidFill>
                  <a:cs typeface="Arial" charset="0"/>
                </a:rPr>
                <a:t>At vero eos et accusam</a:t>
              </a:r>
            </a:p>
          </p:txBody>
        </p:sp>
        <p:sp>
          <p:nvSpPr>
            <p:cNvPr id="83" name="Rechteck 40">
              <a:extLst>
                <a:ext uri="{FF2B5EF4-FFF2-40B4-BE49-F238E27FC236}">
                  <a16:creationId xmlns:a16="http://schemas.microsoft.com/office/drawing/2014/main" id="{9606228D-C604-41B2-9AE4-7D43DC9D33CA}"/>
                </a:ext>
              </a:extLst>
            </p:cNvPr>
            <p:cNvSpPr>
              <a:spLocks/>
            </p:cNvSpPr>
            <p:nvPr/>
          </p:nvSpPr>
          <p:spPr bwMode="auto">
            <a:xfrm>
              <a:off x="4162426" y="1414801"/>
              <a:ext cx="1188619" cy="1440750"/>
            </a:xfrm>
            <a:prstGeom prst="rect">
              <a:avLst/>
            </a:prstGeom>
            <a:solidFill>
              <a:srgbClr val="E5E5E9"/>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84" name="Freeform 96">
              <a:extLst>
                <a:ext uri="{FF2B5EF4-FFF2-40B4-BE49-F238E27FC236}">
                  <a16:creationId xmlns:a16="http://schemas.microsoft.com/office/drawing/2014/main" id="{F63ACEBB-9E8F-4326-81D8-3209BB91B849}"/>
                </a:ext>
              </a:extLst>
            </p:cNvPr>
            <p:cNvSpPr>
              <a:spLocks noEditPoints="1"/>
            </p:cNvSpPr>
            <p:nvPr/>
          </p:nvSpPr>
          <p:spPr bwMode="auto">
            <a:xfrm>
              <a:off x="4266474" y="1568784"/>
              <a:ext cx="980524" cy="1286013"/>
            </a:xfrm>
            <a:custGeom>
              <a:avLst/>
              <a:gdLst>
                <a:gd name="T0" fmla="*/ 520 w 1965"/>
                <a:gd name="T1" fmla="*/ 529 h 2570"/>
                <a:gd name="T2" fmla="*/ 983 w 1965"/>
                <a:gd name="T3" fmla="*/ 0 h 2570"/>
                <a:gd name="T4" fmla="*/ 1446 w 1965"/>
                <a:gd name="T5" fmla="*/ 529 h 2570"/>
                <a:gd name="T6" fmla="*/ 983 w 1965"/>
                <a:gd name="T7" fmla="*/ 1058 h 2570"/>
                <a:gd name="T8" fmla="*/ 520 w 1965"/>
                <a:gd name="T9" fmla="*/ 529 h 2570"/>
                <a:gd name="T10" fmla="*/ 1965 w 1965"/>
                <a:gd name="T11" fmla="*/ 1684 h 2570"/>
                <a:gd name="T12" fmla="*/ 1648 w 1965"/>
                <a:gd name="T13" fmla="*/ 1302 h 2570"/>
                <a:gd name="T14" fmla="*/ 1648 w 1965"/>
                <a:gd name="T15" fmla="*/ 1302 h 2570"/>
                <a:gd name="T16" fmla="*/ 1310 w 1965"/>
                <a:gd name="T17" fmla="*/ 1278 h 2570"/>
                <a:gd name="T18" fmla="*/ 1310 w 1965"/>
                <a:gd name="T19" fmla="*/ 1278 h 2570"/>
                <a:gd name="T20" fmla="*/ 1310 w 1965"/>
                <a:gd name="T21" fmla="*/ 1278 h 2570"/>
                <a:gd name="T22" fmla="*/ 983 w 1965"/>
                <a:gd name="T23" fmla="*/ 1606 h 2570"/>
                <a:gd name="T24" fmla="*/ 983 w 1965"/>
                <a:gd name="T25" fmla="*/ 1606 h 2570"/>
                <a:gd name="T26" fmla="*/ 655 w 1965"/>
                <a:gd name="T27" fmla="*/ 1278 h 2570"/>
                <a:gd name="T28" fmla="*/ 655 w 1965"/>
                <a:gd name="T29" fmla="*/ 1278 h 2570"/>
                <a:gd name="T30" fmla="*/ 655 w 1965"/>
                <a:gd name="T31" fmla="*/ 1278 h 2570"/>
                <a:gd name="T32" fmla="*/ 317 w 1965"/>
                <a:gd name="T33" fmla="*/ 1302 h 2570"/>
                <a:gd name="T34" fmla="*/ 317 w 1965"/>
                <a:gd name="T35" fmla="*/ 1302 h 2570"/>
                <a:gd name="T36" fmla="*/ 0 w 1965"/>
                <a:gd name="T37" fmla="*/ 1684 h 2570"/>
                <a:gd name="T38" fmla="*/ 0 w 1965"/>
                <a:gd name="T39" fmla="*/ 1684 h 2570"/>
                <a:gd name="T40" fmla="*/ 0 w 1965"/>
                <a:gd name="T41" fmla="*/ 2570 h 2570"/>
                <a:gd name="T42" fmla="*/ 1965 w 1965"/>
                <a:gd name="T43" fmla="*/ 2570 h 2570"/>
                <a:gd name="T44" fmla="*/ 1965 w 1965"/>
                <a:gd name="T45" fmla="*/ 1684 h 2570"/>
                <a:gd name="T46" fmla="*/ 1965 w 1965"/>
                <a:gd name="T47" fmla="*/ 1684 h 2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5" h="2570">
                  <a:moveTo>
                    <a:pt x="520" y="529"/>
                  </a:moveTo>
                  <a:cubicBezTo>
                    <a:pt x="520" y="212"/>
                    <a:pt x="707" y="0"/>
                    <a:pt x="983" y="0"/>
                  </a:cubicBezTo>
                  <a:cubicBezTo>
                    <a:pt x="1258" y="0"/>
                    <a:pt x="1446" y="212"/>
                    <a:pt x="1446" y="529"/>
                  </a:cubicBezTo>
                  <a:cubicBezTo>
                    <a:pt x="1446" y="846"/>
                    <a:pt x="1258" y="1058"/>
                    <a:pt x="983" y="1058"/>
                  </a:cubicBezTo>
                  <a:cubicBezTo>
                    <a:pt x="707" y="1058"/>
                    <a:pt x="520" y="846"/>
                    <a:pt x="520" y="529"/>
                  </a:cubicBezTo>
                  <a:close/>
                  <a:moveTo>
                    <a:pt x="1965" y="1684"/>
                  </a:moveTo>
                  <a:cubicBezTo>
                    <a:pt x="1961" y="1464"/>
                    <a:pt x="1835" y="1316"/>
                    <a:pt x="1648" y="1302"/>
                  </a:cubicBezTo>
                  <a:cubicBezTo>
                    <a:pt x="1648" y="1302"/>
                    <a:pt x="1648" y="1302"/>
                    <a:pt x="1648" y="1302"/>
                  </a:cubicBezTo>
                  <a:cubicBezTo>
                    <a:pt x="1310" y="1278"/>
                    <a:pt x="1310" y="1278"/>
                    <a:pt x="1310" y="1278"/>
                  </a:cubicBezTo>
                  <a:cubicBezTo>
                    <a:pt x="1310" y="1278"/>
                    <a:pt x="1310" y="1278"/>
                    <a:pt x="1310" y="1278"/>
                  </a:cubicBezTo>
                  <a:cubicBezTo>
                    <a:pt x="1310" y="1278"/>
                    <a:pt x="1310" y="1278"/>
                    <a:pt x="1310" y="1278"/>
                  </a:cubicBezTo>
                  <a:cubicBezTo>
                    <a:pt x="983" y="1606"/>
                    <a:pt x="983" y="1606"/>
                    <a:pt x="983" y="1606"/>
                  </a:cubicBezTo>
                  <a:cubicBezTo>
                    <a:pt x="983" y="1606"/>
                    <a:pt x="983" y="1606"/>
                    <a:pt x="983" y="1606"/>
                  </a:cubicBezTo>
                  <a:cubicBezTo>
                    <a:pt x="655" y="1278"/>
                    <a:pt x="655" y="1278"/>
                    <a:pt x="655" y="1278"/>
                  </a:cubicBezTo>
                  <a:cubicBezTo>
                    <a:pt x="655" y="1278"/>
                    <a:pt x="655" y="1278"/>
                    <a:pt x="655" y="1278"/>
                  </a:cubicBezTo>
                  <a:cubicBezTo>
                    <a:pt x="655" y="1278"/>
                    <a:pt x="655" y="1278"/>
                    <a:pt x="655" y="1278"/>
                  </a:cubicBezTo>
                  <a:cubicBezTo>
                    <a:pt x="317" y="1302"/>
                    <a:pt x="317" y="1302"/>
                    <a:pt x="317" y="1302"/>
                  </a:cubicBezTo>
                  <a:cubicBezTo>
                    <a:pt x="317" y="1302"/>
                    <a:pt x="317" y="1302"/>
                    <a:pt x="317" y="1302"/>
                  </a:cubicBezTo>
                  <a:cubicBezTo>
                    <a:pt x="130" y="1316"/>
                    <a:pt x="4" y="1464"/>
                    <a:pt x="0" y="1684"/>
                  </a:cubicBezTo>
                  <a:cubicBezTo>
                    <a:pt x="0" y="1684"/>
                    <a:pt x="0" y="1684"/>
                    <a:pt x="0" y="1684"/>
                  </a:cubicBezTo>
                  <a:cubicBezTo>
                    <a:pt x="0" y="1761"/>
                    <a:pt x="0" y="2183"/>
                    <a:pt x="0" y="2570"/>
                  </a:cubicBezTo>
                  <a:cubicBezTo>
                    <a:pt x="1965" y="2570"/>
                    <a:pt x="1965" y="2570"/>
                    <a:pt x="1965" y="2570"/>
                  </a:cubicBezTo>
                  <a:cubicBezTo>
                    <a:pt x="1965" y="2183"/>
                    <a:pt x="1965" y="1761"/>
                    <a:pt x="1965" y="1684"/>
                  </a:cubicBezTo>
                  <a:cubicBezTo>
                    <a:pt x="1965" y="1684"/>
                    <a:pt x="1965" y="1684"/>
                    <a:pt x="1965" y="1684"/>
                  </a:cubicBezTo>
                  <a:close/>
                </a:path>
              </a:pathLst>
            </a:custGeom>
            <a:solidFill>
              <a:srgbClr val="66667E"/>
            </a:solidFill>
            <a:ln>
              <a:noFill/>
            </a:ln>
          </p:spPr>
          <p:txBody>
            <a:bodyPr vert="horz" wrap="square" lIns="91392" tIns="45696" rIns="91392" bIns="45696" numCol="1" anchor="t" anchorCtr="0" compatLnSpc="1">
              <a:prstTxWarp prst="textNoShape">
                <a:avLst/>
              </a:prstTxWarp>
            </a:bodyPr>
            <a:lstStyle/>
            <a:p>
              <a:endParaRPr lang="en-US" sz="1799" dirty="0"/>
            </a:p>
          </p:txBody>
        </p:sp>
      </p:grpSp>
      <p:grpSp>
        <p:nvGrpSpPr>
          <p:cNvPr id="85" name="Gruppieren 6">
            <a:extLst>
              <a:ext uri="{FF2B5EF4-FFF2-40B4-BE49-F238E27FC236}">
                <a16:creationId xmlns:a16="http://schemas.microsoft.com/office/drawing/2014/main" id="{DF171AAC-D002-42B5-8BC6-F09B34D2134B}"/>
              </a:ext>
            </a:extLst>
          </p:cNvPr>
          <p:cNvGrpSpPr/>
          <p:nvPr/>
        </p:nvGrpSpPr>
        <p:grpSpPr>
          <a:xfrm>
            <a:off x="4010025" y="3863549"/>
            <a:ext cx="1188000" cy="2301945"/>
            <a:chOff x="4162426" y="1414801"/>
            <a:chExt cx="1188619" cy="2303144"/>
          </a:xfrm>
        </p:grpSpPr>
        <p:sp>
          <p:nvSpPr>
            <p:cNvPr id="86" name="Textfeld 8">
              <a:extLst>
                <a:ext uri="{FF2B5EF4-FFF2-40B4-BE49-F238E27FC236}">
                  <a16:creationId xmlns:a16="http://schemas.microsoft.com/office/drawing/2014/main" id="{13C76E52-80CC-4156-BFBB-086970469F02}"/>
                </a:ext>
              </a:extLst>
            </p:cNvPr>
            <p:cNvSpPr txBox="1">
              <a:spLocks/>
            </p:cNvSpPr>
            <p:nvPr/>
          </p:nvSpPr>
          <p:spPr bwMode="gray">
            <a:xfrm>
              <a:off x="4162426" y="2853945"/>
              <a:ext cx="1188619" cy="86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71963" rIns="0" bIns="0" rtlCol="0" anchor="t">
              <a:noAutofit/>
            </a:bodyPr>
            <a:lstStyle/>
            <a:p>
              <a:pPr>
                <a:spcBef>
                  <a:spcPct val="0"/>
                </a:spcBef>
                <a:buClr>
                  <a:srgbClr val="879BAA"/>
                </a:buClr>
              </a:pPr>
              <a:r>
                <a:rPr lang="en-US" sz="1199" b="1" kern="1400" dirty="0">
                  <a:solidFill>
                    <a:srgbClr val="00646E"/>
                  </a:solidFill>
                  <a:ea typeface="ＭＳ Ｐゴシック" pitchFamily="34" charset="-128"/>
                  <a:cs typeface="Arial" charset="0"/>
                </a:rPr>
                <a:t>Marianne Mastermind</a:t>
              </a:r>
            </a:p>
            <a:p>
              <a:pPr>
                <a:spcBef>
                  <a:spcPts val="300"/>
                </a:spcBef>
                <a:buClr>
                  <a:srgbClr val="879BAA"/>
                </a:buClr>
              </a:pPr>
              <a:r>
                <a:rPr lang="en-US" sz="1199" dirty="0">
                  <a:solidFill>
                    <a:srgbClr val="66667E"/>
                  </a:solidFill>
                  <a:cs typeface="Arial" charset="0"/>
                </a:rPr>
                <a:t>At vero eos et accusam</a:t>
              </a:r>
            </a:p>
          </p:txBody>
        </p:sp>
        <p:sp>
          <p:nvSpPr>
            <p:cNvPr id="87" name="Rechteck 40">
              <a:extLst>
                <a:ext uri="{FF2B5EF4-FFF2-40B4-BE49-F238E27FC236}">
                  <a16:creationId xmlns:a16="http://schemas.microsoft.com/office/drawing/2014/main" id="{5B9FB49D-6BDA-4817-8023-1AB69D1F4FEF}"/>
                </a:ext>
              </a:extLst>
            </p:cNvPr>
            <p:cNvSpPr>
              <a:spLocks/>
            </p:cNvSpPr>
            <p:nvPr/>
          </p:nvSpPr>
          <p:spPr bwMode="auto">
            <a:xfrm>
              <a:off x="4162426" y="1414801"/>
              <a:ext cx="1188619" cy="1440750"/>
            </a:xfrm>
            <a:prstGeom prst="rect">
              <a:avLst/>
            </a:prstGeom>
            <a:solidFill>
              <a:srgbClr val="E5E5E9"/>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88" name="Freeform 96">
              <a:extLst>
                <a:ext uri="{FF2B5EF4-FFF2-40B4-BE49-F238E27FC236}">
                  <a16:creationId xmlns:a16="http://schemas.microsoft.com/office/drawing/2014/main" id="{EB63EA8D-23A1-4C8D-9E62-B05CBD1CC189}"/>
                </a:ext>
              </a:extLst>
            </p:cNvPr>
            <p:cNvSpPr>
              <a:spLocks noEditPoints="1"/>
            </p:cNvSpPr>
            <p:nvPr/>
          </p:nvSpPr>
          <p:spPr bwMode="auto">
            <a:xfrm>
              <a:off x="4266474" y="1568784"/>
              <a:ext cx="980524" cy="1286013"/>
            </a:xfrm>
            <a:custGeom>
              <a:avLst/>
              <a:gdLst>
                <a:gd name="T0" fmla="*/ 520 w 1965"/>
                <a:gd name="T1" fmla="*/ 529 h 2570"/>
                <a:gd name="T2" fmla="*/ 983 w 1965"/>
                <a:gd name="T3" fmla="*/ 0 h 2570"/>
                <a:gd name="T4" fmla="*/ 1446 w 1965"/>
                <a:gd name="T5" fmla="*/ 529 h 2570"/>
                <a:gd name="T6" fmla="*/ 983 w 1965"/>
                <a:gd name="T7" fmla="*/ 1058 h 2570"/>
                <a:gd name="T8" fmla="*/ 520 w 1965"/>
                <a:gd name="T9" fmla="*/ 529 h 2570"/>
                <a:gd name="T10" fmla="*/ 1965 w 1965"/>
                <a:gd name="T11" fmla="*/ 1684 h 2570"/>
                <a:gd name="T12" fmla="*/ 1648 w 1965"/>
                <a:gd name="T13" fmla="*/ 1302 h 2570"/>
                <a:gd name="T14" fmla="*/ 1648 w 1965"/>
                <a:gd name="T15" fmla="*/ 1302 h 2570"/>
                <a:gd name="T16" fmla="*/ 1310 w 1965"/>
                <a:gd name="T17" fmla="*/ 1278 h 2570"/>
                <a:gd name="T18" fmla="*/ 1310 w 1965"/>
                <a:gd name="T19" fmla="*/ 1278 h 2570"/>
                <a:gd name="T20" fmla="*/ 1310 w 1965"/>
                <a:gd name="T21" fmla="*/ 1278 h 2570"/>
                <a:gd name="T22" fmla="*/ 983 w 1965"/>
                <a:gd name="T23" fmla="*/ 1606 h 2570"/>
                <a:gd name="T24" fmla="*/ 983 w 1965"/>
                <a:gd name="T25" fmla="*/ 1606 h 2570"/>
                <a:gd name="T26" fmla="*/ 655 w 1965"/>
                <a:gd name="T27" fmla="*/ 1278 h 2570"/>
                <a:gd name="T28" fmla="*/ 655 w 1965"/>
                <a:gd name="T29" fmla="*/ 1278 h 2570"/>
                <a:gd name="T30" fmla="*/ 655 w 1965"/>
                <a:gd name="T31" fmla="*/ 1278 h 2570"/>
                <a:gd name="T32" fmla="*/ 317 w 1965"/>
                <a:gd name="T33" fmla="*/ 1302 h 2570"/>
                <a:gd name="T34" fmla="*/ 317 w 1965"/>
                <a:gd name="T35" fmla="*/ 1302 h 2570"/>
                <a:gd name="T36" fmla="*/ 0 w 1965"/>
                <a:gd name="T37" fmla="*/ 1684 h 2570"/>
                <a:gd name="T38" fmla="*/ 0 w 1965"/>
                <a:gd name="T39" fmla="*/ 1684 h 2570"/>
                <a:gd name="T40" fmla="*/ 0 w 1965"/>
                <a:gd name="T41" fmla="*/ 2570 h 2570"/>
                <a:gd name="T42" fmla="*/ 1965 w 1965"/>
                <a:gd name="T43" fmla="*/ 2570 h 2570"/>
                <a:gd name="T44" fmla="*/ 1965 w 1965"/>
                <a:gd name="T45" fmla="*/ 1684 h 2570"/>
                <a:gd name="T46" fmla="*/ 1965 w 1965"/>
                <a:gd name="T47" fmla="*/ 1684 h 2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5" h="2570">
                  <a:moveTo>
                    <a:pt x="520" y="529"/>
                  </a:moveTo>
                  <a:cubicBezTo>
                    <a:pt x="520" y="212"/>
                    <a:pt x="707" y="0"/>
                    <a:pt x="983" y="0"/>
                  </a:cubicBezTo>
                  <a:cubicBezTo>
                    <a:pt x="1258" y="0"/>
                    <a:pt x="1446" y="212"/>
                    <a:pt x="1446" y="529"/>
                  </a:cubicBezTo>
                  <a:cubicBezTo>
                    <a:pt x="1446" y="846"/>
                    <a:pt x="1258" y="1058"/>
                    <a:pt x="983" y="1058"/>
                  </a:cubicBezTo>
                  <a:cubicBezTo>
                    <a:pt x="707" y="1058"/>
                    <a:pt x="520" y="846"/>
                    <a:pt x="520" y="529"/>
                  </a:cubicBezTo>
                  <a:close/>
                  <a:moveTo>
                    <a:pt x="1965" y="1684"/>
                  </a:moveTo>
                  <a:cubicBezTo>
                    <a:pt x="1961" y="1464"/>
                    <a:pt x="1835" y="1316"/>
                    <a:pt x="1648" y="1302"/>
                  </a:cubicBezTo>
                  <a:cubicBezTo>
                    <a:pt x="1648" y="1302"/>
                    <a:pt x="1648" y="1302"/>
                    <a:pt x="1648" y="1302"/>
                  </a:cubicBezTo>
                  <a:cubicBezTo>
                    <a:pt x="1310" y="1278"/>
                    <a:pt x="1310" y="1278"/>
                    <a:pt x="1310" y="1278"/>
                  </a:cubicBezTo>
                  <a:cubicBezTo>
                    <a:pt x="1310" y="1278"/>
                    <a:pt x="1310" y="1278"/>
                    <a:pt x="1310" y="1278"/>
                  </a:cubicBezTo>
                  <a:cubicBezTo>
                    <a:pt x="1310" y="1278"/>
                    <a:pt x="1310" y="1278"/>
                    <a:pt x="1310" y="1278"/>
                  </a:cubicBezTo>
                  <a:cubicBezTo>
                    <a:pt x="983" y="1606"/>
                    <a:pt x="983" y="1606"/>
                    <a:pt x="983" y="1606"/>
                  </a:cubicBezTo>
                  <a:cubicBezTo>
                    <a:pt x="983" y="1606"/>
                    <a:pt x="983" y="1606"/>
                    <a:pt x="983" y="1606"/>
                  </a:cubicBezTo>
                  <a:cubicBezTo>
                    <a:pt x="655" y="1278"/>
                    <a:pt x="655" y="1278"/>
                    <a:pt x="655" y="1278"/>
                  </a:cubicBezTo>
                  <a:cubicBezTo>
                    <a:pt x="655" y="1278"/>
                    <a:pt x="655" y="1278"/>
                    <a:pt x="655" y="1278"/>
                  </a:cubicBezTo>
                  <a:cubicBezTo>
                    <a:pt x="655" y="1278"/>
                    <a:pt x="655" y="1278"/>
                    <a:pt x="655" y="1278"/>
                  </a:cubicBezTo>
                  <a:cubicBezTo>
                    <a:pt x="317" y="1302"/>
                    <a:pt x="317" y="1302"/>
                    <a:pt x="317" y="1302"/>
                  </a:cubicBezTo>
                  <a:cubicBezTo>
                    <a:pt x="317" y="1302"/>
                    <a:pt x="317" y="1302"/>
                    <a:pt x="317" y="1302"/>
                  </a:cubicBezTo>
                  <a:cubicBezTo>
                    <a:pt x="130" y="1316"/>
                    <a:pt x="4" y="1464"/>
                    <a:pt x="0" y="1684"/>
                  </a:cubicBezTo>
                  <a:cubicBezTo>
                    <a:pt x="0" y="1684"/>
                    <a:pt x="0" y="1684"/>
                    <a:pt x="0" y="1684"/>
                  </a:cubicBezTo>
                  <a:cubicBezTo>
                    <a:pt x="0" y="1761"/>
                    <a:pt x="0" y="2183"/>
                    <a:pt x="0" y="2570"/>
                  </a:cubicBezTo>
                  <a:cubicBezTo>
                    <a:pt x="1965" y="2570"/>
                    <a:pt x="1965" y="2570"/>
                    <a:pt x="1965" y="2570"/>
                  </a:cubicBezTo>
                  <a:cubicBezTo>
                    <a:pt x="1965" y="2183"/>
                    <a:pt x="1965" y="1761"/>
                    <a:pt x="1965" y="1684"/>
                  </a:cubicBezTo>
                  <a:cubicBezTo>
                    <a:pt x="1965" y="1684"/>
                    <a:pt x="1965" y="1684"/>
                    <a:pt x="1965" y="1684"/>
                  </a:cubicBezTo>
                  <a:close/>
                </a:path>
              </a:pathLst>
            </a:custGeom>
            <a:solidFill>
              <a:srgbClr val="00646E"/>
            </a:solidFill>
            <a:ln>
              <a:noFill/>
            </a:ln>
          </p:spPr>
          <p:txBody>
            <a:bodyPr vert="horz" wrap="square" lIns="91392" tIns="45696" rIns="91392" bIns="45696" numCol="1" anchor="t" anchorCtr="0" compatLnSpc="1">
              <a:prstTxWarp prst="textNoShape">
                <a:avLst/>
              </a:prstTxWarp>
            </a:bodyPr>
            <a:lstStyle/>
            <a:p>
              <a:endParaRPr lang="en-US" sz="1799" dirty="0"/>
            </a:p>
          </p:txBody>
        </p:sp>
      </p:grpSp>
      <p:grpSp>
        <p:nvGrpSpPr>
          <p:cNvPr id="89" name="Gruppieren 6">
            <a:extLst>
              <a:ext uri="{FF2B5EF4-FFF2-40B4-BE49-F238E27FC236}">
                <a16:creationId xmlns:a16="http://schemas.microsoft.com/office/drawing/2014/main" id="{3C7036F9-3252-4B85-A818-9F7AF4D72C18}"/>
              </a:ext>
            </a:extLst>
          </p:cNvPr>
          <p:cNvGrpSpPr/>
          <p:nvPr/>
        </p:nvGrpSpPr>
        <p:grpSpPr>
          <a:xfrm>
            <a:off x="5327858" y="3863549"/>
            <a:ext cx="1188000" cy="2301945"/>
            <a:chOff x="4162426" y="1414801"/>
            <a:chExt cx="1188619" cy="2303144"/>
          </a:xfrm>
        </p:grpSpPr>
        <p:sp>
          <p:nvSpPr>
            <p:cNvPr id="90" name="Textfeld 8">
              <a:extLst>
                <a:ext uri="{FF2B5EF4-FFF2-40B4-BE49-F238E27FC236}">
                  <a16:creationId xmlns:a16="http://schemas.microsoft.com/office/drawing/2014/main" id="{F5783A18-EE14-4878-BC21-09B6FE8BF389}"/>
                </a:ext>
              </a:extLst>
            </p:cNvPr>
            <p:cNvSpPr txBox="1">
              <a:spLocks/>
            </p:cNvSpPr>
            <p:nvPr/>
          </p:nvSpPr>
          <p:spPr bwMode="gray">
            <a:xfrm>
              <a:off x="4162426" y="2853945"/>
              <a:ext cx="1188619" cy="86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71963" rIns="0" bIns="0" rtlCol="0" anchor="t">
              <a:noAutofit/>
            </a:bodyPr>
            <a:lstStyle/>
            <a:p>
              <a:pPr>
                <a:spcBef>
                  <a:spcPct val="0"/>
                </a:spcBef>
                <a:buClr>
                  <a:srgbClr val="879BAA"/>
                </a:buClr>
              </a:pPr>
              <a:r>
                <a:rPr lang="en-US" sz="1199" b="1" kern="1400" dirty="0">
                  <a:solidFill>
                    <a:srgbClr val="00646E"/>
                  </a:solidFill>
                  <a:ea typeface="ＭＳ Ｐゴシック" pitchFamily="34" charset="-128"/>
                  <a:cs typeface="Arial" charset="0"/>
                </a:rPr>
                <a:t>Gregor Goodjobs</a:t>
              </a:r>
            </a:p>
            <a:p>
              <a:pPr>
                <a:spcBef>
                  <a:spcPts val="300"/>
                </a:spcBef>
                <a:buClr>
                  <a:srgbClr val="879BAA"/>
                </a:buClr>
              </a:pPr>
              <a:r>
                <a:rPr lang="en-US" sz="1199" dirty="0">
                  <a:solidFill>
                    <a:srgbClr val="66667E"/>
                  </a:solidFill>
                  <a:cs typeface="Arial" charset="0"/>
                </a:rPr>
                <a:t>At vero eos et accusam</a:t>
              </a:r>
            </a:p>
          </p:txBody>
        </p:sp>
        <p:sp>
          <p:nvSpPr>
            <p:cNvPr id="91" name="Rechteck 40">
              <a:extLst>
                <a:ext uri="{FF2B5EF4-FFF2-40B4-BE49-F238E27FC236}">
                  <a16:creationId xmlns:a16="http://schemas.microsoft.com/office/drawing/2014/main" id="{993549AB-0A2A-4AF2-9221-0084146998EB}"/>
                </a:ext>
              </a:extLst>
            </p:cNvPr>
            <p:cNvSpPr>
              <a:spLocks/>
            </p:cNvSpPr>
            <p:nvPr/>
          </p:nvSpPr>
          <p:spPr bwMode="auto">
            <a:xfrm>
              <a:off x="4162426" y="1414801"/>
              <a:ext cx="1188619" cy="1440750"/>
            </a:xfrm>
            <a:prstGeom prst="rect">
              <a:avLst/>
            </a:prstGeom>
            <a:solidFill>
              <a:srgbClr val="E5E5E9"/>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92" name="Freeform 96">
              <a:extLst>
                <a:ext uri="{FF2B5EF4-FFF2-40B4-BE49-F238E27FC236}">
                  <a16:creationId xmlns:a16="http://schemas.microsoft.com/office/drawing/2014/main" id="{0E41BE4F-0AA7-4ADC-ADEA-0F17F2515578}"/>
                </a:ext>
              </a:extLst>
            </p:cNvPr>
            <p:cNvSpPr>
              <a:spLocks noEditPoints="1"/>
            </p:cNvSpPr>
            <p:nvPr/>
          </p:nvSpPr>
          <p:spPr bwMode="auto">
            <a:xfrm>
              <a:off x="4266474" y="1568784"/>
              <a:ext cx="980524" cy="1286013"/>
            </a:xfrm>
            <a:custGeom>
              <a:avLst/>
              <a:gdLst>
                <a:gd name="T0" fmla="*/ 520 w 1965"/>
                <a:gd name="T1" fmla="*/ 529 h 2570"/>
                <a:gd name="T2" fmla="*/ 983 w 1965"/>
                <a:gd name="T3" fmla="*/ 0 h 2570"/>
                <a:gd name="T4" fmla="*/ 1446 w 1965"/>
                <a:gd name="T5" fmla="*/ 529 h 2570"/>
                <a:gd name="T6" fmla="*/ 983 w 1965"/>
                <a:gd name="T7" fmla="*/ 1058 h 2570"/>
                <a:gd name="T8" fmla="*/ 520 w 1965"/>
                <a:gd name="T9" fmla="*/ 529 h 2570"/>
                <a:gd name="T10" fmla="*/ 1965 w 1965"/>
                <a:gd name="T11" fmla="*/ 1684 h 2570"/>
                <a:gd name="T12" fmla="*/ 1648 w 1965"/>
                <a:gd name="T13" fmla="*/ 1302 h 2570"/>
                <a:gd name="T14" fmla="*/ 1648 w 1965"/>
                <a:gd name="T15" fmla="*/ 1302 h 2570"/>
                <a:gd name="T16" fmla="*/ 1310 w 1965"/>
                <a:gd name="T17" fmla="*/ 1278 h 2570"/>
                <a:gd name="T18" fmla="*/ 1310 w 1965"/>
                <a:gd name="T19" fmla="*/ 1278 h 2570"/>
                <a:gd name="T20" fmla="*/ 1310 w 1965"/>
                <a:gd name="T21" fmla="*/ 1278 h 2570"/>
                <a:gd name="T22" fmla="*/ 983 w 1965"/>
                <a:gd name="T23" fmla="*/ 1606 h 2570"/>
                <a:gd name="T24" fmla="*/ 983 w 1965"/>
                <a:gd name="T25" fmla="*/ 1606 h 2570"/>
                <a:gd name="T26" fmla="*/ 655 w 1965"/>
                <a:gd name="T27" fmla="*/ 1278 h 2570"/>
                <a:gd name="T28" fmla="*/ 655 w 1965"/>
                <a:gd name="T29" fmla="*/ 1278 h 2570"/>
                <a:gd name="T30" fmla="*/ 655 w 1965"/>
                <a:gd name="T31" fmla="*/ 1278 h 2570"/>
                <a:gd name="T32" fmla="*/ 317 w 1965"/>
                <a:gd name="T33" fmla="*/ 1302 h 2570"/>
                <a:gd name="T34" fmla="*/ 317 w 1965"/>
                <a:gd name="T35" fmla="*/ 1302 h 2570"/>
                <a:gd name="T36" fmla="*/ 0 w 1965"/>
                <a:gd name="T37" fmla="*/ 1684 h 2570"/>
                <a:gd name="T38" fmla="*/ 0 w 1965"/>
                <a:gd name="T39" fmla="*/ 1684 h 2570"/>
                <a:gd name="T40" fmla="*/ 0 w 1965"/>
                <a:gd name="T41" fmla="*/ 2570 h 2570"/>
                <a:gd name="T42" fmla="*/ 1965 w 1965"/>
                <a:gd name="T43" fmla="*/ 2570 h 2570"/>
                <a:gd name="T44" fmla="*/ 1965 w 1965"/>
                <a:gd name="T45" fmla="*/ 1684 h 2570"/>
                <a:gd name="T46" fmla="*/ 1965 w 1965"/>
                <a:gd name="T47" fmla="*/ 1684 h 2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5" h="2570">
                  <a:moveTo>
                    <a:pt x="520" y="529"/>
                  </a:moveTo>
                  <a:cubicBezTo>
                    <a:pt x="520" y="212"/>
                    <a:pt x="707" y="0"/>
                    <a:pt x="983" y="0"/>
                  </a:cubicBezTo>
                  <a:cubicBezTo>
                    <a:pt x="1258" y="0"/>
                    <a:pt x="1446" y="212"/>
                    <a:pt x="1446" y="529"/>
                  </a:cubicBezTo>
                  <a:cubicBezTo>
                    <a:pt x="1446" y="846"/>
                    <a:pt x="1258" y="1058"/>
                    <a:pt x="983" y="1058"/>
                  </a:cubicBezTo>
                  <a:cubicBezTo>
                    <a:pt x="707" y="1058"/>
                    <a:pt x="520" y="846"/>
                    <a:pt x="520" y="529"/>
                  </a:cubicBezTo>
                  <a:close/>
                  <a:moveTo>
                    <a:pt x="1965" y="1684"/>
                  </a:moveTo>
                  <a:cubicBezTo>
                    <a:pt x="1961" y="1464"/>
                    <a:pt x="1835" y="1316"/>
                    <a:pt x="1648" y="1302"/>
                  </a:cubicBezTo>
                  <a:cubicBezTo>
                    <a:pt x="1648" y="1302"/>
                    <a:pt x="1648" y="1302"/>
                    <a:pt x="1648" y="1302"/>
                  </a:cubicBezTo>
                  <a:cubicBezTo>
                    <a:pt x="1310" y="1278"/>
                    <a:pt x="1310" y="1278"/>
                    <a:pt x="1310" y="1278"/>
                  </a:cubicBezTo>
                  <a:cubicBezTo>
                    <a:pt x="1310" y="1278"/>
                    <a:pt x="1310" y="1278"/>
                    <a:pt x="1310" y="1278"/>
                  </a:cubicBezTo>
                  <a:cubicBezTo>
                    <a:pt x="1310" y="1278"/>
                    <a:pt x="1310" y="1278"/>
                    <a:pt x="1310" y="1278"/>
                  </a:cubicBezTo>
                  <a:cubicBezTo>
                    <a:pt x="983" y="1606"/>
                    <a:pt x="983" y="1606"/>
                    <a:pt x="983" y="1606"/>
                  </a:cubicBezTo>
                  <a:cubicBezTo>
                    <a:pt x="983" y="1606"/>
                    <a:pt x="983" y="1606"/>
                    <a:pt x="983" y="1606"/>
                  </a:cubicBezTo>
                  <a:cubicBezTo>
                    <a:pt x="655" y="1278"/>
                    <a:pt x="655" y="1278"/>
                    <a:pt x="655" y="1278"/>
                  </a:cubicBezTo>
                  <a:cubicBezTo>
                    <a:pt x="655" y="1278"/>
                    <a:pt x="655" y="1278"/>
                    <a:pt x="655" y="1278"/>
                  </a:cubicBezTo>
                  <a:cubicBezTo>
                    <a:pt x="655" y="1278"/>
                    <a:pt x="655" y="1278"/>
                    <a:pt x="655" y="1278"/>
                  </a:cubicBezTo>
                  <a:cubicBezTo>
                    <a:pt x="317" y="1302"/>
                    <a:pt x="317" y="1302"/>
                    <a:pt x="317" y="1302"/>
                  </a:cubicBezTo>
                  <a:cubicBezTo>
                    <a:pt x="317" y="1302"/>
                    <a:pt x="317" y="1302"/>
                    <a:pt x="317" y="1302"/>
                  </a:cubicBezTo>
                  <a:cubicBezTo>
                    <a:pt x="130" y="1316"/>
                    <a:pt x="4" y="1464"/>
                    <a:pt x="0" y="1684"/>
                  </a:cubicBezTo>
                  <a:cubicBezTo>
                    <a:pt x="0" y="1684"/>
                    <a:pt x="0" y="1684"/>
                    <a:pt x="0" y="1684"/>
                  </a:cubicBezTo>
                  <a:cubicBezTo>
                    <a:pt x="0" y="1761"/>
                    <a:pt x="0" y="2183"/>
                    <a:pt x="0" y="2570"/>
                  </a:cubicBezTo>
                  <a:cubicBezTo>
                    <a:pt x="1965" y="2570"/>
                    <a:pt x="1965" y="2570"/>
                    <a:pt x="1965" y="2570"/>
                  </a:cubicBezTo>
                  <a:cubicBezTo>
                    <a:pt x="1965" y="2183"/>
                    <a:pt x="1965" y="1761"/>
                    <a:pt x="1965" y="1684"/>
                  </a:cubicBezTo>
                  <a:cubicBezTo>
                    <a:pt x="1965" y="1684"/>
                    <a:pt x="1965" y="1684"/>
                    <a:pt x="1965" y="1684"/>
                  </a:cubicBezTo>
                  <a:close/>
                </a:path>
              </a:pathLst>
            </a:custGeom>
            <a:solidFill>
              <a:srgbClr val="00646E"/>
            </a:solidFill>
            <a:ln>
              <a:noFill/>
            </a:ln>
          </p:spPr>
          <p:txBody>
            <a:bodyPr vert="horz" wrap="square" lIns="91392" tIns="45696" rIns="91392" bIns="45696" numCol="1" anchor="t" anchorCtr="0" compatLnSpc="1">
              <a:prstTxWarp prst="textNoShape">
                <a:avLst/>
              </a:prstTxWarp>
            </a:bodyPr>
            <a:lstStyle/>
            <a:p>
              <a:endParaRPr lang="en-US" sz="1799" dirty="0"/>
            </a:p>
          </p:txBody>
        </p:sp>
      </p:grpSp>
      <p:grpSp>
        <p:nvGrpSpPr>
          <p:cNvPr id="93" name="Gruppieren 6">
            <a:extLst>
              <a:ext uri="{FF2B5EF4-FFF2-40B4-BE49-F238E27FC236}">
                <a16:creationId xmlns:a16="http://schemas.microsoft.com/office/drawing/2014/main" id="{1CFED7B3-DFF9-47FA-BC7C-7BE429760979}"/>
              </a:ext>
            </a:extLst>
          </p:cNvPr>
          <p:cNvGrpSpPr/>
          <p:nvPr/>
        </p:nvGrpSpPr>
        <p:grpSpPr>
          <a:xfrm>
            <a:off x="6645691" y="3863549"/>
            <a:ext cx="1188000" cy="2301945"/>
            <a:chOff x="4162426" y="1414801"/>
            <a:chExt cx="1188619" cy="2303144"/>
          </a:xfrm>
        </p:grpSpPr>
        <p:sp>
          <p:nvSpPr>
            <p:cNvPr id="94" name="Textfeld 8">
              <a:extLst>
                <a:ext uri="{FF2B5EF4-FFF2-40B4-BE49-F238E27FC236}">
                  <a16:creationId xmlns:a16="http://schemas.microsoft.com/office/drawing/2014/main" id="{EA07E936-A156-4165-A717-F6B6A97C1CD4}"/>
                </a:ext>
              </a:extLst>
            </p:cNvPr>
            <p:cNvSpPr txBox="1">
              <a:spLocks/>
            </p:cNvSpPr>
            <p:nvPr/>
          </p:nvSpPr>
          <p:spPr bwMode="gray">
            <a:xfrm>
              <a:off x="4162426" y="2853945"/>
              <a:ext cx="1188619" cy="86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71963" rIns="0" bIns="0" rtlCol="0" anchor="t">
              <a:noAutofit/>
            </a:bodyPr>
            <a:lstStyle/>
            <a:p>
              <a:pPr>
                <a:spcBef>
                  <a:spcPct val="0"/>
                </a:spcBef>
                <a:buClr>
                  <a:srgbClr val="879BAA"/>
                </a:buClr>
              </a:pPr>
              <a:r>
                <a:rPr lang="en-US" sz="1199" b="1" kern="1400" dirty="0">
                  <a:solidFill>
                    <a:srgbClr val="00646E"/>
                  </a:solidFill>
                  <a:ea typeface="ＭＳ Ｐゴシック" pitchFamily="34" charset="-128"/>
                  <a:cs typeface="Arial" charset="0"/>
                </a:rPr>
                <a:t>Sam Sample</a:t>
              </a:r>
            </a:p>
            <a:p>
              <a:pPr>
                <a:spcBef>
                  <a:spcPts val="300"/>
                </a:spcBef>
                <a:buClr>
                  <a:srgbClr val="879BAA"/>
                </a:buClr>
              </a:pPr>
              <a:r>
                <a:rPr lang="en-US" sz="1199" dirty="0">
                  <a:solidFill>
                    <a:srgbClr val="66667E"/>
                  </a:solidFill>
                  <a:cs typeface="Arial" charset="0"/>
                </a:rPr>
                <a:t>At vero eos et accusam</a:t>
              </a:r>
            </a:p>
          </p:txBody>
        </p:sp>
        <p:sp>
          <p:nvSpPr>
            <p:cNvPr id="95" name="Rechteck 40">
              <a:extLst>
                <a:ext uri="{FF2B5EF4-FFF2-40B4-BE49-F238E27FC236}">
                  <a16:creationId xmlns:a16="http://schemas.microsoft.com/office/drawing/2014/main" id="{00473697-65CD-4FD9-92B8-AF4947A76567}"/>
                </a:ext>
              </a:extLst>
            </p:cNvPr>
            <p:cNvSpPr>
              <a:spLocks/>
            </p:cNvSpPr>
            <p:nvPr/>
          </p:nvSpPr>
          <p:spPr bwMode="auto">
            <a:xfrm>
              <a:off x="4162426" y="1414801"/>
              <a:ext cx="1188619" cy="1440750"/>
            </a:xfrm>
            <a:prstGeom prst="rect">
              <a:avLst/>
            </a:prstGeom>
            <a:solidFill>
              <a:srgbClr val="E5E5E9"/>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96" name="Freeform 96">
              <a:extLst>
                <a:ext uri="{FF2B5EF4-FFF2-40B4-BE49-F238E27FC236}">
                  <a16:creationId xmlns:a16="http://schemas.microsoft.com/office/drawing/2014/main" id="{0C1F0A3A-EED6-4EDE-9204-2F0E79EE3B66}"/>
                </a:ext>
              </a:extLst>
            </p:cNvPr>
            <p:cNvSpPr>
              <a:spLocks noEditPoints="1"/>
            </p:cNvSpPr>
            <p:nvPr/>
          </p:nvSpPr>
          <p:spPr bwMode="auto">
            <a:xfrm>
              <a:off x="4266474" y="1568784"/>
              <a:ext cx="980524" cy="1286013"/>
            </a:xfrm>
            <a:custGeom>
              <a:avLst/>
              <a:gdLst>
                <a:gd name="T0" fmla="*/ 520 w 1965"/>
                <a:gd name="T1" fmla="*/ 529 h 2570"/>
                <a:gd name="T2" fmla="*/ 983 w 1965"/>
                <a:gd name="T3" fmla="*/ 0 h 2570"/>
                <a:gd name="T4" fmla="*/ 1446 w 1965"/>
                <a:gd name="T5" fmla="*/ 529 h 2570"/>
                <a:gd name="T6" fmla="*/ 983 w 1965"/>
                <a:gd name="T7" fmla="*/ 1058 h 2570"/>
                <a:gd name="T8" fmla="*/ 520 w 1965"/>
                <a:gd name="T9" fmla="*/ 529 h 2570"/>
                <a:gd name="T10" fmla="*/ 1965 w 1965"/>
                <a:gd name="T11" fmla="*/ 1684 h 2570"/>
                <a:gd name="T12" fmla="*/ 1648 w 1965"/>
                <a:gd name="T13" fmla="*/ 1302 h 2570"/>
                <a:gd name="T14" fmla="*/ 1648 w 1965"/>
                <a:gd name="T15" fmla="*/ 1302 h 2570"/>
                <a:gd name="T16" fmla="*/ 1310 w 1965"/>
                <a:gd name="T17" fmla="*/ 1278 h 2570"/>
                <a:gd name="T18" fmla="*/ 1310 w 1965"/>
                <a:gd name="T19" fmla="*/ 1278 h 2570"/>
                <a:gd name="T20" fmla="*/ 1310 w 1965"/>
                <a:gd name="T21" fmla="*/ 1278 h 2570"/>
                <a:gd name="T22" fmla="*/ 983 w 1965"/>
                <a:gd name="T23" fmla="*/ 1606 h 2570"/>
                <a:gd name="T24" fmla="*/ 983 w 1965"/>
                <a:gd name="T25" fmla="*/ 1606 h 2570"/>
                <a:gd name="T26" fmla="*/ 655 w 1965"/>
                <a:gd name="T27" fmla="*/ 1278 h 2570"/>
                <a:gd name="T28" fmla="*/ 655 w 1965"/>
                <a:gd name="T29" fmla="*/ 1278 h 2570"/>
                <a:gd name="T30" fmla="*/ 655 w 1965"/>
                <a:gd name="T31" fmla="*/ 1278 h 2570"/>
                <a:gd name="T32" fmla="*/ 317 w 1965"/>
                <a:gd name="T33" fmla="*/ 1302 h 2570"/>
                <a:gd name="T34" fmla="*/ 317 w 1965"/>
                <a:gd name="T35" fmla="*/ 1302 h 2570"/>
                <a:gd name="T36" fmla="*/ 0 w 1965"/>
                <a:gd name="T37" fmla="*/ 1684 h 2570"/>
                <a:gd name="T38" fmla="*/ 0 w 1965"/>
                <a:gd name="T39" fmla="*/ 1684 h 2570"/>
                <a:gd name="T40" fmla="*/ 0 w 1965"/>
                <a:gd name="T41" fmla="*/ 2570 h 2570"/>
                <a:gd name="T42" fmla="*/ 1965 w 1965"/>
                <a:gd name="T43" fmla="*/ 2570 h 2570"/>
                <a:gd name="T44" fmla="*/ 1965 w 1965"/>
                <a:gd name="T45" fmla="*/ 1684 h 2570"/>
                <a:gd name="T46" fmla="*/ 1965 w 1965"/>
                <a:gd name="T47" fmla="*/ 1684 h 2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5" h="2570">
                  <a:moveTo>
                    <a:pt x="520" y="529"/>
                  </a:moveTo>
                  <a:cubicBezTo>
                    <a:pt x="520" y="212"/>
                    <a:pt x="707" y="0"/>
                    <a:pt x="983" y="0"/>
                  </a:cubicBezTo>
                  <a:cubicBezTo>
                    <a:pt x="1258" y="0"/>
                    <a:pt x="1446" y="212"/>
                    <a:pt x="1446" y="529"/>
                  </a:cubicBezTo>
                  <a:cubicBezTo>
                    <a:pt x="1446" y="846"/>
                    <a:pt x="1258" y="1058"/>
                    <a:pt x="983" y="1058"/>
                  </a:cubicBezTo>
                  <a:cubicBezTo>
                    <a:pt x="707" y="1058"/>
                    <a:pt x="520" y="846"/>
                    <a:pt x="520" y="529"/>
                  </a:cubicBezTo>
                  <a:close/>
                  <a:moveTo>
                    <a:pt x="1965" y="1684"/>
                  </a:moveTo>
                  <a:cubicBezTo>
                    <a:pt x="1961" y="1464"/>
                    <a:pt x="1835" y="1316"/>
                    <a:pt x="1648" y="1302"/>
                  </a:cubicBezTo>
                  <a:cubicBezTo>
                    <a:pt x="1648" y="1302"/>
                    <a:pt x="1648" y="1302"/>
                    <a:pt x="1648" y="1302"/>
                  </a:cubicBezTo>
                  <a:cubicBezTo>
                    <a:pt x="1310" y="1278"/>
                    <a:pt x="1310" y="1278"/>
                    <a:pt x="1310" y="1278"/>
                  </a:cubicBezTo>
                  <a:cubicBezTo>
                    <a:pt x="1310" y="1278"/>
                    <a:pt x="1310" y="1278"/>
                    <a:pt x="1310" y="1278"/>
                  </a:cubicBezTo>
                  <a:cubicBezTo>
                    <a:pt x="1310" y="1278"/>
                    <a:pt x="1310" y="1278"/>
                    <a:pt x="1310" y="1278"/>
                  </a:cubicBezTo>
                  <a:cubicBezTo>
                    <a:pt x="983" y="1606"/>
                    <a:pt x="983" y="1606"/>
                    <a:pt x="983" y="1606"/>
                  </a:cubicBezTo>
                  <a:cubicBezTo>
                    <a:pt x="983" y="1606"/>
                    <a:pt x="983" y="1606"/>
                    <a:pt x="983" y="1606"/>
                  </a:cubicBezTo>
                  <a:cubicBezTo>
                    <a:pt x="655" y="1278"/>
                    <a:pt x="655" y="1278"/>
                    <a:pt x="655" y="1278"/>
                  </a:cubicBezTo>
                  <a:cubicBezTo>
                    <a:pt x="655" y="1278"/>
                    <a:pt x="655" y="1278"/>
                    <a:pt x="655" y="1278"/>
                  </a:cubicBezTo>
                  <a:cubicBezTo>
                    <a:pt x="655" y="1278"/>
                    <a:pt x="655" y="1278"/>
                    <a:pt x="655" y="1278"/>
                  </a:cubicBezTo>
                  <a:cubicBezTo>
                    <a:pt x="317" y="1302"/>
                    <a:pt x="317" y="1302"/>
                    <a:pt x="317" y="1302"/>
                  </a:cubicBezTo>
                  <a:cubicBezTo>
                    <a:pt x="317" y="1302"/>
                    <a:pt x="317" y="1302"/>
                    <a:pt x="317" y="1302"/>
                  </a:cubicBezTo>
                  <a:cubicBezTo>
                    <a:pt x="130" y="1316"/>
                    <a:pt x="4" y="1464"/>
                    <a:pt x="0" y="1684"/>
                  </a:cubicBezTo>
                  <a:cubicBezTo>
                    <a:pt x="0" y="1684"/>
                    <a:pt x="0" y="1684"/>
                    <a:pt x="0" y="1684"/>
                  </a:cubicBezTo>
                  <a:cubicBezTo>
                    <a:pt x="0" y="1761"/>
                    <a:pt x="0" y="2183"/>
                    <a:pt x="0" y="2570"/>
                  </a:cubicBezTo>
                  <a:cubicBezTo>
                    <a:pt x="1965" y="2570"/>
                    <a:pt x="1965" y="2570"/>
                    <a:pt x="1965" y="2570"/>
                  </a:cubicBezTo>
                  <a:cubicBezTo>
                    <a:pt x="1965" y="2183"/>
                    <a:pt x="1965" y="1761"/>
                    <a:pt x="1965" y="1684"/>
                  </a:cubicBezTo>
                  <a:cubicBezTo>
                    <a:pt x="1965" y="1684"/>
                    <a:pt x="1965" y="1684"/>
                    <a:pt x="1965" y="1684"/>
                  </a:cubicBezTo>
                  <a:close/>
                </a:path>
              </a:pathLst>
            </a:custGeom>
            <a:solidFill>
              <a:srgbClr val="00646E"/>
            </a:solidFill>
            <a:ln>
              <a:noFill/>
            </a:ln>
          </p:spPr>
          <p:txBody>
            <a:bodyPr vert="horz" wrap="square" lIns="91392" tIns="45696" rIns="91392" bIns="45696" numCol="1" anchor="t" anchorCtr="0" compatLnSpc="1">
              <a:prstTxWarp prst="textNoShape">
                <a:avLst/>
              </a:prstTxWarp>
            </a:bodyPr>
            <a:lstStyle/>
            <a:p>
              <a:endParaRPr lang="en-US" sz="1799" dirty="0"/>
            </a:p>
          </p:txBody>
        </p:sp>
      </p:grpSp>
      <p:grpSp>
        <p:nvGrpSpPr>
          <p:cNvPr id="97" name="Gruppieren 6">
            <a:extLst>
              <a:ext uri="{FF2B5EF4-FFF2-40B4-BE49-F238E27FC236}">
                <a16:creationId xmlns:a16="http://schemas.microsoft.com/office/drawing/2014/main" id="{D416278D-FD5A-420E-A1DB-42623187DCD0}"/>
              </a:ext>
            </a:extLst>
          </p:cNvPr>
          <p:cNvGrpSpPr/>
          <p:nvPr/>
        </p:nvGrpSpPr>
        <p:grpSpPr>
          <a:xfrm>
            <a:off x="7963524" y="3863549"/>
            <a:ext cx="1188000" cy="2301945"/>
            <a:chOff x="4162426" y="1414801"/>
            <a:chExt cx="1188619" cy="2303144"/>
          </a:xfrm>
        </p:grpSpPr>
        <p:sp>
          <p:nvSpPr>
            <p:cNvPr id="98" name="Textfeld 8">
              <a:extLst>
                <a:ext uri="{FF2B5EF4-FFF2-40B4-BE49-F238E27FC236}">
                  <a16:creationId xmlns:a16="http://schemas.microsoft.com/office/drawing/2014/main" id="{FCA52E2B-A1E3-4068-8DD9-E1119116920C}"/>
                </a:ext>
              </a:extLst>
            </p:cNvPr>
            <p:cNvSpPr txBox="1">
              <a:spLocks/>
            </p:cNvSpPr>
            <p:nvPr/>
          </p:nvSpPr>
          <p:spPr bwMode="gray">
            <a:xfrm>
              <a:off x="4162426" y="2853945"/>
              <a:ext cx="1188619" cy="86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71963" rIns="0" bIns="0" rtlCol="0" anchor="t">
              <a:noAutofit/>
            </a:bodyPr>
            <a:lstStyle/>
            <a:p>
              <a:pPr>
                <a:spcBef>
                  <a:spcPct val="0"/>
                </a:spcBef>
                <a:buClr>
                  <a:srgbClr val="879BAA"/>
                </a:buClr>
              </a:pPr>
              <a:r>
                <a:rPr lang="en-US" sz="1199" b="1" kern="1400" dirty="0">
                  <a:solidFill>
                    <a:srgbClr val="00646E"/>
                  </a:solidFill>
                  <a:ea typeface="ＭＳ Ｐゴシック" pitchFamily="34" charset="-128"/>
                  <a:cs typeface="Arial" charset="0"/>
                </a:rPr>
                <a:t>Marianne Mastermind</a:t>
              </a:r>
            </a:p>
            <a:p>
              <a:pPr>
                <a:spcBef>
                  <a:spcPts val="300"/>
                </a:spcBef>
                <a:buClr>
                  <a:srgbClr val="879BAA"/>
                </a:buClr>
              </a:pPr>
              <a:r>
                <a:rPr lang="en-US" sz="1199" dirty="0">
                  <a:solidFill>
                    <a:srgbClr val="66667E"/>
                  </a:solidFill>
                  <a:cs typeface="Arial" charset="0"/>
                </a:rPr>
                <a:t>At vero eos et accusam</a:t>
              </a:r>
            </a:p>
          </p:txBody>
        </p:sp>
        <p:sp>
          <p:nvSpPr>
            <p:cNvPr id="99" name="Rechteck 40">
              <a:extLst>
                <a:ext uri="{FF2B5EF4-FFF2-40B4-BE49-F238E27FC236}">
                  <a16:creationId xmlns:a16="http://schemas.microsoft.com/office/drawing/2014/main" id="{F6CF4554-089C-40F7-9EB7-42492D1F063C}"/>
                </a:ext>
              </a:extLst>
            </p:cNvPr>
            <p:cNvSpPr>
              <a:spLocks/>
            </p:cNvSpPr>
            <p:nvPr/>
          </p:nvSpPr>
          <p:spPr bwMode="auto">
            <a:xfrm>
              <a:off x="4162426" y="1414801"/>
              <a:ext cx="1188619" cy="1440750"/>
            </a:xfrm>
            <a:prstGeom prst="rect">
              <a:avLst/>
            </a:prstGeom>
            <a:solidFill>
              <a:srgbClr val="E5E5E9"/>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00" name="Freeform 96">
              <a:extLst>
                <a:ext uri="{FF2B5EF4-FFF2-40B4-BE49-F238E27FC236}">
                  <a16:creationId xmlns:a16="http://schemas.microsoft.com/office/drawing/2014/main" id="{39F04301-0549-4D7C-B56A-AF8BDDF0599F}"/>
                </a:ext>
              </a:extLst>
            </p:cNvPr>
            <p:cNvSpPr>
              <a:spLocks noEditPoints="1"/>
            </p:cNvSpPr>
            <p:nvPr/>
          </p:nvSpPr>
          <p:spPr bwMode="auto">
            <a:xfrm>
              <a:off x="4266474" y="1568784"/>
              <a:ext cx="980524" cy="1286013"/>
            </a:xfrm>
            <a:custGeom>
              <a:avLst/>
              <a:gdLst>
                <a:gd name="T0" fmla="*/ 520 w 1965"/>
                <a:gd name="T1" fmla="*/ 529 h 2570"/>
                <a:gd name="T2" fmla="*/ 983 w 1965"/>
                <a:gd name="T3" fmla="*/ 0 h 2570"/>
                <a:gd name="T4" fmla="*/ 1446 w 1965"/>
                <a:gd name="T5" fmla="*/ 529 h 2570"/>
                <a:gd name="T6" fmla="*/ 983 w 1965"/>
                <a:gd name="T7" fmla="*/ 1058 h 2570"/>
                <a:gd name="T8" fmla="*/ 520 w 1965"/>
                <a:gd name="T9" fmla="*/ 529 h 2570"/>
                <a:gd name="T10" fmla="*/ 1965 w 1965"/>
                <a:gd name="T11" fmla="*/ 1684 h 2570"/>
                <a:gd name="T12" fmla="*/ 1648 w 1965"/>
                <a:gd name="T13" fmla="*/ 1302 h 2570"/>
                <a:gd name="T14" fmla="*/ 1648 w 1965"/>
                <a:gd name="T15" fmla="*/ 1302 h 2570"/>
                <a:gd name="T16" fmla="*/ 1310 w 1965"/>
                <a:gd name="T17" fmla="*/ 1278 h 2570"/>
                <a:gd name="T18" fmla="*/ 1310 w 1965"/>
                <a:gd name="T19" fmla="*/ 1278 h 2570"/>
                <a:gd name="T20" fmla="*/ 1310 w 1965"/>
                <a:gd name="T21" fmla="*/ 1278 h 2570"/>
                <a:gd name="T22" fmla="*/ 983 w 1965"/>
                <a:gd name="T23" fmla="*/ 1606 h 2570"/>
                <a:gd name="T24" fmla="*/ 983 w 1965"/>
                <a:gd name="T25" fmla="*/ 1606 h 2570"/>
                <a:gd name="T26" fmla="*/ 655 w 1965"/>
                <a:gd name="T27" fmla="*/ 1278 h 2570"/>
                <a:gd name="T28" fmla="*/ 655 w 1965"/>
                <a:gd name="T29" fmla="*/ 1278 h 2570"/>
                <a:gd name="T30" fmla="*/ 655 w 1965"/>
                <a:gd name="T31" fmla="*/ 1278 h 2570"/>
                <a:gd name="T32" fmla="*/ 317 w 1965"/>
                <a:gd name="T33" fmla="*/ 1302 h 2570"/>
                <a:gd name="T34" fmla="*/ 317 w 1965"/>
                <a:gd name="T35" fmla="*/ 1302 h 2570"/>
                <a:gd name="T36" fmla="*/ 0 w 1965"/>
                <a:gd name="T37" fmla="*/ 1684 h 2570"/>
                <a:gd name="T38" fmla="*/ 0 w 1965"/>
                <a:gd name="T39" fmla="*/ 1684 h 2570"/>
                <a:gd name="T40" fmla="*/ 0 w 1965"/>
                <a:gd name="T41" fmla="*/ 2570 h 2570"/>
                <a:gd name="T42" fmla="*/ 1965 w 1965"/>
                <a:gd name="T43" fmla="*/ 2570 h 2570"/>
                <a:gd name="T44" fmla="*/ 1965 w 1965"/>
                <a:gd name="T45" fmla="*/ 1684 h 2570"/>
                <a:gd name="T46" fmla="*/ 1965 w 1965"/>
                <a:gd name="T47" fmla="*/ 1684 h 2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5" h="2570">
                  <a:moveTo>
                    <a:pt x="520" y="529"/>
                  </a:moveTo>
                  <a:cubicBezTo>
                    <a:pt x="520" y="212"/>
                    <a:pt x="707" y="0"/>
                    <a:pt x="983" y="0"/>
                  </a:cubicBezTo>
                  <a:cubicBezTo>
                    <a:pt x="1258" y="0"/>
                    <a:pt x="1446" y="212"/>
                    <a:pt x="1446" y="529"/>
                  </a:cubicBezTo>
                  <a:cubicBezTo>
                    <a:pt x="1446" y="846"/>
                    <a:pt x="1258" y="1058"/>
                    <a:pt x="983" y="1058"/>
                  </a:cubicBezTo>
                  <a:cubicBezTo>
                    <a:pt x="707" y="1058"/>
                    <a:pt x="520" y="846"/>
                    <a:pt x="520" y="529"/>
                  </a:cubicBezTo>
                  <a:close/>
                  <a:moveTo>
                    <a:pt x="1965" y="1684"/>
                  </a:moveTo>
                  <a:cubicBezTo>
                    <a:pt x="1961" y="1464"/>
                    <a:pt x="1835" y="1316"/>
                    <a:pt x="1648" y="1302"/>
                  </a:cubicBezTo>
                  <a:cubicBezTo>
                    <a:pt x="1648" y="1302"/>
                    <a:pt x="1648" y="1302"/>
                    <a:pt x="1648" y="1302"/>
                  </a:cubicBezTo>
                  <a:cubicBezTo>
                    <a:pt x="1310" y="1278"/>
                    <a:pt x="1310" y="1278"/>
                    <a:pt x="1310" y="1278"/>
                  </a:cubicBezTo>
                  <a:cubicBezTo>
                    <a:pt x="1310" y="1278"/>
                    <a:pt x="1310" y="1278"/>
                    <a:pt x="1310" y="1278"/>
                  </a:cubicBezTo>
                  <a:cubicBezTo>
                    <a:pt x="1310" y="1278"/>
                    <a:pt x="1310" y="1278"/>
                    <a:pt x="1310" y="1278"/>
                  </a:cubicBezTo>
                  <a:cubicBezTo>
                    <a:pt x="983" y="1606"/>
                    <a:pt x="983" y="1606"/>
                    <a:pt x="983" y="1606"/>
                  </a:cubicBezTo>
                  <a:cubicBezTo>
                    <a:pt x="983" y="1606"/>
                    <a:pt x="983" y="1606"/>
                    <a:pt x="983" y="1606"/>
                  </a:cubicBezTo>
                  <a:cubicBezTo>
                    <a:pt x="655" y="1278"/>
                    <a:pt x="655" y="1278"/>
                    <a:pt x="655" y="1278"/>
                  </a:cubicBezTo>
                  <a:cubicBezTo>
                    <a:pt x="655" y="1278"/>
                    <a:pt x="655" y="1278"/>
                    <a:pt x="655" y="1278"/>
                  </a:cubicBezTo>
                  <a:cubicBezTo>
                    <a:pt x="655" y="1278"/>
                    <a:pt x="655" y="1278"/>
                    <a:pt x="655" y="1278"/>
                  </a:cubicBezTo>
                  <a:cubicBezTo>
                    <a:pt x="317" y="1302"/>
                    <a:pt x="317" y="1302"/>
                    <a:pt x="317" y="1302"/>
                  </a:cubicBezTo>
                  <a:cubicBezTo>
                    <a:pt x="317" y="1302"/>
                    <a:pt x="317" y="1302"/>
                    <a:pt x="317" y="1302"/>
                  </a:cubicBezTo>
                  <a:cubicBezTo>
                    <a:pt x="130" y="1316"/>
                    <a:pt x="4" y="1464"/>
                    <a:pt x="0" y="1684"/>
                  </a:cubicBezTo>
                  <a:cubicBezTo>
                    <a:pt x="0" y="1684"/>
                    <a:pt x="0" y="1684"/>
                    <a:pt x="0" y="1684"/>
                  </a:cubicBezTo>
                  <a:cubicBezTo>
                    <a:pt x="0" y="1761"/>
                    <a:pt x="0" y="2183"/>
                    <a:pt x="0" y="2570"/>
                  </a:cubicBezTo>
                  <a:cubicBezTo>
                    <a:pt x="1965" y="2570"/>
                    <a:pt x="1965" y="2570"/>
                    <a:pt x="1965" y="2570"/>
                  </a:cubicBezTo>
                  <a:cubicBezTo>
                    <a:pt x="1965" y="2183"/>
                    <a:pt x="1965" y="1761"/>
                    <a:pt x="1965" y="1684"/>
                  </a:cubicBezTo>
                  <a:cubicBezTo>
                    <a:pt x="1965" y="1684"/>
                    <a:pt x="1965" y="1684"/>
                    <a:pt x="1965" y="1684"/>
                  </a:cubicBezTo>
                  <a:close/>
                </a:path>
              </a:pathLst>
            </a:custGeom>
            <a:solidFill>
              <a:srgbClr val="00646E"/>
            </a:solidFill>
            <a:ln>
              <a:noFill/>
            </a:ln>
          </p:spPr>
          <p:txBody>
            <a:bodyPr vert="horz" wrap="square" lIns="91392" tIns="45696" rIns="91392" bIns="45696" numCol="1" anchor="t" anchorCtr="0" compatLnSpc="1">
              <a:prstTxWarp prst="textNoShape">
                <a:avLst/>
              </a:prstTxWarp>
            </a:bodyPr>
            <a:lstStyle/>
            <a:p>
              <a:endParaRPr lang="en-US" sz="1799" dirty="0"/>
            </a:p>
          </p:txBody>
        </p:sp>
      </p:grpSp>
      <p:grpSp>
        <p:nvGrpSpPr>
          <p:cNvPr id="101" name="Gruppieren 6">
            <a:extLst>
              <a:ext uri="{FF2B5EF4-FFF2-40B4-BE49-F238E27FC236}">
                <a16:creationId xmlns:a16="http://schemas.microsoft.com/office/drawing/2014/main" id="{79824043-9444-42F9-8F55-DD401A104D4C}"/>
              </a:ext>
            </a:extLst>
          </p:cNvPr>
          <p:cNvGrpSpPr/>
          <p:nvPr/>
        </p:nvGrpSpPr>
        <p:grpSpPr>
          <a:xfrm>
            <a:off x="9281357" y="3863549"/>
            <a:ext cx="1188000" cy="2301945"/>
            <a:chOff x="4162426" y="1414801"/>
            <a:chExt cx="1188619" cy="2303144"/>
          </a:xfrm>
        </p:grpSpPr>
        <p:sp>
          <p:nvSpPr>
            <p:cNvPr id="102" name="Textfeld 8">
              <a:extLst>
                <a:ext uri="{FF2B5EF4-FFF2-40B4-BE49-F238E27FC236}">
                  <a16:creationId xmlns:a16="http://schemas.microsoft.com/office/drawing/2014/main" id="{98635835-0012-4EB0-AA01-CA4B0863D2AB}"/>
                </a:ext>
              </a:extLst>
            </p:cNvPr>
            <p:cNvSpPr txBox="1">
              <a:spLocks/>
            </p:cNvSpPr>
            <p:nvPr/>
          </p:nvSpPr>
          <p:spPr bwMode="gray">
            <a:xfrm>
              <a:off x="4162426" y="2853945"/>
              <a:ext cx="1188619" cy="86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71963" rIns="0" bIns="0" rtlCol="0" anchor="t">
              <a:noAutofit/>
            </a:bodyPr>
            <a:lstStyle/>
            <a:p>
              <a:pPr>
                <a:spcBef>
                  <a:spcPct val="0"/>
                </a:spcBef>
                <a:buClr>
                  <a:srgbClr val="879BAA"/>
                </a:buClr>
              </a:pPr>
              <a:r>
                <a:rPr lang="en-US" sz="1199" b="1" kern="1400" dirty="0">
                  <a:solidFill>
                    <a:srgbClr val="00646E"/>
                  </a:solidFill>
                  <a:ea typeface="ＭＳ Ｐゴシック" pitchFamily="34" charset="-128"/>
                  <a:cs typeface="Arial" charset="0"/>
                </a:rPr>
                <a:t>Gregor Goodjobs</a:t>
              </a:r>
            </a:p>
            <a:p>
              <a:pPr>
                <a:spcBef>
                  <a:spcPts val="300"/>
                </a:spcBef>
                <a:buClr>
                  <a:srgbClr val="879BAA"/>
                </a:buClr>
              </a:pPr>
              <a:r>
                <a:rPr lang="en-US" sz="1199" dirty="0">
                  <a:solidFill>
                    <a:srgbClr val="66667E"/>
                  </a:solidFill>
                  <a:cs typeface="Arial" charset="0"/>
                </a:rPr>
                <a:t>At vero eos et accusam</a:t>
              </a:r>
            </a:p>
          </p:txBody>
        </p:sp>
        <p:sp>
          <p:nvSpPr>
            <p:cNvPr id="103" name="Rechteck 40">
              <a:extLst>
                <a:ext uri="{FF2B5EF4-FFF2-40B4-BE49-F238E27FC236}">
                  <a16:creationId xmlns:a16="http://schemas.microsoft.com/office/drawing/2014/main" id="{26138821-F32E-45FE-884E-9B70B279DBE0}"/>
                </a:ext>
              </a:extLst>
            </p:cNvPr>
            <p:cNvSpPr>
              <a:spLocks/>
            </p:cNvSpPr>
            <p:nvPr/>
          </p:nvSpPr>
          <p:spPr bwMode="auto">
            <a:xfrm>
              <a:off x="4162426" y="1414801"/>
              <a:ext cx="1188619" cy="1440750"/>
            </a:xfrm>
            <a:prstGeom prst="rect">
              <a:avLst/>
            </a:prstGeom>
            <a:solidFill>
              <a:srgbClr val="E5E5E9"/>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04" name="Freeform 96">
              <a:extLst>
                <a:ext uri="{FF2B5EF4-FFF2-40B4-BE49-F238E27FC236}">
                  <a16:creationId xmlns:a16="http://schemas.microsoft.com/office/drawing/2014/main" id="{FC2C7D67-CBCD-4FD4-91BA-355C12ED4A61}"/>
                </a:ext>
              </a:extLst>
            </p:cNvPr>
            <p:cNvSpPr>
              <a:spLocks noEditPoints="1"/>
            </p:cNvSpPr>
            <p:nvPr/>
          </p:nvSpPr>
          <p:spPr bwMode="auto">
            <a:xfrm>
              <a:off x="4266474" y="1568784"/>
              <a:ext cx="980524" cy="1286013"/>
            </a:xfrm>
            <a:custGeom>
              <a:avLst/>
              <a:gdLst>
                <a:gd name="T0" fmla="*/ 520 w 1965"/>
                <a:gd name="T1" fmla="*/ 529 h 2570"/>
                <a:gd name="T2" fmla="*/ 983 w 1965"/>
                <a:gd name="T3" fmla="*/ 0 h 2570"/>
                <a:gd name="T4" fmla="*/ 1446 w 1965"/>
                <a:gd name="T5" fmla="*/ 529 h 2570"/>
                <a:gd name="T6" fmla="*/ 983 w 1965"/>
                <a:gd name="T7" fmla="*/ 1058 h 2570"/>
                <a:gd name="T8" fmla="*/ 520 w 1965"/>
                <a:gd name="T9" fmla="*/ 529 h 2570"/>
                <a:gd name="T10" fmla="*/ 1965 w 1965"/>
                <a:gd name="T11" fmla="*/ 1684 h 2570"/>
                <a:gd name="T12" fmla="*/ 1648 w 1965"/>
                <a:gd name="T13" fmla="*/ 1302 h 2570"/>
                <a:gd name="T14" fmla="*/ 1648 w 1965"/>
                <a:gd name="T15" fmla="*/ 1302 h 2570"/>
                <a:gd name="T16" fmla="*/ 1310 w 1965"/>
                <a:gd name="T17" fmla="*/ 1278 h 2570"/>
                <a:gd name="T18" fmla="*/ 1310 w 1965"/>
                <a:gd name="T19" fmla="*/ 1278 h 2570"/>
                <a:gd name="T20" fmla="*/ 1310 w 1965"/>
                <a:gd name="T21" fmla="*/ 1278 h 2570"/>
                <a:gd name="T22" fmla="*/ 983 w 1965"/>
                <a:gd name="T23" fmla="*/ 1606 h 2570"/>
                <a:gd name="T24" fmla="*/ 983 w 1965"/>
                <a:gd name="T25" fmla="*/ 1606 h 2570"/>
                <a:gd name="T26" fmla="*/ 655 w 1965"/>
                <a:gd name="T27" fmla="*/ 1278 h 2570"/>
                <a:gd name="T28" fmla="*/ 655 w 1965"/>
                <a:gd name="T29" fmla="*/ 1278 h 2570"/>
                <a:gd name="T30" fmla="*/ 655 w 1965"/>
                <a:gd name="T31" fmla="*/ 1278 h 2570"/>
                <a:gd name="T32" fmla="*/ 317 w 1965"/>
                <a:gd name="T33" fmla="*/ 1302 h 2570"/>
                <a:gd name="T34" fmla="*/ 317 w 1965"/>
                <a:gd name="T35" fmla="*/ 1302 h 2570"/>
                <a:gd name="T36" fmla="*/ 0 w 1965"/>
                <a:gd name="T37" fmla="*/ 1684 h 2570"/>
                <a:gd name="T38" fmla="*/ 0 w 1965"/>
                <a:gd name="T39" fmla="*/ 1684 h 2570"/>
                <a:gd name="T40" fmla="*/ 0 w 1965"/>
                <a:gd name="T41" fmla="*/ 2570 h 2570"/>
                <a:gd name="T42" fmla="*/ 1965 w 1965"/>
                <a:gd name="T43" fmla="*/ 2570 h 2570"/>
                <a:gd name="T44" fmla="*/ 1965 w 1965"/>
                <a:gd name="T45" fmla="*/ 1684 h 2570"/>
                <a:gd name="T46" fmla="*/ 1965 w 1965"/>
                <a:gd name="T47" fmla="*/ 1684 h 2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5" h="2570">
                  <a:moveTo>
                    <a:pt x="520" y="529"/>
                  </a:moveTo>
                  <a:cubicBezTo>
                    <a:pt x="520" y="212"/>
                    <a:pt x="707" y="0"/>
                    <a:pt x="983" y="0"/>
                  </a:cubicBezTo>
                  <a:cubicBezTo>
                    <a:pt x="1258" y="0"/>
                    <a:pt x="1446" y="212"/>
                    <a:pt x="1446" y="529"/>
                  </a:cubicBezTo>
                  <a:cubicBezTo>
                    <a:pt x="1446" y="846"/>
                    <a:pt x="1258" y="1058"/>
                    <a:pt x="983" y="1058"/>
                  </a:cubicBezTo>
                  <a:cubicBezTo>
                    <a:pt x="707" y="1058"/>
                    <a:pt x="520" y="846"/>
                    <a:pt x="520" y="529"/>
                  </a:cubicBezTo>
                  <a:close/>
                  <a:moveTo>
                    <a:pt x="1965" y="1684"/>
                  </a:moveTo>
                  <a:cubicBezTo>
                    <a:pt x="1961" y="1464"/>
                    <a:pt x="1835" y="1316"/>
                    <a:pt x="1648" y="1302"/>
                  </a:cubicBezTo>
                  <a:cubicBezTo>
                    <a:pt x="1648" y="1302"/>
                    <a:pt x="1648" y="1302"/>
                    <a:pt x="1648" y="1302"/>
                  </a:cubicBezTo>
                  <a:cubicBezTo>
                    <a:pt x="1310" y="1278"/>
                    <a:pt x="1310" y="1278"/>
                    <a:pt x="1310" y="1278"/>
                  </a:cubicBezTo>
                  <a:cubicBezTo>
                    <a:pt x="1310" y="1278"/>
                    <a:pt x="1310" y="1278"/>
                    <a:pt x="1310" y="1278"/>
                  </a:cubicBezTo>
                  <a:cubicBezTo>
                    <a:pt x="1310" y="1278"/>
                    <a:pt x="1310" y="1278"/>
                    <a:pt x="1310" y="1278"/>
                  </a:cubicBezTo>
                  <a:cubicBezTo>
                    <a:pt x="983" y="1606"/>
                    <a:pt x="983" y="1606"/>
                    <a:pt x="983" y="1606"/>
                  </a:cubicBezTo>
                  <a:cubicBezTo>
                    <a:pt x="983" y="1606"/>
                    <a:pt x="983" y="1606"/>
                    <a:pt x="983" y="1606"/>
                  </a:cubicBezTo>
                  <a:cubicBezTo>
                    <a:pt x="655" y="1278"/>
                    <a:pt x="655" y="1278"/>
                    <a:pt x="655" y="1278"/>
                  </a:cubicBezTo>
                  <a:cubicBezTo>
                    <a:pt x="655" y="1278"/>
                    <a:pt x="655" y="1278"/>
                    <a:pt x="655" y="1278"/>
                  </a:cubicBezTo>
                  <a:cubicBezTo>
                    <a:pt x="655" y="1278"/>
                    <a:pt x="655" y="1278"/>
                    <a:pt x="655" y="1278"/>
                  </a:cubicBezTo>
                  <a:cubicBezTo>
                    <a:pt x="317" y="1302"/>
                    <a:pt x="317" y="1302"/>
                    <a:pt x="317" y="1302"/>
                  </a:cubicBezTo>
                  <a:cubicBezTo>
                    <a:pt x="317" y="1302"/>
                    <a:pt x="317" y="1302"/>
                    <a:pt x="317" y="1302"/>
                  </a:cubicBezTo>
                  <a:cubicBezTo>
                    <a:pt x="130" y="1316"/>
                    <a:pt x="4" y="1464"/>
                    <a:pt x="0" y="1684"/>
                  </a:cubicBezTo>
                  <a:cubicBezTo>
                    <a:pt x="0" y="1684"/>
                    <a:pt x="0" y="1684"/>
                    <a:pt x="0" y="1684"/>
                  </a:cubicBezTo>
                  <a:cubicBezTo>
                    <a:pt x="0" y="1761"/>
                    <a:pt x="0" y="2183"/>
                    <a:pt x="0" y="2570"/>
                  </a:cubicBezTo>
                  <a:cubicBezTo>
                    <a:pt x="1965" y="2570"/>
                    <a:pt x="1965" y="2570"/>
                    <a:pt x="1965" y="2570"/>
                  </a:cubicBezTo>
                  <a:cubicBezTo>
                    <a:pt x="1965" y="2183"/>
                    <a:pt x="1965" y="1761"/>
                    <a:pt x="1965" y="1684"/>
                  </a:cubicBezTo>
                  <a:cubicBezTo>
                    <a:pt x="1965" y="1684"/>
                    <a:pt x="1965" y="1684"/>
                    <a:pt x="1965" y="1684"/>
                  </a:cubicBezTo>
                  <a:close/>
                </a:path>
              </a:pathLst>
            </a:custGeom>
            <a:solidFill>
              <a:srgbClr val="00646E"/>
            </a:solidFill>
            <a:ln>
              <a:noFill/>
            </a:ln>
          </p:spPr>
          <p:txBody>
            <a:bodyPr vert="horz" wrap="square" lIns="91392" tIns="45696" rIns="91392" bIns="45696" numCol="1" anchor="t" anchorCtr="0" compatLnSpc="1">
              <a:prstTxWarp prst="textNoShape">
                <a:avLst/>
              </a:prstTxWarp>
            </a:bodyPr>
            <a:lstStyle/>
            <a:p>
              <a:endParaRPr lang="en-US" sz="1799" dirty="0"/>
            </a:p>
          </p:txBody>
        </p:sp>
      </p:grpSp>
      <p:grpSp>
        <p:nvGrpSpPr>
          <p:cNvPr id="105" name="Gruppieren 6">
            <a:extLst>
              <a:ext uri="{FF2B5EF4-FFF2-40B4-BE49-F238E27FC236}">
                <a16:creationId xmlns:a16="http://schemas.microsoft.com/office/drawing/2014/main" id="{A736A72E-D3F9-4A84-87DC-819F5B466A4E}"/>
              </a:ext>
            </a:extLst>
          </p:cNvPr>
          <p:cNvGrpSpPr/>
          <p:nvPr/>
        </p:nvGrpSpPr>
        <p:grpSpPr>
          <a:xfrm>
            <a:off x="10599188" y="3863549"/>
            <a:ext cx="1188000" cy="2301945"/>
            <a:chOff x="4162426" y="1414801"/>
            <a:chExt cx="1188619" cy="2303144"/>
          </a:xfrm>
        </p:grpSpPr>
        <p:sp>
          <p:nvSpPr>
            <p:cNvPr id="106" name="Textfeld 8">
              <a:extLst>
                <a:ext uri="{FF2B5EF4-FFF2-40B4-BE49-F238E27FC236}">
                  <a16:creationId xmlns:a16="http://schemas.microsoft.com/office/drawing/2014/main" id="{2B41D3E1-45B8-49BA-974F-1CB65A1542AE}"/>
                </a:ext>
              </a:extLst>
            </p:cNvPr>
            <p:cNvSpPr txBox="1">
              <a:spLocks/>
            </p:cNvSpPr>
            <p:nvPr/>
          </p:nvSpPr>
          <p:spPr bwMode="gray">
            <a:xfrm>
              <a:off x="4162426" y="2853945"/>
              <a:ext cx="1188619" cy="86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71963" rIns="0" bIns="0" rtlCol="0" anchor="t">
              <a:noAutofit/>
            </a:bodyPr>
            <a:lstStyle/>
            <a:p>
              <a:pPr>
                <a:spcBef>
                  <a:spcPct val="0"/>
                </a:spcBef>
                <a:buClr>
                  <a:srgbClr val="879BAA"/>
                </a:buClr>
              </a:pPr>
              <a:r>
                <a:rPr lang="en-US" sz="1199" b="1" kern="1400" dirty="0">
                  <a:solidFill>
                    <a:srgbClr val="00646E"/>
                  </a:solidFill>
                  <a:ea typeface="ＭＳ Ｐゴシック" pitchFamily="34" charset="-128"/>
                  <a:cs typeface="Arial" charset="0"/>
                </a:rPr>
                <a:t>Sam Sample</a:t>
              </a:r>
            </a:p>
            <a:p>
              <a:pPr>
                <a:spcBef>
                  <a:spcPts val="300"/>
                </a:spcBef>
                <a:buClr>
                  <a:srgbClr val="879BAA"/>
                </a:buClr>
              </a:pPr>
              <a:r>
                <a:rPr lang="en-US" sz="1199" dirty="0">
                  <a:solidFill>
                    <a:srgbClr val="66667E"/>
                  </a:solidFill>
                  <a:cs typeface="Arial" charset="0"/>
                </a:rPr>
                <a:t>At vero eos et accusam</a:t>
              </a:r>
            </a:p>
          </p:txBody>
        </p:sp>
        <p:sp>
          <p:nvSpPr>
            <p:cNvPr id="107" name="Rechteck 40">
              <a:extLst>
                <a:ext uri="{FF2B5EF4-FFF2-40B4-BE49-F238E27FC236}">
                  <a16:creationId xmlns:a16="http://schemas.microsoft.com/office/drawing/2014/main" id="{B702C2D6-1161-4905-BF6B-8CF677A3F6DC}"/>
                </a:ext>
              </a:extLst>
            </p:cNvPr>
            <p:cNvSpPr>
              <a:spLocks/>
            </p:cNvSpPr>
            <p:nvPr/>
          </p:nvSpPr>
          <p:spPr bwMode="auto">
            <a:xfrm>
              <a:off x="4162426" y="1414801"/>
              <a:ext cx="1188619" cy="1440750"/>
            </a:xfrm>
            <a:prstGeom prst="rect">
              <a:avLst/>
            </a:prstGeom>
            <a:solidFill>
              <a:srgbClr val="E5E5E9"/>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08" name="Freeform 96">
              <a:extLst>
                <a:ext uri="{FF2B5EF4-FFF2-40B4-BE49-F238E27FC236}">
                  <a16:creationId xmlns:a16="http://schemas.microsoft.com/office/drawing/2014/main" id="{60681391-B67A-400B-9E52-B0C7D8676E33}"/>
                </a:ext>
              </a:extLst>
            </p:cNvPr>
            <p:cNvSpPr>
              <a:spLocks noEditPoints="1"/>
            </p:cNvSpPr>
            <p:nvPr/>
          </p:nvSpPr>
          <p:spPr bwMode="auto">
            <a:xfrm>
              <a:off x="4266474" y="1568784"/>
              <a:ext cx="980524" cy="1286013"/>
            </a:xfrm>
            <a:custGeom>
              <a:avLst/>
              <a:gdLst>
                <a:gd name="T0" fmla="*/ 520 w 1965"/>
                <a:gd name="T1" fmla="*/ 529 h 2570"/>
                <a:gd name="T2" fmla="*/ 983 w 1965"/>
                <a:gd name="T3" fmla="*/ 0 h 2570"/>
                <a:gd name="T4" fmla="*/ 1446 w 1965"/>
                <a:gd name="T5" fmla="*/ 529 h 2570"/>
                <a:gd name="T6" fmla="*/ 983 w 1965"/>
                <a:gd name="T7" fmla="*/ 1058 h 2570"/>
                <a:gd name="T8" fmla="*/ 520 w 1965"/>
                <a:gd name="T9" fmla="*/ 529 h 2570"/>
                <a:gd name="T10" fmla="*/ 1965 w 1965"/>
                <a:gd name="T11" fmla="*/ 1684 h 2570"/>
                <a:gd name="T12" fmla="*/ 1648 w 1965"/>
                <a:gd name="T13" fmla="*/ 1302 h 2570"/>
                <a:gd name="T14" fmla="*/ 1648 w 1965"/>
                <a:gd name="T15" fmla="*/ 1302 h 2570"/>
                <a:gd name="T16" fmla="*/ 1310 w 1965"/>
                <a:gd name="T17" fmla="*/ 1278 h 2570"/>
                <a:gd name="T18" fmla="*/ 1310 w 1965"/>
                <a:gd name="T19" fmla="*/ 1278 h 2570"/>
                <a:gd name="T20" fmla="*/ 1310 w 1965"/>
                <a:gd name="T21" fmla="*/ 1278 h 2570"/>
                <a:gd name="T22" fmla="*/ 983 w 1965"/>
                <a:gd name="T23" fmla="*/ 1606 h 2570"/>
                <a:gd name="T24" fmla="*/ 983 w 1965"/>
                <a:gd name="T25" fmla="*/ 1606 h 2570"/>
                <a:gd name="T26" fmla="*/ 655 w 1965"/>
                <a:gd name="T27" fmla="*/ 1278 h 2570"/>
                <a:gd name="T28" fmla="*/ 655 w 1965"/>
                <a:gd name="T29" fmla="*/ 1278 h 2570"/>
                <a:gd name="T30" fmla="*/ 655 w 1965"/>
                <a:gd name="T31" fmla="*/ 1278 h 2570"/>
                <a:gd name="T32" fmla="*/ 317 w 1965"/>
                <a:gd name="T33" fmla="*/ 1302 h 2570"/>
                <a:gd name="T34" fmla="*/ 317 w 1965"/>
                <a:gd name="T35" fmla="*/ 1302 h 2570"/>
                <a:gd name="T36" fmla="*/ 0 w 1965"/>
                <a:gd name="T37" fmla="*/ 1684 h 2570"/>
                <a:gd name="T38" fmla="*/ 0 w 1965"/>
                <a:gd name="T39" fmla="*/ 1684 h 2570"/>
                <a:gd name="T40" fmla="*/ 0 w 1965"/>
                <a:gd name="T41" fmla="*/ 2570 h 2570"/>
                <a:gd name="T42" fmla="*/ 1965 w 1965"/>
                <a:gd name="T43" fmla="*/ 2570 h 2570"/>
                <a:gd name="T44" fmla="*/ 1965 w 1965"/>
                <a:gd name="T45" fmla="*/ 1684 h 2570"/>
                <a:gd name="T46" fmla="*/ 1965 w 1965"/>
                <a:gd name="T47" fmla="*/ 1684 h 2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5" h="2570">
                  <a:moveTo>
                    <a:pt x="520" y="529"/>
                  </a:moveTo>
                  <a:cubicBezTo>
                    <a:pt x="520" y="212"/>
                    <a:pt x="707" y="0"/>
                    <a:pt x="983" y="0"/>
                  </a:cubicBezTo>
                  <a:cubicBezTo>
                    <a:pt x="1258" y="0"/>
                    <a:pt x="1446" y="212"/>
                    <a:pt x="1446" y="529"/>
                  </a:cubicBezTo>
                  <a:cubicBezTo>
                    <a:pt x="1446" y="846"/>
                    <a:pt x="1258" y="1058"/>
                    <a:pt x="983" y="1058"/>
                  </a:cubicBezTo>
                  <a:cubicBezTo>
                    <a:pt x="707" y="1058"/>
                    <a:pt x="520" y="846"/>
                    <a:pt x="520" y="529"/>
                  </a:cubicBezTo>
                  <a:close/>
                  <a:moveTo>
                    <a:pt x="1965" y="1684"/>
                  </a:moveTo>
                  <a:cubicBezTo>
                    <a:pt x="1961" y="1464"/>
                    <a:pt x="1835" y="1316"/>
                    <a:pt x="1648" y="1302"/>
                  </a:cubicBezTo>
                  <a:cubicBezTo>
                    <a:pt x="1648" y="1302"/>
                    <a:pt x="1648" y="1302"/>
                    <a:pt x="1648" y="1302"/>
                  </a:cubicBezTo>
                  <a:cubicBezTo>
                    <a:pt x="1310" y="1278"/>
                    <a:pt x="1310" y="1278"/>
                    <a:pt x="1310" y="1278"/>
                  </a:cubicBezTo>
                  <a:cubicBezTo>
                    <a:pt x="1310" y="1278"/>
                    <a:pt x="1310" y="1278"/>
                    <a:pt x="1310" y="1278"/>
                  </a:cubicBezTo>
                  <a:cubicBezTo>
                    <a:pt x="1310" y="1278"/>
                    <a:pt x="1310" y="1278"/>
                    <a:pt x="1310" y="1278"/>
                  </a:cubicBezTo>
                  <a:cubicBezTo>
                    <a:pt x="983" y="1606"/>
                    <a:pt x="983" y="1606"/>
                    <a:pt x="983" y="1606"/>
                  </a:cubicBezTo>
                  <a:cubicBezTo>
                    <a:pt x="983" y="1606"/>
                    <a:pt x="983" y="1606"/>
                    <a:pt x="983" y="1606"/>
                  </a:cubicBezTo>
                  <a:cubicBezTo>
                    <a:pt x="655" y="1278"/>
                    <a:pt x="655" y="1278"/>
                    <a:pt x="655" y="1278"/>
                  </a:cubicBezTo>
                  <a:cubicBezTo>
                    <a:pt x="655" y="1278"/>
                    <a:pt x="655" y="1278"/>
                    <a:pt x="655" y="1278"/>
                  </a:cubicBezTo>
                  <a:cubicBezTo>
                    <a:pt x="655" y="1278"/>
                    <a:pt x="655" y="1278"/>
                    <a:pt x="655" y="1278"/>
                  </a:cubicBezTo>
                  <a:cubicBezTo>
                    <a:pt x="317" y="1302"/>
                    <a:pt x="317" y="1302"/>
                    <a:pt x="317" y="1302"/>
                  </a:cubicBezTo>
                  <a:cubicBezTo>
                    <a:pt x="317" y="1302"/>
                    <a:pt x="317" y="1302"/>
                    <a:pt x="317" y="1302"/>
                  </a:cubicBezTo>
                  <a:cubicBezTo>
                    <a:pt x="130" y="1316"/>
                    <a:pt x="4" y="1464"/>
                    <a:pt x="0" y="1684"/>
                  </a:cubicBezTo>
                  <a:cubicBezTo>
                    <a:pt x="0" y="1684"/>
                    <a:pt x="0" y="1684"/>
                    <a:pt x="0" y="1684"/>
                  </a:cubicBezTo>
                  <a:cubicBezTo>
                    <a:pt x="0" y="1761"/>
                    <a:pt x="0" y="2183"/>
                    <a:pt x="0" y="2570"/>
                  </a:cubicBezTo>
                  <a:cubicBezTo>
                    <a:pt x="1965" y="2570"/>
                    <a:pt x="1965" y="2570"/>
                    <a:pt x="1965" y="2570"/>
                  </a:cubicBezTo>
                  <a:cubicBezTo>
                    <a:pt x="1965" y="2183"/>
                    <a:pt x="1965" y="1761"/>
                    <a:pt x="1965" y="1684"/>
                  </a:cubicBezTo>
                  <a:cubicBezTo>
                    <a:pt x="1965" y="1684"/>
                    <a:pt x="1965" y="1684"/>
                    <a:pt x="1965" y="1684"/>
                  </a:cubicBezTo>
                  <a:close/>
                </a:path>
              </a:pathLst>
            </a:custGeom>
            <a:solidFill>
              <a:srgbClr val="00646E"/>
            </a:solidFill>
            <a:ln>
              <a:noFill/>
            </a:ln>
          </p:spPr>
          <p:txBody>
            <a:bodyPr vert="horz" wrap="square" lIns="91392" tIns="45696" rIns="91392" bIns="45696" numCol="1" anchor="t" anchorCtr="0" compatLnSpc="1">
              <a:prstTxWarp prst="textNoShape">
                <a:avLst/>
              </a:prstTxWarp>
            </a:bodyPr>
            <a:lstStyle/>
            <a:p>
              <a:endParaRPr lang="en-US" sz="1799" dirty="0"/>
            </a:p>
          </p:txBody>
        </p:sp>
      </p:grpSp>
    </p:spTree>
    <p:extLst>
      <p:ext uri="{BB962C8B-B14F-4D97-AF65-F5344CB8AC3E}">
        <p14:creationId xmlns:p14="http://schemas.microsoft.com/office/powerpoint/2010/main" val="4080527298"/>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 name="Objekt 52"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3" imgW="360" imgH="360" progId="">
                  <p:embed/>
                </p:oleObj>
              </mc:Choice>
              <mc:Fallback>
                <p:oleObj name="think-cell Folie" r:id="rId3" imgW="360" imgH="360" progId="">
                  <p:embed/>
                  <p:pic>
                    <p:nvPicPr>
                      <p:cNvPr id="53" name="Objekt 5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en-US" dirty="0"/>
              <a:t>Contact overview – team</a:t>
            </a:r>
          </a:p>
        </p:txBody>
      </p:sp>
      <p:sp>
        <p:nvSpPr>
          <p:cNvPr id="3" name="Footer Placeholder 2">
            <a:extLst>
              <a:ext uri="{FF2B5EF4-FFF2-40B4-BE49-F238E27FC236}">
                <a16:creationId xmlns:a16="http://schemas.microsoft.com/office/drawing/2014/main" id="{DECE06E3-ABE6-46C1-AAAA-693D2FFEB4BF}"/>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30" name="Slide Number Placeholder 29">
            <a:extLst>
              <a:ext uri="{FF2B5EF4-FFF2-40B4-BE49-F238E27FC236}">
                <a16:creationId xmlns:a16="http://schemas.microsoft.com/office/drawing/2014/main" id="{A8D00BA1-8147-405C-A3D6-9D25979EF491}"/>
              </a:ext>
            </a:extLst>
          </p:cNvPr>
          <p:cNvSpPr>
            <a:spLocks noGrp="1"/>
          </p:cNvSpPr>
          <p:nvPr>
            <p:ph type="sldNum" sz="quarter" idx="11"/>
          </p:nvPr>
        </p:nvSpPr>
        <p:spPr/>
        <p:txBody>
          <a:bodyPr/>
          <a:lstStyle/>
          <a:p>
            <a:r>
              <a:rPr lang="en-US" dirty="0"/>
              <a:t>Page </a:t>
            </a:r>
            <a:fld id="{15EBE321-CBB1-4E91-BD14-37C8D44326FB}" type="slidenum">
              <a:rPr lang="en-US" smtClean="0"/>
              <a:pPr/>
              <a:t>209</a:t>
            </a:fld>
            <a:endParaRPr lang="en-US" dirty="0"/>
          </a:p>
        </p:txBody>
      </p:sp>
      <p:grpSp>
        <p:nvGrpSpPr>
          <p:cNvPr id="5" name="Gruppieren 4">
            <a:extLst>
              <a:ext uri="{FF2B5EF4-FFF2-40B4-BE49-F238E27FC236}">
                <a16:creationId xmlns:a16="http://schemas.microsoft.com/office/drawing/2014/main" id="{5C8AF14A-8BD5-4D1E-8B4A-004F453C17E5}"/>
              </a:ext>
            </a:extLst>
          </p:cNvPr>
          <p:cNvGrpSpPr/>
          <p:nvPr/>
        </p:nvGrpSpPr>
        <p:grpSpPr>
          <a:xfrm>
            <a:off x="410399" y="1415848"/>
            <a:ext cx="3312001" cy="2302801"/>
            <a:chOff x="627062" y="1414800"/>
            <a:chExt cx="3290971" cy="2304000"/>
          </a:xfrm>
        </p:grpSpPr>
        <p:sp>
          <p:nvSpPr>
            <p:cNvPr id="138" name="Rechteck 137"/>
            <p:cNvSpPr>
              <a:spLocks/>
            </p:cNvSpPr>
            <p:nvPr/>
          </p:nvSpPr>
          <p:spPr bwMode="auto">
            <a:xfrm>
              <a:off x="627062" y="1414800"/>
              <a:ext cx="1788571" cy="2303463"/>
            </a:xfrm>
            <a:prstGeom prst="rect">
              <a:avLst/>
            </a:prstGeom>
            <a:solidFill>
              <a:srgbClr val="66667E"/>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45" name="Textfeld 8"/>
            <p:cNvSpPr txBox="1">
              <a:spLocks/>
            </p:cNvSpPr>
            <p:nvPr/>
          </p:nvSpPr>
          <p:spPr bwMode="gray">
            <a:xfrm>
              <a:off x="2415634" y="1414800"/>
              <a:ext cx="1502399" cy="2304000"/>
            </a:xfrm>
            <a:prstGeom prst="rect">
              <a:avLst/>
            </a:prstGeom>
            <a:solidFill>
              <a:schemeClr val="tx1"/>
            </a:solidFill>
            <a:ln>
              <a:noFill/>
            </a:ln>
          </p:spPr>
          <p:txBody>
            <a:bodyPr wrap="square" lIns="143925" tIns="71963" rIns="71963" bIns="71963" rtlCol="0" anchor="b">
              <a:noAutofit/>
            </a:bodyPr>
            <a:lstStyle/>
            <a:p>
              <a:pPr>
                <a:spcBef>
                  <a:spcPct val="0"/>
                </a:spcBef>
                <a:buClr>
                  <a:srgbClr val="879BAA"/>
                </a:buClr>
              </a:pPr>
              <a:r>
                <a:rPr lang="en-US" sz="1599" b="1" kern="1400" dirty="0">
                  <a:solidFill>
                    <a:schemeClr val="bg2"/>
                  </a:solidFill>
                  <a:ea typeface="ＭＳ Ｐゴシック" pitchFamily="34" charset="-128"/>
                  <a:cs typeface="Arial" charset="0"/>
                </a:rPr>
                <a:t>Sam Sample</a:t>
              </a:r>
            </a:p>
            <a:p>
              <a:pPr>
                <a:spcBef>
                  <a:spcPts val="300"/>
                </a:spcBef>
                <a:buClr>
                  <a:srgbClr val="879BAA"/>
                </a:buClr>
              </a:pPr>
              <a:r>
                <a:rPr lang="en-US" sz="1199" dirty="0">
                  <a:solidFill>
                    <a:schemeClr val="bg2"/>
                  </a:solidFill>
                  <a:cs typeface="Arial" charset="0"/>
                </a:rPr>
                <a:t>At vero eos et accusam</a:t>
              </a:r>
            </a:p>
          </p:txBody>
        </p:sp>
        <p:sp>
          <p:nvSpPr>
            <p:cNvPr id="253" name="Freeform 70"/>
            <p:cNvSpPr>
              <a:spLocks noEditPoints="1"/>
            </p:cNvSpPr>
            <p:nvPr/>
          </p:nvSpPr>
          <p:spPr bwMode="auto">
            <a:xfrm>
              <a:off x="3254400" y="1483763"/>
              <a:ext cx="593271" cy="774220"/>
            </a:xfrm>
            <a:custGeom>
              <a:avLst/>
              <a:gdLst>
                <a:gd name="T0" fmla="*/ 1439 w 1970"/>
                <a:gd name="T1" fmla="*/ 1960 h 2578"/>
                <a:gd name="T2" fmla="*/ 985 w 1970"/>
                <a:gd name="T3" fmla="*/ 2328 h 2578"/>
                <a:gd name="T4" fmla="*/ 532 w 1970"/>
                <a:gd name="T5" fmla="*/ 1960 h 2578"/>
                <a:gd name="T6" fmla="*/ 601 w 1970"/>
                <a:gd name="T7" fmla="*/ 1955 h 2578"/>
                <a:gd name="T8" fmla="*/ 651 w 1970"/>
                <a:gd name="T9" fmla="*/ 1973 h 2578"/>
                <a:gd name="T10" fmla="*/ 825 w 1970"/>
                <a:gd name="T11" fmla="*/ 2068 h 2578"/>
                <a:gd name="T12" fmla="*/ 985 w 1970"/>
                <a:gd name="T13" fmla="*/ 2014 h 2578"/>
                <a:gd name="T14" fmla="*/ 1145 w 1970"/>
                <a:gd name="T15" fmla="*/ 2068 h 2578"/>
                <a:gd name="T16" fmla="*/ 1320 w 1970"/>
                <a:gd name="T17" fmla="*/ 1973 h 2578"/>
                <a:gd name="T18" fmla="*/ 1369 w 1970"/>
                <a:gd name="T19" fmla="*/ 1955 h 2578"/>
                <a:gd name="T20" fmla="*/ 1911 w 1970"/>
                <a:gd name="T21" fmla="*/ 1316 h 2578"/>
                <a:gd name="T22" fmla="*/ 1740 w 1970"/>
                <a:gd name="T23" fmla="*/ 1613 h 2578"/>
                <a:gd name="T24" fmla="*/ 1478 w 1970"/>
                <a:gd name="T25" fmla="*/ 1833 h 2578"/>
                <a:gd name="T26" fmla="*/ 1156 w 1970"/>
                <a:gd name="T27" fmla="*/ 1950 h 2578"/>
                <a:gd name="T28" fmla="*/ 814 w 1970"/>
                <a:gd name="T29" fmla="*/ 1950 h 2578"/>
                <a:gd name="T30" fmla="*/ 492 w 1970"/>
                <a:gd name="T31" fmla="*/ 1833 h 2578"/>
                <a:gd name="T32" fmla="*/ 230 w 1970"/>
                <a:gd name="T33" fmla="*/ 1613 h 2578"/>
                <a:gd name="T34" fmla="*/ 59 w 1970"/>
                <a:gd name="T35" fmla="*/ 1316 h 2578"/>
                <a:gd name="T36" fmla="*/ 0 w 1970"/>
                <a:gd name="T37" fmla="*/ 979 h 2578"/>
                <a:gd name="T38" fmla="*/ 59 w 1970"/>
                <a:gd name="T39" fmla="*/ 642 h 2578"/>
                <a:gd name="T40" fmla="*/ 230 w 1970"/>
                <a:gd name="T41" fmla="*/ 346 h 2578"/>
                <a:gd name="T42" fmla="*/ 492 w 1970"/>
                <a:gd name="T43" fmla="*/ 126 h 2578"/>
                <a:gd name="T44" fmla="*/ 814 w 1970"/>
                <a:gd name="T45" fmla="*/ 9 h 2578"/>
                <a:gd name="T46" fmla="*/ 1156 w 1970"/>
                <a:gd name="T47" fmla="*/ 9 h 2578"/>
                <a:gd name="T48" fmla="*/ 1478 w 1970"/>
                <a:gd name="T49" fmla="*/ 126 h 2578"/>
                <a:gd name="T50" fmla="*/ 1740 w 1970"/>
                <a:gd name="T51" fmla="*/ 346 h 2578"/>
                <a:gd name="T52" fmla="*/ 1911 w 1970"/>
                <a:gd name="T53" fmla="*/ 642 h 2578"/>
                <a:gd name="T54" fmla="*/ 1970 w 1970"/>
                <a:gd name="T55" fmla="*/ 979 h 2578"/>
                <a:gd name="T56" fmla="*/ 1911 w 1970"/>
                <a:gd name="T57" fmla="*/ 1316 h 2578"/>
                <a:gd name="T58" fmla="*/ 985 w 1970"/>
                <a:gd name="T59" fmla="*/ 203 h 2578"/>
                <a:gd name="T60" fmla="*/ 985 w 1970"/>
                <a:gd name="T61" fmla="*/ 1756 h 2578"/>
                <a:gd name="T62" fmla="*/ 1645 w 1970"/>
                <a:gd name="T63" fmla="*/ 979 h 2578"/>
                <a:gd name="T64" fmla="*/ 326 w 1970"/>
                <a:gd name="T65" fmla="*/ 979 h 2578"/>
                <a:gd name="T66" fmla="*/ 1645 w 1970"/>
                <a:gd name="T67" fmla="*/ 979 h 2578"/>
                <a:gd name="T68" fmla="*/ 732 w 1970"/>
                <a:gd name="T69" fmla="*/ 925 h 2578"/>
                <a:gd name="T70" fmla="*/ 582 w 1970"/>
                <a:gd name="T71" fmla="*/ 816 h 2578"/>
                <a:gd name="T72" fmla="*/ 432 w 1970"/>
                <a:gd name="T73" fmla="*/ 925 h 2578"/>
                <a:gd name="T74" fmla="*/ 490 w 1970"/>
                <a:gd name="T75" fmla="*/ 1101 h 2578"/>
                <a:gd name="T76" fmla="*/ 675 w 1970"/>
                <a:gd name="T77" fmla="*/ 1101 h 2578"/>
                <a:gd name="T78" fmla="*/ 1042 w 1970"/>
                <a:gd name="T79" fmla="*/ 992 h 2578"/>
                <a:gd name="T80" fmla="*/ 1021 w 1970"/>
                <a:gd name="T81" fmla="*/ 925 h 2578"/>
                <a:gd name="T82" fmla="*/ 950 w 1970"/>
                <a:gd name="T83" fmla="*/ 925 h 2578"/>
                <a:gd name="T84" fmla="*/ 928 w 1970"/>
                <a:gd name="T85" fmla="*/ 992 h 2578"/>
                <a:gd name="T86" fmla="*/ 985 w 1970"/>
                <a:gd name="T87" fmla="*/ 1034 h 2578"/>
                <a:gd name="T88" fmla="*/ 1042 w 1970"/>
                <a:gd name="T89" fmla="*/ 992 h 2578"/>
                <a:gd name="T90" fmla="*/ 1538 w 1970"/>
                <a:gd name="T91" fmla="*/ 925 h 2578"/>
                <a:gd name="T92" fmla="*/ 1388 w 1970"/>
                <a:gd name="T93" fmla="*/ 816 h 2578"/>
                <a:gd name="T94" fmla="*/ 1238 w 1970"/>
                <a:gd name="T95" fmla="*/ 925 h 2578"/>
                <a:gd name="T96" fmla="*/ 1295 w 1970"/>
                <a:gd name="T97" fmla="*/ 1101 h 2578"/>
                <a:gd name="T98" fmla="*/ 1481 w 1970"/>
                <a:gd name="T99" fmla="*/ 1101 h 2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70" h="2578">
                  <a:moveTo>
                    <a:pt x="1431" y="1960"/>
                  </a:moveTo>
                  <a:cubicBezTo>
                    <a:pt x="1434" y="1960"/>
                    <a:pt x="1436" y="1960"/>
                    <a:pt x="1439" y="1960"/>
                  </a:cubicBezTo>
                  <a:cubicBezTo>
                    <a:pt x="1439" y="2578"/>
                    <a:pt x="1439" y="2578"/>
                    <a:pt x="1439" y="2578"/>
                  </a:cubicBezTo>
                  <a:cubicBezTo>
                    <a:pt x="985" y="2328"/>
                    <a:pt x="985" y="2328"/>
                    <a:pt x="985" y="2328"/>
                  </a:cubicBezTo>
                  <a:cubicBezTo>
                    <a:pt x="532" y="2578"/>
                    <a:pt x="532" y="2578"/>
                    <a:pt x="532" y="2578"/>
                  </a:cubicBezTo>
                  <a:cubicBezTo>
                    <a:pt x="532" y="1960"/>
                    <a:pt x="532" y="1960"/>
                    <a:pt x="532" y="1960"/>
                  </a:cubicBezTo>
                  <a:cubicBezTo>
                    <a:pt x="534" y="1960"/>
                    <a:pt x="536" y="1960"/>
                    <a:pt x="539" y="1960"/>
                  </a:cubicBezTo>
                  <a:cubicBezTo>
                    <a:pt x="561" y="1960"/>
                    <a:pt x="582" y="1957"/>
                    <a:pt x="601" y="1955"/>
                  </a:cubicBezTo>
                  <a:cubicBezTo>
                    <a:pt x="612" y="1954"/>
                    <a:pt x="623" y="1953"/>
                    <a:pt x="631" y="1952"/>
                  </a:cubicBezTo>
                  <a:cubicBezTo>
                    <a:pt x="637" y="1958"/>
                    <a:pt x="645" y="1966"/>
                    <a:pt x="651" y="1973"/>
                  </a:cubicBezTo>
                  <a:cubicBezTo>
                    <a:pt x="682" y="2007"/>
                    <a:pt x="725" y="2053"/>
                    <a:pt x="794" y="2065"/>
                  </a:cubicBezTo>
                  <a:cubicBezTo>
                    <a:pt x="804" y="2067"/>
                    <a:pt x="815" y="2068"/>
                    <a:pt x="825" y="2068"/>
                  </a:cubicBezTo>
                  <a:cubicBezTo>
                    <a:pt x="879" y="2068"/>
                    <a:pt x="922" y="2046"/>
                    <a:pt x="957" y="2028"/>
                  </a:cubicBezTo>
                  <a:cubicBezTo>
                    <a:pt x="966" y="2023"/>
                    <a:pt x="977" y="2017"/>
                    <a:pt x="985" y="2014"/>
                  </a:cubicBezTo>
                  <a:cubicBezTo>
                    <a:pt x="993" y="2017"/>
                    <a:pt x="1005" y="2023"/>
                    <a:pt x="1013" y="2028"/>
                  </a:cubicBezTo>
                  <a:cubicBezTo>
                    <a:pt x="1048" y="2046"/>
                    <a:pt x="1092" y="2068"/>
                    <a:pt x="1145" y="2068"/>
                  </a:cubicBezTo>
                  <a:cubicBezTo>
                    <a:pt x="1156" y="2068"/>
                    <a:pt x="1166" y="2067"/>
                    <a:pt x="1176" y="2065"/>
                  </a:cubicBezTo>
                  <a:cubicBezTo>
                    <a:pt x="1245" y="2053"/>
                    <a:pt x="1288" y="2007"/>
                    <a:pt x="1320" y="1973"/>
                  </a:cubicBezTo>
                  <a:cubicBezTo>
                    <a:pt x="1325" y="1966"/>
                    <a:pt x="1334" y="1958"/>
                    <a:pt x="1339" y="1952"/>
                  </a:cubicBezTo>
                  <a:cubicBezTo>
                    <a:pt x="1348" y="1953"/>
                    <a:pt x="1359" y="1954"/>
                    <a:pt x="1369" y="1955"/>
                  </a:cubicBezTo>
                  <a:cubicBezTo>
                    <a:pt x="1388" y="1957"/>
                    <a:pt x="1409" y="1960"/>
                    <a:pt x="1431" y="1960"/>
                  </a:cubicBezTo>
                  <a:close/>
                  <a:moveTo>
                    <a:pt x="1911" y="1316"/>
                  </a:moveTo>
                  <a:cubicBezTo>
                    <a:pt x="1892" y="1369"/>
                    <a:pt x="1806" y="1390"/>
                    <a:pt x="1779" y="1437"/>
                  </a:cubicBezTo>
                  <a:cubicBezTo>
                    <a:pt x="1751" y="1485"/>
                    <a:pt x="1775" y="1570"/>
                    <a:pt x="1740" y="1613"/>
                  </a:cubicBezTo>
                  <a:cubicBezTo>
                    <a:pt x="1704" y="1655"/>
                    <a:pt x="1616" y="1645"/>
                    <a:pt x="1574" y="1681"/>
                  </a:cubicBezTo>
                  <a:cubicBezTo>
                    <a:pt x="1532" y="1717"/>
                    <a:pt x="1526" y="1805"/>
                    <a:pt x="1478" y="1833"/>
                  </a:cubicBezTo>
                  <a:cubicBezTo>
                    <a:pt x="1430" y="1860"/>
                    <a:pt x="1351" y="1821"/>
                    <a:pt x="1298" y="1840"/>
                  </a:cubicBezTo>
                  <a:cubicBezTo>
                    <a:pt x="1247" y="1859"/>
                    <a:pt x="1211" y="1940"/>
                    <a:pt x="1156" y="1950"/>
                  </a:cubicBezTo>
                  <a:cubicBezTo>
                    <a:pt x="1103" y="1959"/>
                    <a:pt x="1041" y="1895"/>
                    <a:pt x="985" y="1895"/>
                  </a:cubicBezTo>
                  <a:cubicBezTo>
                    <a:pt x="929" y="1895"/>
                    <a:pt x="868" y="1959"/>
                    <a:pt x="814" y="1950"/>
                  </a:cubicBezTo>
                  <a:cubicBezTo>
                    <a:pt x="759" y="1940"/>
                    <a:pt x="723" y="1859"/>
                    <a:pt x="672" y="1840"/>
                  </a:cubicBezTo>
                  <a:cubicBezTo>
                    <a:pt x="619" y="1821"/>
                    <a:pt x="540" y="1860"/>
                    <a:pt x="492" y="1833"/>
                  </a:cubicBezTo>
                  <a:cubicBezTo>
                    <a:pt x="444" y="1805"/>
                    <a:pt x="439" y="1717"/>
                    <a:pt x="396" y="1681"/>
                  </a:cubicBezTo>
                  <a:cubicBezTo>
                    <a:pt x="354" y="1645"/>
                    <a:pt x="266" y="1655"/>
                    <a:pt x="230" y="1613"/>
                  </a:cubicBezTo>
                  <a:cubicBezTo>
                    <a:pt x="195" y="1570"/>
                    <a:pt x="219" y="1485"/>
                    <a:pt x="192" y="1437"/>
                  </a:cubicBezTo>
                  <a:cubicBezTo>
                    <a:pt x="164" y="1390"/>
                    <a:pt x="78" y="1369"/>
                    <a:pt x="59" y="1316"/>
                  </a:cubicBezTo>
                  <a:cubicBezTo>
                    <a:pt x="40" y="1265"/>
                    <a:pt x="92" y="1194"/>
                    <a:pt x="83" y="1138"/>
                  </a:cubicBezTo>
                  <a:cubicBezTo>
                    <a:pt x="73" y="1085"/>
                    <a:pt x="0" y="1036"/>
                    <a:pt x="0" y="979"/>
                  </a:cubicBezTo>
                  <a:cubicBezTo>
                    <a:pt x="0" y="923"/>
                    <a:pt x="73" y="874"/>
                    <a:pt x="83" y="820"/>
                  </a:cubicBezTo>
                  <a:cubicBezTo>
                    <a:pt x="92" y="765"/>
                    <a:pt x="40" y="694"/>
                    <a:pt x="59" y="642"/>
                  </a:cubicBezTo>
                  <a:cubicBezTo>
                    <a:pt x="78" y="590"/>
                    <a:pt x="164" y="569"/>
                    <a:pt x="192" y="521"/>
                  </a:cubicBezTo>
                  <a:cubicBezTo>
                    <a:pt x="219" y="473"/>
                    <a:pt x="195" y="388"/>
                    <a:pt x="230" y="346"/>
                  </a:cubicBezTo>
                  <a:cubicBezTo>
                    <a:pt x="266" y="304"/>
                    <a:pt x="354" y="313"/>
                    <a:pt x="396" y="278"/>
                  </a:cubicBezTo>
                  <a:cubicBezTo>
                    <a:pt x="439" y="242"/>
                    <a:pt x="444" y="154"/>
                    <a:pt x="492" y="126"/>
                  </a:cubicBezTo>
                  <a:cubicBezTo>
                    <a:pt x="540" y="98"/>
                    <a:pt x="619" y="137"/>
                    <a:pt x="672" y="118"/>
                  </a:cubicBezTo>
                  <a:cubicBezTo>
                    <a:pt x="723" y="100"/>
                    <a:pt x="759" y="19"/>
                    <a:pt x="814" y="9"/>
                  </a:cubicBezTo>
                  <a:cubicBezTo>
                    <a:pt x="868" y="0"/>
                    <a:pt x="929" y="63"/>
                    <a:pt x="985" y="63"/>
                  </a:cubicBezTo>
                  <a:cubicBezTo>
                    <a:pt x="1041" y="63"/>
                    <a:pt x="1103" y="0"/>
                    <a:pt x="1156" y="9"/>
                  </a:cubicBezTo>
                  <a:cubicBezTo>
                    <a:pt x="1211" y="19"/>
                    <a:pt x="1247" y="100"/>
                    <a:pt x="1298" y="118"/>
                  </a:cubicBezTo>
                  <a:cubicBezTo>
                    <a:pt x="1351" y="137"/>
                    <a:pt x="1430" y="98"/>
                    <a:pt x="1478" y="126"/>
                  </a:cubicBezTo>
                  <a:cubicBezTo>
                    <a:pt x="1526" y="154"/>
                    <a:pt x="1532" y="242"/>
                    <a:pt x="1574" y="278"/>
                  </a:cubicBezTo>
                  <a:cubicBezTo>
                    <a:pt x="1616" y="313"/>
                    <a:pt x="1704" y="304"/>
                    <a:pt x="1740" y="346"/>
                  </a:cubicBezTo>
                  <a:cubicBezTo>
                    <a:pt x="1775" y="388"/>
                    <a:pt x="1751" y="473"/>
                    <a:pt x="1779" y="521"/>
                  </a:cubicBezTo>
                  <a:cubicBezTo>
                    <a:pt x="1806" y="569"/>
                    <a:pt x="1892" y="590"/>
                    <a:pt x="1911" y="642"/>
                  </a:cubicBezTo>
                  <a:cubicBezTo>
                    <a:pt x="1930" y="694"/>
                    <a:pt x="1878" y="765"/>
                    <a:pt x="1887" y="820"/>
                  </a:cubicBezTo>
                  <a:cubicBezTo>
                    <a:pt x="1897" y="874"/>
                    <a:pt x="1970" y="923"/>
                    <a:pt x="1970" y="979"/>
                  </a:cubicBezTo>
                  <a:cubicBezTo>
                    <a:pt x="1970" y="1036"/>
                    <a:pt x="1897" y="1085"/>
                    <a:pt x="1887" y="1138"/>
                  </a:cubicBezTo>
                  <a:cubicBezTo>
                    <a:pt x="1878" y="1194"/>
                    <a:pt x="1930" y="1265"/>
                    <a:pt x="1911" y="1316"/>
                  </a:cubicBezTo>
                  <a:close/>
                  <a:moveTo>
                    <a:pt x="1762" y="979"/>
                  </a:moveTo>
                  <a:cubicBezTo>
                    <a:pt x="1762" y="551"/>
                    <a:pt x="1413" y="203"/>
                    <a:pt x="985" y="203"/>
                  </a:cubicBezTo>
                  <a:cubicBezTo>
                    <a:pt x="557" y="203"/>
                    <a:pt x="208" y="551"/>
                    <a:pt x="208" y="979"/>
                  </a:cubicBezTo>
                  <a:cubicBezTo>
                    <a:pt x="208" y="1408"/>
                    <a:pt x="557" y="1756"/>
                    <a:pt x="985" y="1756"/>
                  </a:cubicBezTo>
                  <a:cubicBezTo>
                    <a:pt x="1413" y="1756"/>
                    <a:pt x="1762" y="1408"/>
                    <a:pt x="1762" y="979"/>
                  </a:cubicBezTo>
                  <a:close/>
                  <a:moveTo>
                    <a:pt x="1645" y="979"/>
                  </a:moveTo>
                  <a:cubicBezTo>
                    <a:pt x="1645" y="1343"/>
                    <a:pt x="1349" y="1639"/>
                    <a:pt x="985" y="1639"/>
                  </a:cubicBezTo>
                  <a:cubicBezTo>
                    <a:pt x="621" y="1639"/>
                    <a:pt x="326" y="1343"/>
                    <a:pt x="326" y="979"/>
                  </a:cubicBezTo>
                  <a:cubicBezTo>
                    <a:pt x="326" y="616"/>
                    <a:pt x="621" y="320"/>
                    <a:pt x="985" y="320"/>
                  </a:cubicBezTo>
                  <a:cubicBezTo>
                    <a:pt x="1349" y="320"/>
                    <a:pt x="1645" y="616"/>
                    <a:pt x="1645" y="979"/>
                  </a:cubicBezTo>
                  <a:close/>
                  <a:moveTo>
                    <a:pt x="640" y="992"/>
                  </a:moveTo>
                  <a:cubicBezTo>
                    <a:pt x="732" y="925"/>
                    <a:pt x="732" y="925"/>
                    <a:pt x="732" y="925"/>
                  </a:cubicBezTo>
                  <a:cubicBezTo>
                    <a:pt x="618" y="925"/>
                    <a:pt x="618" y="925"/>
                    <a:pt x="618" y="925"/>
                  </a:cubicBezTo>
                  <a:cubicBezTo>
                    <a:pt x="582" y="816"/>
                    <a:pt x="582" y="816"/>
                    <a:pt x="582" y="816"/>
                  </a:cubicBezTo>
                  <a:cubicBezTo>
                    <a:pt x="547" y="925"/>
                    <a:pt x="547" y="925"/>
                    <a:pt x="547" y="925"/>
                  </a:cubicBezTo>
                  <a:cubicBezTo>
                    <a:pt x="432" y="925"/>
                    <a:pt x="432" y="925"/>
                    <a:pt x="432" y="925"/>
                  </a:cubicBezTo>
                  <a:cubicBezTo>
                    <a:pt x="525" y="992"/>
                    <a:pt x="525" y="992"/>
                    <a:pt x="525" y="992"/>
                  </a:cubicBezTo>
                  <a:cubicBezTo>
                    <a:pt x="490" y="1101"/>
                    <a:pt x="490" y="1101"/>
                    <a:pt x="490" y="1101"/>
                  </a:cubicBezTo>
                  <a:cubicBezTo>
                    <a:pt x="582" y="1034"/>
                    <a:pt x="582" y="1034"/>
                    <a:pt x="582" y="1034"/>
                  </a:cubicBezTo>
                  <a:cubicBezTo>
                    <a:pt x="675" y="1101"/>
                    <a:pt x="675" y="1101"/>
                    <a:pt x="675" y="1101"/>
                  </a:cubicBezTo>
                  <a:lnTo>
                    <a:pt x="640" y="992"/>
                  </a:lnTo>
                  <a:close/>
                  <a:moveTo>
                    <a:pt x="1042" y="992"/>
                  </a:moveTo>
                  <a:cubicBezTo>
                    <a:pt x="1135" y="925"/>
                    <a:pt x="1135" y="925"/>
                    <a:pt x="1135" y="925"/>
                  </a:cubicBezTo>
                  <a:cubicBezTo>
                    <a:pt x="1021" y="925"/>
                    <a:pt x="1021" y="925"/>
                    <a:pt x="1021" y="925"/>
                  </a:cubicBezTo>
                  <a:cubicBezTo>
                    <a:pt x="985" y="816"/>
                    <a:pt x="985" y="816"/>
                    <a:pt x="985" y="816"/>
                  </a:cubicBezTo>
                  <a:cubicBezTo>
                    <a:pt x="950" y="925"/>
                    <a:pt x="950" y="925"/>
                    <a:pt x="950" y="925"/>
                  </a:cubicBezTo>
                  <a:cubicBezTo>
                    <a:pt x="835" y="925"/>
                    <a:pt x="835" y="925"/>
                    <a:pt x="835" y="925"/>
                  </a:cubicBezTo>
                  <a:cubicBezTo>
                    <a:pt x="928" y="992"/>
                    <a:pt x="928" y="992"/>
                    <a:pt x="928" y="992"/>
                  </a:cubicBezTo>
                  <a:cubicBezTo>
                    <a:pt x="892" y="1101"/>
                    <a:pt x="892" y="1101"/>
                    <a:pt x="892" y="1101"/>
                  </a:cubicBezTo>
                  <a:cubicBezTo>
                    <a:pt x="985" y="1034"/>
                    <a:pt x="985" y="1034"/>
                    <a:pt x="985" y="1034"/>
                  </a:cubicBezTo>
                  <a:cubicBezTo>
                    <a:pt x="1078" y="1101"/>
                    <a:pt x="1078" y="1101"/>
                    <a:pt x="1078" y="1101"/>
                  </a:cubicBezTo>
                  <a:lnTo>
                    <a:pt x="1042" y="992"/>
                  </a:lnTo>
                  <a:close/>
                  <a:moveTo>
                    <a:pt x="1445" y="992"/>
                  </a:moveTo>
                  <a:cubicBezTo>
                    <a:pt x="1538" y="925"/>
                    <a:pt x="1538" y="925"/>
                    <a:pt x="1538" y="925"/>
                  </a:cubicBezTo>
                  <a:cubicBezTo>
                    <a:pt x="1423" y="925"/>
                    <a:pt x="1423" y="925"/>
                    <a:pt x="1423" y="925"/>
                  </a:cubicBezTo>
                  <a:cubicBezTo>
                    <a:pt x="1388" y="816"/>
                    <a:pt x="1388" y="816"/>
                    <a:pt x="1388" y="816"/>
                  </a:cubicBezTo>
                  <a:cubicBezTo>
                    <a:pt x="1352" y="925"/>
                    <a:pt x="1352" y="925"/>
                    <a:pt x="1352" y="925"/>
                  </a:cubicBezTo>
                  <a:cubicBezTo>
                    <a:pt x="1238" y="925"/>
                    <a:pt x="1238" y="925"/>
                    <a:pt x="1238" y="925"/>
                  </a:cubicBezTo>
                  <a:cubicBezTo>
                    <a:pt x="1330" y="992"/>
                    <a:pt x="1330" y="992"/>
                    <a:pt x="1330" y="992"/>
                  </a:cubicBezTo>
                  <a:cubicBezTo>
                    <a:pt x="1295" y="1101"/>
                    <a:pt x="1295" y="1101"/>
                    <a:pt x="1295" y="1101"/>
                  </a:cubicBezTo>
                  <a:cubicBezTo>
                    <a:pt x="1388" y="1034"/>
                    <a:pt x="1388" y="1034"/>
                    <a:pt x="1388" y="1034"/>
                  </a:cubicBezTo>
                  <a:cubicBezTo>
                    <a:pt x="1481" y="1101"/>
                    <a:pt x="1481" y="1101"/>
                    <a:pt x="1481" y="1101"/>
                  </a:cubicBezTo>
                  <a:lnTo>
                    <a:pt x="1445" y="992"/>
                  </a:lnTo>
                  <a:close/>
                </a:path>
              </a:pathLst>
            </a:custGeom>
            <a:solidFill>
              <a:schemeClr val="bg2"/>
            </a:solidFill>
            <a:ln>
              <a:noFill/>
            </a:ln>
          </p:spPr>
          <p:txBody>
            <a:bodyPr vert="horz" wrap="square" lIns="91392" tIns="45696" rIns="91392" bIns="45696" numCol="1" anchor="t" anchorCtr="0" compatLnSpc="1">
              <a:prstTxWarp prst="textNoShape">
                <a:avLst/>
              </a:prstTxWarp>
            </a:bodyPr>
            <a:lstStyle/>
            <a:p>
              <a:endParaRPr lang="en-US" sz="1799" dirty="0"/>
            </a:p>
          </p:txBody>
        </p:sp>
        <p:sp>
          <p:nvSpPr>
            <p:cNvPr id="255" name="Freeform 96"/>
            <p:cNvSpPr>
              <a:spLocks noEditPoints="1"/>
            </p:cNvSpPr>
            <p:nvPr/>
          </p:nvSpPr>
          <p:spPr bwMode="auto">
            <a:xfrm>
              <a:off x="818998" y="1865039"/>
              <a:ext cx="1412995" cy="1853224"/>
            </a:xfrm>
            <a:custGeom>
              <a:avLst/>
              <a:gdLst>
                <a:gd name="T0" fmla="*/ 520 w 1965"/>
                <a:gd name="T1" fmla="*/ 529 h 2570"/>
                <a:gd name="T2" fmla="*/ 983 w 1965"/>
                <a:gd name="T3" fmla="*/ 0 h 2570"/>
                <a:gd name="T4" fmla="*/ 1446 w 1965"/>
                <a:gd name="T5" fmla="*/ 529 h 2570"/>
                <a:gd name="T6" fmla="*/ 983 w 1965"/>
                <a:gd name="T7" fmla="*/ 1058 h 2570"/>
                <a:gd name="T8" fmla="*/ 520 w 1965"/>
                <a:gd name="T9" fmla="*/ 529 h 2570"/>
                <a:gd name="T10" fmla="*/ 1965 w 1965"/>
                <a:gd name="T11" fmla="*/ 1684 h 2570"/>
                <a:gd name="T12" fmla="*/ 1648 w 1965"/>
                <a:gd name="T13" fmla="*/ 1302 h 2570"/>
                <a:gd name="T14" fmla="*/ 1648 w 1965"/>
                <a:gd name="T15" fmla="*/ 1302 h 2570"/>
                <a:gd name="T16" fmla="*/ 1310 w 1965"/>
                <a:gd name="T17" fmla="*/ 1278 h 2570"/>
                <a:gd name="T18" fmla="*/ 1310 w 1965"/>
                <a:gd name="T19" fmla="*/ 1278 h 2570"/>
                <a:gd name="T20" fmla="*/ 1310 w 1965"/>
                <a:gd name="T21" fmla="*/ 1278 h 2570"/>
                <a:gd name="T22" fmla="*/ 983 w 1965"/>
                <a:gd name="T23" fmla="*/ 1606 h 2570"/>
                <a:gd name="T24" fmla="*/ 983 w 1965"/>
                <a:gd name="T25" fmla="*/ 1606 h 2570"/>
                <a:gd name="T26" fmla="*/ 655 w 1965"/>
                <a:gd name="T27" fmla="*/ 1278 h 2570"/>
                <a:gd name="T28" fmla="*/ 655 w 1965"/>
                <a:gd name="T29" fmla="*/ 1278 h 2570"/>
                <a:gd name="T30" fmla="*/ 655 w 1965"/>
                <a:gd name="T31" fmla="*/ 1278 h 2570"/>
                <a:gd name="T32" fmla="*/ 317 w 1965"/>
                <a:gd name="T33" fmla="*/ 1302 h 2570"/>
                <a:gd name="T34" fmla="*/ 317 w 1965"/>
                <a:gd name="T35" fmla="*/ 1302 h 2570"/>
                <a:gd name="T36" fmla="*/ 0 w 1965"/>
                <a:gd name="T37" fmla="*/ 1684 h 2570"/>
                <a:gd name="T38" fmla="*/ 0 w 1965"/>
                <a:gd name="T39" fmla="*/ 1684 h 2570"/>
                <a:gd name="T40" fmla="*/ 0 w 1965"/>
                <a:gd name="T41" fmla="*/ 2570 h 2570"/>
                <a:gd name="T42" fmla="*/ 1965 w 1965"/>
                <a:gd name="T43" fmla="*/ 2570 h 2570"/>
                <a:gd name="T44" fmla="*/ 1965 w 1965"/>
                <a:gd name="T45" fmla="*/ 1684 h 2570"/>
                <a:gd name="T46" fmla="*/ 1965 w 1965"/>
                <a:gd name="T47" fmla="*/ 1684 h 2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5" h="2570">
                  <a:moveTo>
                    <a:pt x="520" y="529"/>
                  </a:moveTo>
                  <a:cubicBezTo>
                    <a:pt x="520" y="212"/>
                    <a:pt x="707" y="0"/>
                    <a:pt x="983" y="0"/>
                  </a:cubicBezTo>
                  <a:cubicBezTo>
                    <a:pt x="1258" y="0"/>
                    <a:pt x="1446" y="212"/>
                    <a:pt x="1446" y="529"/>
                  </a:cubicBezTo>
                  <a:cubicBezTo>
                    <a:pt x="1446" y="846"/>
                    <a:pt x="1258" y="1058"/>
                    <a:pt x="983" y="1058"/>
                  </a:cubicBezTo>
                  <a:cubicBezTo>
                    <a:pt x="707" y="1058"/>
                    <a:pt x="520" y="846"/>
                    <a:pt x="520" y="529"/>
                  </a:cubicBezTo>
                  <a:close/>
                  <a:moveTo>
                    <a:pt x="1965" y="1684"/>
                  </a:moveTo>
                  <a:cubicBezTo>
                    <a:pt x="1961" y="1464"/>
                    <a:pt x="1835" y="1316"/>
                    <a:pt x="1648" y="1302"/>
                  </a:cubicBezTo>
                  <a:cubicBezTo>
                    <a:pt x="1648" y="1302"/>
                    <a:pt x="1648" y="1302"/>
                    <a:pt x="1648" y="1302"/>
                  </a:cubicBezTo>
                  <a:cubicBezTo>
                    <a:pt x="1310" y="1278"/>
                    <a:pt x="1310" y="1278"/>
                    <a:pt x="1310" y="1278"/>
                  </a:cubicBezTo>
                  <a:cubicBezTo>
                    <a:pt x="1310" y="1278"/>
                    <a:pt x="1310" y="1278"/>
                    <a:pt x="1310" y="1278"/>
                  </a:cubicBezTo>
                  <a:cubicBezTo>
                    <a:pt x="1310" y="1278"/>
                    <a:pt x="1310" y="1278"/>
                    <a:pt x="1310" y="1278"/>
                  </a:cubicBezTo>
                  <a:cubicBezTo>
                    <a:pt x="983" y="1606"/>
                    <a:pt x="983" y="1606"/>
                    <a:pt x="983" y="1606"/>
                  </a:cubicBezTo>
                  <a:cubicBezTo>
                    <a:pt x="983" y="1606"/>
                    <a:pt x="983" y="1606"/>
                    <a:pt x="983" y="1606"/>
                  </a:cubicBezTo>
                  <a:cubicBezTo>
                    <a:pt x="655" y="1278"/>
                    <a:pt x="655" y="1278"/>
                    <a:pt x="655" y="1278"/>
                  </a:cubicBezTo>
                  <a:cubicBezTo>
                    <a:pt x="655" y="1278"/>
                    <a:pt x="655" y="1278"/>
                    <a:pt x="655" y="1278"/>
                  </a:cubicBezTo>
                  <a:cubicBezTo>
                    <a:pt x="655" y="1278"/>
                    <a:pt x="655" y="1278"/>
                    <a:pt x="655" y="1278"/>
                  </a:cubicBezTo>
                  <a:cubicBezTo>
                    <a:pt x="317" y="1302"/>
                    <a:pt x="317" y="1302"/>
                    <a:pt x="317" y="1302"/>
                  </a:cubicBezTo>
                  <a:cubicBezTo>
                    <a:pt x="317" y="1302"/>
                    <a:pt x="317" y="1302"/>
                    <a:pt x="317" y="1302"/>
                  </a:cubicBezTo>
                  <a:cubicBezTo>
                    <a:pt x="130" y="1316"/>
                    <a:pt x="4" y="1464"/>
                    <a:pt x="0" y="1684"/>
                  </a:cubicBezTo>
                  <a:cubicBezTo>
                    <a:pt x="0" y="1684"/>
                    <a:pt x="0" y="1684"/>
                    <a:pt x="0" y="1684"/>
                  </a:cubicBezTo>
                  <a:cubicBezTo>
                    <a:pt x="0" y="1761"/>
                    <a:pt x="0" y="2183"/>
                    <a:pt x="0" y="2570"/>
                  </a:cubicBezTo>
                  <a:cubicBezTo>
                    <a:pt x="1965" y="2570"/>
                    <a:pt x="1965" y="2570"/>
                    <a:pt x="1965" y="2570"/>
                  </a:cubicBezTo>
                  <a:cubicBezTo>
                    <a:pt x="1965" y="2183"/>
                    <a:pt x="1965" y="1761"/>
                    <a:pt x="1965" y="1684"/>
                  </a:cubicBezTo>
                  <a:cubicBezTo>
                    <a:pt x="1965" y="1684"/>
                    <a:pt x="1965" y="1684"/>
                    <a:pt x="1965" y="1684"/>
                  </a:cubicBezTo>
                  <a:close/>
                </a:path>
              </a:pathLst>
            </a:custGeom>
            <a:solidFill>
              <a:srgbClr val="E5E5E9"/>
            </a:solidFill>
            <a:ln>
              <a:noFill/>
            </a:ln>
          </p:spPr>
          <p:txBody>
            <a:bodyPr vert="horz" wrap="square" lIns="91392" tIns="45696" rIns="91392" bIns="45696" numCol="1" anchor="t" anchorCtr="0" compatLnSpc="1">
              <a:prstTxWarp prst="textNoShape">
                <a:avLst/>
              </a:prstTxWarp>
            </a:bodyPr>
            <a:lstStyle/>
            <a:p>
              <a:endParaRPr lang="en-US" sz="1799" dirty="0"/>
            </a:p>
          </p:txBody>
        </p:sp>
      </p:grpSp>
      <p:grpSp>
        <p:nvGrpSpPr>
          <p:cNvPr id="6" name="Gruppieren 5">
            <a:extLst>
              <a:ext uri="{FF2B5EF4-FFF2-40B4-BE49-F238E27FC236}">
                <a16:creationId xmlns:a16="http://schemas.microsoft.com/office/drawing/2014/main" id="{18EDB8FC-811E-4659-884B-4CE1A775E196}"/>
              </a:ext>
            </a:extLst>
          </p:cNvPr>
          <p:cNvGrpSpPr/>
          <p:nvPr/>
        </p:nvGrpSpPr>
        <p:grpSpPr>
          <a:xfrm>
            <a:off x="410399" y="3863549"/>
            <a:ext cx="3312001" cy="2302801"/>
            <a:chOff x="627062" y="3863776"/>
            <a:chExt cx="3290971" cy="2304000"/>
          </a:xfrm>
        </p:grpSpPr>
        <p:sp>
          <p:nvSpPr>
            <p:cNvPr id="140" name="Rechteck 139"/>
            <p:cNvSpPr>
              <a:spLocks/>
            </p:cNvSpPr>
            <p:nvPr/>
          </p:nvSpPr>
          <p:spPr bwMode="auto">
            <a:xfrm>
              <a:off x="627062" y="3863845"/>
              <a:ext cx="1788571" cy="2303931"/>
            </a:xfrm>
            <a:prstGeom prst="rect">
              <a:avLst/>
            </a:prstGeom>
            <a:solidFill>
              <a:srgbClr val="66667E"/>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52" name="Textfeld 8"/>
            <p:cNvSpPr txBox="1">
              <a:spLocks/>
            </p:cNvSpPr>
            <p:nvPr/>
          </p:nvSpPr>
          <p:spPr bwMode="gray">
            <a:xfrm>
              <a:off x="2415634" y="3863776"/>
              <a:ext cx="1502399" cy="2304000"/>
            </a:xfrm>
            <a:prstGeom prst="rect">
              <a:avLst/>
            </a:prstGeom>
            <a:solidFill>
              <a:srgbClr val="00FFB9"/>
            </a:solidFill>
            <a:ln>
              <a:noFill/>
            </a:ln>
          </p:spPr>
          <p:txBody>
            <a:bodyPr wrap="square" lIns="143925" tIns="71963" rIns="71963" bIns="71963" rtlCol="0" anchor="b">
              <a:noAutofit/>
            </a:bodyPr>
            <a:lstStyle/>
            <a:p>
              <a:pPr>
                <a:spcBef>
                  <a:spcPct val="0"/>
                </a:spcBef>
                <a:buClr>
                  <a:srgbClr val="879BAA"/>
                </a:buClr>
              </a:pPr>
              <a:r>
                <a:rPr lang="en-US" sz="1599" b="1" kern="1400" dirty="0">
                  <a:solidFill>
                    <a:schemeClr val="bg2"/>
                  </a:solidFill>
                  <a:ea typeface="ＭＳ Ｐゴシック" pitchFamily="34" charset="-128"/>
                  <a:cs typeface="Arial" charset="0"/>
                </a:rPr>
                <a:t>Marianne Mastermind</a:t>
              </a:r>
            </a:p>
            <a:p>
              <a:pPr>
                <a:spcBef>
                  <a:spcPts val="300"/>
                </a:spcBef>
                <a:buClr>
                  <a:srgbClr val="879BAA"/>
                </a:buClr>
              </a:pPr>
              <a:r>
                <a:rPr lang="en-US" sz="1199" dirty="0">
                  <a:solidFill>
                    <a:schemeClr val="bg2"/>
                  </a:solidFill>
                  <a:cs typeface="Arial" charset="0"/>
                </a:rPr>
                <a:t>At vero eos et accusam</a:t>
              </a:r>
            </a:p>
          </p:txBody>
        </p:sp>
        <p:sp>
          <p:nvSpPr>
            <p:cNvPr id="254" name="Freeform 70"/>
            <p:cNvSpPr>
              <a:spLocks noEditPoints="1"/>
            </p:cNvSpPr>
            <p:nvPr/>
          </p:nvSpPr>
          <p:spPr bwMode="auto">
            <a:xfrm>
              <a:off x="3254400" y="3931763"/>
              <a:ext cx="593271" cy="774220"/>
            </a:xfrm>
            <a:custGeom>
              <a:avLst/>
              <a:gdLst>
                <a:gd name="T0" fmla="*/ 1439 w 1970"/>
                <a:gd name="T1" fmla="*/ 1960 h 2578"/>
                <a:gd name="T2" fmla="*/ 985 w 1970"/>
                <a:gd name="T3" fmla="*/ 2328 h 2578"/>
                <a:gd name="T4" fmla="*/ 532 w 1970"/>
                <a:gd name="T5" fmla="*/ 1960 h 2578"/>
                <a:gd name="T6" fmla="*/ 601 w 1970"/>
                <a:gd name="T7" fmla="*/ 1955 h 2578"/>
                <a:gd name="T8" fmla="*/ 651 w 1970"/>
                <a:gd name="T9" fmla="*/ 1973 h 2578"/>
                <a:gd name="T10" fmla="*/ 825 w 1970"/>
                <a:gd name="T11" fmla="*/ 2068 h 2578"/>
                <a:gd name="T12" fmla="*/ 985 w 1970"/>
                <a:gd name="T13" fmla="*/ 2014 h 2578"/>
                <a:gd name="T14" fmla="*/ 1145 w 1970"/>
                <a:gd name="T15" fmla="*/ 2068 h 2578"/>
                <a:gd name="T16" fmla="*/ 1320 w 1970"/>
                <a:gd name="T17" fmla="*/ 1973 h 2578"/>
                <a:gd name="T18" fmla="*/ 1369 w 1970"/>
                <a:gd name="T19" fmla="*/ 1955 h 2578"/>
                <a:gd name="T20" fmla="*/ 1911 w 1970"/>
                <a:gd name="T21" fmla="*/ 1316 h 2578"/>
                <a:gd name="T22" fmla="*/ 1740 w 1970"/>
                <a:gd name="T23" fmla="*/ 1613 h 2578"/>
                <a:gd name="T24" fmla="*/ 1478 w 1970"/>
                <a:gd name="T25" fmla="*/ 1833 h 2578"/>
                <a:gd name="T26" fmla="*/ 1156 w 1970"/>
                <a:gd name="T27" fmla="*/ 1950 h 2578"/>
                <a:gd name="T28" fmla="*/ 814 w 1970"/>
                <a:gd name="T29" fmla="*/ 1950 h 2578"/>
                <a:gd name="T30" fmla="*/ 492 w 1970"/>
                <a:gd name="T31" fmla="*/ 1833 h 2578"/>
                <a:gd name="T32" fmla="*/ 230 w 1970"/>
                <a:gd name="T33" fmla="*/ 1613 h 2578"/>
                <a:gd name="T34" fmla="*/ 59 w 1970"/>
                <a:gd name="T35" fmla="*/ 1316 h 2578"/>
                <a:gd name="T36" fmla="*/ 0 w 1970"/>
                <a:gd name="T37" fmla="*/ 979 h 2578"/>
                <a:gd name="T38" fmla="*/ 59 w 1970"/>
                <a:gd name="T39" fmla="*/ 642 h 2578"/>
                <a:gd name="T40" fmla="*/ 230 w 1970"/>
                <a:gd name="T41" fmla="*/ 346 h 2578"/>
                <a:gd name="T42" fmla="*/ 492 w 1970"/>
                <a:gd name="T43" fmla="*/ 126 h 2578"/>
                <a:gd name="T44" fmla="*/ 814 w 1970"/>
                <a:gd name="T45" fmla="*/ 9 h 2578"/>
                <a:gd name="T46" fmla="*/ 1156 w 1970"/>
                <a:gd name="T47" fmla="*/ 9 h 2578"/>
                <a:gd name="T48" fmla="*/ 1478 w 1970"/>
                <a:gd name="T49" fmla="*/ 126 h 2578"/>
                <a:gd name="T50" fmla="*/ 1740 w 1970"/>
                <a:gd name="T51" fmla="*/ 346 h 2578"/>
                <a:gd name="T52" fmla="*/ 1911 w 1970"/>
                <a:gd name="T53" fmla="*/ 642 h 2578"/>
                <a:gd name="T54" fmla="*/ 1970 w 1970"/>
                <a:gd name="T55" fmla="*/ 979 h 2578"/>
                <a:gd name="T56" fmla="*/ 1911 w 1970"/>
                <a:gd name="T57" fmla="*/ 1316 h 2578"/>
                <a:gd name="T58" fmla="*/ 985 w 1970"/>
                <a:gd name="T59" fmla="*/ 203 h 2578"/>
                <a:gd name="T60" fmla="*/ 985 w 1970"/>
                <a:gd name="T61" fmla="*/ 1756 h 2578"/>
                <a:gd name="T62" fmla="*/ 1645 w 1970"/>
                <a:gd name="T63" fmla="*/ 979 h 2578"/>
                <a:gd name="T64" fmla="*/ 326 w 1970"/>
                <a:gd name="T65" fmla="*/ 979 h 2578"/>
                <a:gd name="T66" fmla="*/ 1645 w 1970"/>
                <a:gd name="T67" fmla="*/ 979 h 2578"/>
                <a:gd name="T68" fmla="*/ 732 w 1970"/>
                <a:gd name="T69" fmla="*/ 925 h 2578"/>
                <a:gd name="T70" fmla="*/ 582 w 1970"/>
                <a:gd name="T71" fmla="*/ 816 h 2578"/>
                <a:gd name="T72" fmla="*/ 432 w 1970"/>
                <a:gd name="T73" fmla="*/ 925 h 2578"/>
                <a:gd name="T74" fmla="*/ 490 w 1970"/>
                <a:gd name="T75" fmla="*/ 1101 h 2578"/>
                <a:gd name="T76" fmla="*/ 675 w 1970"/>
                <a:gd name="T77" fmla="*/ 1101 h 2578"/>
                <a:gd name="T78" fmla="*/ 1042 w 1970"/>
                <a:gd name="T79" fmla="*/ 992 h 2578"/>
                <a:gd name="T80" fmla="*/ 1021 w 1970"/>
                <a:gd name="T81" fmla="*/ 925 h 2578"/>
                <a:gd name="T82" fmla="*/ 950 w 1970"/>
                <a:gd name="T83" fmla="*/ 925 h 2578"/>
                <a:gd name="T84" fmla="*/ 928 w 1970"/>
                <a:gd name="T85" fmla="*/ 992 h 2578"/>
                <a:gd name="T86" fmla="*/ 985 w 1970"/>
                <a:gd name="T87" fmla="*/ 1034 h 2578"/>
                <a:gd name="T88" fmla="*/ 1042 w 1970"/>
                <a:gd name="T89" fmla="*/ 992 h 2578"/>
                <a:gd name="T90" fmla="*/ 1538 w 1970"/>
                <a:gd name="T91" fmla="*/ 925 h 2578"/>
                <a:gd name="T92" fmla="*/ 1388 w 1970"/>
                <a:gd name="T93" fmla="*/ 816 h 2578"/>
                <a:gd name="T94" fmla="*/ 1238 w 1970"/>
                <a:gd name="T95" fmla="*/ 925 h 2578"/>
                <a:gd name="T96" fmla="*/ 1295 w 1970"/>
                <a:gd name="T97" fmla="*/ 1101 h 2578"/>
                <a:gd name="T98" fmla="*/ 1481 w 1970"/>
                <a:gd name="T99" fmla="*/ 1101 h 2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70" h="2578">
                  <a:moveTo>
                    <a:pt x="1431" y="1960"/>
                  </a:moveTo>
                  <a:cubicBezTo>
                    <a:pt x="1434" y="1960"/>
                    <a:pt x="1436" y="1960"/>
                    <a:pt x="1439" y="1960"/>
                  </a:cubicBezTo>
                  <a:cubicBezTo>
                    <a:pt x="1439" y="2578"/>
                    <a:pt x="1439" y="2578"/>
                    <a:pt x="1439" y="2578"/>
                  </a:cubicBezTo>
                  <a:cubicBezTo>
                    <a:pt x="985" y="2328"/>
                    <a:pt x="985" y="2328"/>
                    <a:pt x="985" y="2328"/>
                  </a:cubicBezTo>
                  <a:cubicBezTo>
                    <a:pt x="532" y="2578"/>
                    <a:pt x="532" y="2578"/>
                    <a:pt x="532" y="2578"/>
                  </a:cubicBezTo>
                  <a:cubicBezTo>
                    <a:pt x="532" y="1960"/>
                    <a:pt x="532" y="1960"/>
                    <a:pt x="532" y="1960"/>
                  </a:cubicBezTo>
                  <a:cubicBezTo>
                    <a:pt x="534" y="1960"/>
                    <a:pt x="536" y="1960"/>
                    <a:pt x="539" y="1960"/>
                  </a:cubicBezTo>
                  <a:cubicBezTo>
                    <a:pt x="561" y="1960"/>
                    <a:pt x="582" y="1957"/>
                    <a:pt x="601" y="1955"/>
                  </a:cubicBezTo>
                  <a:cubicBezTo>
                    <a:pt x="612" y="1954"/>
                    <a:pt x="623" y="1953"/>
                    <a:pt x="631" y="1952"/>
                  </a:cubicBezTo>
                  <a:cubicBezTo>
                    <a:pt x="637" y="1958"/>
                    <a:pt x="645" y="1966"/>
                    <a:pt x="651" y="1973"/>
                  </a:cubicBezTo>
                  <a:cubicBezTo>
                    <a:pt x="682" y="2007"/>
                    <a:pt x="725" y="2053"/>
                    <a:pt x="794" y="2065"/>
                  </a:cubicBezTo>
                  <a:cubicBezTo>
                    <a:pt x="804" y="2067"/>
                    <a:pt x="815" y="2068"/>
                    <a:pt x="825" y="2068"/>
                  </a:cubicBezTo>
                  <a:cubicBezTo>
                    <a:pt x="879" y="2068"/>
                    <a:pt x="922" y="2046"/>
                    <a:pt x="957" y="2028"/>
                  </a:cubicBezTo>
                  <a:cubicBezTo>
                    <a:pt x="966" y="2023"/>
                    <a:pt x="977" y="2017"/>
                    <a:pt x="985" y="2014"/>
                  </a:cubicBezTo>
                  <a:cubicBezTo>
                    <a:pt x="993" y="2017"/>
                    <a:pt x="1005" y="2023"/>
                    <a:pt x="1013" y="2028"/>
                  </a:cubicBezTo>
                  <a:cubicBezTo>
                    <a:pt x="1048" y="2046"/>
                    <a:pt x="1092" y="2068"/>
                    <a:pt x="1145" y="2068"/>
                  </a:cubicBezTo>
                  <a:cubicBezTo>
                    <a:pt x="1156" y="2068"/>
                    <a:pt x="1166" y="2067"/>
                    <a:pt x="1176" y="2065"/>
                  </a:cubicBezTo>
                  <a:cubicBezTo>
                    <a:pt x="1245" y="2053"/>
                    <a:pt x="1288" y="2007"/>
                    <a:pt x="1320" y="1973"/>
                  </a:cubicBezTo>
                  <a:cubicBezTo>
                    <a:pt x="1325" y="1966"/>
                    <a:pt x="1334" y="1958"/>
                    <a:pt x="1339" y="1952"/>
                  </a:cubicBezTo>
                  <a:cubicBezTo>
                    <a:pt x="1348" y="1953"/>
                    <a:pt x="1359" y="1954"/>
                    <a:pt x="1369" y="1955"/>
                  </a:cubicBezTo>
                  <a:cubicBezTo>
                    <a:pt x="1388" y="1957"/>
                    <a:pt x="1409" y="1960"/>
                    <a:pt x="1431" y="1960"/>
                  </a:cubicBezTo>
                  <a:close/>
                  <a:moveTo>
                    <a:pt x="1911" y="1316"/>
                  </a:moveTo>
                  <a:cubicBezTo>
                    <a:pt x="1892" y="1369"/>
                    <a:pt x="1806" y="1390"/>
                    <a:pt x="1779" y="1437"/>
                  </a:cubicBezTo>
                  <a:cubicBezTo>
                    <a:pt x="1751" y="1485"/>
                    <a:pt x="1775" y="1570"/>
                    <a:pt x="1740" y="1613"/>
                  </a:cubicBezTo>
                  <a:cubicBezTo>
                    <a:pt x="1704" y="1655"/>
                    <a:pt x="1616" y="1645"/>
                    <a:pt x="1574" y="1681"/>
                  </a:cubicBezTo>
                  <a:cubicBezTo>
                    <a:pt x="1532" y="1717"/>
                    <a:pt x="1526" y="1805"/>
                    <a:pt x="1478" y="1833"/>
                  </a:cubicBezTo>
                  <a:cubicBezTo>
                    <a:pt x="1430" y="1860"/>
                    <a:pt x="1351" y="1821"/>
                    <a:pt x="1298" y="1840"/>
                  </a:cubicBezTo>
                  <a:cubicBezTo>
                    <a:pt x="1247" y="1859"/>
                    <a:pt x="1211" y="1940"/>
                    <a:pt x="1156" y="1950"/>
                  </a:cubicBezTo>
                  <a:cubicBezTo>
                    <a:pt x="1103" y="1959"/>
                    <a:pt x="1041" y="1895"/>
                    <a:pt x="985" y="1895"/>
                  </a:cubicBezTo>
                  <a:cubicBezTo>
                    <a:pt x="929" y="1895"/>
                    <a:pt x="868" y="1959"/>
                    <a:pt x="814" y="1950"/>
                  </a:cubicBezTo>
                  <a:cubicBezTo>
                    <a:pt x="759" y="1940"/>
                    <a:pt x="723" y="1859"/>
                    <a:pt x="672" y="1840"/>
                  </a:cubicBezTo>
                  <a:cubicBezTo>
                    <a:pt x="619" y="1821"/>
                    <a:pt x="540" y="1860"/>
                    <a:pt x="492" y="1833"/>
                  </a:cubicBezTo>
                  <a:cubicBezTo>
                    <a:pt x="444" y="1805"/>
                    <a:pt x="439" y="1717"/>
                    <a:pt x="396" y="1681"/>
                  </a:cubicBezTo>
                  <a:cubicBezTo>
                    <a:pt x="354" y="1645"/>
                    <a:pt x="266" y="1655"/>
                    <a:pt x="230" y="1613"/>
                  </a:cubicBezTo>
                  <a:cubicBezTo>
                    <a:pt x="195" y="1570"/>
                    <a:pt x="219" y="1485"/>
                    <a:pt x="192" y="1437"/>
                  </a:cubicBezTo>
                  <a:cubicBezTo>
                    <a:pt x="164" y="1390"/>
                    <a:pt x="78" y="1369"/>
                    <a:pt x="59" y="1316"/>
                  </a:cubicBezTo>
                  <a:cubicBezTo>
                    <a:pt x="40" y="1265"/>
                    <a:pt x="92" y="1194"/>
                    <a:pt x="83" y="1138"/>
                  </a:cubicBezTo>
                  <a:cubicBezTo>
                    <a:pt x="73" y="1085"/>
                    <a:pt x="0" y="1036"/>
                    <a:pt x="0" y="979"/>
                  </a:cubicBezTo>
                  <a:cubicBezTo>
                    <a:pt x="0" y="923"/>
                    <a:pt x="73" y="874"/>
                    <a:pt x="83" y="820"/>
                  </a:cubicBezTo>
                  <a:cubicBezTo>
                    <a:pt x="92" y="765"/>
                    <a:pt x="40" y="694"/>
                    <a:pt x="59" y="642"/>
                  </a:cubicBezTo>
                  <a:cubicBezTo>
                    <a:pt x="78" y="590"/>
                    <a:pt x="164" y="569"/>
                    <a:pt x="192" y="521"/>
                  </a:cubicBezTo>
                  <a:cubicBezTo>
                    <a:pt x="219" y="473"/>
                    <a:pt x="195" y="388"/>
                    <a:pt x="230" y="346"/>
                  </a:cubicBezTo>
                  <a:cubicBezTo>
                    <a:pt x="266" y="304"/>
                    <a:pt x="354" y="313"/>
                    <a:pt x="396" y="278"/>
                  </a:cubicBezTo>
                  <a:cubicBezTo>
                    <a:pt x="439" y="242"/>
                    <a:pt x="444" y="154"/>
                    <a:pt x="492" y="126"/>
                  </a:cubicBezTo>
                  <a:cubicBezTo>
                    <a:pt x="540" y="98"/>
                    <a:pt x="619" y="137"/>
                    <a:pt x="672" y="118"/>
                  </a:cubicBezTo>
                  <a:cubicBezTo>
                    <a:pt x="723" y="100"/>
                    <a:pt x="759" y="19"/>
                    <a:pt x="814" y="9"/>
                  </a:cubicBezTo>
                  <a:cubicBezTo>
                    <a:pt x="868" y="0"/>
                    <a:pt x="929" y="63"/>
                    <a:pt x="985" y="63"/>
                  </a:cubicBezTo>
                  <a:cubicBezTo>
                    <a:pt x="1041" y="63"/>
                    <a:pt x="1103" y="0"/>
                    <a:pt x="1156" y="9"/>
                  </a:cubicBezTo>
                  <a:cubicBezTo>
                    <a:pt x="1211" y="19"/>
                    <a:pt x="1247" y="100"/>
                    <a:pt x="1298" y="118"/>
                  </a:cubicBezTo>
                  <a:cubicBezTo>
                    <a:pt x="1351" y="137"/>
                    <a:pt x="1430" y="98"/>
                    <a:pt x="1478" y="126"/>
                  </a:cubicBezTo>
                  <a:cubicBezTo>
                    <a:pt x="1526" y="154"/>
                    <a:pt x="1532" y="242"/>
                    <a:pt x="1574" y="278"/>
                  </a:cubicBezTo>
                  <a:cubicBezTo>
                    <a:pt x="1616" y="313"/>
                    <a:pt x="1704" y="304"/>
                    <a:pt x="1740" y="346"/>
                  </a:cubicBezTo>
                  <a:cubicBezTo>
                    <a:pt x="1775" y="388"/>
                    <a:pt x="1751" y="473"/>
                    <a:pt x="1779" y="521"/>
                  </a:cubicBezTo>
                  <a:cubicBezTo>
                    <a:pt x="1806" y="569"/>
                    <a:pt x="1892" y="590"/>
                    <a:pt x="1911" y="642"/>
                  </a:cubicBezTo>
                  <a:cubicBezTo>
                    <a:pt x="1930" y="694"/>
                    <a:pt x="1878" y="765"/>
                    <a:pt x="1887" y="820"/>
                  </a:cubicBezTo>
                  <a:cubicBezTo>
                    <a:pt x="1897" y="874"/>
                    <a:pt x="1970" y="923"/>
                    <a:pt x="1970" y="979"/>
                  </a:cubicBezTo>
                  <a:cubicBezTo>
                    <a:pt x="1970" y="1036"/>
                    <a:pt x="1897" y="1085"/>
                    <a:pt x="1887" y="1138"/>
                  </a:cubicBezTo>
                  <a:cubicBezTo>
                    <a:pt x="1878" y="1194"/>
                    <a:pt x="1930" y="1265"/>
                    <a:pt x="1911" y="1316"/>
                  </a:cubicBezTo>
                  <a:close/>
                  <a:moveTo>
                    <a:pt x="1762" y="979"/>
                  </a:moveTo>
                  <a:cubicBezTo>
                    <a:pt x="1762" y="551"/>
                    <a:pt x="1413" y="203"/>
                    <a:pt x="985" y="203"/>
                  </a:cubicBezTo>
                  <a:cubicBezTo>
                    <a:pt x="557" y="203"/>
                    <a:pt x="208" y="551"/>
                    <a:pt x="208" y="979"/>
                  </a:cubicBezTo>
                  <a:cubicBezTo>
                    <a:pt x="208" y="1408"/>
                    <a:pt x="557" y="1756"/>
                    <a:pt x="985" y="1756"/>
                  </a:cubicBezTo>
                  <a:cubicBezTo>
                    <a:pt x="1413" y="1756"/>
                    <a:pt x="1762" y="1408"/>
                    <a:pt x="1762" y="979"/>
                  </a:cubicBezTo>
                  <a:close/>
                  <a:moveTo>
                    <a:pt x="1645" y="979"/>
                  </a:moveTo>
                  <a:cubicBezTo>
                    <a:pt x="1645" y="1343"/>
                    <a:pt x="1349" y="1639"/>
                    <a:pt x="985" y="1639"/>
                  </a:cubicBezTo>
                  <a:cubicBezTo>
                    <a:pt x="621" y="1639"/>
                    <a:pt x="326" y="1343"/>
                    <a:pt x="326" y="979"/>
                  </a:cubicBezTo>
                  <a:cubicBezTo>
                    <a:pt x="326" y="616"/>
                    <a:pt x="621" y="320"/>
                    <a:pt x="985" y="320"/>
                  </a:cubicBezTo>
                  <a:cubicBezTo>
                    <a:pt x="1349" y="320"/>
                    <a:pt x="1645" y="616"/>
                    <a:pt x="1645" y="979"/>
                  </a:cubicBezTo>
                  <a:close/>
                  <a:moveTo>
                    <a:pt x="640" y="992"/>
                  </a:moveTo>
                  <a:cubicBezTo>
                    <a:pt x="732" y="925"/>
                    <a:pt x="732" y="925"/>
                    <a:pt x="732" y="925"/>
                  </a:cubicBezTo>
                  <a:cubicBezTo>
                    <a:pt x="618" y="925"/>
                    <a:pt x="618" y="925"/>
                    <a:pt x="618" y="925"/>
                  </a:cubicBezTo>
                  <a:cubicBezTo>
                    <a:pt x="582" y="816"/>
                    <a:pt x="582" y="816"/>
                    <a:pt x="582" y="816"/>
                  </a:cubicBezTo>
                  <a:cubicBezTo>
                    <a:pt x="547" y="925"/>
                    <a:pt x="547" y="925"/>
                    <a:pt x="547" y="925"/>
                  </a:cubicBezTo>
                  <a:cubicBezTo>
                    <a:pt x="432" y="925"/>
                    <a:pt x="432" y="925"/>
                    <a:pt x="432" y="925"/>
                  </a:cubicBezTo>
                  <a:cubicBezTo>
                    <a:pt x="525" y="992"/>
                    <a:pt x="525" y="992"/>
                    <a:pt x="525" y="992"/>
                  </a:cubicBezTo>
                  <a:cubicBezTo>
                    <a:pt x="490" y="1101"/>
                    <a:pt x="490" y="1101"/>
                    <a:pt x="490" y="1101"/>
                  </a:cubicBezTo>
                  <a:cubicBezTo>
                    <a:pt x="582" y="1034"/>
                    <a:pt x="582" y="1034"/>
                    <a:pt x="582" y="1034"/>
                  </a:cubicBezTo>
                  <a:cubicBezTo>
                    <a:pt x="675" y="1101"/>
                    <a:pt x="675" y="1101"/>
                    <a:pt x="675" y="1101"/>
                  </a:cubicBezTo>
                  <a:lnTo>
                    <a:pt x="640" y="992"/>
                  </a:lnTo>
                  <a:close/>
                  <a:moveTo>
                    <a:pt x="1042" y="992"/>
                  </a:moveTo>
                  <a:cubicBezTo>
                    <a:pt x="1135" y="925"/>
                    <a:pt x="1135" y="925"/>
                    <a:pt x="1135" y="925"/>
                  </a:cubicBezTo>
                  <a:cubicBezTo>
                    <a:pt x="1021" y="925"/>
                    <a:pt x="1021" y="925"/>
                    <a:pt x="1021" y="925"/>
                  </a:cubicBezTo>
                  <a:cubicBezTo>
                    <a:pt x="985" y="816"/>
                    <a:pt x="985" y="816"/>
                    <a:pt x="985" y="816"/>
                  </a:cubicBezTo>
                  <a:cubicBezTo>
                    <a:pt x="950" y="925"/>
                    <a:pt x="950" y="925"/>
                    <a:pt x="950" y="925"/>
                  </a:cubicBezTo>
                  <a:cubicBezTo>
                    <a:pt x="835" y="925"/>
                    <a:pt x="835" y="925"/>
                    <a:pt x="835" y="925"/>
                  </a:cubicBezTo>
                  <a:cubicBezTo>
                    <a:pt x="928" y="992"/>
                    <a:pt x="928" y="992"/>
                    <a:pt x="928" y="992"/>
                  </a:cubicBezTo>
                  <a:cubicBezTo>
                    <a:pt x="892" y="1101"/>
                    <a:pt x="892" y="1101"/>
                    <a:pt x="892" y="1101"/>
                  </a:cubicBezTo>
                  <a:cubicBezTo>
                    <a:pt x="985" y="1034"/>
                    <a:pt x="985" y="1034"/>
                    <a:pt x="985" y="1034"/>
                  </a:cubicBezTo>
                  <a:cubicBezTo>
                    <a:pt x="1078" y="1101"/>
                    <a:pt x="1078" y="1101"/>
                    <a:pt x="1078" y="1101"/>
                  </a:cubicBezTo>
                  <a:lnTo>
                    <a:pt x="1042" y="992"/>
                  </a:lnTo>
                  <a:close/>
                  <a:moveTo>
                    <a:pt x="1445" y="992"/>
                  </a:moveTo>
                  <a:cubicBezTo>
                    <a:pt x="1538" y="925"/>
                    <a:pt x="1538" y="925"/>
                    <a:pt x="1538" y="925"/>
                  </a:cubicBezTo>
                  <a:cubicBezTo>
                    <a:pt x="1423" y="925"/>
                    <a:pt x="1423" y="925"/>
                    <a:pt x="1423" y="925"/>
                  </a:cubicBezTo>
                  <a:cubicBezTo>
                    <a:pt x="1388" y="816"/>
                    <a:pt x="1388" y="816"/>
                    <a:pt x="1388" y="816"/>
                  </a:cubicBezTo>
                  <a:cubicBezTo>
                    <a:pt x="1352" y="925"/>
                    <a:pt x="1352" y="925"/>
                    <a:pt x="1352" y="925"/>
                  </a:cubicBezTo>
                  <a:cubicBezTo>
                    <a:pt x="1238" y="925"/>
                    <a:pt x="1238" y="925"/>
                    <a:pt x="1238" y="925"/>
                  </a:cubicBezTo>
                  <a:cubicBezTo>
                    <a:pt x="1330" y="992"/>
                    <a:pt x="1330" y="992"/>
                    <a:pt x="1330" y="992"/>
                  </a:cubicBezTo>
                  <a:cubicBezTo>
                    <a:pt x="1295" y="1101"/>
                    <a:pt x="1295" y="1101"/>
                    <a:pt x="1295" y="1101"/>
                  </a:cubicBezTo>
                  <a:cubicBezTo>
                    <a:pt x="1388" y="1034"/>
                    <a:pt x="1388" y="1034"/>
                    <a:pt x="1388" y="1034"/>
                  </a:cubicBezTo>
                  <a:cubicBezTo>
                    <a:pt x="1481" y="1101"/>
                    <a:pt x="1481" y="1101"/>
                    <a:pt x="1481" y="1101"/>
                  </a:cubicBezTo>
                  <a:lnTo>
                    <a:pt x="1445" y="992"/>
                  </a:lnTo>
                  <a:close/>
                </a:path>
              </a:pathLst>
            </a:custGeom>
            <a:solidFill>
              <a:schemeClr val="bg2"/>
            </a:solidFill>
            <a:ln>
              <a:noFill/>
            </a:ln>
          </p:spPr>
          <p:txBody>
            <a:bodyPr vert="horz" wrap="square" lIns="91392" tIns="45696" rIns="91392" bIns="45696" numCol="1" anchor="t" anchorCtr="0" compatLnSpc="1">
              <a:prstTxWarp prst="textNoShape">
                <a:avLst/>
              </a:prstTxWarp>
            </a:bodyPr>
            <a:lstStyle/>
            <a:p>
              <a:endParaRPr lang="en-US" sz="1799" dirty="0"/>
            </a:p>
          </p:txBody>
        </p:sp>
        <p:sp>
          <p:nvSpPr>
            <p:cNvPr id="257" name="Freeform 96"/>
            <p:cNvSpPr>
              <a:spLocks noEditPoints="1"/>
            </p:cNvSpPr>
            <p:nvPr/>
          </p:nvSpPr>
          <p:spPr bwMode="auto">
            <a:xfrm>
              <a:off x="818998" y="4314552"/>
              <a:ext cx="1412995" cy="1853224"/>
            </a:xfrm>
            <a:custGeom>
              <a:avLst/>
              <a:gdLst>
                <a:gd name="T0" fmla="*/ 520 w 1965"/>
                <a:gd name="T1" fmla="*/ 529 h 2570"/>
                <a:gd name="T2" fmla="*/ 983 w 1965"/>
                <a:gd name="T3" fmla="*/ 0 h 2570"/>
                <a:gd name="T4" fmla="*/ 1446 w 1965"/>
                <a:gd name="T5" fmla="*/ 529 h 2570"/>
                <a:gd name="T6" fmla="*/ 983 w 1965"/>
                <a:gd name="T7" fmla="*/ 1058 h 2570"/>
                <a:gd name="T8" fmla="*/ 520 w 1965"/>
                <a:gd name="T9" fmla="*/ 529 h 2570"/>
                <a:gd name="T10" fmla="*/ 1965 w 1965"/>
                <a:gd name="T11" fmla="*/ 1684 h 2570"/>
                <a:gd name="T12" fmla="*/ 1648 w 1965"/>
                <a:gd name="T13" fmla="*/ 1302 h 2570"/>
                <a:gd name="T14" fmla="*/ 1648 w 1965"/>
                <a:gd name="T15" fmla="*/ 1302 h 2570"/>
                <a:gd name="T16" fmla="*/ 1310 w 1965"/>
                <a:gd name="T17" fmla="*/ 1278 h 2570"/>
                <a:gd name="T18" fmla="*/ 1310 w 1965"/>
                <a:gd name="T19" fmla="*/ 1278 h 2570"/>
                <a:gd name="T20" fmla="*/ 1310 w 1965"/>
                <a:gd name="T21" fmla="*/ 1278 h 2570"/>
                <a:gd name="T22" fmla="*/ 983 w 1965"/>
                <a:gd name="T23" fmla="*/ 1606 h 2570"/>
                <a:gd name="T24" fmla="*/ 983 w 1965"/>
                <a:gd name="T25" fmla="*/ 1606 h 2570"/>
                <a:gd name="T26" fmla="*/ 655 w 1965"/>
                <a:gd name="T27" fmla="*/ 1278 h 2570"/>
                <a:gd name="T28" fmla="*/ 655 w 1965"/>
                <a:gd name="T29" fmla="*/ 1278 h 2570"/>
                <a:gd name="T30" fmla="*/ 655 w 1965"/>
                <a:gd name="T31" fmla="*/ 1278 h 2570"/>
                <a:gd name="T32" fmla="*/ 317 w 1965"/>
                <a:gd name="T33" fmla="*/ 1302 h 2570"/>
                <a:gd name="T34" fmla="*/ 317 w 1965"/>
                <a:gd name="T35" fmla="*/ 1302 h 2570"/>
                <a:gd name="T36" fmla="*/ 0 w 1965"/>
                <a:gd name="T37" fmla="*/ 1684 h 2570"/>
                <a:gd name="T38" fmla="*/ 0 w 1965"/>
                <a:gd name="T39" fmla="*/ 1684 h 2570"/>
                <a:gd name="T40" fmla="*/ 0 w 1965"/>
                <a:gd name="T41" fmla="*/ 2570 h 2570"/>
                <a:gd name="T42" fmla="*/ 1965 w 1965"/>
                <a:gd name="T43" fmla="*/ 2570 h 2570"/>
                <a:gd name="T44" fmla="*/ 1965 w 1965"/>
                <a:gd name="T45" fmla="*/ 1684 h 2570"/>
                <a:gd name="T46" fmla="*/ 1965 w 1965"/>
                <a:gd name="T47" fmla="*/ 1684 h 2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5" h="2570">
                  <a:moveTo>
                    <a:pt x="520" y="529"/>
                  </a:moveTo>
                  <a:cubicBezTo>
                    <a:pt x="520" y="212"/>
                    <a:pt x="707" y="0"/>
                    <a:pt x="983" y="0"/>
                  </a:cubicBezTo>
                  <a:cubicBezTo>
                    <a:pt x="1258" y="0"/>
                    <a:pt x="1446" y="212"/>
                    <a:pt x="1446" y="529"/>
                  </a:cubicBezTo>
                  <a:cubicBezTo>
                    <a:pt x="1446" y="846"/>
                    <a:pt x="1258" y="1058"/>
                    <a:pt x="983" y="1058"/>
                  </a:cubicBezTo>
                  <a:cubicBezTo>
                    <a:pt x="707" y="1058"/>
                    <a:pt x="520" y="846"/>
                    <a:pt x="520" y="529"/>
                  </a:cubicBezTo>
                  <a:close/>
                  <a:moveTo>
                    <a:pt x="1965" y="1684"/>
                  </a:moveTo>
                  <a:cubicBezTo>
                    <a:pt x="1961" y="1464"/>
                    <a:pt x="1835" y="1316"/>
                    <a:pt x="1648" y="1302"/>
                  </a:cubicBezTo>
                  <a:cubicBezTo>
                    <a:pt x="1648" y="1302"/>
                    <a:pt x="1648" y="1302"/>
                    <a:pt x="1648" y="1302"/>
                  </a:cubicBezTo>
                  <a:cubicBezTo>
                    <a:pt x="1310" y="1278"/>
                    <a:pt x="1310" y="1278"/>
                    <a:pt x="1310" y="1278"/>
                  </a:cubicBezTo>
                  <a:cubicBezTo>
                    <a:pt x="1310" y="1278"/>
                    <a:pt x="1310" y="1278"/>
                    <a:pt x="1310" y="1278"/>
                  </a:cubicBezTo>
                  <a:cubicBezTo>
                    <a:pt x="1310" y="1278"/>
                    <a:pt x="1310" y="1278"/>
                    <a:pt x="1310" y="1278"/>
                  </a:cubicBezTo>
                  <a:cubicBezTo>
                    <a:pt x="983" y="1606"/>
                    <a:pt x="983" y="1606"/>
                    <a:pt x="983" y="1606"/>
                  </a:cubicBezTo>
                  <a:cubicBezTo>
                    <a:pt x="983" y="1606"/>
                    <a:pt x="983" y="1606"/>
                    <a:pt x="983" y="1606"/>
                  </a:cubicBezTo>
                  <a:cubicBezTo>
                    <a:pt x="655" y="1278"/>
                    <a:pt x="655" y="1278"/>
                    <a:pt x="655" y="1278"/>
                  </a:cubicBezTo>
                  <a:cubicBezTo>
                    <a:pt x="655" y="1278"/>
                    <a:pt x="655" y="1278"/>
                    <a:pt x="655" y="1278"/>
                  </a:cubicBezTo>
                  <a:cubicBezTo>
                    <a:pt x="655" y="1278"/>
                    <a:pt x="655" y="1278"/>
                    <a:pt x="655" y="1278"/>
                  </a:cubicBezTo>
                  <a:cubicBezTo>
                    <a:pt x="317" y="1302"/>
                    <a:pt x="317" y="1302"/>
                    <a:pt x="317" y="1302"/>
                  </a:cubicBezTo>
                  <a:cubicBezTo>
                    <a:pt x="317" y="1302"/>
                    <a:pt x="317" y="1302"/>
                    <a:pt x="317" y="1302"/>
                  </a:cubicBezTo>
                  <a:cubicBezTo>
                    <a:pt x="130" y="1316"/>
                    <a:pt x="4" y="1464"/>
                    <a:pt x="0" y="1684"/>
                  </a:cubicBezTo>
                  <a:cubicBezTo>
                    <a:pt x="0" y="1684"/>
                    <a:pt x="0" y="1684"/>
                    <a:pt x="0" y="1684"/>
                  </a:cubicBezTo>
                  <a:cubicBezTo>
                    <a:pt x="0" y="1761"/>
                    <a:pt x="0" y="2183"/>
                    <a:pt x="0" y="2570"/>
                  </a:cubicBezTo>
                  <a:cubicBezTo>
                    <a:pt x="1965" y="2570"/>
                    <a:pt x="1965" y="2570"/>
                    <a:pt x="1965" y="2570"/>
                  </a:cubicBezTo>
                  <a:cubicBezTo>
                    <a:pt x="1965" y="2183"/>
                    <a:pt x="1965" y="1761"/>
                    <a:pt x="1965" y="1684"/>
                  </a:cubicBezTo>
                  <a:cubicBezTo>
                    <a:pt x="1965" y="1684"/>
                    <a:pt x="1965" y="1684"/>
                    <a:pt x="1965" y="1684"/>
                  </a:cubicBezTo>
                  <a:close/>
                </a:path>
              </a:pathLst>
            </a:custGeom>
            <a:solidFill>
              <a:srgbClr val="00FFB9"/>
            </a:solidFill>
            <a:ln>
              <a:noFill/>
            </a:ln>
          </p:spPr>
          <p:txBody>
            <a:bodyPr vert="horz" wrap="square" lIns="91392" tIns="45696" rIns="91392" bIns="45696" numCol="1" anchor="t" anchorCtr="0" compatLnSpc="1">
              <a:prstTxWarp prst="textNoShape">
                <a:avLst/>
              </a:prstTxWarp>
            </a:bodyPr>
            <a:lstStyle/>
            <a:p>
              <a:endParaRPr lang="en-US" sz="1799" dirty="0"/>
            </a:p>
          </p:txBody>
        </p:sp>
      </p:grpSp>
      <p:grpSp>
        <p:nvGrpSpPr>
          <p:cNvPr id="7" name="Gruppieren 6">
            <a:extLst>
              <a:ext uri="{FF2B5EF4-FFF2-40B4-BE49-F238E27FC236}">
                <a16:creationId xmlns:a16="http://schemas.microsoft.com/office/drawing/2014/main" id="{A1838628-88EE-49F9-8057-5EEC0F12C143}"/>
              </a:ext>
            </a:extLst>
          </p:cNvPr>
          <p:cNvGrpSpPr/>
          <p:nvPr/>
        </p:nvGrpSpPr>
        <p:grpSpPr>
          <a:xfrm>
            <a:off x="4010025" y="1415850"/>
            <a:ext cx="1188000" cy="2301945"/>
            <a:chOff x="4162426" y="1414801"/>
            <a:chExt cx="1188619" cy="2303144"/>
          </a:xfrm>
        </p:grpSpPr>
        <p:sp>
          <p:nvSpPr>
            <p:cNvPr id="4" name="Textfeld 8"/>
            <p:cNvSpPr txBox="1">
              <a:spLocks/>
            </p:cNvSpPr>
            <p:nvPr/>
          </p:nvSpPr>
          <p:spPr bwMode="gray">
            <a:xfrm>
              <a:off x="4162426" y="2853945"/>
              <a:ext cx="1188619" cy="86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71963" rIns="0" bIns="0" rtlCol="0" anchor="t">
              <a:noAutofit/>
            </a:bodyPr>
            <a:lstStyle/>
            <a:p>
              <a:pPr>
                <a:spcBef>
                  <a:spcPct val="0"/>
                </a:spcBef>
                <a:buClr>
                  <a:srgbClr val="879BAA"/>
                </a:buClr>
              </a:pPr>
              <a:r>
                <a:rPr lang="en-US" sz="1199" b="1" kern="1400" dirty="0">
                  <a:solidFill>
                    <a:schemeClr val="tx2"/>
                  </a:solidFill>
                  <a:ea typeface="ＭＳ Ｐゴシック" pitchFamily="34" charset="-128"/>
                  <a:cs typeface="Arial" charset="0"/>
                </a:rPr>
                <a:t>Marianne Mastermind</a:t>
              </a:r>
            </a:p>
            <a:p>
              <a:pPr>
                <a:spcBef>
                  <a:spcPts val="300"/>
                </a:spcBef>
                <a:buClr>
                  <a:srgbClr val="879BAA"/>
                </a:buClr>
              </a:pPr>
              <a:r>
                <a:rPr lang="en-US" sz="1199" dirty="0">
                  <a:solidFill>
                    <a:srgbClr val="9999A9"/>
                  </a:solidFill>
                  <a:cs typeface="Arial" charset="0"/>
                </a:rPr>
                <a:t>At vero eos et accusam</a:t>
              </a:r>
            </a:p>
          </p:txBody>
        </p:sp>
        <p:sp>
          <p:nvSpPr>
            <p:cNvPr id="41" name="Rechteck 40"/>
            <p:cNvSpPr>
              <a:spLocks/>
            </p:cNvSpPr>
            <p:nvPr/>
          </p:nvSpPr>
          <p:spPr bwMode="auto">
            <a:xfrm>
              <a:off x="4162426" y="1414801"/>
              <a:ext cx="1188619" cy="1440750"/>
            </a:xfrm>
            <a:prstGeom prst="rect">
              <a:avLst/>
            </a:prstGeom>
            <a:solidFill>
              <a:srgbClr val="66667E"/>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58" name="Freeform 96"/>
            <p:cNvSpPr>
              <a:spLocks noEditPoints="1"/>
            </p:cNvSpPr>
            <p:nvPr/>
          </p:nvSpPr>
          <p:spPr bwMode="auto">
            <a:xfrm>
              <a:off x="4266474" y="1568784"/>
              <a:ext cx="980524" cy="1286013"/>
            </a:xfrm>
            <a:custGeom>
              <a:avLst/>
              <a:gdLst>
                <a:gd name="T0" fmla="*/ 520 w 1965"/>
                <a:gd name="T1" fmla="*/ 529 h 2570"/>
                <a:gd name="T2" fmla="*/ 983 w 1965"/>
                <a:gd name="T3" fmla="*/ 0 h 2570"/>
                <a:gd name="T4" fmla="*/ 1446 w 1965"/>
                <a:gd name="T5" fmla="*/ 529 h 2570"/>
                <a:gd name="T6" fmla="*/ 983 w 1965"/>
                <a:gd name="T7" fmla="*/ 1058 h 2570"/>
                <a:gd name="T8" fmla="*/ 520 w 1965"/>
                <a:gd name="T9" fmla="*/ 529 h 2570"/>
                <a:gd name="T10" fmla="*/ 1965 w 1965"/>
                <a:gd name="T11" fmla="*/ 1684 h 2570"/>
                <a:gd name="T12" fmla="*/ 1648 w 1965"/>
                <a:gd name="T13" fmla="*/ 1302 h 2570"/>
                <a:gd name="T14" fmla="*/ 1648 w 1965"/>
                <a:gd name="T15" fmla="*/ 1302 h 2570"/>
                <a:gd name="T16" fmla="*/ 1310 w 1965"/>
                <a:gd name="T17" fmla="*/ 1278 h 2570"/>
                <a:gd name="T18" fmla="*/ 1310 w 1965"/>
                <a:gd name="T19" fmla="*/ 1278 h 2570"/>
                <a:gd name="T20" fmla="*/ 1310 w 1965"/>
                <a:gd name="T21" fmla="*/ 1278 h 2570"/>
                <a:gd name="T22" fmla="*/ 983 w 1965"/>
                <a:gd name="T23" fmla="*/ 1606 h 2570"/>
                <a:gd name="T24" fmla="*/ 983 w 1965"/>
                <a:gd name="T25" fmla="*/ 1606 h 2570"/>
                <a:gd name="T26" fmla="*/ 655 w 1965"/>
                <a:gd name="T27" fmla="*/ 1278 h 2570"/>
                <a:gd name="T28" fmla="*/ 655 w 1965"/>
                <a:gd name="T29" fmla="*/ 1278 h 2570"/>
                <a:gd name="T30" fmla="*/ 655 w 1965"/>
                <a:gd name="T31" fmla="*/ 1278 h 2570"/>
                <a:gd name="T32" fmla="*/ 317 w 1965"/>
                <a:gd name="T33" fmla="*/ 1302 h 2570"/>
                <a:gd name="T34" fmla="*/ 317 w 1965"/>
                <a:gd name="T35" fmla="*/ 1302 h 2570"/>
                <a:gd name="T36" fmla="*/ 0 w 1965"/>
                <a:gd name="T37" fmla="*/ 1684 h 2570"/>
                <a:gd name="T38" fmla="*/ 0 w 1965"/>
                <a:gd name="T39" fmla="*/ 1684 h 2570"/>
                <a:gd name="T40" fmla="*/ 0 w 1965"/>
                <a:gd name="T41" fmla="*/ 2570 h 2570"/>
                <a:gd name="T42" fmla="*/ 1965 w 1965"/>
                <a:gd name="T43" fmla="*/ 2570 h 2570"/>
                <a:gd name="T44" fmla="*/ 1965 w 1965"/>
                <a:gd name="T45" fmla="*/ 1684 h 2570"/>
                <a:gd name="T46" fmla="*/ 1965 w 1965"/>
                <a:gd name="T47" fmla="*/ 1684 h 2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5" h="2570">
                  <a:moveTo>
                    <a:pt x="520" y="529"/>
                  </a:moveTo>
                  <a:cubicBezTo>
                    <a:pt x="520" y="212"/>
                    <a:pt x="707" y="0"/>
                    <a:pt x="983" y="0"/>
                  </a:cubicBezTo>
                  <a:cubicBezTo>
                    <a:pt x="1258" y="0"/>
                    <a:pt x="1446" y="212"/>
                    <a:pt x="1446" y="529"/>
                  </a:cubicBezTo>
                  <a:cubicBezTo>
                    <a:pt x="1446" y="846"/>
                    <a:pt x="1258" y="1058"/>
                    <a:pt x="983" y="1058"/>
                  </a:cubicBezTo>
                  <a:cubicBezTo>
                    <a:pt x="707" y="1058"/>
                    <a:pt x="520" y="846"/>
                    <a:pt x="520" y="529"/>
                  </a:cubicBezTo>
                  <a:close/>
                  <a:moveTo>
                    <a:pt x="1965" y="1684"/>
                  </a:moveTo>
                  <a:cubicBezTo>
                    <a:pt x="1961" y="1464"/>
                    <a:pt x="1835" y="1316"/>
                    <a:pt x="1648" y="1302"/>
                  </a:cubicBezTo>
                  <a:cubicBezTo>
                    <a:pt x="1648" y="1302"/>
                    <a:pt x="1648" y="1302"/>
                    <a:pt x="1648" y="1302"/>
                  </a:cubicBezTo>
                  <a:cubicBezTo>
                    <a:pt x="1310" y="1278"/>
                    <a:pt x="1310" y="1278"/>
                    <a:pt x="1310" y="1278"/>
                  </a:cubicBezTo>
                  <a:cubicBezTo>
                    <a:pt x="1310" y="1278"/>
                    <a:pt x="1310" y="1278"/>
                    <a:pt x="1310" y="1278"/>
                  </a:cubicBezTo>
                  <a:cubicBezTo>
                    <a:pt x="1310" y="1278"/>
                    <a:pt x="1310" y="1278"/>
                    <a:pt x="1310" y="1278"/>
                  </a:cubicBezTo>
                  <a:cubicBezTo>
                    <a:pt x="983" y="1606"/>
                    <a:pt x="983" y="1606"/>
                    <a:pt x="983" y="1606"/>
                  </a:cubicBezTo>
                  <a:cubicBezTo>
                    <a:pt x="983" y="1606"/>
                    <a:pt x="983" y="1606"/>
                    <a:pt x="983" y="1606"/>
                  </a:cubicBezTo>
                  <a:cubicBezTo>
                    <a:pt x="655" y="1278"/>
                    <a:pt x="655" y="1278"/>
                    <a:pt x="655" y="1278"/>
                  </a:cubicBezTo>
                  <a:cubicBezTo>
                    <a:pt x="655" y="1278"/>
                    <a:pt x="655" y="1278"/>
                    <a:pt x="655" y="1278"/>
                  </a:cubicBezTo>
                  <a:cubicBezTo>
                    <a:pt x="655" y="1278"/>
                    <a:pt x="655" y="1278"/>
                    <a:pt x="655" y="1278"/>
                  </a:cubicBezTo>
                  <a:cubicBezTo>
                    <a:pt x="317" y="1302"/>
                    <a:pt x="317" y="1302"/>
                    <a:pt x="317" y="1302"/>
                  </a:cubicBezTo>
                  <a:cubicBezTo>
                    <a:pt x="317" y="1302"/>
                    <a:pt x="317" y="1302"/>
                    <a:pt x="317" y="1302"/>
                  </a:cubicBezTo>
                  <a:cubicBezTo>
                    <a:pt x="130" y="1316"/>
                    <a:pt x="4" y="1464"/>
                    <a:pt x="0" y="1684"/>
                  </a:cubicBezTo>
                  <a:cubicBezTo>
                    <a:pt x="0" y="1684"/>
                    <a:pt x="0" y="1684"/>
                    <a:pt x="0" y="1684"/>
                  </a:cubicBezTo>
                  <a:cubicBezTo>
                    <a:pt x="0" y="1761"/>
                    <a:pt x="0" y="2183"/>
                    <a:pt x="0" y="2570"/>
                  </a:cubicBezTo>
                  <a:cubicBezTo>
                    <a:pt x="1965" y="2570"/>
                    <a:pt x="1965" y="2570"/>
                    <a:pt x="1965" y="2570"/>
                  </a:cubicBezTo>
                  <a:cubicBezTo>
                    <a:pt x="1965" y="2183"/>
                    <a:pt x="1965" y="1761"/>
                    <a:pt x="1965" y="1684"/>
                  </a:cubicBezTo>
                  <a:cubicBezTo>
                    <a:pt x="1965" y="1684"/>
                    <a:pt x="1965" y="1684"/>
                    <a:pt x="1965" y="1684"/>
                  </a:cubicBezTo>
                  <a:close/>
                </a:path>
              </a:pathLst>
            </a:custGeom>
            <a:solidFill>
              <a:srgbClr val="E5E5E9"/>
            </a:solidFill>
            <a:ln>
              <a:noFill/>
            </a:ln>
          </p:spPr>
          <p:txBody>
            <a:bodyPr vert="horz" wrap="square" lIns="91392" tIns="45696" rIns="91392" bIns="45696" numCol="1" anchor="t" anchorCtr="0" compatLnSpc="1">
              <a:prstTxWarp prst="textNoShape">
                <a:avLst/>
              </a:prstTxWarp>
            </a:bodyPr>
            <a:lstStyle/>
            <a:p>
              <a:endParaRPr lang="en-US" sz="1799" dirty="0"/>
            </a:p>
          </p:txBody>
        </p:sp>
      </p:grpSp>
      <p:grpSp>
        <p:nvGrpSpPr>
          <p:cNvPr id="65" name="Gruppieren 6">
            <a:extLst>
              <a:ext uri="{FF2B5EF4-FFF2-40B4-BE49-F238E27FC236}">
                <a16:creationId xmlns:a16="http://schemas.microsoft.com/office/drawing/2014/main" id="{CF5CD66C-4041-444A-8F1E-48204FEEEB28}"/>
              </a:ext>
            </a:extLst>
          </p:cNvPr>
          <p:cNvGrpSpPr/>
          <p:nvPr/>
        </p:nvGrpSpPr>
        <p:grpSpPr>
          <a:xfrm>
            <a:off x="5327858" y="1415850"/>
            <a:ext cx="1188000" cy="2301945"/>
            <a:chOff x="4162426" y="1414801"/>
            <a:chExt cx="1188619" cy="2303144"/>
          </a:xfrm>
        </p:grpSpPr>
        <p:sp>
          <p:nvSpPr>
            <p:cNvPr id="66" name="Textfeld 8">
              <a:extLst>
                <a:ext uri="{FF2B5EF4-FFF2-40B4-BE49-F238E27FC236}">
                  <a16:creationId xmlns:a16="http://schemas.microsoft.com/office/drawing/2014/main" id="{FA8EF7AA-7BB0-43A3-A72C-1E378FFF3C7C}"/>
                </a:ext>
              </a:extLst>
            </p:cNvPr>
            <p:cNvSpPr txBox="1">
              <a:spLocks/>
            </p:cNvSpPr>
            <p:nvPr/>
          </p:nvSpPr>
          <p:spPr bwMode="gray">
            <a:xfrm>
              <a:off x="4162426" y="2853945"/>
              <a:ext cx="1188619" cy="86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71963" rIns="0" bIns="0" rtlCol="0" anchor="t">
              <a:noAutofit/>
            </a:bodyPr>
            <a:lstStyle/>
            <a:p>
              <a:pPr>
                <a:spcBef>
                  <a:spcPct val="0"/>
                </a:spcBef>
                <a:buClr>
                  <a:srgbClr val="879BAA"/>
                </a:buClr>
              </a:pPr>
              <a:r>
                <a:rPr lang="en-US" sz="1199" b="1" kern="1400" dirty="0">
                  <a:solidFill>
                    <a:schemeClr val="tx2"/>
                  </a:solidFill>
                  <a:ea typeface="ＭＳ Ｐゴシック" pitchFamily="34" charset="-128"/>
                  <a:cs typeface="Arial" charset="0"/>
                </a:rPr>
                <a:t>Gregor Goodjobs</a:t>
              </a:r>
            </a:p>
            <a:p>
              <a:pPr>
                <a:spcBef>
                  <a:spcPts val="300"/>
                </a:spcBef>
                <a:buClr>
                  <a:srgbClr val="879BAA"/>
                </a:buClr>
              </a:pPr>
              <a:r>
                <a:rPr lang="en-US" sz="1199" dirty="0">
                  <a:solidFill>
                    <a:srgbClr val="9999A9"/>
                  </a:solidFill>
                  <a:cs typeface="Arial" charset="0"/>
                </a:rPr>
                <a:t>At vero eos et accusam</a:t>
              </a:r>
            </a:p>
          </p:txBody>
        </p:sp>
        <p:sp>
          <p:nvSpPr>
            <p:cNvPr id="67" name="Rechteck 40">
              <a:extLst>
                <a:ext uri="{FF2B5EF4-FFF2-40B4-BE49-F238E27FC236}">
                  <a16:creationId xmlns:a16="http://schemas.microsoft.com/office/drawing/2014/main" id="{05F6945E-36C1-4B11-B26B-CBEC01B61337}"/>
                </a:ext>
              </a:extLst>
            </p:cNvPr>
            <p:cNvSpPr>
              <a:spLocks/>
            </p:cNvSpPr>
            <p:nvPr/>
          </p:nvSpPr>
          <p:spPr bwMode="auto">
            <a:xfrm>
              <a:off x="4162426" y="1414801"/>
              <a:ext cx="1188619" cy="1440750"/>
            </a:xfrm>
            <a:prstGeom prst="rect">
              <a:avLst/>
            </a:prstGeom>
            <a:solidFill>
              <a:srgbClr val="66667E"/>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68" name="Freeform 96">
              <a:extLst>
                <a:ext uri="{FF2B5EF4-FFF2-40B4-BE49-F238E27FC236}">
                  <a16:creationId xmlns:a16="http://schemas.microsoft.com/office/drawing/2014/main" id="{C942EAE0-6708-4863-BB2F-8CD8D6F830E9}"/>
                </a:ext>
              </a:extLst>
            </p:cNvPr>
            <p:cNvSpPr>
              <a:spLocks noEditPoints="1"/>
            </p:cNvSpPr>
            <p:nvPr/>
          </p:nvSpPr>
          <p:spPr bwMode="auto">
            <a:xfrm>
              <a:off x="4266474" y="1568784"/>
              <a:ext cx="980524" cy="1286013"/>
            </a:xfrm>
            <a:custGeom>
              <a:avLst/>
              <a:gdLst>
                <a:gd name="T0" fmla="*/ 520 w 1965"/>
                <a:gd name="T1" fmla="*/ 529 h 2570"/>
                <a:gd name="T2" fmla="*/ 983 w 1965"/>
                <a:gd name="T3" fmla="*/ 0 h 2570"/>
                <a:gd name="T4" fmla="*/ 1446 w 1965"/>
                <a:gd name="T5" fmla="*/ 529 h 2570"/>
                <a:gd name="T6" fmla="*/ 983 w 1965"/>
                <a:gd name="T7" fmla="*/ 1058 h 2570"/>
                <a:gd name="T8" fmla="*/ 520 w 1965"/>
                <a:gd name="T9" fmla="*/ 529 h 2570"/>
                <a:gd name="T10" fmla="*/ 1965 w 1965"/>
                <a:gd name="T11" fmla="*/ 1684 h 2570"/>
                <a:gd name="T12" fmla="*/ 1648 w 1965"/>
                <a:gd name="T13" fmla="*/ 1302 h 2570"/>
                <a:gd name="T14" fmla="*/ 1648 w 1965"/>
                <a:gd name="T15" fmla="*/ 1302 h 2570"/>
                <a:gd name="T16" fmla="*/ 1310 w 1965"/>
                <a:gd name="T17" fmla="*/ 1278 h 2570"/>
                <a:gd name="T18" fmla="*/ 1310 w 1965"/>
                <a:gd name="T19" fmla="*/ 1278 h 2570"/>
                <a:gd name="T20" fmla="*/ 1310 w 1965"/>
                <a:gd name="T21" fmla="*/ 1278 h 2570"/>
                <a:gd name="T22" fmla="*/ 983 w 1965"/>
                <a:gd name="T23" fmla="*/ 1606 h 2570"/>
                <a:gd name="T24" fmla="*/ 983 w 1965"/>
                <a:gd name="T25" fmla="*/ 1606 h 2570"/>
                <a:gd name="T26" fmla="*/ 655 w 1965"/>
                <a:gd name="T27" fmla="*/ 1278 h 2570"/>
                <a:gd name="T28" fmla="*/ 655 w 1965"/>
                <a:gd name="T29" fmla="*/ 1278 h 2570"/>
                <a:gd name="T30" fmla="*/ 655 w 1965"/>
                <a:gd name="T31" fmla="*/ 1278 h 2570"/>
                <a:gd name="T32" fmla="*/ 317 w 1965"/>
                <a:gd name="T33" fmla="*/ 1302 h 2570"/>
                <a:gd name="T34" fmla="*/ 317 w 1965"/>
                <a:gd name="T35" fmla="*/ 1302 h 2570"/>
                <a:gd name="T36" fmla="*/ 0 w 1965"/>
                <a:gd name="T37" fmla="*/ 1684 h 2570"/>
                <a:gd name="T38" fmla="*/ 0 w 1965"/>
                <a:gd name="T39" fmla="*/ 1684 h 2570"/>
                <a:gd name="T40" fmla="*/ 0 w 1965"/>
                <a:gd name="T41" fmla="*/ 2570 h 2570"/>
                <a:gd name="T42" fmla="*/ 1965 w 1965"/>
                <a:gd name="T43" fmla="*/ 2570 h 2570"/>
                <a:gd name="T44" fmla="*/ 1965 w 1965"/>
                <a:gd name="T45" fmla="*/ 1684 h 2570"/>
                <a:gd name="T46" fmla="*/ 1965 w 1965"/>
                <a:gd name="T47" fmla="*/ 1684 h 2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5" h="2570">
                  <a:moveTo>
                    <a:pt x="520" y="529"/>
                  </a:moveTo>
                  <a:cubicBezTo>
                    <a:pt x="520" y="212"/>
                    <a:pt x="707" y="0"/>
                    <a:pt x="983" y="0"/>
                  </a:cubicBezTo>
                  <a:cubicBezTo>
                    <a:pt x="1258" y="0"/>
                    <a:pt x="1446" y="212"/>
                    <a:pt x="1446" y="529"/>
                  </a:cubicBezTo>
                  <a:cubicBezTo>
                    <a:pt x="1446" y="846"/>
                    <a:pt x="1258" y="1058"/>
                    <a:pt x="983" y="1058"/>
                  </a:cubicBezTo>
                  <a:cubicBezTo>
                    <a:pt x="707" y="1058"/>
                    <a:pt x="520" y="846"/>
                    <a:pt x="520" y="529"/>
                  </a:cubicBezTo>
                  <a:close/>
                  <a:moveTo>
                    <a:pt x="1965" y="1684"/>
                  </a:moveTo>
                  <a:cubicBezTo>
                    <a:pt x="1961" y="1464"/>
                    <a:pt x="1835" y="1316"/>
                    <a:pt x="1648" y="1302"/>
                  </a:cubicBezTo>
                  <a:cubicBezTo>
                    <a:pt x="1648" y="1302"/>
                    <a:pt x="1648" y="1302"/>
                    <a:pt x="1648" y="1302"/>
                  </a:cubicBezTo>
                  <a:cubicBezTo>
                    <a:pt x="1310" y="1278"/>
                    <a:pt x="1310" y="1278"/>
                    <a:pt x="1310" y="1278"/>
                  </a:cubicBezTo>
                  <a:cubicBezTo>
                    <a:pt x="1310" y="1278"/>
                    <a:pt x="1310" y="1278"/>
                    <a:pt x="1310" y="1278"/>
                  </a:cubicBezTo>
                  <a:cubicBezTo>
                    <a:pt x="1310" y="1278"/>
                    <a:pt x="1310" y="1278"/>
                    <a:pt x="1310" y="1278"/>
                  </a:cubicBezTo>
                  <a:cubicBezTo>
                    <a:pt x="983" y="1606"/>
                    <a:pt x="983" y="1606"/>
                    <a:pt x="983" y="1606"/>
                  </a:cubicBezTo>
                  <a:cubicBezTo>
                    <a:pt x="983" y="1606"/>
                    <a:pt x="983" y="1606"/>
                    <a:pt x="983" y="1606"/>
                  </a:cubicBezTo>
                  <a:cubicBezTo>
                    <a:pt x="655" y="1278"/>
                    <a:pt x="655" y="1278"/>
                    <a:pt x="655" y="1278"/>
                  </a:cubicBezTo>
                  <a:cubicBezTo>
                    <a:pt x="655" y="1278"/>
                    <a:pt x="655" y="1278"/>
                    <a:pt x="655" y="1278"/>
                  </a:cubicBezTo>
                  <a:cubicBezTo>
                    <a:pt x="655" y="1278"/>
                    <a:pt x="655" y="1278"/>
                    <a:pt x="655" y="1278"/>
                  </a:cubicBezTo>
                  <a:cubicBezTo>
                    <a:pt x="317" y="1302"/>
                    <a:pt x="317" y="1302"/>
                    <a:pt x="317" y="1302"/>
                  </a:cubicBezTo>
                  <a:cubicBezTo>
                    <a:pt x="317" y="1302"/>
                    <a:pt x="317" y="1302"/>
                    <a:pt x="317" y="1302"/>
                  </a:cubicBezTo>
                  <a:cubicBezTo>
                    <a:pt x="130" y="1316"/>
                    <a:pt x="4" y="1464"/>
                    <a:pt x="0" y="1684"/>
                  </a:cubicBezTo>
                  <a:cubicBezTo>
                    <a:pt x="0" y="1684"/>
                    <a:pt x="0" y="1684"/>
                    <a:pt x="0" y="1684"/>
                  </a:cubicBezTo>
                  <a:cubicBezTo>
                    <a:pt x="0" y="1761"/>
                    <a:pt x="0" y="2183"/>
                    <a:pt x="0" y="2570"/>
                  </a:cubicBezTo>
                  <a:cubicBezTo>
                    <a:pt x="1965" y="2570"/>
                    <a:pt x="1965" y="2570"/>
                    <a:pt x="1965" y="2570"/>
                  </a:cubicBezTo>
                  <a:cubicBezTo>
                    <a:pt x="1965" y="2183"/>
                    <a:pt x="1965" y="1761"/>
                    <a:pt x="1965" y="1684"/>
                  </a:cubicBezTo>
                  <a:cubicBezTo>
                    <a:pt x="1965" y="1684"/>
                    <a:pt x="1965" y="1684"/>
                    <a:pt x="1965" y="1684"/>
                  </a:cubicBezTo>
                  <a:close/>
                </a:path>
              </a:pathLst>
            </a:custGeom>
            <a:solidFill>
              <a:srgbClr val="E5E5E9"/>
            </a:solidFill>
            <a:ln>
              <a:noFill/>
            </a:ln>
          </p:spPr>
          <p:txBody>
            <a:bodyPr vert="horz" wrap="square" lIns="91392" tIns="45696" rIns="91392" bIns="45696" numCol="1" anchor="t" anchorCtr="0" compatLnSpc="1">
              <a:prstTxWarp prst="textNoShape">
                <a:avLst/>
              </a:prstTxWarp>
            </a:bodyPr>
            <a:lstStyle/>
            <a:p>
              <a:endParaRPr lang="en-US" sz="1799" dirty="0"/>
            </a:p>
          </p:txBody>
        </p:sp>
      </p:grpSp>
      <p:grpSp>
        <p:nvGrpSpPr>
          <p:cNvPr id="69" name="Gruppieren 6">
            <a:extLst>
              <a:ext uri="{FF2B5EF4-FFF2-40B4-BE49-F238E27FC236}">
                <a16:creationId xmlns:a16="http://schemas.microsoft.com/office/drawing/2014/main" id="{C3538B13-4171-4C81-9F33-DE637124FDEB}"/>
              </a:ext>
            </a:extLst>
          </p:cNvPr>
          <p:cNvGrpSpPr/>
          <p:nvPr/>
        </p:nvGrpSpPr>
        <p:grpSpPr>
          <a:xfrm>
            <a:off x="6645691" y="1415850"/>
            <a:ext cx="1188000" cy="2301945"/>
            <a:chOff x="4162426" y="1414801"/>
            <a:chExt cx="1188619" cy="2303144"/>
          </a:xfrm>
        </p:grpSpPr>
        <p:sp>
          <p:nvSpPr>
            <p:cNvPr id="70" name="Textfeld 8">
              <a:extLst>
                <a:ext uri="{FF2B5EF4-FFF2-40B4-BE49-F238E27FC236}">
                  <a16:creationId xmlns:a16="http://schemas.microsoft.com/office/drawing/2014/main" id="{E09981F3-18FC-41F5-820D-E644DA2A4DE9}"/>
                </a:ext>
              </a:extLst>
            </p:cNvPr>
            <p:cNvSpPr txBox="1">
              <a:spLocks/>
            </p:cNvSpPr>
            <p:nvPr/>
          </p:nvSpPr>
          <p:spPr bwMode="gray">
            <a:xfrm>
              <a:off x="4162426" y="2853945"/>
              <a:ext cx="1188619" cy="86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71963" rIns="0" bIns="0" rtlCol="0" anchor="t">
              <a:noAutofit/>
            </a:bodyPr>
            <a:lstStyle/>
            <a:p>
              <a:pPr>
                <a:spcBef>
                  <a:spcPct val="0"/>
                </a:spcBef>
                <a:buClr>
                  <a:srgbClr val="879BAA"/>
                </a:buClr>
              </a:pPr>
              <a:r>
                <a:rPr lang="en-US" sz="1199" b="1" kern="1400" dirty="0">
                  <a:solidFill>
                    <a:schemeClr val="tx2"/>
                  </a:solidFill>
                  <a:ea typeface="ＭＳ Ｐゴシック" pitchFamily="34" charset="-128"/>
                  <a:cs typeface="Arial" charset="0"/>
                </a:rPr>
                <a:t>Sam Sample</a:t>
              </a:r>
            </a:p>
            <a:p>
              <a:pPr>
                <a:spcBef>
                  <a:spcPts val="300"/>
                </a:spcBef>
                <a:buClr>
                  <a:srgbClr val="879BAA"/>
                </a:buClr>
              </a:pPr>
              <a:r>
                <a:rPr lang="en-US" sz="1199" dirty="0">
                  <a:solidFill>
                    <a:srgbClr val="9999A9"/>
                  </a:solidFill>
                  <a:cs typeface="Arial" charset="0"/>
                </a:rPr>
                <a:t>At vero eos et accusam</a:t>
              </a:r>
            </a:p>
          </p:txBody>
        </p:sp>
        <p:sp>
          <p:nvSpPr>
            <p:cNvPr id="71" name="Rechteck 40">
              <a:extLst>
                <a:ext uri="{FF2B5EF4-FFF2-40B4-BE49-F238E27FC236}">
                  <a16:creationId xmlns:a16="http://schemas.microsoft.com/office/drawing/2014/main" id="{678B366E-BC3A-4E9E-A524-643CF12E7BC9}"/>
                </a:ext>
              </a:extLst>
            </p:cNvPr>
            <p:cNvSpPr>
              <a:spLocks/>
            </p:cNvSpPr>
            <p:nvPr/>
          </p:nvSpPr>
          <p:spPr bwMode="auto">
            <a:xfrm>
              <a:off x="4162426" y="1414801"/>
              <a:ext cx="1188619" cy="1440750"/>
            </a:xfrm>
            <a:prstGeom prst="rect">
              <a:avLst/>
            </a:prstGeom>
            <a:solidFill>
              <a:srgbClr val="66667E"/>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72" name="Freeform 96">
              <a:extLst>
                <a:ext uri="{FF2B5EF4-FFF2-40B4-BE49-F238E27FC236}">
                  <a16:creationId xmlns:a16="http://schemas.microsoft.com/office/drawing/2014/main" id="{80E3DD75-C159-4D4B-8453-EADA368EF95C}"/>
                </a:ext>
              </a:extLst>
            </p:cNvPr>
            <p:cNvSpPr>
              <a:spLocks noEditPoints="1"/>
            </p:cNvSpPr>
            <p:nvPr/>
          </p:nvSpPr>
          <p:spPr bwMode="auto">
            <a:xfrm>
              <a:off x="4266474" y="1568784"/>
              <a:ext cx="980524" cy="1286013"/>
            </a:xfrm>
            <a:custGeom>
              <a:avLst/>
              <a:gdLst>
                <a:gd name="T0" fmla="*/ 520 w 1965"/>
                <a:gd name="T1" fmla="*/ 529 h 2570"/>
                <a:gd name="T2" fmla="*/ 983 w 1965"/>
                <a:gd name="T3" fmla="*/ 0 h 2570"/>
                <a:gd name="T4" fmla="*/ 1446 w 1965"/>
                <a:gd name="T5" fmla="*/ 529 h 2570"/>
                <a:gd name="T6" fmla="*/ 983 w 1965"/>
                <a:gd name="T7" fmla="*/ 1058 h 2570"/>
                <a:gd name="T8" fmla="*/ 520 w 1965"/>
                <a:gd name="T9" fmla="*/ 529 h 2570"/>
                <a:gd name="T10" fmla="*/ 1965 w 1965"/>
                <a:gd name="T11" fmla="*/ 1684 h 2570"/>
                <a:gd name="T12" fmla="*/ 1648 w 1965"/>
                <a:gd name="T13" fmla="*/ 1302 h 2570"/>
                <a:gd name="T14" fmla="*/ 1648 w 1965"/>
                <a:gd name="T15" fmla="*/ 1302 h 2570"/>
                <a:gd name="T16" fmla="*/ 1310 w 1965"/>
                <a:gd name="T17" fmla="*/ 1278 h 2570"/>
                <a:gd name="T18" fmla="*/ 1310 w 1965"/>
                <a:gd name="T19" fmla="*/ 1278 h 2570"/>
                <a:gd name="T20" fmla="*/ 1310 w 1965"/>
                <a:gd name="T21" fmla="*/ 1278 h 2570"/>
                <a:gd name="T22" fmla="*/ 983 w 1965"/>
                <a:gd name="T23" fmla="*/ 1606 h 2570"/>
                <a:gd name="T24" fmla="*/ 983 w 1965"/>
                <a:gd name="T25" fmla="*/ 1606 h 2570"/>
                <a:gd name="T26" fmla="*/ 655 w 1965"/>
                <a:gd name="T27" fmla="*/ 1278 h 2570"/>
                <a:gd name="T28" fmla="*/ 655 w 1965"/>
                <a:gd name="T29" fmla="*/ 1278 h 2570"/>
                <a:gd name="T30" fmla="*/ 655 w 1965"/>
                <a:gd name="T31" fmla="*/ 1278 h 2570"/>
                <a:gd name="T32" fmla="*/ 317 w 1965"/>
                <a:gd name="T33" fmla="*/ 1302 h 2570"/>
                <a:gd name="T34" fmla="*/ 317 w 1965"/>
                <a:gd name="T35" fmla="*/ 1302 h 2570"/>
                <a:gd name="T36" fmla="*/ 0 w 1965"/>
                <a:gd name="T37" fmla="*/ 1684 h 2570"/>
                <a:gd name="T38" fmla="*/ 0 w 1965"/>
                <a:gd name="T39" fmla="*/ 1684 h 2570"/>
                <a:gd name="T40" fmla="*/ 0 w 1965"/>
                <a:gd name="T41" fmla="*/ 2570 h 2570"/>
                <a:gd name="T42" fmla="*/ 1965 w 1965"/>
                <a:gd name="T43" fmla="*/ 2570 h 2570"/>
                <a:gd name="T44" fmla="*/ 1965 w 1965"/>
                <a:gd name="T45" fmla="*/ 1684 h 2570"/>
                <a:gd name="T46" fmla="*/ 1965 w 1965"/>
                <a:gd name="T47" fmla="*/ 1684 h 2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5" h="2570">
                  <a:moveTo>
                    <a:pt x="520" y="529"/>
                  </a:moveTo>
                  <a:cubicBezTo>
                    <a:pt x="520" y="212"/>
                    <a:pt x="707" y="0"/>
                    <a:pt x="983" y="0"/>
                  </a:cubicBezTo>
                  <a:cubicBezTo>
                    <a:pt x="1258" y="0"/>
                    <a:pt x="1446" y="212"/>
                    <a:pt x="1446" y="529"/>
                  </a:cubicBezTo>
                  <a:cubicBezTo>
                    <a:pt x="1446" y="846"/>
                    <a:pt x="1258" y="1058"/>
                    <a:pt x="983" y="1058"/>
                  </a:cubicBezTo>
                  <a:cubicBezTo>
                    <a:pt x="707" y="1058"/>
                    <a:pt x="520" y="846"/>
                    <a:pt x="520" y="529"/>
                  </a:cubicBezTo>
                  <a:close/>
                  <a:moveTo>
                    <a:pt x="1965" y="1684"/>
                  </a:moveTo>
                  <a:cubicBezTo>
                    <a:pt x="1961" y="1464"/>
                    <a:pt x="1835" y="1316"/>
                    <a:pt x="1648" y="1302"/>
                  </a:cubicBezTo>
                  <a:cubicBezTo>
                    <a:pt x="1648" y="1302"/>
                    <a:pt x="1648" y="1302"/>
                    <a:pt x="1648" y="1302"/>
                  </a:cubicBezTo>
                  <a:cubicBezTo>
                    <a:pt x="1310" y="1278"/>
                    <a:pt x="1310" y="1278"/>
                    <a:pt x="1310" y="1278"/>
                  </a:cubicBezTo>
                  <a:cubicBezTo>
                    <a:pt x="1310" y="1278"/>
                    <a:pt x="1310" y="1278"/>
                    <a:pt x="1310" y="1278"/>
                  </a:cubicBezTo>
                  <a:cubicBezTo>
                    <a:pt x="1310" y="1278"/>
                    <a:pt x="1310" y="1278"/>
                    <a:pt x="1310" y="1278"/>
                  </a:cubicBezTo>
                  <a:cubicBezTo>
                    <a:pt x="983" y="1606"/>
                    <a:pt x="983" y="1606"/>
                    <a:pt x="983" y="1606"/>
                  </a:cubicBezTo>
                  <a:cubicBezTo>
                    <a:pt x="983" y="1606"/>
                    <a:pt x="983" y="1606"/>
                    <a:pt x="983" y="1606"/>
                  </a:cubicBezTo>
                  <a:cubicBezTo>
                    <a:pt x="655" y="1278"/>
                    <a:pt x="655" y="1278"/>
                    <a:pt x="655" y="1278"/>
                  </a:cubicBezTo>
                  <a:cubicBezTo>
                    <a:pt x="655" y="1278"/>
                    <a:pt x="655" y="1278"/>
                    <a:pt x="655" y="1278"/>
                  </a:cubicBezTo>
                  <a:cubicBezTo>
                    <a:pt x="655" y="1278"/>
                    <a:pt x="655" y="1278"/>
                    <a:pt x="655" y="1278"/>
                  </a:cubicBezTo>
                  <a:cubicBezTo>
                    <a:pt x="317" y="1302"/>
                    <a:pt x="317" y="1302"/>
                    <a:pt x="317" y="1302"/>
                  </a:cubicBezTo>
                  <a:cubicBezTo>
                    <a:pt x="317" y="1302"/>
                    <a:pt x="317" y="1302"/>
                    <a:pt x="317" y="1302"/>
                  </a:cubicBezTo>
                  <a:cubicBezTo>
                    <a:pt x="130" y="1316"/>
                    <a:pt x="4" y="1464"/>
                    <a:pt x="0" y="1684"/>
                  </a:cubicBezTo>
                  <a:cubicBezTo>
                    <a:pt x="0" y="1684"/>
                    <a:pt x="0" y="1684"/>
                    <a:pt x="0" y="1684"/>
                  </a:cubicBezTo>
                  <a:cubicBezTo>
                    <a:pt x="0" y="1761"/>
                    <a:pt x="0" y="2183"/>
                    <a:pt x="0" y="2570"/>
                  </a:cubicBezTo>
                  <a:cubicBezTo>
                    <a:pt x="1965" y="2570"/>
                    <a:pt x="1965" y="2570"/>
                    <a:pt x="1965" y="2570"/>
                  </a:cubicBezTo>
                  <a:cubicBezTo>
                    <a:pt x="1965" y="2183"/>
                    <a:pt x="1965" y="1761"/>
                    <a:pt x="1965" y="1684"/>
                  </a:cubicBezTo>
                  <a:cubicBezTo>
                    <a:pt x="1965" y="1684"/>
                    <a:pt x="1965" y="1684"/>
                    <a:pt x="1965" y="1684"/>
                  </a:cubicBezTo>
                  <a:close/>
                </a:path>
              </a:pathLst>
            </a:custGeom>
            <a:solidFill>
              <a:srgbClr val="E5E5E9"/>
            </a:solidFill>
            <a:ln>
              <a:noFill/>
            </a:ln>
          </p:spPr>
          <p:txBody>
            <a:bodyPr vert="horz" wrap="square" lIns="91392" tIns="45696" rIns="91392" bIns="45696" numCol="1" anchor="t" anchorCtr="0" compatLnSpc="1">
              <a:prstTxWarp prst="textNoShape">
                <a:avLst/>
              </a:prstTxWarp>
            </a:bodyPr>
            <a:lstStyle/>
            <a:p>
              <a:endParaRPr lang="en-US" sz="1799" dirty="0"/>
            </a:p>
          </p:txBody>
        </p:sp>
      </p:grpSp>
      <p:grpSp>
        <p:nvGrpSpPr>
          <p:cNvPr id="73" name="Gruppieren 6">
            <a:extLst>
              <a:ext uri="{FF2B5EF4-FFF2-40B4-BE49-F238E27FC236}">
                <a16:creationId xmlns:a16="http://schemas.microsoft.com/office/drawing/2014/main" id="{386E4F5B-3733-4A9A-B2D6-0E8917317ADF}"/>
              </a:ext>
            </a:extLst>
          </p:cNvPr>
          <p:cNvGrpSpPr/>
          <p:nvPr/>
        </p:nvGrpSpPr>
        <p:grpSpPr>
          <a:xfrm>
            <a:off x="7963524" y="1415850"/>
            <a:ext cx="1188000" cy="2301945"/>
            <a:chOff x="4162426" y="1414801"/>
            <a:chExt cx="1188619" cy="2303144"/>
          </a:xfrm>
        </p:grpSpPr>
        <p:sp>
          <p:nvSpPr>
            <p:cNvPr id="74" name="Textfeld 8">
              <a:extLst>
                <a:ext uri="{FF2B5EF4-FFF2-40B4-BE49-F238E27FC236}">
                  <a16:creationId xmlns:a16="http://schemas.microsoft.com/office/drawing/2014/main" id="{3366F303-D46F-48CA-BA23-D0DBF2EA7D6F}"/>
                </a:ext>
              </a:extLst>
            </p:cNvPr>
            <p:cNvSpPr txBox="1">
              <a:spLocks/>
            </p:cNvSpPr>
            <p:nvPr/>
          </p:nvSpPr>
          <p:spPr bwMode="gray">
            <a:xfrm>
              <a:off x="4162426" y="2853945"/>
              <a:ext cx="1188619" cy="86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71963" rIns="0" bIns="0" rtlCol="0" anchor="t">
              <a:noAutofit/>
            </a:bodyPr>
            <a:lstStyle/>
            <a:p>
              <a:pPr>
                <a:spcBef>
                  <a:spcPct val="0"/>
                </a:spcBef>
                <a:buClr>
                  <a:srgbClr val="879BAA"/>
                </a:buClr>
              </a:pPr>
              <a:r>
                <a:rPr lang="en-US" sz="1199" b="1" kern="1400" dirty="0">
                  <a:solidFill>
                    <a:schemeClr val="tx2"/>
                  </a:solidFill>
                  <a:ea typeface="ＭＳ Ｐゴシック" pitchFamily="34" charset="-128"/>
                  <a:cs typeface="Arial" charset="0"/>
                </a:rPr>
                <a:t>Marianne Mastermind</a:t>
              </a:r>
            </a:p>
            <a:p>
              <a:pPr>
                <a:spcBef>
                  <a:spcPts val="300"/>
                </a:spcBef>
                <a:buClr>
                  <a:srgbClr val="879BAA"/>
                </a:buClr>
              </a:pPr>
              <a:r>
                <a:rPr lang="en-US" sz="1199" dirty="0">
                  <a:solidFill>
                    <a:srgbClr val="9999A9"/>
                  </a:solidFill>
                  <a:cs typeface="Arial" charset="0"/>
                </a:rPr>
                <a:t>At vero eos et accusam</a:t>
              </a:r>
            </a:p>
          </p:txBody>
        </p:sp>
        <p:sp>
          <p:nvSpPr>
            <p:cNvPr id="75" name="Rechteck 40">
              <a:extLst>
                <a:ext uri="{FF2B5EF4-FFF2-40B4-BE49-F238E27FC236}">
                  <a16:creationId xmlns:a16="http://schemas.microsoft.com/office/drawing/2014/main" id="{BDEA760B-B1C2-475E-A692-0BF0CFD60CB7}"/>
                </a:ext>
              </a:extLst>
            </p:cNvPr>
            <p:cNvSpPr>
              <a:spLocks/>
            </p:cNvSpPr>
            <p:nvPr/>
          </p:nvSpPr>
          <p:spPr bwMode="auto">
            <a:xfrm>
              <a:off x="4162426" y="1414801"/>
              <a:ext cx="1188619" cy="1440750"/>
            </a:xfrm>
            <a:prstGeom prst="rect">
              <a:avLst/>
            </a:prstGeom>
            <a:solidFill>
              <a:srgbClr val="66667E"/>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76" name="Freeform 96">
              <a:extLst>
                <a:ext uri="{FF2B5EF4-FFF2-40B4-BE49-F238E27FC236}">
                  <a16:creationId xmlns:a16="http://schemas.microsoft.com/office/drawing/2014/main" id="{B9F3F351-5C8E-45A2-9E3F-4E85036C10E3}"/>
                </a:ext>
              </a:extLst>
            </p:cNvPr>
            <p:cNvSpPr>
              <a:spLocks noEditPoints="1"/>
            </p:cNvSpPr>
            <p:nvPr/>
          </p:nvSpPr>
          <p:spPr bwMode="auto">
            <a:xfrm>
              <a:off x="4266474" y="1568784"/>
              <a:ext cx="980524" cy="1286013"/>
            </a:xfrm>
            <a:custGeom>
              <a:avLst/>
              <a:gdLst>
                <a:gd name="T0" fmla="*/ 520 w 1965"/>
                <a:gd name="T1" fmla="*/ 529 h 2570"/>
                <a:gd name="T2" fmla="*/ 983 w 1965"/>
                <a:gd name="T3" fmla="*/ 0 h 2570"/>
                <a:gd name="T4" fmla="*/ 1446 w 1965"/>
                <a:gd name="T5" fmla="*/ 529 h 2570"/>
                <a:gd name="T6" fmla="*/ 983 w 1965"/>
                <a:gd name="T7" fmla="*/ 1058 h 2570"/>
                <a:gd name="T8" fmla="*/ 520 w 1965"/>
                <a:gd name="T9" fmla="*/ 529 h 2570"/>
                <a:gd name="T10" fmla="*/ 1965 w 1965"/>
                <a:gd name="T11" fmla="*/ 1684 h 2570"/>
                <a:gd name="T12" fmla="*/ 1648 w 1965"/>
                <a:gd name="T13" fmla="*/ 1302 h 2570"/>
                <a:gd name="T14" fmla="*/ 1648 w 1965"/>
                <a:gd name="T15" fmla="*/ 1302 h 2570"/>
                <a:gd name="T16" fmla="*/ 1310 w 1965"/>
                <a:gd name="T17" fmla="*/ 1278 h 2570"/>
                <a:gd name="T18" fmla="*/ 1310 w 1965"/>
                <a:gd name="T19" fmla="*/ 1278 h 2570"/>
                <a:gd name="T20" fmla="*/ 1310 w 1965"/>
                <a:gd name="T21" fmla="*/ 1278 h 2570"/>
                <a:gd name="T22" fmla="*/ 983 w 1965"/>
                <a:gd name="T23" fmla="*/ 1606 h 2570"/>
                <a:gd name="T24" fmla="*/ 983 w 1965"/>
                <a:gd name="T25" fmla="*/ 1606 h 2570"/>
                <a:gd name="T26" fmla="*/ 655 w 1965"/>
                <a:gd name="T27" fmla="*/ 1278 h 2570"/>
                <a:gd name="T28" fmla="*/ 655 w 1965"/>
                <a:gd name="T29" fmla="*/ 1278 h 2570"/>
                <a:gd name="T30" fmla="*/ 655 w 1965"/>
                <a:gd name="T31" fmla="*/ 1278 h 2570"/>
                <a:gd name="T32" fmla="*/ 317 w 1965"/>
                <a:gd name="T33" fmla="*/ 1302 h 2570"/>
                <a:gd name="T34" fmla="*/ 317 w 1965"/>
                <a:gd name="T35" fmla="*/ 1302 h 2570"/>
                <a:gd name="T36" fmla="*/ 0 w 1965"/>
                <a:gd name="T37" fmla="*/ 1684 h 2570"/>
                <a:gd name="T38" fmla="*/ 0 w 1965"/>
                <a:gd name="T39" fmla="*/ 1684 h 2570"/>
                <a:gd name="T40" fmla="*/ 0 w 1965"/>
                <a:gd name="T41" fmla="*/ 2570 h 2570"/>
                <a:gd name="T42" fmla="*/ 1965 w 1965"/>
                <a:gd name="T43" fmla="*/ 2570 h 2570"/>
                <a:gd name="T44" fmla="*/ 1965 w 1965"/>
                <a:gd name="T45" fmla="*/ 1684 h 2570"/>
                <a:gd name="T46" fmla="*/ 1965 w 1965"/>
                <a:gd name="T47" fmla="*/ 1684 h 2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5" h="2570">
                  <a:moveTo>
                    <a:pt x="520" y="529"/>
                  </a:moveTo>
                  <a:cubicBezTo>
                    <a:pt x="520" y="212"/>
                    <a:pt x="707" y="0"/>
                    <a:pt x="983" y="0"/>
                  </a:cubicBezTo>
                  <a:cubicBezTo>
                    <a:pt x="1258" y="0"/>
                    <a:pt x="1446" y="212"/>
                    <a:pt x="1446" y="529"/>
                  </a:cubicBezTo>
                  <a:cubicBezTo>
                    <a:pt x="1446" y="846"/>
                    <a:pt x="1258" y="1058"/>
                    <a:pt x="983" y="1058"/>
                  </a:cubicBezTo>
                  <a:cubicBezTo>
                    <a:pt x="707" y="1058"/>
                    <a:pt x="520" y="846"/>
                    <a:pt x="520" y="529"/>
                  </a:cubicBezTo>
                  <a:close/>
                  <a:moveTo>
                    <a:pt x="1965" y="1684"/>
                  </a:moveTo>
                  <a:cubicBezTo>
                    <a:pt x="1961" y="1464"/>
                    <a:pt x="1835" y="1316"/>
                    <a:pt x="1648" y="1302"/>
                  </a:cubicBezTo>
                  <a:cubicBezTo>
                    <a:pt x="1648" y="1302"/>
                    <a:pt x="1648" y="1302"/>
                    <a:pt x="1648" y="1302"/>
                  </a:cubicBezTo>
                  <a:cubicBezTo>
                    <a:pt x="1310" y="1278"/>
                    <a:pt x="1310" y="1278"/>
                    <a:pt x="1310" y="1278"/>
                  </a:cubicBezTo>
                  <a:cubicBezTo>
                    <a:pt x="1310" y="1278"/>
                    <a:pt x="1310" y="1278"/>
                    <a:pt x="1310" y="1278"/>
                  </a:cubicBezTo>
                  <a:cubicBezTo>
                    <a:pt x="1310" y="1278"/>
                    <a:pt x="1310" y="1278"/>
                    <a:pt x="1310" y="1278"/>
                  </a:cubicBezTo>
                  <a:cubicBezTo>
                    <a:pt x="983" y="1606"/>
                    <a:pt x="983" y="1606"/>
                    <a:pt x="983" y="1606"/>
                  </a:cubicBezTo>
                  <a:cubicBezTo>
                    <a:pt x="983" y="1606"/>
                    <a:pt x="983" y="1606"/>
                    <a:pt x="983" y="1606"/>
                  </a:cubicBezTo>
                  <a:cubicBezTo>
                    <a:pt x="655" y="1278"/>
                    <a:pt x="655" y="1278"/>
                    <a:pt x="655" y="1278"/>
                  </a:cubicBezTo>
                  <a:cubicBezTo>
                    <a:pt x="655" y="1278"/>
                    <a:pt x="655" y="1278"/>
                    <a:pt x="655" y="1278"/>
                  </a:cubicBezTo>
                  <a:cubicBezTo>
                    <a:pt x="655" y="1278"/>
                    <a:pt x="655" y="1278"/>
                    <a:pt x="655" y="1278"/>
                  </a:cubicBezTo>
                  <a:cubicBezTo>
                    <a:pt x="317" y="1302"/>
                    <a:pt x="317" y="1302"/>
                    <a:pt x="317" y="1302"/>
                  </a:cubicBezTo>
                  <a:cubicBezTo>
                    <a:pt x="317" y="1302"/>
                    <a:pt x="317" y="1302"/>
                    <a:pt x="317" y="1302"/>
                  </a:cubicBezTo>
                  <a:cubicBezTo>
                    <a:pt x="130" y="1316"/>
                    <a:pt x="4" y="1464"/>
                    <a:pt x="0" y="1684"/>
                  </a:cubicBezTo>
                  <a:cubicBezTo>
                    <a:pt x="0" y="1684"/>
                    <a:pt x="0" y="1684"/>
                    <a:pt x="0" y="1684"/>
                  </a:cubicBezTo>
                  <a:cubicBezTo>
                    <a:pt x="0" y="1761"/>
                    <a:pt x="0" y="2183"/>
                    <a:pt x="0" y="2570"/>
                  </a:cubicBezTo>
                  <a:cubicBezTo>
                    <a:pt x="1965" y="2570"/>
                    <a:pt x="1965" y="2570"/>
                    <a:pt x="1965" y="2570"/>
                  </a:cubicBezTo>
                  <a:cubicBezTo>
                    <a:pt x="1965" y="2183"/>
                    <a:pt x="1965" y="1761"/>
                    <a:pt x="1965" y="1684"/>
                  </a:cubicBezTo>
                  <a:cubicBezTo>
                    <a:pt x="1965" y="1684"/>
                    <a:pt x="1965" y="1684"/>
                    <a:pt x="1965" y="1684"/>
                  </a:cubicBezTo>
                  <a:close/>
                </a:path>
              </a:pathLst>
            </a:custGeom>
            <a:solidFill>
              <a:srgbClr val="E5E5E9"/>
            </a:solidFill>
            <a:ln>
              <a:noFill/>
            </a:ln>
          </p:spPr>
          <p:txBody>
            <a:bodyPr vert="horz" wrap="square" lIns="91392" tIns="45696" rIns="91392" bIns="45696" numCol="1" anchor="t" anchorCtr="0" compatLnSpc="1">
              <a:prstTxWarp prst="textNoShape">
                <a:avLst/>
              </a:prstTxWarp>
            </a:bodyPr>
            <a:lstStyle/>
            <a:p>
              <a:endParaRPr lang="en-US" sz="1799" dirty="0"/>
            </a:p>
          </p:txBody>
        </p:sp>
      </p:grpSp>
      <p:grpSp>
        <p:nvGrpSpPr>
          <p:cNvPr id="77" name="Gruppieren 6">
            <a:extLst>
              <a:ext uri="{FF2B5EF4-FFF2-40B4-BE49-F238E27FC236}">
                <a16:creationId xmlns:a16="http://schemas.microsoft.com/office/drawing/2014/main" id="{863DCF86-DAC2-4FB8-B49A-D384A6F71889}"/>
              </a:ext>
            </a:extLst>
          </p:cNvPr>
          <p:cNvGrpSpPr/>
          <p:nvPr/>
        </p:nvGrpSpPr>
        <p:grpSpPr>
          <a:xfrm>
            <a:off x="9281357" y="1415850"/>
            <a:ext cx="1188000" cy="2301945"/>
            <a:chOff x="4162426" y="1414801"/>
            <a:chExt cx="1188619" cy="2303144"/>
          </a:xfrm>
        </p:grpSpPr>
        <p:sp>
          <p:nvSpPr>
            <p:cNvPr id="78" name="Textfeld 8">
              <a:extLst>
                <a:ext uri="{FF2B5EF4-FFF2-40B4-BE49-F238E27FC236}">
                  <a16:creationId xmlns:a16="http://schemas.microsoft.com/office/drawing/2014/main" id="{744951D0-EB38-4BE3-8D2E-C096B4AFC05A}"/>
                </a:ext>
              </a:extLst>
            </p:cNvPr>
            <p:cNvSpPr txBox="1">
              <a:spLocks/>
            </p:cNvSpPr>
            <p:nvPr/>
          </p:nvSpPr>
          <p:spPr bwMode="gray">
            <a:xfrm>
              <a:off x="4162426" y="2853945"/>
              <a:ext cx="1188619" cy="86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71963" rIns="0" bIns="0" rtlCol="0" anchor="t">
              <a:noAutofit/>
            </a:bodyPr>
            <a:lstStyle/>
            <a:p>
              <a:pPr>
                <a:spcBef>
                  <a:spcPct val="0"/>
                </a:spcBef>
                <a:buClr>
                  <a:srgbClr val="879BAA"/>
                </a:buClr>
              </a:pPr>
              <a:r>
                <a:rPr lang="en-US" sz="1199" b="1" kern="1400" dirty="0">
                  <a:solidFill>
                    <a:schemeClr val="tx2"/>
                  </a:solidFill>
                  <a:ea typeface="ＭＳ Ｐゴシック" pitchFamily="34" charset="-128"/>
                  <a:cs typeface="Arial" charset="0"/>
                </a:rPr>
                <a:t>Gregor Goodjobs</a:t>
              </a:r>
            </a:p>
            <a:p>
              <a:pPr>
                <a:spcBef>
                  <a:spcPts val="300"/>
                </a:spcBef>
                <a:buClr>
                  <a:srgbClr val="879BAA"/>
                </a:buClr>
              </a:pPr>
              <a:r>
                <a:rPr lang="en-US" sz="1199" dirty="0">
                  <a:solidFill>
                    <a:srgbClr val="9999A9"/>
                  </a:solidFill>
                  <a:cs typeface="Arial" charset="0"/>
                </a:rPr>
                <a:t>At vero eos et accusam</a:t>
              </a:r>
            </a:p>
          </p:txBody>
        </p:sp>
        <p:sp>
          <p:nvSpPr>
            <p:cNvPr id="79" name="Rechteck 40">
              <a:extLst>
                <a:ext uri="{FF2B5EF4-FFF2-40B4-BE49-F238E27FC236}">
                  <a16:creationId xmlns:a16="http://schemas.microsoft.com/office/drawing/2014/main" id="{F5DEC70B-C472-493A-B282-81A202DFF001}"/>
                </a:ext>
              </a:extLst>
            </p:cNvPr>
            <p:cNvSpPr>
              <a:spLocks/>
            </p:cNvSpPr>
            <p:nvPr/>
          </p:nvSpPr>
          <p:spPr bwMode="auto">
            <a:xfrm>
              <a:off x="4162426" y="1414801"/>
              <a:ext cx="1188619" cy="1440750"/>
            </a:xfrm>
            <a:prstGeom prst="rect">
              <a:avLst/>
            </a:prstGeom>
            <a:solidFill>
              <a:srgbClr val="66667E"/>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80" name="Freeform 96">
              <a:extLst>
                <a:ext uri="{FF2B5EF4-FFF2-40B4-BE49-F238E27FC236}">
                  <a16:creationId xmlns:a16="http://schemas.microsoft.com/office/drawing/2014/main" id="{4699B1FD-3F7A-4734-8365-6E0F0CA7412A}"/>
                </a:ext>
              </a:extLst>
            </p:cNvPr>
            <p:cNvSpPr>
              <a:spLocks noEditPoints="1"/>
            </p:cNvSpPr>
            <p:nvPr/>
          </p:nvSpPr>
          <p:spPr bwMode="auto">
            <a:xfrm>
              <a:off x="4266474" y="1568784"/>
              <a:ext cx="980524" cy="1286013"/>
            </a:xfrm>
            <a:custGeom>
              <a:avLst/>
              <a:gdLst>
                <a:gd name="T0" fmla="*/ 520 w 1965"/>
                <a:gd name="T1" fmla="*/ 529 h 2570"/>
                <a:gd name="T2" fmla="*/ 983 w 1965"/>
                <a:gd name="T3" fmla="*/ 0 h 2570"/>
                <a:gd name="T4" fmla="*/ 1446 w 1965"/>
                <a:gd name="T5" fmla="*/ 529 h 2570"/>
                <a:gd name="T6" fmla="*/ 983 w 1965"/>
                <a:gd name="T7" fmla="*/ 1058 h 2570"/>
                <a:gd name="T8" fmla="*/ 520 w 1965"/>
                <a:gd name="T9" fmla="*/ 529 h 2570"/>
                <a:gd name="T10" fmla="*/ 1965 w 1965"/>
                <a:gd name="T11" fmla="*/ 1684 h 2570"/>
                <a:gd name="T12" fmla="*/ 1648 w 1965"/>
                <a:gd name="T13" fmla="*/ 1302 h 2570"/>
                <a:gd name="T14" fmla="*/ 1648 w 1965"/>
                <a:gd name="T15" fmla="*/ 1302 h 2570"/>
                <a:gd name="T16" fmla="*/ 1310 w 1965"/>
                <a:gd name="T17" fmla="*/ 1278 h 2570"/>
                <a:gd name="T18" fmla="*/ 1310 w 1965"/>
                <a:gd name="T19" fmla="*/ 1278 h 2570"/>
                <a:gd name="T20" fmla="*/ 1310 w 1965"/>
                <a:gd name="T21" fmla="*/ 1278 h 2570"/>
                <a:gd name="T22" fmla="*/ 983 w 1965"/>
                <a:gd name="T23" fmla="*/ 1606 h 2570"/>
                <a:gd name="T24" fmla="*/ 983 w 1965"/>
                <a:gd name="T25" fmla="*/ 1606 h 2570"/>
                <a:gd name="T26" fmla="*/ 655 w 1965"/>
                <a:gd name="T27" fmla="*/ 1278 h 2570"/>
                <a:gd name="T28" fmla="*/ 655 w 1965"/>
                <a:gd name="T29" fmla="*/ 1278 h 2570"/>
                <a:gd name="T30" fmla="*/ 655 w 1965"/>
                <a:gd name="T31" fmla="*/ 1278 h 2570"/>
                <a:gd name="T32" fmla="*/ 317 w 1965"/>
                <a:gd name="T33" fmla="*/ 1302 h 2570"/>
                <a:gd name="T34" fmla="*/ 317 w 1965"/>
                <a:gd name="T35" fmla="*/ 1302 h 2570"/>
                <a:gd name="T36" fmla="*/ 0 w 1965"/>
                <a:gd name="T37" fmla="*/ 1684 h 2570"/>
                <a:gd name="T38" fmla="*/ 0 w 1965"/>
                <a:gd name="T39" fmla="*/ 1684 h 2570"/>
                <a:gd name="T40" fmla="*/ 0 w 1965"/>
                <a:gd name="T41" fmla="*/ 2570 h 2570"/>
                <a:gd name="T42" fmla="*/ 1965 w 1965"/>
                <a:gd name="T43" fmla="*/ 2570 h 2570"/>
                <a:gd name="T44" fmla="*/ 1965 w 1965"/>
                <a:gd name="T45" fmla="*/ 1684 h 2570"/>
                <a:gd name="T46" fmla="*/ 1965 w 1965"/>
                <a:gd name="T47" fmla="*/ 1684 h 2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5" h="2570">
                  <a:moveTo>
                    <a:pt x="520" y="529"/>
                  </a:moveTo>
                  <a:cubicBezTo>
                    <a:pt x="520" y="212"/>
                    <a:pt x="707" y="0"/>
                    <a:pt x="983" y="0"/>
                  </a:cubicBezTo>
                  <a:cubicBezTo>
                    <a:pt x="1258" y="0"/>
                    <a:pt x="1446" y="212"/>
                    <a:pt x="1446" y="529"/>
                  </a:cubicBezTo>
                  <a:cubicBezTo>
                    <a:pt x="1446" y="846"/>
                    <a:pt x="1258" y="1058"/>
                    <a:pt x="983" y="1058"/>
                  </a:cubicBezTo>
                  <a:cubicBezTo>
                    <a:pt x="707" y="1058"/>
                    <a:pt x="520" y="846"/>
                    <a:pt x="520" y="529"/>
                  </a:cubicBezTo>
                  <a:close/>
                  <a:moveTo>
                    <a:pt x="1965" y="1684"/>
                  </a:moveTo>
                  <a:cubicBezTo>
                    <a:pt x="1961" y="1464"/>
                    <a:pt x="1835" y="1316"/>
                    <a:pt x="1648" y="1302"/>
                  </a:cubicBezTo>
                  <a:cubicBezTo>
                    <a:pt x="1648" y="1302"/>
                    <a:pt x="1648" y="1302"/>
                    <a:pt x="1648" y="1302"/>
                  </a:cubicBezTo>
                  <a:cubicBezTo>
                    <a:pt x="1310" y="1278"/>
                    <a:pt x="1310" y="1278"/>
                    <a:pt x="1310" y="1278"/>
                  </a:cubicBezTo>
                  <a:cubicBezTo>
                    <a:pt x="1310" y="1278"/>
                    <a:pt x="1310" y="1278"/>
                    <a:pt x="1310" y="1278"/>
                  </a:cubicBezTo>
                  <a:cubicBezTo>
                    <a:pt x="1310" y="1278"/>
                    <a:pt x="1310" y="1278"/>
                    <a:pt x="1310" y="1278"/>
                  </a:cubicBezTo>
                  <a:cubicBezTo>
                    <a:pt x="983" y="1606"/>
                    <a:pt x="983" y="1606"/>
                    <a:pt x="983" y="1606"/>
                  </a:cubicBezTo>
                  <a:cubicBezTo>
                    <a:pt x="983" y="1606"/>
                    <a:pt x="983" y="1606"/>
                    <a:pt x="983" y="1606"/>
                  </a:cubicBezTo>
                  <a:cubicBezTo>
                    <a:pt x="655" y="1278"/>
                    <a:pt x="655" y="1278"/>
                    <a:pt x="655" y="1278"/>
                  </a:cubicBezTo>
                  <a:cubicBezTo>
                    <a:pt x="655" y="1278"/>
                    <a:pt x="655" y="1278"/>
                    <a:pt x="655" y="1278"/>
                  </a:cubicBezTo>
                  <a:cubicBezTo>
                    <a:pt x="655" y="1278"/>
                    <a:pt x="655" y="1278"/>
                    <a:pt x="655" y="1278"/>
                  </a:cubicBezTo>
                  <a:cubicBezTo>
                    <a:pt x="317" y="1302"/>
                    <a:pt x="317" y="1302"/>
                    <a:pt x="317" y="1302"/>
                  </a:cubicBezTo>
                  <a:cubicBezTo>
                    <a:pt x="317" y="1302"/>
                    <a:pt x="317" y="1302"/>
                    <a:pt x="317" y="1302"/>
                  </a:cubicBezTo>
                  <a:cubicBezTo>
                    <a:pt x="130" y="1316"/>
                    <a:pt x="4" y="1464"/>
                    <a:pt x="0" y="1684"/>
                  </a:cubicBezTo>
                  <a:cubicBezTo>
                    <a:pt x="0" y="1684"/>
                    <a:pt x="0" y="1684"/>
                    <a:pt x="0" y="1684"/>
                  </a:cubicBezTo>
                  <a:cubicBezTo>
                    <a:pt x="0" y="1761"/>
                    <a:pt x="0" y="2183"/>
                    <a:pt x="0" y="2570"/>
                  </a:cubicBezTo>
                  <a:cubicBezTo>
                    <a:pt x="1965" y="2570"/>
                    <a:pt x="1965" y="2570"/>
                    <a:pt x="1965" y="2570"/>
                  </a:cubicBezTo>
                  <a:cubicBezTo>
                    <a:pt x="1965" y="2183"/>
                    <a:pt x="1965" y="1761"/>
                    <a:pt x="1965" y="1684"/>
                  </a:cubicBezTo>
                  <a:cubicBezTo>
                    <a:pt x="1965" y="1684"/>
                    <a:pt x="1965" y="1684"/>
                    <a:pt x="1965" y="1684"/>
                  </a:cubicBezTo>
                  <a:close/>
                </a:path>
              </a:pathLst>
            </a:custGeom>
            <a:solidFill>
              <a:srgbClr val="E5E5E9"/>
            </a:solidFill>
            <a:ln>
              <a:noFill/>
            </a:ln>
          </p:spPr>
          <p:txBody>
            <a:bodyPr vert="horz" wrap="square" lIns="91392" tIns="45696" rIns="91392" bIns="45696" numCol="1" anchor="t" anchorCtr="0" compatLnSpc="1">
              <a:prstTxWarp prst="textNoShape">
                <a:avLst/>
              </a:prstTxWarp>
            </a:bodyPr>
            <a:lstStyle/>
            <a:p>
              <a:endParaRPr lang="en-US" sz="1799" dirty="0"/>
            </a:p>
          </p:txBody>
        </p:sp>
      </p:grpSp>
      <p:grpSp>
        <p:nvGrpSpPr>
          <p:cNvPr id="81" name="Gruppieren 6">
            <a:extLst>
              <a:ext uri="{FF2B5EF4-FFF2-40B4-BE49-F238E27FC236}">
                <a16:creationId xmlns:a16="http://schemas.microsoft.com/office/drawing/2014/main" id="{7619633C-5AD4-4D23-8620-B77D702D97F0}"/>
              </a:ext>
            </a:extLst>
          </p:cNvPr>
          <p:cNvGrpSpPr/>
          <p:nvPr/>
        </p:nvGrpSpPr>
        <p:grpSpPr>
          <a:xfrm>
            <a:off x="10599188" y="1415850"/>
            <a:ext cx="1188000" cy="2301945"/>
            <a:chOff x="4162426" y="1414801"/>
            <a:chExt cx="1188619" cy="2303144"/>
          </a:xfrm>
        </p:grpSpPr>
        <p:sp>
          <p:nvSpPr>
            <p:cNvPr id="82" name="Textfeld 8">
              <a:extLst>
                <a:ext uri="{FF2B5EF4-FFF2-40B4-BE49-F238E27FC236}">
                  <a16:creationId xmlns:a16="http://schemas.microsoft.com/office/drawing/2014/main" id="{C39E57AE-C6F6-4F2F-A11B-5D73595DFF18}"/>
                </a:ext>
              </a:extLst>
            </p:cNvPr>
            <p:cNvSpPr txBox="1">
              <a:spLocks/>
            </p:cNvSpPr>
            <p:nvPr/>
          </p:nvSpPr>
          <p:spPr bwMode="gray">
            <a:xfrm>
              <a:off x="4162426" y="2853945"/>
              <a:ext cx="1188619" cy="86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71963" rIns="0" bIns="0" rtlCol="0" anchor="t">
              <a:noAutofit/>
            </a:bodyPr>
            <a:lstStyle/>
            <a:p>
              <a:pPr>
                <a:spcBef>
                  <a:spcPct val="0"/>
                </a:spcBef>
                <a:buClr>
                  <a:srgbClr val="879BAA"/>
                </a:buClr>
              </a:pPr>
              <a:r>
                <a:rPr lang="en-US" sz="1199" b="1" kern="1400" dirty="0">
                  <a:solidFill>
                    <a:schemeClr val="tx2"/>
                  </a:solidFill>
                  <a:ea typeface="ＭＳ Ｐゴシック" pitchFamily="34" charset="-128"/>
                  <a:cs typeface="Arial" charset="0"/>
                </a:rPr>
                <a:t>Sam Sample</a:t>
              </a:r>
            </a:p>
            <a:p>
              <a:pPr>
                <a:spcBef>
                  <a:spcPts val="300"/>
                </a:spcBef>
                <a:buClr>
                  <a:srgbClr val="879BAA"/>
                </a:buClr>
              </a:pPr>
              <a:r>
                <a:rPr lang="en-US" sz="1199" dirty="0">
                  <a:solidFill>
                    <a:srgbClr val="9999A9"/>
                  </a:solidFill>
                  <a:cs typeface="Arial" charset="0"/>
                </a:rPr>
                <a:t>At vero eos et accusam</a:t>
              </a:r>
            </a:p>
          </p:txBody>
        </p:sp>
        <p:sp>
          <p:nvSpPr>
            <p:cNvPr id="83" name="Rechteck 40">
              <a:extLst>
                <a:ext uri="{FF2B5EF4-FFF2-40B4-BE49-F238E27FC236}">
                  <a16:creationId xmlns:a16="http://schemas.microsoft.com/office/drawing/2014/main" id="{9606228D-C604-41B2-9AE4-7D43DC9D33CA}"/>
                </a:ext>
              </a:extLst>
            </p:cNvPr>
            <p:cNvSpPr>
              <a:spLocks/>
            </p:cNvSpPr>
            <p:nvPr/>
          </p:nvSpPr>
          <p:spPr bwMode="auto">
            <a:xfrm>
              <a:off x="4162426" y="1414801"/>
              <a:ext cx="1188619" cy="1440750"/>
            </a:xfrm>
            <a:prstGeom prst="rect">
              <a:avLst/>
            </a:prstGeom>
            <a:solidFill>
              <a:srgbClr val="66667E"/>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84" name="Freeform 96">
              <a:extLst>
                <a:ext uri="{FF2B5EF4-FFF2-40B4-BE49-F238E27FC236}">
                  <a16:creationId xmlns:a16="http://schemas.microsoft.com/office/drawing/2014/main" id="{F63ACEBB-9E8F-4326-81D8-3209BB91B849}"/>
                </a:ext>
              </a:extLst>
            </p:cNvPr>
            <p:cNvSpPr>
              <a:spLocks noEditPoints="1"/>
            </p:cNvSpPr>
            <p:nvPr/>
          </p:nvSpPr>
          <p:spPr bwMode="auto">
            <a:xfrm>
              <a:off x="4266474" y="1568784"/>
              <a:ext cx="980524" cy="1286013"/>
            </a:xfrm>
            <a:custGeom>
              <a:avLst/>
              <a:gdLst>
                <a:gd name="T0" fmla="*/ 520 w 1965"/>
                <a:gd name="T1" fmla="*/ 529 h 2570"/>
                <a:gd name="T2" fmla="*/ 983 w 1965"/>
                <a:gd name="T3" fmla="*/ 0 h 2570"/>
                <a:gd name="T4" fmla="*/ 1446 w 1965"/>
                <a:gd name="T5" fmla="*/ 529 h 2570"/>
                <a:gd name="T6" fmla="*/ 983 w 1965"/>
                <a:gd name="T7" fmla="*/ 1058 h 2570"/>
                <a:gd name="T8" fmla="*/ 520 w 1965"/>
                <a:gd name="T9" fmla="*/ 529 h 2570"/>
                <a:gd name="T10" fmla="*/ 1965 w 1965"/>
                <a:gd name="T11" fmla="*/ 1684 h 2570"/>
                <a:gd name="T12" fmla="*/ 1648 w 1965"/>
                <a:gd name="T13" fmla="*/ 1302 h 2570"/>
                <a:gd name="T14" fmla="*/ 1648 w 1965"/>
                <a:gd name="T15" fmla="*/ 1302 h 2570"/>
                <a:gd name="T16" fmla="*/ 1310 w 1965"/>
                <a:gd name="T17" fmla="*/ 1278 h 2570"/>
                <a:gd name="T18" fmla="*/ 1310 w 1965"/>
                <a:gd name="T19" fmla="*/ 1278 h 2570"/>
                <a:gd name="T20" fmla="*/ 1310 w 1965"/>
                <a:gd name="T21" fmla="*/ 1278 h 2570"/>
                <a:gd name="T22" fmla="*/ 983 w 1965"/>
                <a:gd name="T23" fmla="*/ 1606 h 2570"/>
                <a:gd name="T24" fmla="*/ 983 w 1965"/>
                <a:gd name="T25" fmla="*/ 1606 h 2570"/>
                <a:gd name="T26" fmla="*/ 655 w 1965"/>
                <a:gd name="T27" fmla="*/ 1278 h 2570"/>
                <a:gd name="T28" fmla="*/ 655 w 1965"/>
                <a:gd name="T29" fmla="*/ 1278 h 2570"/>
                <a:gd name="T30" fmla="*/ 655 w 1965"/>
                <a:gd name="T31" fmla="*/ 1278 h 2570"/>
                <a:gd name="T32" fmla="*/ 317 w 1965"/>
                <a:gd name="T33" fmla="*/ 1302 h 2570"/>
                <a:gd name="T34" fmla="*/ 317 w 1965"/>
                <a:gd name="T35" fmla="*/ 1302 h 2570"/>
                <a:gd name="T36" fmla="*/ 0 w 1965"/>
                <a:gd name="T37" fmla="*/ 1684 h 2570"/>
                <a:gd name="T38" fmla="*/ 0 w 1965"/>
                <a:gd name="T39" fmla="*/ 1684 h 2570"/>
                <a:gd name="T40" fmla="*/ 0 w 1965"/>
                <a:gd name="T41" fmla="*/ 2570 h 2570"/>
                <a:gd name="T42" fmla="*/ 1965 w 1965"/>
                <a:gd name="T43" fmla="*/ 2570 h 2570"/>
                <a:gd name="T44" fmla="*/ 1965 w 1965"/>
                <a:gd name="T45" fmla="*/ 1684 h 2570"/>
                <a:gd name="T46" fmla="*/ 1965 w 1965"/>
                <a:gd name="T47" fmla="*/ 1684 h 2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5" h="2570">
                  <a:moveTo>
                    <a:pt x="520" y="529"/>
                  </a:moveTo>
                  <a:cubicBezTo>
                    <a:pt x="520" y="212"/>
                    <a:pt x="707" y="0"/>
                    <a:pt x="983" y="0"/>
                  </a:cubicBezTo>
                  <a:cubicBezTo>
                    <a:pt x="1258" y="0"/>
                    <a:pt x="1446" y="212"/>
                    <a:pt x="1446" y="529"/>
                  </a:cubicBezTo>
                  <a:cubicBezTo>
                    <a:pt x="1446" y="846"/>
                    <a:pt x="1258" y="1058"/>
                    <a:pt x="983" y="1058"/>
                  </a:cubicBezTo>
                  <a:cubicBezTo>
                    <a:pt x="707" y="1058"/>
                    <a:pt x="520" y="846"/>
                    <a:pt x="520" y="529"/>
                  </a:cubicBezTo>
                  <a:close/>
                  <a:moveTo>
                    <a:pt x="1965" y="1684"/>
                  </a:moveTo>
                  <a:cubicBezTo>
                    <a:pt x="1961" y="1464"/>
                    <a:pt x="1835" y="1316"/>
                    <a:pt x="1648" y="1302"/>
                  </a:cubicBezTo>
                  <a:cubicBezTo>
                    <a:pt x="1648" y="1302"/>
                    <a:pt x="1648" y="1302"/>
                    <a:pt x="1648" y="1302"/>
                  </a:cubicBezTo>
                  <a:cubicBezTo>
                    <a:pt x="1310" y="1278"/>
                    <a:pt x="1310" y="1278"/>
                    <a:pt x="1310" y="1278"/>
                  </a:cubicBezTo>
                  <a:cubicBezTo>
                    <a:pt x="1310" y="1278"/>
                    <a:pt x="1310" y="1278"/>
                    <a:pt x="1310" y="1278"/>
                  </a:cubicBezTo>
                  <a:cubicBezTo>
                    <a:pt x="1310" y="1278"/>
                    <a:pt x="1310" y="1278"/>
                    <a:pt x="1310" y="1278"/>
                  </a:cubicBezTo>
                  <a:cubicBezTo>
                    <a:pt x="983" y="1606"/>
                    <a:pt x="983" y="1606"/>
                    <a:pt x="983" y="1606"/>
                  </a:cubicBezTo>
                  <a:cubicBezTo>
                    <a:pt x="983" y="1606"/>
                    <a:pt x="983" y="1606"/>
                    <a:pt x="983" y="1606"/>
                  </a:cubicBezTo>
                  <a:cubicBezTo>
                    <a:pt x="655" y="1278"/>
                    <a:pt x="655" y="1278"/>
                    <a:pt x="655" y="1278"/>
                  </a:cubicBezTo>
                  <a:cubicBezTo>
                    <a:pt x="655" y="1278"/>
                    <a:pt x="655" y="1278"/>
                    <a:pt x="655" y="1278"/>
                  </a:cubicBezTo>
                  <a:cubicBezTo>
                    <a:pt x="655" y="1278"/>
                    <a:pt x="655" y="1278"/>
                    <a:pt x="655" y="1278"/>
                  </a:cubicBezTo>
                  <a:cubicBezTo>
                    <a:pt x="317" y="1302"/>
                    <a:pt x="317" y="1302"/>
                    <a:pt x="317" y="1302"/>
                  </a:cubicBezTo>
                  <a:cubicBezTo>
                    <a:pt x="317" y="1302"/>
                    <a:pt x="317" y="1302"/>
                    <a:pt x="317" y="1302"/>
                  </a:cubicBezTo>
                  <a:cubicBezTo>
                    <a:pt x="130" y="1316"/>
                    <a:pt x="4" y="1464"/>
                    <a:pt x="0" y="1684"/>
                  </a:cubicBezTo>
                  <a:cubicBezTo>
                    <a:pt x="0" y="1684"/>
                    <a:pt x="0" y="1684"/>
                    <a:pt x="0" y="1684"/>
                  </a:cubicBezTo>
                  <a:cubicBezTo>
                    <a:pt x="0" y="1761"/>
                    <a:pt x="0" y="2183"/>
                    <a:pt x="0" y="2570"/>
                  </a:cubicBezTo>
                  <a:cubicBezTo>
                    <a:pt x="1965" y="2570"/>
                    <a:pt x="1965" y="2570"/>
                    <a:pt x="1965" y="2570"/>
                  </a:cubicBezTo>
                  <a:cubicBezTo>
                    <a:pt x="1965" y="2183"/>
                    <a:pt x="1965" y="1761"/>
                    <a:pt x="1965" y="1684"/>
                  </a:cubicBezTo>
                  <a:cubicBezTo>
                    <a:pt x="1965" y="1684"/>
                    <a:pt x="1965" y="1684"/>
                    <a:pt x="1965" y="1684"/>
                  </a:cubicBezTo>
                  <a:close/>
                </a:path>
              </a:pathLst>
            </a:custGeom>
            <a:solidFill>
              <a:srgbClr val="E5E5E9"/>
            </a:solidFill>
            <a:ln>
              <a:noFill/>
            </a:ln>
          </p:spPr>
          <p:txBody>
            <a:bodyPr vert="horz" wrap="square" lIns="91392" tIns="45696" rIns="91392" bIns="45696" numCol="1" anchor="t" anchorCtr="0" compatLnSpc="1">
              <a:prstTxWarp prst="textNoShape">
                <a:avLst/>
              </a:prstTxWarp>
            </a:bodyPr>
            <a:lstStyle/>
            <a:p>
              <a:endParaRPr lang="en-US" sz="1799" dirty="0"/>
            </a:p>
          </p:txBody>
        </p:sp>
      </p:grpSp>
      <p:grpSp>
        <p:nvGrpSpPr>
          <p:cNvPr id="85" name="Gruppieren 6">
            <a:extLst>
              <a:ext uri="{FF2B5EF4-FFF2-40B4-BE49-F238E27FC236}">
                <a16:creationId xmlns:a16="http://schemas.microsoft.com/office/drawing/2014/main" id="{DF171AAC-D002-42B5-8BC6-F09B34D2134B}"/>
              </a:ext>
            </a:extLst>
          </p:cNvPr>
          <p:cNvGrpSpPr/>
          <p:nvPr/>
        </p:nvGrpSpPr>
        <p:grpSpPr>
          <a:xfrm>
            <a:off x="4010025" y="3863549"/>
            <a:ext cx="1188000" cy="2301945"/>
            <a:chOff x="4162426" y="1414801"/>
            <a:chExt cx="1188619" cy="2303144"/>
          </a:xfrm>
        </p:grpSpPr>
        <p:sp>
          <p:nvSpPr>
            <p:cNvPr id="86" name="Textfeld 8">
              <a:extLst>
                <a:ext uri="{FF2B5EF4-FFF2-40B4-BE49-F238E27FC236}">
                  <a16:creationId xmlns:a16="http://schemas.microsoft.com/office/drawing/2014/main" id="{13C76E52-80CC-4156-BFBB-086970469F02}"/>
                </a:ext>
              </a:extLst>
            </p:cNvPr>
            <p:cNvSpPr txBox="1">
              <a:spLocks/>
            </p:cNvSpPr>
            <p:nvPr/>
          </p:nvSpPr>
          <p:spPr bwMode="gray">
            <a:xfrm>
              <a:off x="4162426" y="2853945"/>
              <a:ext cx="1188619" cy="86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71963" rIns="0" bIns="0" rtlCol="0" anchor="t">
              <a:noAutofit/>
            </a:bodyPr>
            <a:lstStyle/>
            <a:p>
              <a:pPr>
                <a:spcBef>
                  <a:spcPct val="0"/>
                </a:spcBef>
                <a:buClr>
                  <a:srgbClr val="879BAA"/>
                </a:buClr>
              </a:pPr>
              <a:r>
                <a:rPr lang="en-US" sz="1199" b="1" kern="1400" dirty="0">
                  <a:solidFill>
                    <a:srgbClr val="00FFB9"/>
                  </a:solidFill>
                  <a:ea typeface="ＭＳ Ｐゴシック" pitchFamily="34" charset="-128"/>
                  <a:cs typeface="Arial" charset="0"/>
                </a:rPr>
                <a:t>Marianne Mastermind</a:t>
              </a:r>
            </a:p>
            <a:p>
              <a:pPr>
                <a:spcBef>
                  <a:spcPts val="300"/>
                </a:spcBef>
                <a:buClr>
                  <a:srgbClr val="879BAA"/>
                </a:buClr>
              </a:pPr>
              <a:r>
                <a:rPr lang="en-US" sz="1199" dirty="0">
                  <a:solidFill>
                    <a:srgbClr val="9999A9"/>
                  </a:solidFill>
                  <a:cs typeface="Arial" charset="0"/>
                </a:rPr>
                <a:t>At vero eos et accusam</a:t>
              </a:r>
            </a:p>
          </p:txBody>
        </p:sp>
        <p:sp>
          <p:nvSpPr>
            <p:cNvPr id="87" name="Rechteck 40">
              <a:extLst>
                <a:ext uri="{FF2B5EF4-FFF2-40B4-BE49-F238E27FC236}">
                  <a16:creationId xmlns:a16="http://schemas.microsoft.com/office/drawing/2014/main" id="{5B9FB49D-6BDA-4817-8023-1AB69D1F4FEF}"/>
                </a:ext>
              </a:extLst>
            </p:cNvPr>
            <p:cNvSpPr>
              <a:spLocks/>
            </p:cNvSpPr>
            <p:nvPr/>
          </p:nvSpPr>
          <p:spPr bwMode="auto">
            <a:xfrm>
              <a:off x="4162426" y="1414801"/>
              <a:ext cx="1188619" cy="1440750"/>
            </a:xfrm>
            <a:prstGeom prst="rect">
              <a:avLst/>
            </a:prstGeom>
            <a:solidFill>
              <a:srgbClr val="66667E"/>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88" name="Freeform 96">
              <a:extLst>
                <a:ext uri="{FF2B5EF4-FFF2-40B4-BE49-F238E27FC236}">
                  <a16:creationId xmlns:a16="http://schemas.microsoft.com/office/drawing/2014/main" id="{EB63EA8D-23A1-4C8D-9E62-B05CBD1CC189}"/>
                </a:ext>
              </a:extLst>
            </p:cNvPr>
            <p:cNvSpPr>
              <a:spLocks noEditPoints="1"/>
            </p:cNvSpPr>
            <p:nvPr/>
          </p:nvSpPr>
          <p:spPr bwMode="auto">
            <a:xfrm>
              <a:off x="4266474" y="1568784"/>
              <a:ext cx="980524" cy="1286013"/>
            </a:xfrm>
            <a:custGeom>
              <a:avLst/>
              <a:gdLst>
                <a:gd name="T0" fmla="*/ 520 w 1965"/>
                <a:gd name="T1" fmla="*/ 529 h 2570"/>
                <a:gd name="T2" fmla="*/ 983 w 1965"/>
                <a:gd name="T3" fmla="*/ 0 h 2570"/>
                <a:gd name="T4" fmla="*/ 1446 w 1965"/>
                <a:gd name="T5" fmla="*/ 529 h 2570"/>
                <a:gd name="T6" fmla="*/ 983 w 1965"/>
                <a:gd name="T7" fmla="*/ 1058 h 2570"/>
                <a:gd name="T8" fmla="*/ 520 w 1965"/>
                <a:gd name="T9" fmla="*/ 529 h 2570"/>
                <a:gd name="T10" fmla="*/ 1965 w 1965"/>
                <a:gd name="T11" fmla="*/ 1684 h 2570"/>
                <a:gd name="T12" fmla="*/ 1648 w 1965"/>
                <a:gd name="T13" fmla="*/ 1302 h 2570"/>
                <a:gd name="T14" fmla="*/ 1648 w 1965"/>
                <a:gd name="T15" fmla="*/ 1302 h 2570"/>
                <a:gd name="T16" fmla="*/ 1310 w 1965"/>
                <a:gd name="T17" fmla="*/ 1278 h 2570"/>
                <a:gd name="T18" fmla="*/ 1310 w 1965"/>
                <a:gd name="T19" fmla="*/ 1278 h 2570"/>
                <a:gd name="T20" fmla="*/ 1310 w 1965"/>
                <a:gd name="T21" fmla="*/ 1278 h 2570"/>
                <a:gd name="T22" fmla="*/ 983 w 1965"/>
                <a:gd name="T23" fmla="*/ 1606 h 2570"/>
                <a:gd name="T24" fmla="*/ 983 w 1965"/>
                <a:gd name="T25" fmla="*/ 1606 h 2570"/>
                <a:gd name="T26" fmla="*/ 655 w 1965"/>
                <a:gd name="T27" fmla="*/ 1278 h 2570"/>
                <a:gd name="T28" fmla="*/ 655 w 1965"/>
                <a:gd name="T29" fmla="*/ 1278 h 2570"/>
                <a:gd name="T30" fmla="*/ 655 w 1965"/>
                <a:gd name="T31" fmla="*/ 1278 h 2570"/>
                <a:gd name="T32" fmla="*/ 317 w 1965"/>
                <a:gd name="T33" fmla="*/ 1302 h 2570"/>
                <a:gd name="T34" fmla="*/ 317 w 1965"/>
                <a:gd name="T35" fmla="*/ 1302 h 2570"/>
                <a:gd name="T36" fmla="*/ 0 w 1965"/>
                <a:gd name="T37" fmla="*/ 1684 h 2570"/>
                <a:gd name="T38" fmla="*/ 0 w 1965"/>
                <a:gd name="T39" fmla="*/ 1684 h 2570"/>
                <a:gd name="T40" fmla="*/ 0 w 1965"/>
                <a:gd name="T41" fmla="*/ 2570 h 2570"/>
                <a:gd name="T42" fmla="*/ 1965 w 1965"/>
                <a:gd name="T43" fmla="*/ 2570 h 2570"/>
                <a:gd name="T44" fmla="*/ 1965 w 1965"/>
                <a:gd name="T45" fmla="*/ 1684 h 2570"/>
                <a:gd name="T46" fmla="*/ 1965 w 1965"/>
                <a:gd name="T47" fmla="*/ 1684 h 2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5" h="2570">
                  <a:moveTo>
                    <a:pt x="520" y="529"/>
                  </a:moveTo>
                  <a:cubicBezTo>
                    <a:pt x="520" y="212"/>
                    <a:pt x="707" y="0"/>
                    <a:pt x="983" y="0"/>
                  </a:cubicBezTo>
                  <a:cubicBezTo>
                    <a:pt x="1258" y="0"/>
                    <a:pt x="1446" y="212"/>
                    <a:pt x="1446" y="529"/>
                  </a:cubicBezTo>
                  <a:cubicBezTo>
                    <a:pt x="1446" y="846"/>
                    <a:pt x="1258" y="1058"/>
                    <a:pt x="983" y="1058"/>
                  </a:cubicBezTo>
                  <a:cubicBezTo>
                    <a:pt x="707" y="1058"/>
                    <a:pt x="520" y="846"/>
                    <a:pt x="520" y="529"/>
                  </a:cubicBezTo>
                  <a:close/>
                  <a:moveTo>
                    <a:pt x="1965" y="1684"/>
                  </a:moveTo>
                  <a:cubicBezTo>
                    <a:pt x="1961" y="1464"/>
                    <a:pt x="1835" y="1316"/>
                    <a:pt x="1648" y="1302"/>
                  </a:cubicBezTo>
                  <a:cubicBezTo>
                    <a:pt x="1648" y="1302"/>
                    <a:pt x="1648" y="1302"/>
                    <a:pt x="1648" y="1302"/>
                  </a:cubicBezTo>
                  <a:cubicBezTo>
                    <a:pt x="1310" y="1278"/>
                    <a:pt x="1310" y="1278"/>
                    <a:pt x="1310" y="1278"/>
                  </a:cubicBezTo>
                  <a:cubicBezTo>
                    <a:pt x="1310" y="1278"/>
                    <a:pt x="1310" y="1278"/>
                    <a:pt x="1310" y="1278"/>
                  </a:cubicBezTo>
                  <a:cubicBezTo>
                    <a:pt x="1310" y="1278"/>
                    <a:pt x="1310" y="1278"/>
                    <a:pt x="1310" y="1278"/>
                  </a:cubicBezTo>
                  <a:cubicBezTo>
                    <a:pt x="983" y="1606"/>
                    <a:pt x="983" y="1606"/>
                    <a:pt x="983" y="1606"/>
                  </a:cubicBezTo>
                  <a:cubicBezTo>
                    <a:pt x="983" y="1606"/>
                    <a:pt x="983" y="1606"/>
                    <a:pt x="983" y="1606"/>
                  </a:cubicBezTo>
                  <a:cubicBezTo>
                    <a:pt x="655" y="1278"/>
                    <a:pt x="655" y="1278"/>
                    <a:pt x="655" y="1278"/>
                  </a:cubicBezTo>
                  <a:cubicBezTo>
                    <a:pt x="655" y="1278"/>
                    <a:pt x="655" y="1278"/>
                    <a:pt x="655" y="1278"/>
                  </a:cubicBezTo>
                  <a:cubicBezTo>
                    <a:pt x="655" y="1278"/>
                    <a:pt x="655" y="1278"/>
                    <a:pt x="655" y="1278"/>
                  </a:cubicBezTo>
                  <a:cubicBezTo>
                    <a:pt x="317" y="1302"/>
                    <a:pt x="317" y="1302"/>
                    <a:pt x="317" y="1302"/>
                  </a:cubicBezTo>
                  <a:cubicBezTo>
                    <a:pt x="317" y="1302"/>
                    <a:pt x="317" y="1302"/>
                    <a:pt x="317" y="1302"/>
                  </a:cubicBezTo>
                  <a:cubicBezTo>
                    <a:pt x="130" y="1316"/>
                    <a:pt x="4" y="1464"/>
                    <a:pt x="0" y="1684"/>
                  </a:cubicBezTo>
                  <a:cubicBezTo>
                    <a:pt x="0" y="1684"/>
                    <a:pt x="0" y="1684"/>
                    <a:pt x="0" y="1684"/>
                  </a:cubicBezTo>
                  <a:cubicBezTo>
                    <a:pt x="0" y="1761"/>
                    <a:pt x="0" y="2183"/>
                    <a:pt x="0" y="2570"/>
                  </a:cubicBezTo>
                  <a:cubicBezTo>
                    <a:pt x="1965" y="2570"/>
                    <a:pt x="1965" y="2570"/>
                    <a:pt x="1965" y="2570"/>
                  </a:cubicBezTo>
                  <a:cubicBezTo>
                    <a:pt x="1965" y="2183"/>
                    <a:pt x="1965" y="1761"/>
                    <a:pt x="1965" y="1684"/>
                  </a:cubicBezTo>
                  <a:cubicBezTo>
                    <a:pt x="1965" y="1684"/>
                    <a:pt x="1965" y="1684"/>
                    <a:pt x="1965" y="1684"/>
                  </a:cubicBezTo>
                  <a:close/>
                </a:path>
              </a:pathLst>
            </a:custGeom>
            <a:solidFill>
              <a:srgbClr val="00FFB9"/>
            </a:solidFill>
            <a:ln>
              <a:noFill/>
            </a:ln>
          </p:spPr>
          <p:txBody>
            <a:bodyPr vert="horz" wrap="square" lIns="91392" tIns="45696" rIns="91392" bIns="45696" numCol="1" anchor="t" anchorCtr="0" compatLnSpc="1">
              <a:prstTxWarp prst="textNoShape">
                <a:avLst/>
              </a:prstTxWarp>
            </a:bodyPr>
            <a:lstStyle/>
            <a:p>
              <a:endParaRPr lang="en-US" sz="1799" dirty="0"/>
            </a:p>
          </p:txBody>
        </p:sp>
      </p:grpSp>
      <p:grpSp>
        <p:nvGrpSpPr>
          <p:cNvPr id="89" name="Gruppieren 6">
            <a:extLst>
              <a:ext uri="{FF2B5EF4-FFF2-40B4-BE49-F238E27FC236}">
                <a16:creationId xmlns:a16="http://schemas.microsoft.com/office/drawing/2014/main" id="{3C7036F9-3252-4B85-A818-9F7AF4D72C18}"/>
              </a:ext>
            </a:extLst>
          </p:cNvPr>
          <p:cNvGrpSpPr/>
          <p:nvPr/>
        </p:nvGrpSpPr>
        <p:grpSpPr>
          <a:xfrm>
            <a:off x="5327858" y="3863549"/>
            <a:ext cx="1188000" cy="2301945"/>
            <a:chOff x="4162426" y="1414801"/>
            <a:chExt cx="1188619" cy="2303144"/>
          </a:xfrm>
        </p:grpSpPr>
        <p:sp>
          <p:nvSpPr>
            <p:cNvPr id="90" name="Textfeld 8">
              <a:extLst>
                <a:ext uri="{FF2B5EF4-FFF2-40B4-BE49-F238E27FC236}">
                  <a16:creationId xmlns:a16="http://schemas.microsoft.com/office/drawing/2014/main" id="{F5783A18-EE14-4878-BC21-09B6FE8BF389}"/>
                </a:ext>
              </a:extLst>
            </p:cNvPr>
            <p:cNvSpPr txBox="1">
              <a:spLocks/>
            </p:cNvSpPr>
            <p:nvPr/>
          </p:nvSpPr>
          <p:spPr bwMode="gray">
            <a:xfrm>
              <a:off x="4162426" y="2853945"/>
              <a:ext cx="1188619" cy="86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71963" rIns="0" bIns="0" rtlCol="0" anchor="t">
              <a:noAutofit/>
            </a:bodyPr>
            <a:lstStyle/>
            <a:p>
              <a:pPr>
                <a:spcBef>
                  <a:spcPct val="0"/>
                </a:spcBef>
                <a:buClr>
                  <a:srgbClr val="879BAA"/>
                </a:buClr>
              </a:pPr>
              <a:r>
                <a:rPr lang="en-US" sz="1199" b="1" kern="1400" dirty="0">
                  <a:solidFill>
                    <a:srgbClr val="00FFB9"/>
                  </a:solidFill>
                  <a:ea typeface="ＭＳ Ｐゴシック" pitchFamily="34" charset="-128"/>
                  <a:cs typeface="Arial" charset="0"/>
                </a:rPr>
                <a:t>Gregor Goodjobs</a:t>
              </a:r>
            </a:p>
            <a:p>
              <a:pPr>
                <a:spcBef>
                  <a:spcPts val="300"/>
                </a:spcBef>
                <a:buClr>
                  <a:srgbClr val="879BAA"/>
                </a:buClr>
              </a:pPr>
              <a:r>
                <a:rPr lang="en-US" sz="1199" dirty="0">
                  <a:solidFill>
                    <a:srgbClr val="9999A9"/>
                  </a:solidFill>
                  <a:cs typeface="Arial" charset="0"/>
                </a:rPr>
                <a:t>At vero eos et accusam</a:t>
              </a:r>
            </a:p>
          </p:txBody>
        </p:sp>
        <p:sp>
          <p:nvSpPr>
            <p:cNvPr id="91" name="Rechteck 40">
              <a:extLst>
                <a:ext uri="{FF2B5EF4-FFF2-40B4-BE49-F238E27FC236}">
                  <a16:creationId xmlns:a16="http://schemas.microsoft.com/office/drawing/2014/main" id="{993549AB-0A2A-4AF2-9221-0084146998EB}"/>
                </a:ext>
              </a:extLst>
            </p:cNvPr>
            <p:cNvSpPr>
              <a:spLocks/>
            </p:cNvSpPr>
            <p:nvPr/>
          </p:nvSpPr>
          <p:spPr bwMode="auto">
            <a:xfrm>
              <a:off x="4162426" y="1414801"/>
              <a:ext cx="1188619" cy="1440750"/>
            </a:xfrm>
            <a:prstGeom prst="rect">
              <a:avLst/>
            </a:prstGeom>
            <a:solidFill>
              <a:srgbClr val="66667E"/>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92" name="Freeform 96">
              <a:extLst>
                <a:ext uri="{FF2B5EF4-FFF2-40B4-BE49-F238E27FC236}">
                  <a16:creationId xmlns:a16="http://schemas.microsoft.com/office/drawing/2014/main" id="{0E41BE4F-0AA7-4ADC-ADEA-0F17F2515578}"/>
                </a:ext>
              </a:extLst>
            </p:cNvPr>
            <p:cNvSpPr>
              <a:spLocks noEditPoints="1"/>
            </p:cNvSpPr>
            <p:nvPr/>
          </p:nvSpPr>
          <p:spPr bwMode="auto">
            <a:xfrm>
              <a:off x="4266474" y="1568784"/>
              <a:ext cx="980524" cy="1286013"/>
            </a:xfrm>
            <a:custGeom>
              <a:avLst/>
              <a:gdLst>
                <a:gd name="T0" fmla="*/ 520 w 1965"/>
                <a:gd name="T1" fmla="*/ 529 h 2570"/>
                <a:gd name="T2" fmla="*/ 983 w 1965"/>
                <a:gd name="T3" fmla="*/ 0 h 2570"/>
                <a:gd name="T4" fmla="*/ 1446 w 1965"/>
                <a:gd name="T5" fmla="*/ 529 h 2570"/>
                <a:gd name="T6" fmla="*/ 983 w 1965"/>
                <a:gd name="T7" fmla="*/ 1058 h 2570"/>
                <a:gd name="T8" fmla="*/ 520 w 1965"/>
                <a:gd name="T9" fmla="*/ 529 h 2570"/>
                <a:gd name="T10" fmla="*/ 1965 w 1965"/>
                <a:gd name="T11" fmla="*/ 1684 h 2570"/>
                <a:gd name="T12" fmla="*/ 1648 w 1965"/>
                <a:gd name="T13" fmla="*/ 1302 h 2570"/>
                <a:gd name="T14" fmla="*/ 1648 w 1965"/>
                <a:gd name="T15" fmla="*/ 1302 h 2570"/>
                <a:gd name="T16" fmla="*/ 1310 w 1965"/>
                <a:gd name="T17" fmla="*/ 1278 h 2570"/>
                <a:gd name="T18" fmla="*/ 1310 w 1965"/>
                <a:gd name="T19" fmla="*/ 1278 h 2570"/>
                <a:gd name="T20" fmla="*/ 1310 w 1965"/>
                <a:gd name="T21" fmla="*/ 1278 h 2570"/>
                <a:gd name="T22" fmla="*/ 983 w 1965"/>
                <a:gd name="T23" fmla="*/ 1606 h 2570"/>
                <a:gd name="T24" fmla="*/ 983 w 1965"/>
                <a:gd name="T25" fmla="*/ 1606 h 2570"/>
                <a:gd name="T26" fmla="*/ 655 w 1965"/>
                <a:gd name="T27" fmla="*/ 1278 h 2570"/>
                <a:gd name="T28" fmla="*/ 655 w 1965"/>
                <a:gd name="T29" fmla="*/ 1278 h 2570"/>
                <a:gd name="T30" fmla="*/ 655 w 1965"/>
                <a:gd name="T31" fmla="*/ 1278 h 2570"/>
                <a:gd name="T32" fmla="*/ 317 w 1965"/>
                <a:gd name="T33" fmla="*/ 1302 h 2570"/>
                <a:gd name="T34" fmla="*/ 317 w 1965"/>
                <a:gd name="T35" fmla="*/ 1302 h 2570"/>
                <a:gd name="T36" fmla="*/ 0 w 1965"/>
                <a:gd name="T37" fmla="*/ 1684 h 2570"/>
                <a:gd name="T38" fmla="*/ 0 w 1965"/>
                <a:gd name="T39" fmla="*/ 1684 h 2570"/>
                <a:gd name="T40" fmla="*/ 0 w 1965"/>
                <a:gd name="T41" fmla="*/ 2570 h 2570"/>
                <a:gd name="T42" fmla="*/ 1965 w 1965"/>
                <a:gd name="T43" fmla="*/ 2570 h 2570"/>
                <a:gd name="T44" fmla="*/ 1965 w 1965"/>
                <a:gd name="T45" fmla="*/ 1684 h 2570"/>
                <a:gd name="T46" fmla="*/ 1965 w 1965"/>
                <a:gd name="T47" fmla="*/ 1684 h 2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5" h="2570">
                  <a:moveTo>
                    <a:pt x="520" y="529"/>
                  </a:moveTo>
                  <a:cubicBezTo>
                    <a:pt x="520" y="212"/>
                    <a:pt x="707" y="0"/>
                    <a:pt x="983" y="0"/>
                  </a:cubicBezTo>
                  <a:cubicBezTo>
                    <a:pt x="1258" y="0"/>
                    <a:pt x="1446" y="212"/>
                    <a:pt x="1446" y="529"/>
                  </a:cubicBezTo>
                  <a:cubicBezTo>
                    <a:pt x="1446" y="846"/>
                    <a:pt x="1258" y="1058"/>
                    <a:pt x="983" y="1058"/>
                  </a:cubicBezTo>
                  <a:cubicBezTo>
                    <a:pt x="707" y="1058"/>
                    <a:pt x="520" y="846"/>
                    <a:pt x="520" y="529"/>
                  </a:cubicBezTo>
                  <a:close/>
                  <a:moveTo>
                    <a:pt x="1965" y="1684"/>
                  </a:moveTo>
                  <a:cubicBezTo>
                    <a:pt x="1961" y="1464"/>
                    <a:pt x="1835" y="1316"/>
                    <a:pt x="1648" y="1302"/>
                  </a:cubicBezTo>
                  <a:cubicBezTo>
                    <a:pt x="1648" y="1302"/>
                    <a:pt x="1648" y="1302"/>
                    <a:pt x="1648" y="1302"/>
                  </a:cubicBezTo>
                  <a:cubicBezTo>
                    <a:pt x="1310" y="1278"/>
                    <a:pt x="1310" y="1278"/>
                    <a:pt x="1310" y="1278"/>
                  </a:cubicBezTo>
                  <a:cubicBezTo>
                    <a:pt x="1310" y="1278"/>
                    <a:pt x="1310" y="1278"/>
                    <a:pt x="1310" y="1278"/>
                  </a:cubicBezTo>
                  <a:cubicBezTo>
                    <a:pt x="1310" y="1278"/>
                    <a:pt x="1310" y="1278"/>
                    <a:pt x="1310" y="1278"/>
                  </a:cubicBezTo>
                  <a:cubicBezTo>
                    <a:pt x="983" y="1606"/>
                    <a:pt x="983" y="1606"/>
                    <a:pt x="983" y="1606"/>
                  </a:cubicBezTo>
                  <a:cubicBezTo>
                    <a:pt x="983" y="1606"/>
                    <a:pt x="983" y="1606"/>
                    <a:pt x="983" y="1606"/>
                  </a:cubicBezTo>
                  <a:cubicBezTo>
                    <a:pt x="655" y="1278"/>
                    <a:pt x="655" y="1278"/>
                    <a:pt x="655" y="1278"/>
                  </a:cubicBezTo>
                  <a:cubicBezTo>
                    <a:pt x="655" y="1278"/>
                    <a:pt x="655" y="1278"/>
                    <a:pt x="655" y="1278"/>
                  </a:cubicBezTo>
                  <a:cubicBezTo>
                    <a:pt x="655" y="1278"/>
                    <a:pt x="655" y="1278"/>
                    <a:pt x="655" y="1278"/>
                  </a:cubicBezTo>
                  <a:cubicBezTo>
                    <a:pt x="317" y="1302"/>
                    <a:pt x="317" y="1302"/>
                    <a:pt x="317" y="1302"/>
                  </a:cubicBezTo>
                  <a:cubicBezTo>
                    <a:pt x="317" y="1302"/>
                    <a:pt x="317" y="1302"/>
                    <a:pt x="317" y="1302"/>
                  </a:cubicBezTo>
                  <a:cubicBezTo>
                    <a:pt x="130" y="1316"/>
                    <a:pt x="4" y="1464"/>
                    <a:pt x="0" y="1684"/>
                  </a:cubicBezTo>
                  <a:cubicBezTo>
                    <a:pt x="0" y="1684"/>
                    <a:pt x="0" y="1684"/>
                    <a:pt x="0" y="1684"/>
                  </a:cubicBezTo>
                  <a:cubicBezTo>
                    <a:pt x="0" y="1761"/>
                    <a:pt x="0" y="2183"/>
                    <a:pt x="0" y="2570"/>
                  </a:cubicBezTo>
                  <a:cubicBezTo>
                    <a:pt x="1965" y="2570"/>
                    <a:pt x="1965" y="2570"/>
                    <a:pt x="1965" y="2570"/>
                  </a:cubicBezTo>
                  <a:cubicBezTo>
                    <a:pt x="1965" y="2183"/>
                    <a:pt x="1965" y="1761"/>
                    <a:pt x="1965" y="1684"/>
                  </a:cubicBezTo>
                  <a:cubicBezTo>
                    <a:pt x="1965" y="1684"/>
                    <a:pt x="1965" y="1684"/>
                    <a:pt x="1965" y="1684"/>
                  </a:cubicBezTo>
                  <a:close/>
                </a:path>
              </a:pathLst>
            </a:custGeom>
            <a:solidFill>
              <a:srgbClr val="00FFB9"/>
            </a:solidFill>
            <a:ln>
              <a:noFill/>
            </a:ln>
          </p:spPr>
          <p:txBody>
            <a:bodyPr vert="horz" wrap="square" lIns="91392" tIns="45696" rIns="91392" bIns="45696" numCol="1" anchor="t" anchorCtr="0" compatLnSpc="1">
              <a:prstTxWarp prst="textNoShape">
                <a:avLst/>
              </a:prstTxWarp>
            </a:bodyPr>
            <a:lstStyle/>
            <a:p>
              <a:endParaRPr lang="en-US" sz="1799" dirty="0"/>
            </a:p>
          </p:txBody>
        </p:sp>
      </p:grpSp>
      <p:grpSp>
        <p:nvGrpSpPr>
          <p:cNvPr id="93" name="Gruppieren 6">
            <a:extLst>
              <a:ext uri="{FF2B5EF4-FFF2-40B4-BE49-F238E27FC236}">
                <a16:creationId xmlns:a16="http://schemas.microsoft.com/office/drawing/2014/main" id="{1CFED7B3-DFF9-47FA-BC7C-7BE429760979}"/>
              </a:ext>
            </a:extLst>
          </p:cNvPr>
          <p:cNvGrpSpPr/>
          <p:nvPr/>
        </p:nvGrpSpPr>
        <p:grpSpPr>
          <a:xfrm>
            <a:off x="6645691" y="3863549"/>
            <a:ext cx="1188000" cy="2301945"/>
            <a:chOff x="4162426" y="1414801"/>
            <a:chExt cx="1188619" cy="2303144"/>
          </a:xfrm>
        </p:grpSpPr>
        <p:sp>
          <p:nvSpPr>
            <p:cNvPr id="94" name="Textfeld 8">
              <a:extLst>
                <a:ext uri="{FF2B5EF4-FFF2-40B4-BE49-F238E27FC236}">
                  <a16:creationId xmlns:a16="http://schemas.microsoft.com/office/drawing/2014/main" id="{EA07E936-A156-4165-A717-F6B6A97C1CD4}"/>
                </a:ext>
              </a:extLst>
            </p:cNvPr>
            <p:cNvSpPr txBox="1">
              <a:spLocks/>
            </p:cNvSpPr>
            <p:nvPr/>
          </p:nvSpPr>
          <p:spPr bwMode="gray">
            <a:xfrm>
              <a:off x="4162426" y="2853945"/>
              <a:ext cx="1188619" cy="86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71963" rIns="0" bIns="0" rtlCol="0" anchor="t">
              <a:noAutofit/>
            </a:bodyPr>
            <a:lstStyle/>
            <a:p>
              <a:pPr>
                <a:spcBef>
                  <a:spcPct val="0"/>
                </a:spcBef>
                <a:buClr>
                  <a:srgbClr val="879BAA"/>
                </a:buClr>
              </a:pPr>
              <a:r>
                <a:rPr lang="en-US" sz="1199" b="1" kern="1400" dirty="0">
                  <a:solidFill>
                    <a:srgbClr val="00FFB9"/>
                  </a:solidFill>
                  <a:ea typeface="ＭＳ Ｐゴシック" pitchFamily="34" charset="-128"/>
                  <a:cs typeface="Arial" charset="0"/>
                </a:rPr>
                <a:t>Sam Sample</a:t>
              </a:r>
            </a:p>
            <a:p>
              <a:pPr>
                <a:spcBef>
                  <a:spcPts val="300"/>
                </a:spcBef>
                <a:buClr>
                  <a:srgbClr val="879BAA"/>
                </a:buClr>
              </a:pPr>
              <a:r>
                <a:rPr lang="en-US" sz="1199" dirty="0">
                  <a:solidFill>
                    <a:srgbClr val="9999A9"/>
                  </a:solidFill>
                  <a:cs typeface="Arial" charset="0"/>
                </a:rPr>
                <a:t>At vero eos et accusam</a:t>
              </a:r>
            </a:p>
          </p:txBody>
        </p:sp>
        <p:sp>
          <p:nvSpPr>
            <p:cNvPr id="95" name="Rechteck 40">
              <a:extLst>
                <a:ext uri="{FF2B5EF4-FFF2-40B4-BE49-F238E27FC236}">
                  <a16:creationId xmlns:a16="http://schemas.microsoft.com/office/drawing/2014/main" id="{00473697-65CD-4FD9-92B8-AF4947A76567}"/>
                </a:ext>
              </a:extLst>
            </p:cNvPr>
            <p:cNvSpPr>
              <a:spLocks/>
            </p:cNvSpPr>
            <p:nvPr/>
          </p:nvSpPr>
          <p:spPr bwMode="auto">
            <a:xfrm>
              <a:off x="4162426" y="1414801"/>
              <a:ext cx="1188619" cy="1440750"/>
            </a:xfrm>
            <a:prstGeom prst="rect">
              <a:avLst/>
            </a:prstGeom>
            <a:solidFill>
              <a:srgbClr val="66667E"/>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96" name="Freeform 96">
              <a:extLst>
                <a:ext uri="{FF2B5EF4-FFF2-40B4-BE49-F238E27FC236}">
                  <a16:creationId xmlns:a16="http://schemas.microsoft.com/office/drawing/2014/main" id="{0C1F0A3A-EED6-4EDE-9204-2F0E79EE3B66}"/>
                </a:ext>
              </a:extLst>
            </p:cNvPr>
            <p:cNvSpPr>
              <a:spLocks noEditPoints="1"/>
            </p:cNvSpPr>
            <p:nvPr/>
          </p:nvSpPr>
          <p:spPr bwMode="auto">
            <a:xfrm>
              <a:off x="4266474" y="1568784"/>
              <a:ext cx="980524" cy="1286013"/>
            </a:xfrm>
            <a:custGeom>
              <a:avLst/>
              <a:gdLst>
                <a:gd name="T0" fmla="*/ 520 w 1965"/>
                <a:gd name="T1" fmla="*/ 529 h 2570"/>
                <a:gd name="T2" fmla="*/ 983 w 1965"/>
                <a:gd name="T3" fmla="*/ 0 h 2570"/>
                <a:gd name="T4" fmla="*/ 1446 w 1965"/>
                <a:gd name="T5" fmla="*/ 529 h 2570"/>
                <a:gd name="T6" fmla="*/ 983 w 1965"/>
                <a:gd name="T7" fmla="*/ 1058 h 2570"/>
                <a:gd name="T8" fmla="*/ 520 w 1965"/>
                <a:gd name="T9" fmla="*/ 529 h 2570"/>
                <a:gd name="T10" fmla="*/ 1965 w 1965"/>
                <a:gd name="T11" fmla="*/ 1684 h 2570"/>
                <a:gd name="T12" fmla="*/ 1648 w 1965"/>
                <a:gd name="T13" fmla="*/ 1302 h 2570"/>
                <a:gd name="T14" fmla="*/ 1648 w 1965"/>
                <a:gd name="T15" fmla="*/ 1302 h 2570"/>
                <a:gd name="T16" fmla="*/ 1310 w 1965"/>
                <a:gd name="T17" fmla="*/ 1278 h 2570"/>
                <a:gd name="T18" fmla="*/ 1310 w 1965"/>
                <a:gd name="T19" fmla="*/ 1278 h 2570"/>
                <a:gd name="T20" fmla="*/ 1310 w 1965"/>
                <a:gd name="T21" fmla="*/ 1278 h 2570"/>
                <a:gd name="T22" fmla="*/ 983 w 1965"/>
                <a:gd name="T23" fmla="*/ 1606 h 2570"/>
                <a:gd name="T24" fmla="*/ 983 w 1965"/>
                <a:gd name="T25" fmla="*/ 1606 h 2570"/>
                <a:gd name="T26" fmla="*/ 655 w 1965"/>
                <a:gd name="T27" fmla="*/ 1278 h 2570"/>
                <a:gd name="T28" fmla="*/ 655 w 1965"/>
                <a:gd name="T29" fmla="*/ 1278 h 2570"/>
                <a:gd name="T30" fmla="*/ 655 w 1965"/>
                <a:gd name="T31" fmla="*/ 1278 h 2570"/>
                <a:gd name="T32" fmla="*/ 317 w 1965"/>
                <a:gd name="T33" fmla="*/ 1302 h 2570"/>
                <a:gd name="T34" fmla="*/ 317 w 1965"/>
                <a:gd name="T35" fmla="*/ 1302 h 2570"/>
                <a:gd name="T36" fmla="*/ 0 w 1965"/>
                <a:gd name="T37" fmla="*/ 1684 h 2570"/>
                <a:gd name="T38" fmla="*/ 0 w 1965"/>
                <a:gd name="T39" fmla="*/ 1684 h 2570"/>
                <a:gd name="T40" fmla="*/ 0 w 1965"/>
                <a:gd name="T41" fmla="*/ 2570 h 2570"/>
                <a:gd name="T42" fmla="*/ 1965 w 1965"/>
                <a:gd name="T43" fmla="*/ 2570 h 2570"/>
                <a:gd name="T44" fmla="*/ 1965 w 1965"/>
                <a:gd name="T45" fmla="*/ 1684 h 2570"/>
                <a:gd name="T46" fmla="*/ 1965 w 1965"/>
                <a:gd name="T47" fmla="*/ 1684 h 2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5" h="2570">
                  <a:moveTo>
                    <a:pt x="520" y="529"/>
                  </a:moveTo>
                  <a:cubicBezTo>
                    <a:pt x="520" y="212"/>
                    <a:pt x="707" y="0"/>
                    <a:pt x="983" y="0"/>
                  </a:cubicBezTo>
                  <a:cubicBezTo>
                    <a:pt x="1258" y="0"/>
                    <a:pt x="1446" y="212"/>
                    <a:pt x="1446" y="529"/>
                  </a:cubicBezTo>
                  <a:cubicBezTo>
                    <a:pt x="1446" y="846"/>
                    <a:pt x="1258" y="1058"/>
                    <a:pt x="983" y="1058"/>
                  </a:cubicBezTo>
                  <a:cubicBezTo>
                    <a:pt x="707" y="1058"/>
                    <a:pt x="520" y="846"/>
                    <a:pt x="520" y="529"/>
                  </a:cubicBezTo>
                  <a:close/>
                  <a:moveTo>
                    <a:pt x="1965" y="1684"/>
                  </a:moveTo>
                  <a:cubicBezTo>
                    <a:pt x="1961" y="1464"/>
                    <a:pt x="1835" y="1316"/>
                    <a:pt x="1648" y="1302"/>
                  </a:cubicBezTo>
                  <a:cubicBezTo>
                    <a:pt x="1648" y="1302"/>
                    <a:pt x="1648" y="1302"/>
                    <a:pt x="1648" y="1302"/>
                  </a:cubicBezTo>
                  <a:cubicBezTo>
                    <a:pt x="1310" y="1278"/>
                    <a:pt x="1310" y="1278"/>
                    <a:pt x="1310" y="1278"/>
                  </a:cubicBezTo>
                  <a:cubicBezTo>
                    <a:pt x="1310" y="1278"/>
                    <a:pt x="1310" y="1278"/>
                    <a:pt x="1310" y="1278"/>
                  </a:cubicBezTo>
                  <a:cubicBezTo>
                    <a:pt x="1310" y="1278"/>
                    <a:pt x="1310" y="1278"/>
                    <a:pt x="1310" y="1278"/>
                  </a:cubicBezTo>
                  <a:cubicBezTo>
                    <a:pt x="983" y="1606"/>
                    <a:pt x="983" y="1606"/>
                    <a:pt x="983" y="1606"/>
                  </a:cubicBezTo>
                  <a:cubicBezTo>
                    <a:pt x="983" y="1606"/>
                    <a:pt x="983" y="1606"/>
                    <a:pt x="983" y="1606"/>
                  </a:cubicBezTo>
                  <a:cubicBezTo>
                    <a:pt x="655" y="1278"/>
                    <a:pt x="655" y="1278"/>
                    <a:pt x="655" y="1278"/>
                  </a:cubicBezTo>
                  <a:cubicBezTo>
                    <a:pt x="655" y="1278"/>
                    <a:pt x="655" y="1278"/>
                    <a:pt x="655" y="1278"/>
                  </a:cubicBezTo>
                  <a:cubicBezTo>
                    <a:pt x="655" y="1278"/>
                    <a:pt x="655" y="1278"/>
                    <a:pt x="655" y="1278"/>
                  </a:cubicBezTo>
                  <a:cubicBezTo>
                    <a:pt x="317" y="1302"/>
                    <a:pt x="317" y="1302"/>
                    <a:pt x="317" y="1302"/>
                  </a:cubicBezTo>
                  <a:cubicBezTo>
                    <a:pt x="317" y="1302"/>
                    <a:pt x="317" y="1302"/>
                    <a:pt x="317" y="1302"/>
                  </a:cubicBezTo>
                  <a:cubicBezTo>
                    <a:pt x="130" y="1316"/>
                    <a:pt x="4" y="1464"/>
                    <a:pt x="0" y="1684"/>
                  </a:cubicBezTo>
                  <a:cubicBezTo>
                    <a:pt x="0" y="1684"/>
                    <a:pt x="0" y="1684"/>
                    <a:pt x="0" y="1684"/>
                  </a:cubicBezTo>
                  <a:cubicBezTo>
                    <a:pt x="0" y="1761"/>
                    <a:pt x="0" y="2183"/>
                    <a:pt x="0" y="2570"/>
                  </a:cubicBezTo>
                  <a:cubicBezTo>
                    <a:pt x="1965" y="2570"/>
                    <a:pt x="1965" y="2570"/>
                    <a:pt x="1965" y="2570"/>
                  </a:cubicBezTo>
                  <a:cubicBezTo>
                    <a:pt x="1965" y="2183"/>
                    <a:pt x="1965" y="1761"/>
                    <a:pt x="1965" y="1684"/>
                  </a:cubicBezTo>
                  <a:cubicBezTo>
                    <a:pt x="1965" y="1684"/>
                    <a:pt x="1965" y="1684"/>
                    <a:pt x="1965" y="1684"/>
                  </a:cubicBezTo>
                  <a:close/>
                </a:path>
              </a:pathLst>
            </a:custGeom>
            <a:solidFill>
              <a:srgbClr val="00FFB9"/>
            </a:solidFill>
            <a:ln>
              <a:noFill/>
            </a:ln>
          </p:spPr>
          <p:txBody>
            <a:bodyPr vert="horz" wrap="square" lIns="91392" tIns="45696" rIns="91392" bIns="45696" numCol="1" anchor="t" anchorCtr="0" compatLnSpc="1">
              <a:prstTxWarp prst="textNoShape">
                <a:avLst/>
              </a:prstTxWarp>
            </a:bodyPr>
            <a:lstStyle/>
            <a:p>
              <a:endParaRPr lang="en-US" sz="1799" dirty="0"/>
            </a:p>
          </p:txBody>
        </p:sp>
      </p:grpSp>
      <p:grpSp>
        <p:nvGrpSpPr>
          <p:cNvPr id="97" name="Gruppieren 6">
            <a:extLst>
              <a:ext uri="{FF2B5EF4-FFF2-40B4-BE49-F238E27FC236}">
                <a16:creationId xmlns:a16="http://schemas.microsoft.com/office/drawing/2014/main" id="{D416278D-FD5A-420E-A1DB-42623187DCD0}"/>
              </a:ext>
            </a:extLst>
          </p:cNvPr>
          <p:cNvGrpSpPr/>
          <p:nvPr/>
        </p:nvGrpSpPr>
        <p:grpSpPr>
          <a:xfrm>
            <a:off x="7963524" y="3863549"/>
            <a:ext cx="1188000" cy="2301945"/>
            <a:chOff x="4162426" y="1414801"/>
            <a:chExt cx="1188619" cy="2303144"/>
          </a:xfrm>
        </p:grpSpPr>
        <p:sp>
          <p:nvSpPr>
            <p:cNvPr id="98" name="Textfeld 8">
              <a:extLst>
                <a:ext uri="{FF2B5EF4-FFF2-40B4-BE49-F238E27FC236}">
                  <a16:creationId xmlns:a16="http://schemas.microsoft.com/office/drawing/2014/main" id="{FCA52E2B-A1E3-4068-8DD9-E1119116920C}"/>
                </a:ext>
              </a:extLst>
            </p:cNvPr>
            <p:cNvSpPr txBox="1">
              <a:spLocks/>
            </p:cNvSpPr>
            <p:nvPr/>
          </p:nvSpPr>
          <p:spPr bwMode="gray">
            <a:xfrm>
              <a:off x="4162426" y="2853945"/>
              <a:ext cx="1188619" cy="86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71963" rIns="0" bIns="0" rtlCol="0" anchor="t">
              <a:noAutofit/>
            </a:bodyPr>
            <a:lstStyle/>
            <a:p>
              <a:pPr>
                <a:spcBef>
                  <a:spcPct val="0"/>
                </a:spcBef>
                <a:buClr>
                  <a:srgbClr val="879BAA"/>
                </a:buClr>
              </a:pPr>
              <a:r>
                <a:rPr lang="en-US" sz="1199" b="1" kern="1400" dirty="0">
                  <a:solidFill>
                    <a:srgbClr val="00FFB9"/>
                  </a:solidFill>
                  <a:ea typeface="ＭＳ Ｐゴシック" pitchFamily="34" charset="-128"/>
                  <a:cs typeface="Arial" charset="0"/>
                </a:rPr>
                <a:t>Marianne Mastermind</a:t>
              </a:r>
            </a:p>
            <a:p>
              <a:pPr>
                <a:spcBef>
                  <a:spcPts val="300"/>
                </a:spcBef>
                <a:buClr>
                  <a:srgbClr val="879BAA"/>
                </a:buClr>
              </a:pPr>
              <a:r>
                <a:rPr lang="en-US" sz="1199" dirty="0">
                  <a:solidFill>
                    <a:srgbClr val="9999A9"/>
                  </a:solidFill>
                  <a:cs typeface="Arial" charset="0"/>
                </a:rPr>
                <a:t>At vero eos et accusam</a:t>
              </a:r>
            </a:p>
          </p:txBody>
        </p:sp>
        <p:sp>
          <p:nvSpPr>
            <p:cNvPr id="99" name="Rechteck 40">
              <a:extLst>
                <a:ext uri="{FF2B5EF4-FFF2-40B4-BE49-F238E27FC236}">
                  <a16:creationId xmlns:a16="http://schemas.microsoft.com/office/drawing/2014/main" id="{F6CF4554-089C-40F7-9EB7-42492D1F063C}"/>
                </a:ext>
              </a:extLst>
            </p:cNvPr>
            <p:cNvSpPr>
              <a:spLocks/>
            </p:cNvSpPr>
            <p:nvPr/>
          </p:nvSpPr>
          <p:spPr bwMode="auto">
            <a:xfrm>
              <a:off x="4162426" y="1414801"/>
              <a:ext cx="1188619" cy="1440750"/>
            </a:xfrm>
            <a:prstGeom prst="rect">
              <a:avLst/>
            </a:prstGeom>
            <a:solidFill>
              <a:srgbClr val="66667E"/>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00" name="Freeform 96">
              <a:extLst>
                <a:ext uri="{FF2B5EF4-FFF2-40B4-BE49-F238E27FC236}">
                  <a16:creationId xmlns:a16="http://schemas.microsoft.com/office/drawing/2014/main" id="{39F04301-0549-4D7C-B56A-AF8BDDF0599F}"/>
                </a:ext>
              </a:extLst>
            </p:cNvPr>
            <p:cNvSpPr>
              <a:spLocks noEditPoints="1"/>
            </p:cNvSpPr>
            <p:nvPr/>
          </p:nvSpPr>
          <p:spPr bwMode="auto">
            <a:xfrm>
              <a:off x="4266474" y="1568784"/>
              <a:ext cx="980524" cy="1286013"/>
            </a:xfrm>
            <a:custGeom>
              <a:avLst/>
              <a:gdLst>
                <a:gd name="T0" fmla="*/ 520 w 1965"/>
                <a:gd name="T1" fmla="*/ 529 h 2570"/>
                <a:gd name="T2" fmla="*/ 983 w 1965"/>
                <a:gd name="T3" fmla="*/ 0 h 2570"/>
                <a:gd name="T4" fmla="*/ 1446 w 1965"/>
                <a:gd name="T5" fmla="*/ 529 h 2570"/>
                <a:gd name="T6" fmla="*/ 983 w 1965"/>
                <a:gd name="T7" fmla="*/ 1058 h 2570"/>
                <a:gd name="T8" fmla="*/ 520 w 1965"/>
                <a:gd name="T9" fmla="*/ 529 h 2570"/>
                <a:gd name="T10" fmla="*/ 1965 w 1965"/>
                <a:gd name="T11" fmla="*/ 1684 h 2570"/>
                <a:gd name="T12" fmla="*/ 1648 w 1965"/>
                <a:gd name="T13" fmla="*/ 1302 h 2570"/>
                <a:gd name="T14" fmla="*/ 1648 w 1965"/>
                <a:gd name="T15" fmla="*/ 1302 h 2570"/>
                <a:gd name="T16" fmla="*/ 1310 w 1965"/>
                <a:gd name="T17" fmla="*/ 1278 h 2570"/>
                <a:gd name="T18" fmla="*/ 1310 w 1965"/>
                <a:gd name="T19" fmla="*/ 1278 h 2570"/>
                <a:gd name="T20" fmla="*/ 1310 w 1965"/>
                <a:gd name="T21" fmla="*/ 1278 h 2570"/>
                <a:gd name="T22" fmla="*/ 983 w 1965"/>
                <a:gd name="T23" fmla="*/ 1606 h 2570"/>
                <a:gd name="T24" fmla="*/ 983 w 1965"/>
                <a:gd name="T25" fmla="*/ 1606 h 2570"/>
                <a:gd name="T26" fmla="*/ 655 w 1965"/>
                <a:gd name="T27" fmla="*/ 1278 h 2570"/>
                <a:gd name="T28" fmla="*/ 655 w 1965"/>
                <a:gd name="T29" fmla="*/ 1278 h 2570"/>
                <a:gd name="T30" fmla="*/ 655 w 1965"/>
                <a:gd name="T31" fmla="*/ 1278 h 2570"/>
                <a:gd name="T32" fmla="*/ 317 w 1965"/>
                <a:gd name="T33" fmla="*/ 1302 h 2570"/>
                <a:gd name="T34" fmla="*/ 317 w 1965"/>
                <a:gd name="T35" fmla="*/ 1302 h 2570"/>
                <a:gd name="T36" fmla="*/ 0 w 1965"/>
                <a:gd name="T37" fmla="*/ 1684 h 2570"/>
                <a:gd name="T38" fmla="*/ 0 w 1965"/>
                <a:gd name="T39" fmla="*/ 1684 h 2570"/>
                <a:gd name="T40" fmla="*/ 0 w 1965"/>
                <a:gd name="T41" fmla="*/ 2570 h 2570"/>
                <a:gd name="T42" fmla="*/ 1965 w 1965"/>
                <a:gd name="T43" fmla="*/ 2570 h 2570"/>
                <a:gd name="T44" fmla="*/ 1965 w 1965"/>
                <a:gd name="T45" fmla="*/ 1684 h 2570"/>
                <a:gd name="T46" fmla="*/ 1965 w 1965"/>
                <a:gd name="T47" fmla="*/ 1684 h 2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5" h="2570">
                  <a:moveTo>
                    <a:pt x="520" y="529"/>
                  </a:moveTo>
                  <a:cubicBezTo>
                    <a:pt x="520" y="212"/>
                    <a:pt x="707" y="0"/>
                    <a:pt x="983" y="0"/>
                  </a:cubicBezTo>
                  <a:cubicBezTo>
                    <a:pt x="1258" y="0"/>
                    <a:pt x="1446" y="212"/>
                    <a:pt x="1446" y="529"/>
                  </a:cubicBezTo>
                  <a:cubicBezTo>
                    <a:pt x="1446" y="846"/>
                    <a:pt x="1258" y="1058"/>
                    <a:pt x="983" y="1058"/>
                  </a:cubicBezTo>
                  <a:cubicBezTo>
                    <a:pt x="707" y="1058"/>
                    <a:pt x="520" y="846"/>
                    <a:pt x="520" y="529"/>
                  </a:cubicBezTo>
                  <a:close/>
                  <a:moveTo>
                    <a:pt x="1965" y="1684"/>
                  </a:moveTo>
                  <a:cubicBezTo>
                    <a:pt x="1961" y="1464"/>
                    <a:pt x="1835" y="1316"/>
                    <a:pt x="1648" y="1302"/>
                  </a:cubicBezTo>
                  <a:cubicBezTo>
                    <a:pt x="1648" y="1302"/>
                    <a:pt x="1648" y="1302"/>
                    <a:pt x="1648" y="1302"/>
                  </a:cubicBezTo>
                  <a:cubicBezTo>
                    <a:pt x="1310" y="1278"/>
                    <a:pt x="1310" y="1278"/>
                    <a:pt x="1310" y="1278"/>
                  </a:cubicBezTo>
                  <a:cubicBezTo>
                    <a:pt x="1310" y="1278"/>
                    <a:pt x="1310" y="1278"/>
                    <a:pt x="1310" y="1278"/>
                  </a:cubicBezTo>
                  <a:cubicBezTo>
                    <a:pt x="1310" y="1278"/>
                    <a:pt x="1310" y="1278"/>
                    <a:pt x="1310" y="1278"/>
                  </a:cubicBezTo>
                  <a:cubicBezTo>
                    <a:pt x="983" y="1606"/>
                    <a:pt x="983" y="1606"/>
                    <a:pt x="983" y="1606"/>
                  </a:cubicBezTo>
                  <a:cubicBezTo>
                    <a:pt x="983" y="1606"/>
                    <a:pt x="983" y="1606"/>
                    <a:pt x="983" y="1606"/>
                  </a:cubicBezTo>
                  <a:cubicBezTo>
                    <a:pt x="655" y="1278"/>
                    <a:pt x="655" y="1278"/>
                    <a:pt x="655" y="1278"/>
                  </a:cubicBezTo>
                  <a:cubicBezTo>
                    <a:pt x="655" y="1278"/>
                    <a:pt x="655" y="1278"/>
                    <a:pt x="655" y="1278"/>
                  </a:cubicBezTo>
                  <a:cubicBezTo>
                    <a:pt x="655" y="1278"/>
                    <a:pt x="655" y="1278"/>
                    <a:pt x="655" y="1278"/>
                  </a:cubicBezTo>
                  <a:cubicBezTo>
                    <a:pt x="317" y="1302"/>
                    <a:pt x="317" y="1302"/>
                    <a:pt x="317" y="1302"/>
                  </a:cubicBezTo>
                  <a:cubicBezTo>
                    <a:pt x="317" y="1302"/>
                    <a:pt x="317" y="1302"/>
                    <a:pt x="317" y="1302"/>
                  </a:cubicBezTo>
                  <a:cubicBezTo>
                    <a:pt x="130" y="1316"/>
                    <a:pt x="4" y="1464"/>
                    <a:pt x="0" y="1684"/>
                  </a:cubicBezTo>
                  <a:cubicBezTo>
                    <a:pt x="0" y="1684"/>
                    <a:pt x="0" y="1684"/>
                    <a:pt x="0" y="1684"/>
                  </a:cubicBezTo>
                  <a:cubicBezTo>
                    <a:pt x="0" y="1761"/>
                    <a:pt x="0" y="2183"/>
                    <a:pt x="0" y="2570"/>
                  </a:cubicBezTo>
                  <a:cubicBezTo>
                    <a:pt x="1965" y="2570"/>
                    <a:pt x="1965" y="2570"/>
                    <a:pt x="1965" y="2570"/>
                  </a:cubicBezTo>
                  <a:cubicBezTo>
                    <a:pt x="1965" y="2183"/>
                    <a:pt x="1965" y="1761"/>
                    <a:pt x="1965" y="1684"/>
                  </a:cubicBezTo>
                  <a:cubicBezTo>
                    <a:pt x="1965" y="1684"/>
                    <a:pt x="1965" y="1684"/>
                    <a:pt x="1965" y="1684"/>
                  </a:cubicBezTo>
                  <a:close/>
                </a:path>
              </a:pathLst>
            </a:custGeom>
            <a:solidFill>
              <a:srgbClr val="00FFB9"/>
            </a:solidFill>
            <a:ln>
              <a:noFill/>
            </a:ln>
          </p:spPr>
          <p:txBody>
            <a:bodyPr vert="horz" wrap="square" lIns="91392" tIns="45696" rIns="91392" bIns="45696" numCol="1" anchor="t" anchorCtr="0" compatLnSpc="1">
              <a:prstTxWarp prst="textNoShape">
                <a:avLst/>
              </a:prstTxWarp>
            </a:bodyPr>
            <a:lstStyle/>
            <a:p>
              <a:endParaRPr lang="en-US" sz="1799" dirty="0"/>
            </a:p>
          </p:txBody>
        </p:sp>
      </p:grpSp>
      <p:grpSp>
        <p:nvGrpSpPr>
          <p:cNvPr id="101" name="Gruppieren 6">
            <a:extLst>
              <a:ext uri="{FF2B5EF4-FFF2-40B4-BE49-F238E27FC236}">
                <a16:creationId xmlns:a16="http://schemas.microsoft.com/office/drawing/2014/main" id="{79824043-9444-42F9-8F55-DD401A104D4C}"/>
              </a:ext>
            </a:extLst>
          </p:cNvPr>
          <p:cNvGrpSpPr/>
          <p:nvPr/>
        </p:nvGrpSpPr>
        <p:grpSpPr>
          <a:xfrm>
            <a:off x="9281357" y="3863549"/>
            <a:ext cx="1188000" cy="2301945"/>
            <a:chOff x="4162426" y="1414801"/>
            <a:chExt cx="1188619" cy="2303144"/>
          </a:xfrm>
        </p:grpSpPr>
        <p:sp>
          <p:nvSpPr>
            <p:cNvPr id="102" name="Textfeld 8">
              <a:extLst>
                <a:ext uri="{FF2B5EF4-FFF2-40B4-BE49-F238E27FC236}">
                  <a16:creationId xmlns:a16="http://schemas.microsoft.com/office/drawing/2014/main" id="{98635835-0012-4EB0-AA01-CA4B0863D2AB}"/>
                </a:ext>
              </a:extLst>
            </p:cNvPr>
            <p:cNvSpPr txBox="1">
              <a:spLocks/>
            </p:cNvSpPr>
            <p:nvPr/>
          </p:nvSpPr>
          <p:spPr bwMode="gray">
            <a:xfrm>
              <a:off x="4162426" y="2853945"/>
              <a:ext cx="1188619" cy="86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71963" rIns="0" bIns="0" rtlCol="0" anchor="t">
              <a:noAutofit/>
            </a:bodyPr>
            <a:lstStyle/>
            <a:p>
              <a:pPr>
                <a:spcBef>
                  <a:spcPct val="0"/>
                </a:spcBef>
                <a:buClr>
                  <a:srgbClr val="879BAA"/>
                </a:buClr>
              </a:pPr>
              <a:r>
                <a:rPr lang="en-US" sz="1199" b="1" kern="1400" dirty="0">
                  <a:solidFill>
                    <a:srgbClr val="00FFB9"/>
                  </a:solidFill>
                  <a:ea typeface="ＭＳ Ｐゴシック" pitchFamily="34" charset="-128"/>
                  <a:cs typeface="Arial" charset="0"/>
                </a:rPr>
                <a:t>Gregor Goodjobs</a:t>
              </a:r>
            </a:p>
            <a:p>
              <a:pPr>
                <a:spcBef>
                  <a:spcPts val="300"/>
                </a:spcBef>
                <a:buClr>
                  <a:srgbClr val="879BAA"/>
                </a:buClr>
              </a:pPr>
              <a:r>
                <a:rPr lang="en-US" sz="1199" dirty="0">
                  <a:solidFill>
                    <a:srgbClr val="9999A9"/>
                  </a:solidFill>
                  <a:cs typeface="Arial" charset="0"/>
                </a:rPr>
                <a:t>At vero eos et accusam</a:t>
              </a:r>
            </a:p>
          </p:txBody>
        </p:sp>
        <p:sp>
          <p:nvSpPr>
            <p:cNvPr id="103" name="Rechteck 40">
              <a:extLst>
                <a:ext uri="{FF2B5EF4-FFF2-40B4-BE49-F238E27FC236}">
                  <a16:creationId xmlns:a16="http://schemas.microsoft.com/office/drawing/2014/main" id="{26138821-F32E-45FE-884E-9B70B279DBE0}"/>
                </a:ext>
              </a:extLst>
            </p:cNvPr>
            <p:cNvSpPr>
              <a:spLocks/>
            </p:cNvSpPr>
            <p:nvPr/>
          </p:nvSpPr>
          <p:spPr bwMode="auto">
            <a:xfrm>
              <a:off x="4162426" y="1414801"/>
              <a:ext cx="1188619" cy="1440750"/>
            </a:xfrm>
            <a:prstGeom prst="rect">
              <a:avLst/>
            </a:prstGeom>
            <a:solidFill>
              <a:srgbClr val="66667E"/>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04" name="Freeform 96">
              <a:extLst>
                <a:ext uri="{FF2B5EF4-FFF2-40B4-BE49-F238E27FC236}">
                  <a16:creationId xmlns:a16="http://schemas.microsoft.com/office/drawing/2014/main" id="{FC2C7D67-CBCD-4FD4-91BA-355C12ED4A61}"/>
                </a:ext>
              </a:extLst>
            </p:cNvPr>
            <p:cNvSpPr>
              <a:spLocks noEditPoints="1"/>
            </p:cNvSpPr>
            <p:nvPr/>
          </p:nvSpPr>
          <p:spPr bwMode="auto">
            <a:xfrm>
              <a:off x="4266474" y="1568784"/>
              <a:ext cx="980524" cy="1286013"/>
            </a:xfrm>
            <a:custGeom>
              <a:avLst/>
              <a:gdLst>
                <a:gd name="T0" fmla="*/ 520 w 1965"/>
                <a:gd name="T1" fmla="*/ 529 h 2570"/>
                <a:gd name="T2" fmla="*/ 983 w 1965"/>
                <a:gd name="T3" fmla="*/ 0 h 2570"/>
                <a:gd name="T4" fmla="*/ 1446 w 1965"/>
                <a:gd name="T5" fmla="*/ 529 h 2570"/>
                <a:gd name="T6" fmla="*/ 983 w 1965"/>
                <a:gd name="T7" fmla="*/ 1058 h 2570"/>
                <a:gd name="T8" fmla="*/ 520 w 1965"/>
                <a:gd name="T9" fmla="*/ 529 h 2570"/>
                <a:gd name="T10" fmla="*/ 1965 w 1965"/>
                <a:gd name="T11" fmla="*/ 1684 h 2570"/>
                <a:gd name="T12" fmla="*/ 1648 w 1965"/>
                <a:gd name="T13" fmla="*/ 1302 h 2570"/>
                <a:gd name="T14" fmla="*/ 1648 w 1965"/>
                <a:gd name="T15" fmla="*/ 1302 h 2570"/>
                <a:gd name="T16" fmla="*/ 1310 w 1965"/>
                <a:gd name="T17" fmla="*/ 1278 h 2570"/>
                <a:gd name="T18" fmla="*/ 1310 w 1965"/>
                <a:gd name="T19" fmla="*/ 1278 h 2570"/>
                <a:gd name="T20" fmla="*/ 1310 w 1965"/>
                <a:gd name="T21" fmla="*/ 1278 h 2570"/>
                <a:gd name="T22" fmla="*/ 983 w 1965"/>
                <a:gd name="T23" fmla="*/ 1606 h 2570"/>
                <a:gd name="T24" fmla="*/ 983 w 1965"/>
                <a:gd name="T25" fmla="*/ 1606 h 2570"/>
                <a:gd name="T26" fmla="*/ 655 w 1965"/>
                <a:gd name="T27" fmla="*/ 1278 h 2570"/>
                <a:gd name="T28" fmla="*/ 655 w 1965"/>
                <a:gd name="T29" fmla="*/ 1278 h 2570"/>
                <a:gd name="T30" fmla="*/ 655 w 1965"/>
                <a:gd name="T31" fmla="*/ 1278 h 2570"/>
                <a:gd name="T32" fmla="*/ 317 w 1965"/>
                <a:gd name="T33" fmla="*/ 1302 h 2570"/>
                <a:gd name="T34" fmla="*/ 317 w 1965"/>
                <a:gd name="T35" fmla="*/ 1302 h 2570"/>
                <a:gd name="T36" fmla="*/ 0 w 1965"/>
                <a:gd name="T37" fmla="*/ 1684 h 2570"/>
                <a:gd name="T38" fmla="*/ 0 w 1965"/>
                <a:gd name="T39" fmla="*/ 1684 h 2570"/>
                <a:gd name="T40" fmla="*/ 0 w 1965"/>
                <a:gd name="T41" fmla="*/ 2570 h 2570"/>
                <a:gd name="T42" fmla="*/ 1965 w 1965"/>
                <a:gd name="T43" fmla="*/ 2570 h 2570"/>
                <a:gd name="T44" fmla="*/ 1965 w 1965"/>
                <a:gd name="T45" fmla="*/ 1684 h 2570"/>
                <a:gd name="T46" fmla="*/ 1965 w 1965"/>
                <a:gd name="T47" fmla="*/ 1684 h 2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5" h="2570">
                  <a:moveTo>
                    <a:pt x="520" y="529"/>
                  </a:moveTo>
                  <a:cubicBezTo>
                    <a:pt x="520" y="212"/>
                    <a:pt x="707" y="0"/>
                    <a:pt x="983" y="0"/>
                  </a:cubicBezTo>
                  <a:cubicBezTo>
                    <a:pt x="1258" y="0"/>
                    <a:pt x="1446" y="212"/>
                    <a:pt x="1446" y="529"/>
                  </a:cubicBezTo>
                  <a:cubicBezTo>
                    <a:pt x="1446" y="846"/>
                    <a:pt x="1258" y="1058"/>
                    <a:pt x="983" y="1058"/>
                  </a:cubicBezTo>
                  <a:cubicBezTo>
                    <a:pt x="707" y="1058"/>
                    <a:pt x="520" y="846"/>
                    <a:pt x="520" y="529"/>
                  </a:cubicBezTo>
                  <a:close/>
                  <a:moveTo>
                    <a:pt x="1965" y="1684"/>
                  </a:moveTo>
                  <a:cubicBezTo>
                    <a:pt x="1961" y="1464"/>
                    <a:pt x="1835" y="1316"/>
                    <a:pt x="1648" y="1302"/>
                  </a:cubicBezTo>
                  <a:cubicBezTo>
                    <a:pt x="1648" y="1302"/>
                    <a:pt x="1648" y="1302"/>
                    <a:pt x="1648" y="1302"/>
                  </a:cubicBezTo>
                  <a:cubicBezTo>
                    <a:pt x="1310" y="1278"/>
                    <a:pt x="1310" y="1278"/>
                    <a:pt x="1310" y="1278"/>
                  </a:cubicBezTo>
                  <a:cubicBezTo>
                    <a:pt x="1310" y="1278"/>
                    <a:pt x="1310" y="1278"/>
                    <a:pt x="1310" y="1278"/>
                  </a:cubicBezTo>
                  <a:cubicBezTo>
                    <a:pt x="1310" y="1278"/>
                    <a:pt x="1310" y="1278"/>
                    <a:pt x="1310" y="1278"/>
                  </a:cubicBezTo>
                  <a:cubicBezTo>
                    <a:pt x="983" y="1606"/>
                    <a:pt x="983" y="1606"/>
                    <a:pt x="983" y="1606"/>
                  </a:cubicBezTo>
                  <a:cubicBezTo>
                    <a:pt x="983" y="1606"/>
                    <a:pt x="983" y="1606"/>
                    <a:pt x="983" y="1606"/>
                  </a:cubicBezTo>
                  <a:cubicBezTo>
                    <a:pt x="655" y="1278"/>
                    <a:pt x="655" y="1278"/>
                    <a:pt x="655" y="1278"/>
                  </a:cubicBezTo>
                  <a:cubicBezTo>
                    <a:pt x="655" y="1278"/>
                    <a:pt x="655" y="1278"/>
                    <a:pt x="655" y="1278"/>
                  </a:cubicBezTo>
                  <a:cubicBezTo>
                    <a:pt x="655" y="1278"/>
                    <a:pt x="655" y="1278"/>
                    <a:pt x="655" y="1278"/>
                  </a:cubicBezTo>
                  <a:cubicBezTo>
                    <a:pt x="317" y="1302"/>
                    <a:pt x="317" y="1302"/>
                    <a:pt x="317" y="1302"/>
                  </a:cubicBezTo>
                  <a:cubicBezTo>
                    <a:pt x="317" y="1302"/>
                    <a:pt x="317" y="1302"/>
                    <a:pt x="317" y="1302"/>
                  </a:cubicBezTo>
                  <a:cubicBezTo>
                    <a:pt x="130" y="1316"/>
                    <a:pt x="4" y="1464"/>
                    <a:pt x="0" y="1684"/>
                  </a:cubicBezTo>
                  <a:cubicBezTo>
                    <a:pt x="0" y="1684"/>
                    <a:pt x="0" y="1684"/>
                    <a:pt x="0" y="1684"/>
                  </a:cubicBezTo>
                  <a:cubicBezTo>
                    <a:pt x="0" y="1761"/>
                    <a:pt x="0" y="2183"/>
                    <a:pt x="0" y="2570"/>
                  </a:cubicBezTo>
                  <a:cubicBezTo>
                    <a:pt x="1965" y="2570"/>
                    <a:pt x="1965" y="2570"/>
                    <a:pt x="1965" y="2570"/>
                  </a:cubicBezTo>
                  <a:cubicBezTo>
                    <a:pt x="1965" y="2183"/>
                    <a:pt x="1965" y="1761"/>
                    <a:pt x="1965" y="1684"/>
                  </a:cubicBezTo>
                  <a:cubicBezTo>
                    <a:pt x="1965" y="1684"/>
                    <a:pt x="1965" y="1684"/>
                    <a:pt x="1965" y="1684"/>
                  </a:cubicBezTo>
                  <a:close/>
                </a:path>
              </a:pathLst>
            </a:custGeom>
            <a:solidFill>
              <a:srgbClr val="00FFB9"/>
            </a:solidFill>
            <a:ln>
              <a:noFill/>
            </a:ln>
          </p:spPr>
          <p:txBody>
            <a:bodyPr vert="horz" wrap="square" lIns="91392" tIns="45696" rIns="91392" bIns="45696" numCol="1" anchor="t" anchorCtr="0" compatLnSpc="1">
              <a:prstTxWarp prst="textNoShape">
                <a:avLst/>
              </a:prstTxWarp>
            </a:bodyPr>
            <a:lstStyle/>
            <a:p>
              <a:endParaRPr lang="en-US" sz="1799" dirty="0"/>
            </a:p>
          </p:txBody>
        </p:sp>
      </p:grpSp>
      <p:grpSp>
        <p:nvGrpSpPr>
          <p:cNvPr id="105" name="Gruppieren 6">
            <a:extLst>
              <a:ext uri="{FF2B5EF4-FFF2-40B4-BE49-F238E27FC236}">
                <a16:creationId xmlns:a16="http://schemas.microsoft.com/office/drawing/2014/main" id="{A736A72E-D3F9-4A84-87DC-819F5B466A4E}"/>
              </a:ext>
            </a:extLst>
          </p:cNvPr>
          <p:cNvGrpSpPr/>
          <p:nvPr/>
        </p:nvGrpSpPr>
        <p:grpSpPr>
          <a:xfrm>
            <a:off x="10599188" y="3863549"/>
            <a:ext cx="1188000" cy="2301945"/>
            <a:chOff x="4162426" y="1414801"/>
            <a:chExt cx="1188619" cy="2303144"/>
          </a:xfrm>
        </p:grpSpPr>
        <p:sp>
          <p:nvSpPr>
            <p:cNvPr id="106" name="Textfeld 8">
              <a:extLst>
                <a:ext uri="{FF2B5EF4-FFF2-40B4-BE49-F238E27FC236}">
                  <a16:creationId xmlns:a16="http://schemas.microsoft.com/office/drawing/2014/main" id="{2B41D3E1-45B8-49BA-974F-1CB65A1542AE}"/>
                </a:ext>
              </a:extLst>
            </p:cNvPr>
            <p:cNvSpPr txBox="1">
              <a:spLocks/>
            </p:cNvSpPr>
            <p:nvPr/>
          </p:nvSpPr>
          <p:spPr bwMode="gray">
            <a:xfrm>
              <a:off x="4162426" y="2853945"/>
              <a:ext cx="1188619" cy="86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71963" rIns="0" bIns="0" rtlCol="0" anchor="t">
              <a:noAutofit/>
            </a:bodyPr>
            <a:lstStyle/>
            <a:p>
              <a:pPr>
                <a:spcBef>
                  <a:spcPct val="0"/>
                </a:spcBef>
                <a:buClr>
                  <a:srgbClr val="879BAA"/>
                </a:buClr>
              </a:pPr>
              <a:r>
                <a:rPr lang="en-US" sz="1199" b="1" kern="1400" dirty="0">
                  <a:solidFill>
                    <a:srgbClr val="00FFB9"/>
                  </a:solidFill>
                  <a:ea typeface="ＭＳ Ｐゴシック" pitchFamily="34" charset="-128"/>
                  <a:cs typeface="Arial" charset="0"/>
                </a:rPr>
                <a:t>Sam Sample</a:t>
              </a:r>
            </a:p>
            <a:p>
              <a:pPr>
                <a:spcBef>
                  <a:spcPts val="300"/>
                </a:spcBef>
                <a:buClr>
                  <a:srgbClr val="879BAA"/>
                </a:buClr>
              </a:pPr>
              <a:r>
                <a:rPr lang="en-US" sz="1199" dirty="0">
                  <a:solidFill>
                    <a:srgbClr val="9999A9"/>
                  </a:solidFill>
                  <a:cs typeface="Arial" charset="0"/>
                </a:rPr>
                <a:t>At vero eos et accusam</a:t>
              </a:r>
            </a:p>
          </p:txBody>
        </p:sp>
        <p:sp>
          <p:nvSpPr>
            <p:cNvPr id="107" name="Rechteck 40">
              <a:extLst>
                <a:ext uri="{FF2B5EF4-FFF2-40B4-BE49-F238E27FC236}">
                  <a16:creationId xmlns:a16="http://schemas.microsoft.com/office/drawing/2014/main" id="{B702C2D6-1161-4905-BF6B-8CF677A3F6DC}"/>
                </a:ext>
              </a:extLst>
            </p:cNvPr>
            <p:cNvSpPr>
              <a:spLocks/>
            </p:cNvSpPr>
            <p:nvPr/>
          </p:nvSpPr>
          <p:spPr bwMode="auto">
            <a:xfrm>
              <a:off x="4162426" y="1414801"/>
              <a:ext cx="1188619" cy="1440750"/>
            </a:xfrm>
            <a:prstGeom prst="rect">
              <a:avLst/>
            </a:prstGeom>
            <a:solidFill>
              <a:srgbClr val="66667E"/>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08" name="Freeform 96">
              <a:extLst>
                <a:ext uri="{FF2B5EF4-FFF2-40B4-BE49-F238E27FC236}">
                  <a16:creationId xmlns:a16="http://schemas.microsoft.com/office/drawing/2014/main" id="{60681391-B67A-400B-9E52-B0C7D8676E33}"/>
                </a:ext>
              </a:extLst>
            </p:cNvPr>
            <p:cNvSpPr>
              <a:spLocks noEditPoints="1"/>
            </p:cNvSpPr>
            <p:nvPr/>
          </p:nvSpPr>
          <p:spPr bwMode="auto">
            <a:xfrm>
              <a:off x="4266474" y="1568784"/>
              <a:ext cx="980524" cy="1286013"/>
            </a:xfrm>
            <a:custGeom>
              <a:avLst/>
              <a:gdLst>
                <a:gd name="T0" fmla="*/ 520 w 1965"/>
                <a:gd name="T1" fmla="*/ 529 h 2570"/>
                <a:gd name="T2" fmla="*/ 983 w 1965"/>
                <a:gd name="T3" fmla="*/ 0 h 2570"/>
                <a:gd name="T4" fmla="*/ 1446 w 1965"/>
                <a:gd name="T5" fmla="*/ 529 h 2570"/>
                <a:gd name="T6" fmla="*/ 983 w 1965"/>
                <a:gd name="T7" fmla="*/ 1058 h 2570"/>
                <a:gd name="T8" fmla="*/ 520 w 1965"/>
                <a:gd name="T9" fmla="*/ 529 h 2570"/>
                <a:gd name="T10" fmla="*/ 1965 w 1965"/>
                <a:gd name="T11" fmla="*/ 1684 h 2570"/>
                <a:gd name="T12" fmla="*/ 1648 w 1965"/>
                <a:gd name="T13" fmla="*/ 1302 h 2570"/>
                <a:gd name="T14" fmla="*/ 1648 w 1965"/>
                <a:gd name="T15" fmla="*/ 1302 h 2570"/>
                <a:gd name="T16" fmla="*/ 1310 w 1965"/>
                <a:gd name="T17" fmla="*/ 1278 h 2570"/>
                <a:gd name="T18" fmla="*/ 1310 w 1965"/>
                <a:gd name="T19" fmla="*/ 1278 h 2570"/>
                <a:gd name="T20" fmla="*/ 1310 w 1965"/>
                <a:gd name="T21" fmla="*/ 1278 h 2570"/>
                <a:gd name="T22" fmla="*/ 983 w 1965"/>
                <a:gd name="T23" fmla="*/ 1606 h 2570"/>
                <a:gd name="T24" fmla="*/ 983 w 1965"/>
                <a:gd name="T25" fmla="*/ 1606 h 2570"/>
                <a:gd name="T26" fmla="*/ 655 w 1965"/>
                <a:gd name="T27" fmla="*/ 1278 h 2570"/>
                <a:gd name="T28" fmla="*/ 655 w 1965"/>
                <a:gd name="T29" fmla="*/ 1278 h 2570"/>
                <a:gd name="T30" fmla="*/ 655 w 1965"/>
                <a:gd name="T31" fmla="*/ 1278 h 2570"/>
                <a:gd name="T32" fmla="*/ 317 w 1965"/>
                <a:gd name="T33" fmla="*/ 1302 h 2570"/>
                <a:gd name="T34" fmla="*/ 317 w 1965"/>
                <a:gd name="T35" fmla="*/ 1302 h 2570"/>
                <a:gd name="T36" fmla="*/ 0 w 1965"/>
                <a:gd name="T37" fmla="*/ 1684 h 2570"/>
                <a:gd name="T38" fmla="*/ 0 w 1965"/>
                <a:gd name="T39" fmla="*/ 1684 h 2570"/>
                <a:gd name="T40" fmla="*/ 0 w 1965"/>
                <a:gd name="T41" fmla="*/ 2570 h 2570"/>
                <a:gd name="T42" fmla="*/ 1965 w 1965"/>
                <a:gd name="T43" fmla="*/ 2570 h 2570"/>
                <a:gd name="T44" fmla="*/ 1965 w 1965"/>
                <a:gd name="T45" fmla="*/ 1684 h 2570"/>
                <a:gd name="T46" fmla="*/ 1965 w 1965"/>
                <a:gd name="T47" fmla="*/ 1684 h 2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5" h="2570">
                  <a:moveTo>
                    <a:pt x="520" y="529"/>
                  </a:moveTo>
                  <a:cubicBezTo>
                    <a:pt x="520" y="212"/>
                    <a:pt x="707" y="0"/>
                    <a:pt x="983" y="0"/>
                  </a:cubicBezTo>
                  <a:cubicBezTo>
                    <a:pt x="1258" y="0"/>
                    <a:pt x="1446" y="212"/>
                    <a:pt x="1446" y="529"/>
                  </a:cubicBezTo>
                  <a:cubicBezTo>
                    <a:pt x="1446" y="846"/>
                    <a:pt x="1258" y="1058"/>
                    <a:pt x="983" y="1058"/>
                  </a:cubicBezTo>
                  <a:cubicBezTo>
                    <a:pt x="707" y="1058"/>
                    <a:pt x="520" y="846"/>
                    <a:pt x="520" y="529"/>
                  </a:cubicBezTo>
                  <a:close/>
                  <a:moveTo>
                    <a:pt x="1965" y="1684"/>
                  </a:moveTo>
                  <a:cubicBezTo>
                    <a:pt x="1961" y="1464"/>
                    <a:pt x="1835" y="1316"/>
                    <a:pt x="1648" y="1302"/>
                  </a:cubicBezTo>
                  <a:cubicBezTo>
                    <a:pt x="1648" y="1302"/>
                    <a:pt x="1648" y="1302"/>
                    <a:pt x="1648" y="1302"/>
                  </a:cubicBezTo>
                  <a:cubicBezTo>
                    <a:pt x="1310" y="1278"/>
                    <a:pt x="1310" y="1278"/>
                    <a:pt x="1310" y="1278"/>
                  </a:cubicBezTo>
                  <a:cubicBezTo>
                    <a:pt x="1310" y="1278"/>
                    <a:pt x="1310" y="1278"/>
                    <a:pt x="1310" y="1278"/>
                  </a:cubicBezTo>
                  <a:cubicBezTo>
                    <a:pt x="1310" y="1278"/>
                    <a:pt x="1310" y="1278"/>
                    <a:pt x="1310" y="1278"/>
                  </a:cubicBezTo>
                  <a:cubicBezTo>
                    <a:pt x="983" y="1606"/>
                    <a:pt x="983" y="1606"/>
                    <a:pt x="983" y="1606"/>
                  </a:cubicBezTo>
                  <a:cubicBezTo>
                    <a:pt x="983" y="1606"/>
                    <a:pt x="983" y="1606"/>
                    <a:pt x="983" y="1606"/>
                  </a:cubicBezTo>
                  <a:cubicBezTo>
                    <a:pt x="655" y="1278"/>
                    <a:pt x="655" y="1278"/>
                    <a:pt x="655" y="1278"/>
                  </a:cubicBezTo>
                  <a:cubicBezTo>
                    <a:pt x="655" y="1278"/>
                    <a:pt x="655" y="1278"/>
                    <a:pt x="655" y="1278"/>
                  </a:cubicBezTo>
                  <a:cubicBezTo>
                    <a:pt x="655" y="1278"/>
                    <a:pt x="655" y="1278"/>
                    <a:pt x="655" y="1278"/>
                  </a:cubicBezTo>
                  <a:cubicBezTo>
                    <a:pt x="317" y="1302"/>
                    <a:pt x="317" y="1302"/>
                    <a:pt x="317" y="1302"/>
                  </a:cubicBezTo>
                  <a:cubicBezTo>
                    <a:pt x="317" y="1302"/>
                    <a:pt x="317" y="1302"/>
                    <a:pt x="317" y="1302"/>
                  </a:cubicBezTo>
                  <a:cubicBezTo>
                    <a:pt x="130" y="1316"/>
                    <a:pt x="4" y="1464"/>
                    <a:pt x="0" y="1684"/>
                  </a:cubicBezTo>
                  <a:cubicBezTo>
                    <a:pt x="0" y="1684"/>
                    <a:pt x="0" y="1684"/>
                    <a:pt x="0" y="1684"/>
                  </a:cubicBezTo>
                  <a:cubicBezTo>
                    <a:pt x="0" y="1761"/>
                    <a:pt x="0" y="2183"/>
                    <a:pt x="0" y="2570"/>
                  </a:cubicBezTo>
                  <a:cubicBezTo>
                    <a:pt x="1965" y="2570"/>
                    <a:pt x="1965" y="2570"/>
                    <a:pt x="1965" y="2570"/>
                  </a:cubicBezTo>
                  <a:cubicBezTo>
                    <a:pt x="1965" y="2183"/>
                    <a:pt x="1965" y="1761"/>
                    <a:pt x="1965" y="1684"/>
                  </a:cubicBezTo>
                  <a:cubicBezTo>
                    <a:pt x="1965" y="1684"/>
                    <a:pt x="1965" y="1684"/>
                    <a:pt x="1965" y="1684"/>
                  </a:cubicBezTo>
                  <a:close/>
                </a:path>
              </a:pathLst>
            </a:custGeom>
            <a:solidFill>
              <a:srgbClr val="00FFB9"/>
            </a:solidFill>
            <a:ln>
              <a:noFill/>
            </a:ln>
          </p:spPr>
          <p:txBody>
            <a:bodyPr vert="horz" wrap="square" lIns="91392" tIns="45696" rIns="91392" bIns="45696" numCol="1" anchor="t" anchorCtr="0" compatLnSpc="1">
              <a:prstTxWarp prst="textNoShape">
                <a:avLst/>
              </a:prstTxWarp>
            </a:bodyPr>
            <a:lstStyle/>
            <a:p>
              <a:endParaRPr lang="en-US" sz="1799" dirty="0"/>
            </a:p>
          </p:txBody>
        </p:sp>
      </p:grpSp>
    </p:spTree>
    <p:extLst>
      <p:ext uri="{BB962C8B-B14F-4D97-AF65-F5344CB8AC3E}">
        <p14:creationId xmlns:p14="http://schemas.microsoft.com/office/powerpoint/2010/main" val="10181448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 name="Objekt 55"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3" imgW="360" imgH="360" progId="">
                  <p:embed/>
                </p:oleObj>
              </mc:Choice>
              <mc:Fallback>
                <p:oleObj name="think-cell Folie" r:id="rId3" imgW="360" imgH="360" progId="">
                  <p:embed/>
                  <p:pic>
                    <p:nvPicPr>
                      <p:cNvPr id="56" name="Objekt 5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55" name="Tabelle 54"/>
          <p:cNvGraphicFramePr>
            <a:graphicFrameLocks noGrp="1"/>
          </p:cNvGraphicFramePr>
          <p:nvPr>
            <p:extLst>
              <p:ext uri="{D42A27DB-BD31-4B8C-83A1-F6EECF244321}">
                <p14:modId xmlns:p14="http://schemas.microsoft.com/office/powerpoint/2010/main" val="1807396189"/>
              </p:ext>
            </p:extLst>
          </p:nvPr>
        </p:nvGraphicFramePr>
        <p:xfrm>
          <a:off x="411163" y="1415849"/>
          <a:ext cx="7775663" cy="4749528"/>
        </p:xfrm>
        <a:graphic>
          <a:graphicData uri="http://schemas.openxmlformats.org/drawingml/2006/table">
            <a:tbl>
              <a:tblPr>
                <a:tableStyleId>{0E3FDE45-AF77-4B5C-9715-49D594BDF05E}</a:tableStyleId>
              </a:tblPr>
              <a:tblGrid>
                <a:gridCol w="647663">
                  <a:extLst>
                    <a:ext uri="{9D8B030D-6E8A-4147-A177-3AD203B41FA5}">
                      <a16:colId xmlns:a16="http://schemas.microsoft.com/office/drawing/2014/main" val="20001"/>
                    </a:ext>
                  </a:extLst>
                </a:gridCol>
                <a:gridCol w="7128000">
                  <a:extLst>
                    <a:ext uri="{9D8B030D-6E8A-4147-A177-3AD203B41FA5}">
                      <a16:colId xmlns:a16="http://schemas.microsoft.com/office/drawing/2014/main" val="20002"/>
                    </a:ext>
                  </a:extLst>
                </a:gridCol>
              </a:tblGrid>
              <a:tr h="791588">
                <a:tc>
                  <a:txBody>
                    <a:bodyPr/>
                    <a:lstStyle/>
                    <a:p>
                      <a:endParaRPr lang="en-US" sz="1800" noProof="0" dirty="0">
                        <a:solidFill>
                          <a:srgbClr val="9999A9"/>
                        </a:solidFill>
                        <a:latin typeface="+mn-lt"/>
                      </a:endParaRPr>
                    </a:p>
                  </a:txBody>
                  <a:tcPr marL="143925" marR="143925" marT="71963" marB="71963" anchor="ctr">
                    <a:lnB w="12700" cap="flat" cmpd="sng" algn="ctr">
                      <a:solidFill>
                        <a:srgbClr val="9999A9"/>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9999A9"/>
                          </a:solidFill>
                          <a:effectLst/>
                          <a:uLnTx/>
                          <a:uFillTx/>
                        </a:rPr>
                        <a:t>Cras ultricies mi eu</a:t>
                      </a:r>
                      <a:endParaRPr lang="en-US" sz="1800" noProof="0" dirty="0">
                        <a:solidFill>
                          <a:srgbClr val="9999A9"/>
                        </a:solidFill>
                        <a:latin typeface="+mn-lt"/>
                        <a:ea typeface="Arial Unicode MS"/>
                      </a:endParaRPr>
                    </a:p>
                  </a:txBody>
                  <a:tcPr marL="0" marR="0" marT="71963" marB="71963" anchor="ctr">
                    <a:lnB w="12700" cap="flat" cmpd="sng" algn="ctr">
                      <a:solidFill>
                        <a:srgbClr val="9999A9"/>
                      </a:solidFill>
                      <a:prstDash val="solid"/>
                      <a:round/>
                      <a:headEnd type="none" w="med" len="med"/>
                      <a:tailEnd type="none" w="med" len="med"/>
                    </a:lnB>
                  </a:tcPr>
                </a:tc>
                <a:extLst>
                  <a:ext uri="{0D108BD9-81ED-4DB2-BD59-A6C34878D82A}">
                    <a16:rowId xmlns:a16="http://schemas.microsoft.com/office/drawing/2014/main" val="10001"/>
                  </a:ext>
                </a:extLst>
              </a:tr>
              <a:tr h="79158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noProof="0" dirty="0">
                        <a:solidFill>
                          <a:srgbClr val="9999A9"/>
                        </a:solidFill>
                        <a:latin typeface="+mn-lt"/>
                      </a:endParaRPr>
                    </a:p>
                  </a:txBody>
                  <a:tcPr marL="143925" marR="143925"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9999A9"/>
                          </a:solidFill>
                          <a:effectLst/>
                          <a:uLnTx/>
                          <a:uFillTx/>
                        </a:rPr>
                        <a:t>At vero eos et accusam</a:t>
                      </a:r>
                      <a:endParaRPr lang="en-US" sz="1800" noProof="0" dirty="0">
                        <a:solidFill>
                          <a:srgbClr val="9999A9"/>
                        </a:solidFill>
                        <a:latin typeface="+mn-lt"/>
                        <a:ea typeface="Arial Unicode MS"/>
                      </a:endParaRPr>
                    </a:p>
                  </a:txBody>
                  <a:tcPr marL="0" marR="0"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tcPr>
                </a:tc>
                <a:extLst>
                  <a:ext uri="{0D108BD9-81ED-4DB2-BD59-A6C34878D82A}">
                    <a16:rowId xmlns:a16="http://schemas.microsoft.com/office/drawing/2014/main" val="10002"/>
                  </a:ext>
                </a:extLst>
              </a:tr>
              <a:tr h="79158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noProof="0" dirty="0">
                        <a:solidFill>
                          <a:srgbClr val="9999A9"/>
                        </a:solidFill>
                        <a:latin typeface="+mn-lt"/>
                      </a:endParaRPr>
                    </a:p>
                  </a:txBody>
                  <a:tcPr marL="143925" marR="143925"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s-ES" sz="1800" u="none" strike="noStrike" kern="1200" cap="none" spc="0" normalizeH="0" baseline="0" noProof="0" dirty="0">
                          <a:ln>
                            <a:noFill/>
                          </a:ln>
                          <a:solidFill>
                            <a:srgbClr val="9999A9"/>
                          </a:solidFill>
                          <a:effectLst/>
                          <a:uLnTx/>
                          <a:uFillTx/>
                        </a:rPr>
                        <a:t>Duis arcu tortor, suscipit eget</a:t>
                      </a:r>
                      <a:endParaRPr lang="en-US" sz="1800" noProof="0" dirty="0">
                        <a:solidFill>
                          <a:srgbClr val="9999A9"/>
                        </a:solidFill>
                        <a:latin typeface="+mn-lt"/>
                        <a:ea typeface="Arial Unicode MS"/>
                      </a:endParaRPr>
                    </a:p>
                  </a:txBody>
                  <a:tcPr marL="0" marR="0"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tcPr>
                </a:tc>
                <a:extLst>
                  <a:ext uri="{0D108BD9-81ED-4DB2-BD59-A6C34878D82A}">
                    <a16:rowId xmlns:a16="http://schemas.microsoft.com/office/drawing/2014/main" val="10003"/>
                  </a:ext>
                </a:extLst>
              </a:tr>
              <a:tr h="79158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noProof="0" dirty="0">
                        <a:solidFill>
                          <a:srgbClr val="9999A9"/>
                        </a:solidFill>
                        <a:latin typeface="+mn-lt"/>
                      </a:endParaRPr>
                    </a:p>
                  </a:txBody>
                  <a:tcPr marL="143925" marR="143925"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9999A9"/>
                          </a:solidFill>
                          <a:effectLst/>
                          <a:uLnTx/>
                          <a:uFillTx/>
                        </a:rPr>
                        <a:t>Cras ultricies mi eu</a:t>
                      </a:r>
                      <a:endParaRPr lang="en-US" sz="1800" noProof="0" dirty="0">
                        <a:solidFill>
                          <a:srgbClr val="9999A9"/>
                        </a:solidFill>
                        <a:latin typeface="+mn-lt"/>
                        <a:ea typeface="Arial Unicode MS"/>
                      </a:endParaRPr>
                    </a:p>
                  </a:txBody>
                  <a:tcPr marL="0" marR="0"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tcPr>
                </a:tc>
                <a:extLst>
                  <a:ext uri="{0D108BD9-81ED-4DB2-BD59-A6C34878D82A}">
                    <a16:rowId xmlns:a16="http://schemas.microsoft.com/office/drawing/2014/main" val="10004"/>
                  </a:ext>
                </a:extLst>
              </a:tr>
              <a:tr h="79158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noProof="0" dirty="0">
                        <a:solidFill>
                          <a:srgbClr val="9999A9"/>
                        </a:solidFill>
                        <a:latin typeface="+mn-lt"/>
                      </a:endParaRPr>
                    </a:p>
                  </a:txBody>
                  <a:tcPr marL="143925" marR="143925"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9999A9"/>
                          </a:solidFill>
                          <a:effectLst/>
                          <a:uLnTx/>
                          <a:uFillTx/>
                        </a:rPr>
                        <a:t>Duis arcu tortor, suscipit eget, imperdiet nec, imperdiet iaculis</a:t>
                      </a:r>
                      <a:endParaRPr lang="en-US" sz="1800" noProof="0" dirty="0">
                        <a:solidFill>
                          <a:srgbClr val="9999A9"/>
                        </a:solidFill>
                        <a:latin typeface="+mn-lt"/>
                        <a:ea typeface="Arial Unicode MS"/>
                      </a:endParaRPr>
                    </a:p>
                  </a:txBody>
                  <a:tcPr marL="0" marR="0"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tcPr>
                </a:tc>
                <a:extLst>
                  <a:ext uri="{0D108BD9-81ED-4DB2-BD59-A6C34878D82A}">
                    <a16:rowId xmlns:a16="http://schemas.microsoft.com/office/drawing/2014/main" val="2514599482"/>
                  </a:ext>
                </a:extLst>
              </a:tr>
              <a:tr h="79158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noProof="0" dirty="0">
                        <a:solidFill>
                          <a:srgbClr val="9999A9"/>
                        </a:solidFill>
                        <a:latin typeface="+mn-lt"/>
                      </a:endParaRPr>
                    </a:p>
                  </a:txBody>
                  <a:tcPr marL="143925" marR="143925"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9999A9"/>
                          </a:solidFill>
                          <a:effectLst/>
                          <a:uLnTx/>
                          <a:uFillTx/>
                        </a:rPr>
                        <a:t>At vero eos et accusam</a:t>
                      </a:r>
                      <a:endParaRPr lang="en-US" sz="1800" noProof="0" dirty="0">
                        <a:solidFill>
                          <a:srgbClr val="9999A9"/>
                        </a:solidFill>
                        <a:latin typeface="+mn-lt"/>
                        <a:ea typeface="Arial Unicode MS"/>
                      </a:endParaRPr>
                    </a:p>
                  </a:txBody>
                  <a:tcPr marL="0" marR="0"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tcPr>
                </a:tc>
                <a:extLst>
                  <a:ext uri="{0D108BD9-81ED-4DB2-BD59-A6C34878D82A}">
                    <a16:rowId xmlns:a16="http://schemas.microsoft.com/office/drawing/2014/main" val="1237210138"/>
                  </a:ext>
                </a:extLst>
              </a:tr>
            </a:tbl>
          </a:graphicData>
        </a:graphic>
      </p:graphicFrame>
      <p:sp>
        <p:nvSpPr>
          <p:cNvPr id="5" name="Titel 4"/>
          <p:cNvSpPr>
            <a:spLocks noGrp="1"/>
          </p:cNvSpPr>
          <p:nvPr>
            <p:ph type="title"/>
          </p:nvPr>
        </p:nvSpPr>
        <p:spPr/>
        <p:txBody>
          <a:bodyPr/>
          <a:lstStyle/>
          <a:p>
            <a:r>
              <a:rPr lang="en-US" dirty="0"/>
              <a:t>Factors – list view and description, colored</a:t>
            </a:r>
          </a:p>
        </p:txBody>
      </p:sp>
      <p:sp>
        <p:nvSpPr>
          <p:cNvPr id="2" name="Footer Placeholder 1">
            <a:extLst>
              <a:ext uri="{FF2B5EF4-FFF2-40B4-BE49-F238E27FC236}">
                <a16:creationId xmlns:a16="http://schemas.microsoft.com/office/drawing/2014/main" id="{693A36E6-DAC3-4EBF-A312-292EDD6B6847}"/>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3" name="Slide Number Placeholder 2">
            <a:extLst>
              <a:ext uri="{FF2B5EF4-FFF2-40B4-BE49-F238E27FC236}">
                <a16:creationId xmlns:a16="http://schemas.microsoft.com/office/drawing/2014/main" id="{7C487A81-25D0-4594-902A-4BA9017F077A}"/>
              </a:ext>
            </a:extLst>
          </p:cNvPr>
          <p:cNvSpPr>
            <a:spLocks noGrp="1"/>
          </p:cNvSpPr>
          <p:nvPr>
            <p:ph type="sldNum" sz="quarter" idx="11"/>
          </p:nvPr>
        </p:nvSpPr>
        <p:spPr/>
        <p:txBody>
          <a:bodyPr/>
          <a:lstStyle/>
          <a:p>
            <a:r>
              <a:rPr lang="en-US" dirty="0"/>
              <a:t>Page </a:t>
            </a:r>
            <a:fld id="{15EBE321-CBB1-4E91-BD14-37C8D44326FB}" type="slidenum">
              <a:rPr lang="en-US" smtClean="0"/>
              <a:pPr/>
              <a:t>21</a:t>
            </a:fld>
            <a:endParaRPr lang="en-US" dirty="0"/>
          </a:p>
        </p:txBody>
      </p:sp>
      <p:sp>
        <p:nvSpPr>
          <p:cNvPr id="6" name="Oval 4"/>
          <p:cNvSpPr>
            <a:spLocks noChangeAspect="1" noChangeArrowheads="1"/>
          </p:cNvSpPr>
          <p:nvPr/>
        </p:nvSpPr>
        <p:spPr bwMode="auto">
          <a:xfrm>
            <a:off x="411163" y="1584960"/>
            <a:ext cx="449766" cy="449766"/>
          </a:xfrm>
          <a:prstGeom prst="rect">
            <a:avLst/>
          </a:prstGeom>
          <a:solidFill>
            <a:srgbClr val="00FFB9"/>
          </a:solidFill>
          <a:ln>
            <a:noFill/>
          </a:ln>
          <a:effectLst/>
        </p:spPr>
        <p:txBody>
          <a:bodyPr wrap="none" lIns="84337" tIns="42169" rIns="84337" bIns="42169" anchor="ctr"/>
          <a:lstStyle/>
          <a:p>
            <a:pPr algn="ctr" defTabSz="702911">
              <a:spcBef>
                <a:spcPct val="0"/>
              </a:spcBef>
            </a:pPr>
            <a:r>
              <a:rPr lang="en-US" sz="1799" b="1" dirty="0">
                <a:solidFill>
                  <a:schemeClr val="bg2"/>
                </a:solidFill>
              </a:rPr>
              <a:t>1</a:t>
            </a:r>
          </a:p>
        </p:txBody>
      </p:sp>
      <p:sp>
        <p:nvSpPr>
          <p:cNvPr id="7" name="Oval 4"/>
          <p:cNvSpPr>
            <a:spLocks noChangeAspect="1" noChangeArrowheads="1"/>
          </p:cNvSpPr>
          <p:nvPr/>
        </p:nvSpPr>
        <p:spPr bwMode="auto">
          <a:xfrm>
            <a:off x="411163" y="2378222"/>
            <a:ext cx="449766" cy="449766"/>
          </a:xfrm>
          <a:prstGeom prst="rect">
            <a:avLst/>
          </a:prstGeom>
          <a:solidFill>
            <a:srgbClr val="00AF8E"/>
          </a:solidFill>
          <a:ln>
            <a:noFill/>
          </a:ln>
          <a:effectLst/>
        </p:spPr>
        <p:txBody>
          <a:bodyPr wrap="none" lIns="84337" tIns="42169" rIns="84337" bIns="42169" anchor="ctr"/>
          <a:lstStyle/>
          <a:p>
            <a:pPr algn="ctr" defTabSz="702911">
              <a:spcBef>
                <a:spcPct val="0"/>
              </a:spcBef>
            </a:pPr>
            <a:r>
              <a:rPr lang="en-US" sz="1799" b="1" dirty="0">
                <a:solidFill>
                  <a:schemeClr val="bg2"/>
                </a:solidFill>
              </a:rPr>
              <a:t>2</a:t>
            </a:r>
          </a:p>
        </p:txBody>
      </p:sp>
      <p:sp>
        <p:nvSpPr>
          <p:cNvPr id="8" name="Oval 4"/>
          <p:cNvSpPr>
            <a:spLocks noChangeAspect="1" noChangeArrowheads="1"/>
          </p:cNvSpPr>
          <p:nvPr/>
        </p:nvSpPr>
        <p:spPr bwMode="auto">
          <a:xfrm>
            <a:off x="411163" y="3171484"/>
            <a:ext cx="449766" cy="449766"/>
          </a:xfrm>
          <a:prstGeom prst="rect">
            <a:avLst/>
          </a:prstGeom>
          <a:solidFill>
            <a:srgbClr val="00646E"/>
          </a:solidFill>
          <a:ln>
            <a:noFill/>
          </a:ln>
          <a:effectLst/>
        </p:spPr>
        <p:txBody>
          <a:bodyPr wrap="none" lIns="84337" tIns="42169" rIns="84337" bIns="42169" anchor="ctr"/>
          <a:lstStyle/>
          <a:p>
            <a:pPr algn="ctr" defTabSz="702911">
              <a:spcBef>
                <a:spcPct val="0"/>
              </a:spcBef>
            </a:pPr>
            <a:r>
              <a:rPr lang="en-US" sz="1799" b="1" dirty="0">
                <a:solidFill>
                  <a:schemeClr val="tx2"/>
                </a:solidFill>
              </a:rPr>
              <a:t>3</a:t>
            </a:r>
          </a:p>
        </p:txBody>
      </p:sp>
      <p:sp>
        <p:nvSpPr>
          <p:cNvPr id="9" name="Oval 4"/>
          <p:cNvSpPr>
            <a:spLocks noChangeAspect="1" noChangeArrowheads="1"/>
          </p:cNvSpPr>
          <p:nvPr/>
        </p:nvSpPr>
        <p:spPr bwMode="auto">
          <a:xfrm>
            <a:off x="411163" y="3964746"/>
            <a:ext cx="449766" cy="449766"/>
          </a:xfrm>
          <a:prstGeom prst="rect">
            <a:avLst/>
          </a:prstGeom>
          <a:solidFill>
            <a:srgbClr val="9999A9"/>
          </a:solidFill>
          <a:ln>
            <a:noFill/>
          </a:ln>
          <a:effectLst/>
        </p:spPr>
        <p:txBody>
          <a:bodyPr wrap="none" lIns="84337" tIns="42169" rIns="84337" bIns="42169" anchor="ctr"/>
          <a:lstStyle/>
          <a:p>
            <a:pPr algn="ctr" defTabSz="702911">
              <a:spcBef>
                <a:spcPct val="0"/>
              </a:spcBef>
            </a:pPr>
            <a:r>
              <a:rPr lang="en-US" sz="1799" b="1" dirty="0">
                <a:solidFill>
                  <a:schemeClr val="tx2"/>
                </a:solidFill>
              </a:rPr>
              <a:t>4</a:t>
            </a:r>
          </a:p>
        </p:txBody>
      </p:sp>
      <p:sp>
        <p:nvSpPr>
          <p:cNvPr id="10" name="Oval 4"/>
          <p:cNvSpPr>
            <a:spLocks noChangeAspect="1" noChangeArrowheads="1"/>
          </p:cNvSpPr>
          <p:nvPr/>
        </p:nvSpPr>
        <p:spPr bwMode="auto">
          <a:xfrm>
            <a:off x="411163" y="4758008"/>
            <a:ext cx="449766" cy="449766"/>
          </a:xfrm>
          <a:prstGeom prst="rect">
            <a:avLst/>
          </a:prstGeom>
          <a:solidFill>
            <a:srgbClr val="66667E"/>
          </a:solidFill>
          <a:ln>
            <a:noFill/>
          </a:ln>
          <a:effectLst/>
        </p:spPr>
        <p:txBody>
          <a:bodyPr wrap="none" lIns="84337" tIns="42169" rIns="84337" bIns="42169" anchor="ctr"/>
          <a:lstStyle/>
          <a:p>
            <a:pPr algn="ctr" defTabSz="702911">
              <a:spcBef>
                <a:spcPct val="0"/>
              </a:spcBef>
            </a:pPr>
            <a:r>
              <a:rPr lang="en-US" sz="1799" b="1" dirty="0">
                <a:solidFill>
                  <a:schemeClr val="tx2"/>
                </a:solidFill>
              </a:rPr>
              <a:t>5</a:t>
            </a:r>
          </a:p>
        </p:txBody>
      </p:sp>
      <p:sp>
        <p:nvSpPr>
          <p:cNvPr id="11" name="Oval 4"/>
          <p:cNvSpPr>
            <a:spLocks noChangeAspect="1" noChangeArrowheads="1"/>
          </p:cNvSpPr>
          <p:nvPr/>
        </p:nvSpPr>
        <p:spPr bwMode="auto">
          <a:xfrm>
            <a:off x="411163" y="5551269"/>
            <a:ext cx="449766" cy="449766"/>
          </a:xfrm>
          <a:prstGeom prst="rect">
            <a:avLst/>
          </a:prstGeom>
          <a:solidFill>
            <a:srgbClr val="333353"/>
          </a:solidFill>
          <a:ln>
            <a:noFill/>
          </a:ln>
          <a:effectLst/>
        </p:spPr>
        <p:txBody>
          <a:bodyPr wrap="none" lIns="84337" tIns="42169" rIns="84337" bIns="42169" anchor="ctr"/>
          <a:lstStyle/>
          <a:p>
            <a:pPr algn="ctr" defTabSz="702911">
              <a:spcBef>
                <a:spcPct val="0"/>
              </a:spcBef>
            </a:pPr>
            <a:r>
              <a:rPr lang="en-US" sz="1799" b="1" dirty="0">
                <a:solidFill>
                  <a:schemeClr val="tx2"/>
                </a:solidFill>
              </a:rPr>
              <a:t>6</a:t>
            </a:r>
          </a:p>
        </p:txBody>
      </p:sp>
    </p:spTree>
    <p:extLst>
      <p:ext uri="{BB962C8B-B14F-4D97-AF65-F5344CB8AC3E}">
        <p14:creationId xmlns:p14="http://schemas.microsoft.com/office/powerpoint/2010/main" val="2235267156"/>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 name="Objekt 52"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3" imgW="360" imgH="360" progId="">
                  <p:embed/>
                </p:oleObj>
              </mc:Choice>
              <mc:Fallback>
                <p:oleObj name="think-cell Folie" r:id="rId3" imgW="360" imgH="360" progId="">
                  <p:embed/>
                  <p:pic>
                    <p:nvPicPr>
                      <p:cNvPr id="53" name="Objekt 5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a:xfrm>
            <a:off x="410400" y="478800"/>
            <a:ext cx="9863997" cy="576000"/>
          </a:xfrm>
        </p:spPr>
        <p:txBody>
          <a:bodyPr/>
          <a:lstStyle/>
          <a:p>
            <a:r>
              <a:rPr lang="en-US" dirty="0"/>
              <a:t>Contact overview – executives</a:t>
            </a:r>
          </a:p>
        </p:txBody>
      </p:sp>
      <p:sp>
        <p:nvSpPr>
          <p:cNvPr id="3" name="Footer Placeholder 2">
            <a:extLst>
              <a:ext uri="{FF2B5EF4-FFF2-40B4-BE49-F238E27FC236}">
                <a16:creationId xmlns:a16="http://schemas.microsoft.com/office/drawing/2014/main" id="{21D106F7-B0A4-4813-887A-B19BDBFB2D8F}"/>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8" name="Slide Number Placeholder 7">
            <a:extLst>
              <a:ext uri="{FF2B5EF4-FFF2-40B4-BE49-F238E27FC236}">
                <a16:creationId xmlns:a16="http://schemas.microsoft.com/office/drawing/2014/main" id="{210CAE07-0946-4A82-A399-93B04358AEAD}"/>
              </a:ext>
            </a:extLst>
          </p:cNvPr>
          <p:cNvSpPr>
            <a:spLocks noGrp="1"/>
          </p:cNvSpPr>
          <p:nvPr>
            <p:ph type="sldNum" sz="quarter" idx="11"/>
          </p:nvPr>
        </p:nvSpPr>
        <p:spPr/>
        <p:txBody>
          <a:bodyPr/>
          <a:lstStyle/>
          <a:p>
            <a:r>
              <a:rPr lang="en-US" dirty="0"/>
              <a:t>Page </a:t>
            </a:r>
            <a:fld id="{15EBE321-CBB1-4E91-BD14-37C8D44326FB}" type="slidenum">
              <a:rPr lang="en-US" smtClean="0"/>
              <a:pPr/>
              <a:t>210</a:t>
            </a:fld>
            <a:endParaRPr lang="en-US" dirty="0"/>
          </a:p>
        </p:txBody>
      </p:sp>
      <p:grpSp>
        <p:nvGrpSpPr>
          <p:cNvPr id="4" name="Gruppieren 3">
            <a:extLst>
              <a:ext uri="{FF2B5EF4-FFF2-40B4-BE49-F238E27FC236}">
                <a16:creationId xmlns:a16="http://schemas.microsoft.com/office/drawing/2014/main" id="{880D1128-3F1D-4722-978C-2D7098140CF4}"/>
              </a:ext>
            </a:extLst>
          </p:cNvPr>
          <p:cNvGrpSpPr/>
          <p:nvPr/>
        </p:nvGrpSpPr>
        <p:grpSpPr>
          <a:xfrm>
            <a:off x="410400" y="1415848"/>
            <a:ext cx="5472000" cy="2302801"/>
            <a:chOff x="622800" y="1414800"/>
            <a:chExt cx="5474851" cy="2304000"/>
          </a:xfrm>
        </p:grpSpPr>
        <p:sp>
          <p:nvSpPr>
            <p:cNvPr id="145" name="Textfeld 8"/>
            <p:cNvSpPr txBox="1">
              <a:spLocks/>
            </p:cNvSpPr>
            <p:nvPr/>
          </p:nvSpPr>
          <p:spPr bwMode="gray">
            <a:xfrm>
              <a:off x="622800" y="1414800"/>
              <a:ext cx="1512788" cy="2304000"/>
            </a:xfrm>
            <a:prstGeom prst="rect">
              <a:avLst/>
            </a:prstGeom>
            <a:solidFill>
              <a:schemeClr val="tx2"/>
            </a:solidFill>
            <a:ln>
              <a:noFill/>
            </a:ln>
          </p:spPr>
          <p:txBody>
            <a:bodyPr wrap="square" lIns="143925" tIns="71963" rIns="143925" bIns="71963" rtlCol="0" anchor="b">
              <a:noAutofit/>
            </a:bodyPr>
            <a:lstStyle/>
            <a:p>
              <a:pPr>
                <a:spcBef>
                  <a:spcPct val="0"/>
                </a:spcBef>
                <a:buClr>
                  <a:srgbClr val="879BAA"/>
                </a:buClr>
              </a:pPr>
              <a:r>
                <a:rPr lang="en-US" sz="1599" b="1" kern="1400" dirty="0">
                  <a:solidFill>
                    <a:schemeClr val="bg1"/>
                  </a:solidFill>
                  <a:ea typeface="ＭＳ Ｐゴシック" pitchFamily="34" charset="-128"/>
                  <a:cs typeface="Arial" charset="0"/>
                </a:rPr>
                <a:t>Sam Sample</a:t>
              </a:r>
            </a:p>
            <a:p>
              <a:pPr>
                <a:spcBef>
                  <a:spcPts val="300"/>
                </a:spcBef>
                <a:buClr>
                  <a:srgbClr val="879BAA"/>
                </a:buClr>
              </a:pPr>
              <a:r>
                <a:rPr lang="en-US" sz="1199" dirty="0">
                  <a:solidFill>
                    <a:schemeClr val="bg1"/>
                  </a:solidFill>
                  <a:cs typeface="Arial" charset="0"/>
                </a:rPr>
                <a:t>At vero eos et accusam</a:t>
              </a:r>
            </a:p>
          </p:txBody>
        </p:sp>
        <p:sp>
          <p:nvSpPr>
            <p:cNvPr id="253" name="Freeform 70"/>
            <p:cNvSpPr>
              <a:spLocks noEditPoints="1"/>
            </p:cNvSpPr>
            <p:nvPr/>
          </p:nvSpPr>
          <p:spPr bwMode="auto">
            <a:xfrm>
              <a:off x="1450800" y="1484089"/>
              <a:ext cx="593271" cy="774220"/>
            </a:xfrm>
            <a:custGeom>
              <a:avLst/>
              <a:gdLst>
                <a:gd name="T0" fmla="*/ 1439 w 1970"/>
                <a:gd name="T1" fmla="*/ 1960 h 2578"/>
                <a:gd name="T2" fmla="*/ 985 w 1970"/>
                <a:gd name="T3" fmla="*/ 2328 h 2578"/>
                <a:gd name="T4" fmla="*/ 532 w 1970"/>
                <a:gd name="T5" fmla="*/ 1960 h 2578"/>
                <a:gd name="T6" fmla="*/ 601 w 1970"/>
                <a:gd name="T7" fmla="*/ 1955 h 2578"/>
                <a:gd name="T8" fmla="*/ 651 w 1970"/>
                <a:gd name="T9" fmla="*/ 1973 h 2578"/>
                <a:gd name="T10" fmla="*/ 825 w 1970"/>
                <a:gd name="T11" fmla="*/ 2068 h 2578"/>
                <a:gd name="T12" fmla="*/ 985 w 1970"/>
                <a:gd name="T13" fmla="*/ 2014 h 2578"/>
                <a:gd name="T14" fmla="*/ 1145 w 1970"/>
                <a:gd name="T15" fmla="*/ 2068 h 2578"/>
                <a:gd name="T16" fmla="*/ 1320 w 1970"/>
                <a:gd name="T17" fmla="*/ 1973 h 2578"/>
                <a:gd name="T18" fmla="*/ 1369 w 1970"/>
                <a:gd name="T19" fmla="*/ 1955 h 2578"/>
                <a:gd name="T20" fmla="*/ 1911 w 1970"/>
                <a:gd name="T21" fmla="*/ 1316 h 2578"/>
                <a:gd name="T22" fmla="*/ 1740 w 1970"/>
                <a:gd name="T23" fmla="*/ 1613 h 2578"/>
                <a:gd name="T24" fmla="*/ 1478 w 1970"/>
                <a:gd name="T25" fmla="*/ 1833 h 2578"/>
                <a:gd name="T26" fmla="*/ 1156 w 1970"/>
                <a:gd name="T27" fmla="*/ 1950 h 2578"/>
                <a:gd name="T28" fmla="*/ 814 w 1970"/>
                <a:gd name="T29" fmla="*/ 1950 h 2578"/>
                <a:gd name="T30" fmla="*/ 492 w 1970"/>
                <a:gd name="T31" fmla="*/ 1833 h 2578"/>
                <a:gd name="T32" fmla="*/ 230 w 1970"/>
                <a:gd name="T33" fmla="*/ 1613 h 2578"/>
                <a:gd name="T34" fmla="*/ 59 w 1970"/>
                <a:gd name="T35" fmla="*/ 1316 h 2578"/>
                <a:gd name="T36" fmla="*/ 0 w 1970"/>
                <a:gd name="T37" fmla="*/ 979 h 2578"/>
                <a:gd name="T38" fmla="*/ 59 w 1970"/>
                <a:gd name="T39" fmla="*/ 642 h 2578"/>
                <a:gd name="T40" fmla="*/ 230 w 1970"/>
                <a:gd name="T41" fmla="*/ 346 h 2578"/>
                <a:gd name="T42" fmla="*/ 492 w 1970"/>
                <a:gd name="T43" fmla="*/ 126 h 2578"/>
                <a:gd name="T44" fmla="*/ 814 w 1970"/>
                <a:gd name="T45" fmla="*/ 9 h 2578"/>
                <a:gd name="T46" fmla="*/ 1156 w 1970"/>
                <a:gd name="T47" fmla="*/ 9 h 2578"/>
                <a:gd name="T48" fmla="*/ 1478 w 1970"/>
                <a:gd name="T49" fmla="*/ 126 h 2578"/>
                <a:gd name="T50" fmla="*/ 1740 w 1970"/>
                <a:gd name="T51" fmla="*/ 346 h 2578"/>
                <a:gd name="T52" fmla="*/ 1911 w 1970"/>
                <a:gd name="T53" fmla="*/ 642 h 2578"/>
                <a:gd name="T54" fmla="*/ 1970 w 1970"/>
                <a:gd name="T55" fmla="*/ 979 h 2578"/>
                <a:gd name="T56" fmla="*/ 1911 w 1970"/>
                <a:gd name="T57" fmla="*/ 1316 h 2578"/>
                <a:gd name="T58" fmla="*/ 985 w 1970"/>
                <a:gd name="T59" fmla="*/ 203 h 2578"/>
                <a:gd name="T60" fmla="*/ 985 w 1970"/>
                <a:gd name="T61" fmla="*/ 1756 h 2578"/>
                <a:gd name="T62" fmla="*/ 1645 w 1970"/>
                <a:gd name="T63" fmla="*/ 979 h 2578"/>
                <a:gd name="T64" fmla="*/ 326 w 1970"/>
                <a:gd name="T65" fmla="*/ 979 h 2578"/>
                <a:gd name="T66" fmla="*/ 1645 w 1970"/>
                <a:gd name="T67" fmla="*/ 979 h 2578"/>
                <a:gd name="T68" fmla="*/ 732 w 1970"/>
                <a:gd name="T69" fmla="*/ 925 h 2578"/>
                <a:gd name="T70" fmla="*/ 582 w 1970"/>
                <a:gd name="T71" fmla="*/ 816 h 2578"/>
                <a:gd name="T72" fmla="*/ 432 w 1970"/>
                <a:gd name="T73" fmla="*/ 925 h 2578"/>
                <a:gd name="T74" fmla="*/ 490 w 1970"/>
                <a:gd name="T75" fmla="*/ 1101 h 2578"/>
                <a:gd name="T76" fmla="*/ 675 w 1970"/>
                <a:gd name="T77" fmla="*/ 1101 h 2578"/>
                <a:gd name="T78" fmla="*/ 1042 w 1970"/>
                <a:gd name="T79" fmla="*/ 992 h 2578"/>
                <a:gd name="T80" fmla="*/ 1021 w 1970"/>
                <a:gd name="T81" fmla="*/ 925 h 2578"/>
                <a:gd name="T82" fmla="*/ 950 w 1970"/>
                <a:gd name="T83" fmla="*/ 925 h 2578"/>
                <a:gd name="T84" fmla="*/ 928 w 1970"/>
                <a:gd name="T85" fmla="*/ 992 h 2578"/>
                <a:gd name="T86" fmla="*/ 985 w 1970"/>
                <a:gd name="T87" fmla="*/ 1034 h 2578"/>
                <a:gd name="T88" fmla="*/ 1042 w 1970"/>
                <a:gd name="T89" fmla="*/ 992 h 2578"/>
                <a:gd name="T90" fmla="*/ 1538 w 1970"/>
                <a:gd name="T91" fmla="*/ 925 h 2578"/>
                <a:gd name="T92" fmla="*/ 1388 w 1970"/>
                <a:gd name="T93" fmla="*/ 816 h 2578"/>
                <a:gd name="T94" fmla="*/ 1238 w 1970"/>
                <a:gd name="T95" fmla="*/ 925 h 2578"/>
                <a:gd name="T96" fmla="*/ 1295 w 1970"/>
                <a:gd name="T97" fmla="*/ 1101 h 2578"/>
                <a:gd name="T98" fmla="*/ 1481 w 1970"/>
                <a:gd name="T99" fmla="*/ 1101 h 2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70" h="2578">
                  <a:moveTo>
                    <a:pt x="1431" y="1960"/>
                  </a:moveTo>
                  <a:cubicBezTo>
                    <a:pt x="1434" y="1960"/>
                    <a:pt x="1436" y="1960"/>
                    <a:pt x="1439" y="1960"/>
                  </a:cubicBezTo>
                  <a:cubicBezTo>
                    <a:pt x="1439" y="2578"/>
                    <a:pt x="1439" y="2578"/>
                    <a:pt x="1439" y="2578"/>
                  </a:cubicBezTo>
                  <a:cubicBezTo>
                    <a:pt x="985" y="2328"/>
                    <a:pt x="985" y="2328"/>
                    <a:pt x="985" y="2328"/>
                  </a:cubicBezTo>
                  <a:cubicBezTo>
                    <a:pt x="532" y="2578"/>
                    <a:pt x="532" y="2578"/>
                    <a:pt x="532" y="2578"/>
                  </a:cubicBezTo>
                  <a:cubicBezTo>
                    <a:pt x="532" y="1960"/>
                    <a:pt x="532" y="1960"/>
                    <a:pt x="532" y="1960"/>
                  </a:cubicBezTo>
                  <a:cubicBezTo>
                    <a:pt x="534" y="1960"/>
                    <a:pt x="536" y="1960"/>
                    <a:pt x="539" y="1960"/>
                  </a:cubicBezTo>
                  <a:cubicBezTo>
                    <a:pt x="561" y="1960"/>
                    <a:pt x="582" y="1957"/>
                    <a:pt x="601" y="1955"/>
                  </a:cubicBezTo>
                  <a:cubicBezTo>
                    <a:pt x="612" y="1954"/>
                    <a:pt x="623" y="1953"/>
                    <a:pt x="631" y="1952"/>
                  </a:cubicBezTo>
                  <a:cubicBezTo>
                    <a:pt x="637" y="1958"/>
                    <a:pt x="645" y="1966"/>
                    <a:pt x="651" y="1973"/>
                  </a:cubicBezTo>
                  <a:cubicBezTo>
                    <a:pt x="682" y="2007"/>
                    <a:pt x="725" y="2053"/>
                    <a:pt x="794" y="2065"/>
                  </a:cubicBezTo>
                  <a:cubicBezTo>
                    <a:pt x="804" y="2067"/>
                    <a:pt x="815" y="2068"/>
                    <a:pt x="825" y="2068"/>
                  </a:cubicBezTo>
                  <a:cubicBezTo>
                    <a:pt x="879" y="2068"/>
                    <a:pt x="922" y="2046"/>
                    <a:pt x="957" y="2028"/>
                  </a:cubicBezTo>
                  <a:cubicBezTo>
                    <a:pt x="966" y="2023"/>
                    <a:pt x="977" y="2017"/>
                    <a:pt x="985" y="2014"/>
                  </a:cubicBezTo>
                  <a:cubicBezTo>
                    <a:pt x="993" y="2017"/>
                    <a:pt x="1005" y="2023"/>
                    <a:pt x="1013" y="2028"/>
                  </a:cubicBezTo>
                  <a:cubicBezTo>
                    <a:pt x="1048" y="2046"/>
                    <a:pt x="1092" y="2068"/>
                    <a:pt x="1145" y="2068"/>
                  </a:cubicBezTo>
                  <a:cubicBezTo>
                    <a:pt x="1156" y="2068"/>
                    <a:pt x="1166" y="2067"/>
                    <a:pt x="1176" y="2065"/>
                  </a:cubicBezTo>
                  <a:cubicBezTo>
                    <a:pt x="1245" y="2053"/>
                    <a:pt x="1288" y="2007"/>
                    <a:pt x="1320" y="1973"/>
                  </a:cubicBezTo>
                  <a:cubicBezTo>
                    <a:pt x="1325" y="1966"/>
                    <a:pt x="1334" y="1958"/>
                    <a:pt x="1339" y="1952"/>
                  </a:cubicBezTo>
                  <a:cubicBezTo>
                    <a:pt x="1348" y="1953"/>
                    <a:pt x="1359" y="1954"/>
                    <a:pt x="1369" y="1955"/>
                  </a:cubicBezTo>
                  <a:cubicBezTo>
                    <a:pt x="1388" y="1957"/>
                    <a:pt x="1409" y="1960"/>
                    <a:pt x="1431" y="1960"/>
                  </a:cubicBezTo>
                  <a:close/>
                  <a:moveTo>
                    <a:pt x="1911" y="1316"/>
                  </a:moveTo>
                  <a:cubicBezTo>
                    <a:pt x="1892" y="1369"/>
                    <a:pt x="1806" y="1390"/>
                    <a:pt x="1779" y="1437"/>
                  </a:cubicBezTo>
                  <a:cubicBezTo>
                    <a:pt x="1751" y="1485"/>
                    <a:pt x="1775" y="1570"/>
                    <a:pt x="1740" y="1613"/>
                  </a:cubicBezTo>
                  <a:cubicBezTo>
                    <a:pt x="1704" y="1655"/>
                    <a:pt x="1616" y="1645"/>
                    <a:pt x="1574" y="1681"/>
                  </a:cubicBezTo>
                  <a:cubicBezTo>
                    <a:pt x="1532" y="1717"/>
                    <a:pt x="1526" y="1805"/>
                    <a:pt x="1478" y="1833"/>
                  </a:cubicBezTo>
                  <a:cubicBezTo>
                    <a:pt x="1430" y="1860"/>
                    <a:pt x="1351" y="1821"/>
                    <a:pt x="1298" y="1840"/>
                  </a:cubicBezTo>
                  <a:cubicBezTo>
                    <a:pt x="1247" y="1859"/>
                    <a:pt x="1211" y="1940"/>
                    <a:pt x="1156" y="1950"/>
                  </a:cubicBezTo>
                  <a:cubicBezTo>
                    <a:pt x="1103" y="1959"/>
                    <a:pt x="1041" y="1895"/>
                    <a:pt x="985" y="1895"/>
                  </a:cubicBezTo>
                  <a:cubicBezTo>
                    <a:pt x="929" y="1895"/>
                    <a:pt x="868" y="1959"/>
                    <a:pt x="814" y="1950"/>
                  </a:cubicBezTo>
                  <a:cubicBezTo>
                    <a:pt x="759" y="1940"/>
                    <a:pt x="723" y="1859"/>
                    <a:pt x="672" y="1840"/>
                  </a:cubicBezTo>
                  <a:cubicBezTo>
                    <a:pt x="619" y="1821"/>
                    <a:pt x="540" y="1860"/>
                    <a:pt x="492" y="1833"/>
                  </a:cubicBezTo>
                  <a:cubicBezTo>
                    <a:pt x="444" y="1805"/>
                    <a:pt x="439" y="1717"/>
                    <a:pt x="396" y="1681"/>
                  </a:cubicBezTo>
                  <a:cubicBezTo>
                    <a:pt x="354" y="1645"/>
                    <a:pt x="266" y="1655"/>
                    <a:pt x="230" y="1613"/>
                  </a:cubicBezTo>
                  <a:cubicBezTo>
                    <a:pt x="195" y="1570"/>
                    <a:pt x="219" y="1485"/>
                    <a:pt x="192" y="1437"/>
                  </a:cubicBezTo>
                  <a:cubicBezTo>
                    <a:pt x="164" y="1390"/>
                    <a:pt x="78" y="1369"/>
                    <a:pt x="59" y="1316"/>
                  </a:cubicBezTo>
                  <a:cubicBezTo>
                    <a:pt x="40" y="1265"/>
                    <a:pt x="92" y="1194"/>
                    <a:pt x="83" y="1138"/>
                  </a:cubicBezTo>
                  <a:cubicBezTo>
                    <a:pt x="73" y="1085"/>
                    <a:pt x="0" y="1036"/>
                    <a:pt x="0" y="979"/>
                  </a:cubicBezTo>
                  <a:cubicBezTo>
                    <a:pt x="0" y="923"/>
                    <a:pt x="73" y="874"/>
                    <a:pt x="83" y="820"/>
                  </a:cubicBezTo>
                  <a:cubicBezTo>
                    <a:pt x="92" y="765"/>
                    <a:pt x="40" y="694"/>
                    <a:pt x="59" y="642"/>
                  </a:cubicBezTo>
                  <a:cubicBezTo>
                    <a:pt x="78" y="590"/>
                    <a:pt x="164" y="569"/>
                    <a:pt x="192" y="521"/>
                  </a:cubicBezTo>
                  <a:cubicBezTo>
                    <a:pt x="219" y="473"/>
                    <a:pt x="195" y="388"/>
                    <a:pt x="230" y="346"/>
                  </a:cubicBezTo>
                  <a:cubicBezTo>
                    <a:pt x="266" y="304"/>
                    <a:pt x="354" y="313"/>
                    <a:pt x="396" y="278"/>
                  </a:cubicBezTo>
                  <a:cubicBezTo>
                    <a:pt x="439" y="242"/>
                    <a:pt x="444" y="154"/>
                    <a:pt x="492" y="126"/>
                  </a:cubicBezTo>
                  <a:cubicBezTo>
                    <a:pt x="540" y="98"/>
                    <a:pt x="619" y="137"/>
                    <a:pt x="672" y="118"/>
                  </a:cubicBezTo>
                  <a:cubicBezTo>
                    <a:pt x="723" y="100"/>
                    <a:pt x="759" y="19"/>
                    <a:pt x="814" y="9"/>
                  </a:cubicBezTo>
                  <a:cubicBezTo>
                    <a:pt x="868" y="0"/>
                    <a:pt x="929" y="63"/>
                    <a:pt x="985" y="63"/>
                  </a:cubicBezTo>
                  <a:cubicBezTo>
                    <a:pt x="1041" y="63"/>
                    <a:pt x="1103" y="0"/>
                    <a:pt x="1156" y="9"/>
                  </a:cubicBezTo>
                  <a:cubicBezTo>
                    <a:pt x="1211" y="19"/>
                    <a:pt x="1247" y="100"/>
                    <a:pt x="1298" y="118"/>
                  </a:cubicBezTo>
                  <a:cubicBezTo>
                    <a:pt x="1351" y="137"/>
                    <a:pt x="1430" y="98"/>
                    <a:pt x="1478" y="126"/>
                  </a:cubicBezTo>
                  <a:cubicBezTo>
                    <a:pt x="1526" y="154"/>
                    <a:pt x="1532" y="242"/>
                    <a:pt x="1574" y="278"/>
                  </a:cubicBezTo>
                  <a:cubicBezTo>
                    <a:pt x="1616" y="313"/>
                    <a:pt x="1704" y="304"/>
                    <a:pt x="1740" y="346"/>
                  </a:cubicBezTo>
                  <a:cubicBezTo>
                    <a:pt x="1775" y="388"/>
                    <a:pt x="1751" y="473"/>
                    <a:pt x="1779" y="521"/>
                  </a:cubicBezTo>
                  <a:cubicBezTo>
                    <a:pt x="1806" y="569"/>
                    <a:pt x="1892" y="590"/>
                    <a:pt x="1911" y="642"/>
                  </a:cubicBezTo>
                  <a:cubicBezTo>
                    <a:pt x="1930" y="694"/>
                    <a:pt x="1878" y="765"/>
                    <a:pt x="1887" y="820"/>
                  </a:cubicBezTo>
                  <a:cubicBezTo>
                    <a:pt x="1897" y="874"/>
                    <a:pt x="1970" y="923"/>
                    <a:pt x="1970" y="979"/>
                  </a:cubicBezTo>
                  <a:cubicBezTo>
                    <a:pt x="1970" y="1036"/>
                    <a:pt x="1897" y="1085"/>
                    <a:pt x="1887" y="1138"/>
                  </a:cubicBezTo>
                  <a:cubicBezTo>
                    <a:pt x="1878" y="1194"/>
                    <a:pt x="1930" y="1265"/>
                    <a:pt x="1911" y="1316"/>
                  </a:cubicBezTo>
                  <a:close/>
                  <a:moveTo>
                    <a:pt x="1762" y="979"/>
                  </a:moveTo>
                  <a:cubicBezTo>
                    <a:pt x="1762" y="551"/>
                    <a:pt x="1413" y="203"/>
                    <a:pt x="985" y="203"/>
                  </a:cubicBezTo>
                  <a:cubicBezTo>
                    <a:pt x="557" y="203"/>
                    <a:pt x="208" y="551"/>
                    <a:pt x="208" y="979"/>
                  </a:cubicBezTo>
                  <a:cubicBezTo>
                    <a:pt x="208" y="1408"/>
                    <a:pt x="557" y="1756"/>
                    <a:pt x="985" y="1756"/>
                  </a:cubicBezTo>
                  <a:cubicBezTo>
                    <a:pt x="1413" y="1756"/>
                    <a:pt x="1762" y="1408"/>
                    <a:pt x="1762" y="979"/>
                  </a:cubicBezTo>
                  <a:close/>
                  <a:moveTo>
                    <a:pt x="1645" y="979"/>
                  </a:moveTo>
                  <a:cubicBezTo>
                    <a:pt x="1645" y="1343"/>
                    <a:pt x="1349" y="1639"/>
                    <a:pt x="985" y="1639"/>
                  </a:cubicBezTo>
                  <a:cubicBezTo>
                    <a:pt x="621" y="1639"/>
                    <a:pt x="326" y="1343"/>
                    <a:pt x="326" y="979"/>
                  </a:cubicBezTo>
                  <a:cubicBezTo>
                    <a:pt x="326" y="616"/>
                    <a:pt x="621" y="320"/>
                    <a:pt x="985" y="320"/>
                  </a:cubicBezTo>
                  <a:cubicBezTo>
                    <a:pt x="1349" y="320"/>
                    <a:pt x="1645" y="616"/>
                    <a:pt x="1645" y="979"/>
                  </a:cubicBezTo>
                  <a:close/>
                  <a:moveTo>
                    <a:pt x="640" y="992"/>
                  </a:moveTo>
                  <a:cubicBezTo>
                    <a:pt x="732" y="925"/>
                    <a:pt x="732" y="925"/>
                    <a:pt x="732" y="925"/>
                  </a:cubicBezTo>
                  <a:cubicBezTo>
                    <a:pt x="618" y="925"/>
                    <a:pt x="618" y="925"/>
                    <a:pt x="618" y="925"/>
                  </a:cubicBezTo>
                  <a:cubicBezTo>
                    <a:pt x="582" y="816"/>
                    <a:pt x="582" y="816"/>
                    <a:pt x="582" y="816"/>
                  </a:cubicBezTo>
                  <a:cubicBezTo>
                    <a:pt x="547" y="925"/>
                    <a:pt x="547" y="925"/>
                    <a:pt x="547" y="925"/>
                  </a:cubicBezTo>
                  <a:cubicBezTo>
                    <a:pt x="432" y="925"/>
                    <a:pt x="432" y="925"/>
                    <a:pt x="432" y="925"/>
                  </a:cubicBezTo>
                  <a:cubicBezTo>
                    <a:pt x="525" y="992"/>
                    <a:pt x="525" y="992"/>
                    <a:pt x="525" y="992"/>
                  </a:cubicBezTo>
                  <a:cubicBezTo>
                    <a:pt x="490" y="1101"/>
                    <a:pt x="490" y="1101"/>
                    <a:pt x="490" y="1101"/>
                  </a:cubicBezTo>
                  <a:cubicBezTo>
                    <a:pt x="582" y="1034"/>
                    <a:pt x="582" y="1034"/>
                    <a:pt x="582" y="1034"/>
                  </a:cubicBezTo>
                  <a:cubicBezTo>
                    <a:pt x="675" y="1101"/>
                    <a:pt x="675" y="1101"/>
                    <a:pt x="675" y="1101"/>
                  </a:cubicBezTo>
                  <a:lnTo>
                    <a:pt x="640" y="992"/>
                  </a:lnTo>
                  <a:close/>
                  <a:moveTo>
                    <a:pt x="1042" y="992"/>
                  </a:moveTo>
                  <a:cubicBezTo>
                    <a:pt x="1135" y="925"/>
                    <a:pt x="1135" y="925"/>
                    <a:pt x="1135" y="925"/>
                  </a:cubicBezTo>
                  <a:cubicBezTo>
                    <a:pt x="1021" y="925"/>
                    <a:pt x="1021" y="925"/>
                    <a:pt x="1021" y="925"/>
                  </a:cubicBezTo>
                  <a:cubicBezTo>
                    <a:pt x="985" y="816"/>
                    <a:pt x="985" y="816"/>
                    <a:pt x="985" y="816"/>
                  </a:cubicBezTo>
                  <a:cubicBezTo>
                    <a:pt x="950" y="925"/>
                    <a:pt x="950" y="925"/>
                    <a:pt x="950" y="925"/>
                  </a:cubicBezTo>
                  <a:cubicBezTo>
                    <a:pt x="835" y="925"/>
                    <a:pt x="835" y="925"/>
                    <a:pt x="835" y="925"/>
                  </a:cubicBezTo>
                  <a:cubicBezTo>
                    <a:pt x="928" y="992"/>
                    <a:pt x="928" y="992"/>
                    <a:pt x="928" y="992"/>
                  </a:cubicBezTo>
                  <a:cubicBezTo>
                    <a:pt x="892" y="1101"/>
                    <a:pt x="892" y="1101"/>
                    <a:pt x="892" y="1101"/>
                  </a:cubicBezTo>
                  <a:cubicBezTo>
                    <a:pt x="985" y="1034"/>
                    <a:pt x="985" y="1034"/>
                    <a:pt x="985" y="1034"/>
                  </a:cubicBezTo>
                  <a:cubicBezTo>
                    <a:pt x="1078" y="1101"/>
                    <a:pt x="1078" y="1101"/>
                    <a:pt x="1078" y="1101"/>
                  </a:cubicBezTo>
                  <a:lnTo>
                    <a:pt x="1042" y="992"/>
                  </a:lnTo>
                  <a:close/>
                  <a:moveTo>
                    <a:pt x="1445" y="992"/>
                  </a:moveTo>
                  <a:cubicBezTo>
                    <a:pt x="1538" y="925"/>
                    <a:pt x="1538" y="925"/>
                    <a:pt x="1538" y="925"/>
                  </a:cubicBezTo>
                  <a:cubicBezTo>
                    <a:pt x="1423" y="925"/>
                    <a:pt x="1423" y="925"/>
                    <a:pt x="1423" y="925"/>
                  </a:cubicBezTo>
                  <a:cubicBezTo>
                    <a:pt x="1388" y="816"/>
                    <a:pt x="1388" y="816"/>
                    <a:pt x="1388" y="816"/>
                  </a:cubicBezTo>
                  <a:cubicBezTo>
                    <a:pt x="1352" y="925"/>
                    <a:pt x="1352" y="925"/>
                    <a:pt x="1352" y="925"/>
                  </a:cubicBezTo>
                  <a:cubicBezTo>
                    <a:pt x="1238" y="925"/>
                    <a:pt x="1238" y="925"/>
                    <a:pt x="1238" y="925"/>
                  </a:cubicBezTo>
                  <a:cubicBezTo>
                    <a:pt x="1330" y="992"/>
                    <a:pt x="1330" y="992"/>
                    <a:pt x="1330" y="992"/>
                  </a:cubicBezTo>
                  <a:cubicBezTo>
                    <a:pt x="1295" y="1101"/>
                    <a:pt x="1295" y="1101"/>
                    <a:pt x="1295" y="1101"/>
                  </a:cubicBezTo>
                  <a:cubicBezTo>
                    <a:pt x="1388" y="1034"/>
                    <a:pt x="1388" y="1034"/>
                    <a:pt x="1388" y="1034"/>
                  </a:cubicBezTo>
                  <a:cubicBezTo>
                    <a:pt x="1481" y="1101"/>
                    <a:pt x="1481" y="1101"/>
                    <a:pt x="1481" y="1101"/>
                  </a:cubicBezTo>
                  <a:lnTo>
                    <a:pt x="1445" y="992"/>
                  </a:lnTo>
                  <a:close/>
                </a:path>
              </a:pathLst>
            </a:custGeom>
            <a:solidFill>
              <a:schemeClr val="bg1"/>
            </a:solidFill>
            <a:ln>
              <a:noFill/>
            </a:ln>
          </p:spPr>
          <p:txBody>
            <a:bodyPr vert="horz" wrap="square" lIns="91392" tIns="45696" rIns="91392" bIns="45696" numCol="1" anchor="t" anchorCtr="0" compatLnSpc="1">
              <a:prstTxWarp prst="textNoShape">
                <a:avLst/>
              </a:prstTxWarp>
            </a:bodyPr>
            <a:lstStyle/>
            <a:p>
              <a:endParaRPr lang="en-US" sz="1799" dirty="0"/>
            </a:p>
          </p:txBody>
        </p:sp>
        <p:sp>
          <p:nvSpPr>
            <p:cNvPr id="147" name="Rechteck 137"/>
            <p:cNvSpPr>
              <a:spLocks/>
            </p:cNvSpPr>
            <p:nvPr/>
          </p:nvSpPr>
          <p:spPr bwMode="auto">
            <a:xfrm>
              <a:off x="2135588" y="1414800"/>
              <a:ext cx="1728900" cy="2303463"/>
            </a:xfrm>
            <a:prstGeom prst="rect">
              <a:avLst/>
            </a:prstGeom>
            <a:solidFill>
              <a:srgbClr val="E5E5E9"/>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55" name="TextBox 254"/>
            <p:cNvSpPr txBox="1">
              <a:spLocks/>
            </p:cNvSpPr>
            <p:nvPr/>
          </p:nvSpPr>
          <p:spPr bwMode="gray">
            <a:xfrm>
              <a:off x="3864488" y="1414800"/>
              <a:ext cx="2233163" cy="2303999"/>
            </a:xfrm>
            <a:prstGeom prst="rect">
              <a:avLst/>
            </a:prstGeom>
            <a:noFill/>
          </p:spPr>
          <p:txBody>
            <a:bodyPr wrap="square" lIns="143925" tIns="0" rIns="0" bIns="0" rtlCol="0" anchor="t" anchorCtr="0">
              <a:noAutofit/>
            </a:bodyPr>
            <a:lstStyle/>
            <a:p>
              <a:pPr>
                <a:spcBef>
                  <a:spcPts val="300"/>
                </a:spcBef>
                <a:buClr>
                  <a:srgbClr val="41AAAA"/>
                </a:buClr>
              </a:pPr>
              <a:r>
                <a:rPr lang="en-US" sz="1199" dirty="0">
                  <a:solidFill>
                    <a:srgbClr val="66667E"/>
                  </a:solidFill>
                </a:rPr>
                <a:t>Department</a:t>
              </a:r>
              <a:br>
                <a:rPr lang="en-US" sz="1199" dirty="0">
                  <a:solidFill>
                    <a:srgbClr val="66667E"/>
                  </a:solidFill>
                </a:rPr>
              </a:br>
              <a:r>
                <a:rPr lang="en-US" sz="1199" dirty="0">
                  <a:solidFill>
                    <a:srgbClr val="66667E"/>
                  </a:solidFill>
                </a:rPr>
                <a:t>Number</a:t>
              </a:r>
            </a:p>
            <a:p>
              <a:pPr>
                <a:spcBef>
                  <a:spcPts val="300"/>
                </a:spcBef>
                <a:buClr>
                  <a:srgbClr val="41AAAA"/>
                </a:buClr>
              </a:pPr>
              <a:r>
                <a:rPr lang="en-US" sz="1199" b="1" dirty="0">
                  <a:solidFill>
                    <a:srgbClr val="66667E"/>
                  </a:solidFill>
                </a:rPr>
                <a:t>Phone</a:t>
              </a:r>
              <a:br>
                <a:rPr lang="en-US" sz="1199" dirty="0">
                  <a:solidFill>
                    <a:srgbClr val="66667E"/>
                  </a:solidFill>
                </a:rPr>
              </a:br>
              <a:r>
                <a:rPr lang="en-US" sz="1199" dirty="0">
                  <a:solidFill>
                    <a:srgbClr val="66667E"/>
                  </a:solidFill>
                </a:rPr>
                <a:t>+49 123 123456-99</a:t>
              </a:r>
            </a:p>
            <a:p>
              <a:pPr>
                <a:spcBef>
                  <a:spcPts val="300"/>
                </a:spcBef>
                <a:buClr>
                  <a:srgbClr val="41AAAA"/>
                </a:buClr>
              </a:pPr>
              <a:r>
                <a:rPr lang="en-US" sz="1199" b="1" dirty="0">
                  <a:solidFill>
                    <a:srgbClr val="66667E"/>
                  </a:solidFill>
                </a:rPr>
                <a:t>Mobile</a:t>
              </a:r>
              <a:br>
                <a:rPr lang="en-US" sz="1199" dirty="0">
                  <a:solidFill>
                    <a:srgbClr val="66667E"/>
                  </a:solidFill>
                </a:rPr>
              </a:br>
              <a:r>
                <a:rPr lang="en-US" sz="1199" dirty="0">
                  <a:solidFill>
                    <a:srgbClr val="66667E"/>
                  </a:solidFill>
                </a:rPr>
                <a:t>+49 123 123456-77</a:t>
              </a:r>
            </a:p>
            <a:p>
              <a:pPr>
                <a:spcBef>
                  <a:spcPts val="300"/>
                </a:spcBef>
                <a:buClr>
                  <a:srgbClr val="41AAAA"/>
                </a:buClr>
              </a:pPr>
              <a:r>
                <a:rPr lang="en-US" sz="1199" b="1" dirty="0">
                  <a:solidFill>
                    <a:srgbClr val="66667E"/>
                  </a:solidFill>
                </a:rPr>
                <a:t>E-mail</a:t>
              </a:r>
              <a:br>
                <a:rPr lang="en-US" sz="1199" dirty="0">
                  <a:solidFill>
                    <a:srgbClr val="66667E"/>
                  </a:solidFill>
                </a:rPr>
              </a:br>
              <a:r>
                <a:rPr lang="en-US" sz="1199" dirty="0">
                  <a:solidFill>
                    <a:srgbClr val="66667E"/>
                  </a:solidFill>
                </a:rPr>
                <a:t>sam.sample@siemens.com</a:t>
              </a:r>
            </a:p>
          </p:txBody>
        </p:sp>
        <p:sp>
          <p:nvSpPr>
            <p:cNvPr id="22" name="Freeform 96"/>
            <p:cNvSpPr>
              <a:spLocks noEditPoints="1"/>
            </p:cNvSpPr>
            <p:nvPr/>
          </p:nvSpPr>
          <p:spPr bwMode="auto">
            <a:xfrm>
              <a:off x="2314331" y="1919581"/>
              <a:ext cx="1371414" cy="1798682"/>
            </a:xfrm>
            <a:custGeom>
              <a:avLst/>
              <a:gdLst>
                <a:gd name="T0" fmla="*/ 520 w 1965"/>
                <a:gd name="T1" fmla="*/ 529 h 2570"/>
                <a:gd name="T2" fmla="*/ 983 w 1965"/>
                <a:gd name="T3" fmla="*/ 0 h 2570"/>
                <a:gd name="T4" fmla="*/ 1446 w 1965"/>
                <a:gd name="T5" fmla="*/ 529 h 2570"/>
                <a:gd name="T6" fmla="*/ 983 w 1965"/>
                <a:gd name="T7" fmla="*/ 1058 h 2570"/>
                <a:gd name="T8" fmla="*/ 520 w 1965"/>
                <a:gd name="T9" fmla="*/ 529 h 2570"/>
                <a:gd name="T10" fmla="*/ 1965 w 1965"/>
                <a:gd name="T11" fmla="*/ 1684 h 2570"/>
                <a:gd name="T12" fmla="*/ 1648 w 1965"/>
                <a:gd name="T13" fmla="*/ 1302 h 2570"/>
                <a:gd name="T14" fmla="*/ 1648 w 1965"/>
                <a:gd name="T15" fmla="*/ 1302 h 2570"/>
                <a:gd name="T16" fmla="*/ 1310 w 1965"/>
                <a:gd name="T17" fmla="*/ 1278 h 2570"/>
                <a:gd name="T18" fmla="*/ 1310 w 1965"/>
                <a:gd name="T19" fmla="*/ 1278 h 2570"/>
                <a:gd name="T20" fmla="*/ 1310 w 1965"/>
                <a:gd name="T21" fmla="*/ 1278 h 2570"/>
                <a:gd name="T22" fmla="*/ 983 w 1965"/>
                <a:gd name="T23" fmla="*/ 1606 h 2570"/>
                <a:gd name="T24" fmla="*/ 983 w 1965"/>
                <a:gd name="T25" fmla="*/ 1606 h 2570"/>
                <a:gd name="T26" fmla="*/ 655 w 1965"/>
                <a:gd name="T27" fmla="*/ 1278 h 2570"/>
                <a:gd name="T28" fmla="*/ 655 w 1965"/>
                <a:gd name="T29" fmla="*/ 1278 h 2570"/>
                <a:gd name="T30" fmla="*/ 655 w 1965"/>
                <a:gd name="T31" fmla="*/ 1278 h 2570"/>
                <a:gd name="T32" fmla="*/ 317 w 1965"/>
                <a:gd name="T33" fmla="*/ 1302 h 2570"/>
                <a:gd name="T34" fmla="*/ 317 w 1965"/>
                <a:gd name="T35" fmla="*/ 1302 h 2570"/>
                <a:gd name="T36" fmla="*/ 0 w 1965"/>
                <a:gd name="T37" fmla="*/ 1684 h 2570"/>
                <a:gd name="T38" fmla="*/ 0 w 1965"/>
                <a:gd name="T39" fmla="*/ 1684 h 2570"/>
                <a:gd name="T40" fmla="*/ 0 w 1965"/>
                <a:gd name="T41" fmla="*/ 2570 h 2570"/>
                <a:gd name="T42" fmla="*/ 1965 w 1965"/>
                <a:gd name="T43" fmla="*/ 2570 h 2570"/>
                <a:gd name="T44" fmla="*/ 1965 w 1965"/>
                <a:gd name="T45" fmla="*/ 1684 h 2570"/>
                <a:gd name="T46" fmla="*/ 1965 w 1965"/>
                <a:gd name="T47" fmla="*/ 1684 h 2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5" h="2570">
                  <a:moveTo>
                    <a:pt x="520" y="529"/>
                  </a:moveTo>
                  <a:cubicBezTo>
                    <a:pt x="520" y="212"/>
                    <a:pt x="707" y="0"/>
                    <a:pt x="983" y="0"/>
                  </a:cubicBezTo>
                  <a:cubicBezTo>
                    <a:pt x="1258" y="0"/>
                    <a:pt x="1446" y="212"/>
                    <a:pt x="1446" y="529"/>
                  </a:cubicBezTo>
                  <a:cubicBezTo>
                    <a:pt x="1446" y="846"/>
                    <a:pt x="1258" y="1058"/>
                    <a:pt x="983" y="1058"/>
                  </a:cubicBezTo>
                  <a:cubicBezTo>
                    <a:pt x="707" y="1058"/>
                    <a:pt x="520" y="846"/>
                    <a:pt x="520" y="529"/>
                  </a:cubicBezTo>
                  <a:close/>
                  <a:moveTo>
                    <a:pt x="1965" y="1684"/>
                  </a:moveTo>
                  <a:cubicBezTo>
                    <a:pt x="1961" y="1464"/>
                    <a:pt x="1835" y="1316"/>
                    <a:pt x="1648" y="1302"/>
                  </a:cubicBezTo>
                  <a:cubicBezTo>
                    <a:pt x="1648" y="1302"/>
                    <a:pt x="1648" y="1302"/>
                    <a:pt x="1648" y="1302"/>
                  </a:cubicBezTo>
                  <a:cubicBezTo>
                    <a:pt x="1310" y="1278"/>
                    <a:pt x="1310" y="1278"/>
                    <a:pt x="1310" y="1278"/>
                  </a:cubicBezTo>
                  <a:cubicBezTo>
                    <a:pt x="1310" y="1278"/>
                    <a:pt x="1310" y="1278"/>
                    <a:pt x="1310" y="1278"/>
                  </a:cubicBezTo>
                  <a:cubicBezTo>
                    <a:pt x="1310" y="1278"/>
                    <a:pt x="1310" y="1278"/>
                    <a:pt x="1310" y="1278"/>
                  </a:cubicBezTo>
                  <a:cubicBezTo>
                    <a:pt x="983" y="1606"/>
                    <a:pt x="983" y="1606"/>
                    <a:pt x="983" y="1606"/>
                  </a:cubicBezTo>
                  <a:cubicBezTo>
                    <a:pt x="983" y="1606"/>
                    <a:pt x="983" y="1606"/>
                    <a:pt x="983" y="1606"/>
                  </a:cubicBezTo>
                  <a:cubicBezTo>
                    <a:pt x="655" y="1278"/>
                    <a:pt x="655" y="1278"/>
                    <a:pt x="655" y="1278"/>
                  </a:cubicBezTo>
                  <a:cubicBezTo>
                    <a:pt x="655" y="1278"/>
                    <a:pt x="655" y="1278"/>
                    <a:pt x="655" y="1278"/>
                  </a:cubicBezTo>
                  <a:cubicBezTo>
                    <a:pt x="655" y="1278"/>
                    <a:pt x="655" y="1278"/>
                    <a:pt x="655" y="1278"/>
                  </a:cubicBezTo>
                  <a:cubicBezTo>
                    <a:pt x="317" y="1302"/>
                    <a:pt x="317" y="1302"/>
                    <a:pt x="317" y="1302"/>
                  </a:cubicBezTo>
                  <a:cubicBezTo>
                    <a:pt x="317" y="1302"/>
                    <a:pt x="317" y="1302"/>
                    <a:pt x="317" y="1302"/>
                  </a:cubicBezTo>
                  <a:cubicBezTo>
                    <a:pt x="130" y="1316"/>
                    <a:pt x="4" y="1464"/>
                    <a:pt x="0" y="1684"/>
                  </a:cubicBezTo>
                  <a:cubicBezTo>
                    <a:pt x="0" y="1684"/>
                    <a:pt x="0" y="1684"/>
                    <a:pt x="0" y="1684"/>
                  </a:cubicBezTo>
                  <a:cubicBezTo>
                    <a:pt x="0" y="1761"/>
                    <a:pt x="0" y="2183"/>
                    <a:pt x="0" y="2570"/>
                  </a:cubicBezTo>
                  <a:cubicBezTo>
                    <a:pt x="1965" y="2570"/>
                    <a:pt x="1965" y="2570"/>
                    <a:pt x="1965" y="2570"/>
                  </a:cubicBezTo>
                  <a:cubicBezTo>
                    <a:pt x="1965" y="2183"/>
                    <a:pt x="1965" y="1761"/>
                    <a:pt x="1965" y="1684"/>
                  </a:cubicBezTo>
                  <a:cubicBezTo>
                    <a:pt x="1965" y="1684"/>
                    <a:pt x="1965" y="1684"/>
                    <a:pt x="1965" y="1684"/>
                  </a:cubicBezTo>
                  <a:close/>
                </a:path>
              </a:pathLst>
            </a:custGeom>
            <a:solidFill>
              <a:srgbClr val="66667E"/>
            </a:solidFill>
            <a:ln>
              <a:noFill/>
            </a:ln>
          </p:spPr>
          <p:txBody>
            <a:bodyPr vert="horz" wrap="square" lIns="91392" tIns="45696" rIns="91392" bIns="45696" numCol="1" anchor="t" anchorCtr="0" compatLnSpc="1">
              <a:prstTxWarp prst="textNoShape">
                <a:avLst/>
              </a:prstTxWarp>
            </a:bodyPr>
            <a:lstStyle/>
            <a:p>
              <a:endParaRPr lang="en-US" sz="1799" dirty="0"/>
            </a:p>
          </p:txBody>
        </p:sp>
      </p:grpSp>
      <p:grpSp>
        <p:nvGrpSpPr>
          <p:cNvPr id="5" name="Gruppieren 4">
            <a:extLst>
              <a:ext uri="{FF2B5EF4-FFF2-40B4-BE49-F238E27FC236}">
                <a16:creationId xmlns:a16="http://schemas.microsoft.com/office/drawing/2014/main" id="{010FF864-46B9-48A2-8157-68C93072D849}"/>
              </a:ext>
            </a:extLst>
          </p:cNvPr>
          <p:cNvGrpSpPr/>
          <p:nvPr/>
        </p:nvGrpSpPr>
        <p:grpSpPr>
          <a:xfrm>
            <a:off x="410400" y="3861051"/>
            <a:ext cx="5472000" cy="2305300"/>
            <a:chOff x="622800" y="3861275"/>
            <a:chExt cx="5474851" cy="2306501"/>
          </a:xfrm>
        </p:grpSpPr>
        <p:sp>
          <p:nvSpPr>
            <p:cNvPr id="140" name="Rechteck 139"/>
            <p:cNvSpPr>
              <a:spLocks/>
            </p:cNvSpPr>
            <p:nvPr/>
          </p:nvSpPr>
          <p:spPr bwMode="auto">
            <a:xfrm>
              <a:off x="2135588" y="3863845"/>
              <a:ext cx="1728900" cy="2303931"/>
            </a:xfrm>
            <a:prstGeom prst="rect">
              <a:avLst/>
            </a:prstGeom>
            <a:solidFill>
              <a:srgbClr val="E5E5E9"/>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52" name="Textfeld 8"/>
            <p:cNvSpPr txBox="1">
              <a:spLocks/>
            </p:cNvSpPr>
            <p:nvPr/>
          </p:nvSpPr>
          <p:spPr bwMode="gray">
            <a:xfrm>
              <a:off x="622800" y="3863776"/>
              <a:ext cx="1512788" cy="2304000"/>
            </a:xfrm>
            <a:prstGeom prst="rect">
              <a:avLst/>
            </a:prstGeom>
            <a:solidFill>
              <a:srgbClr val="00646E"/>
            </a:solidFill>
            <a:ln>
              <a:noFill/>
            </a:ln>
          </p:spPr>
          <p:txBody>
            <a:bodyPr wrap="square" lIns="143925" tIns="71963" rIns="143925" bIns="71963" rtlCol="0" anchor="b">
              <a:noAutofit/>
            </a:bodyPr>
            <a:lstStyle/>
            <a:p>
              <a:pPr>
                <a:spcBef>
                  <a:spcPct val="0"/>
                </a:spcBef>
                <a:buClr>
                  <a:srgbClr val="879BAA"/>
                </a:buClr>
              </a:pPr>
              <a:r>
                <a:rPr lang="en-US" sz="1599" b="1" kern="1400" dirty="0">
                  <a:solidFill>
                    <a:schemeClr val="bg1"/>
                  </a:solidFill>
                  <a:ea typeface="ＭＳ Ｐゴシック" pitchFamily="34" charset="-128"/>
                  <a:cs typeface="Arial" charset="0"/>
                </a:rPr>
                <a:t>Marianne Mastermind</a:t>
              </a:r>
            </a:p>
            <a:p>
              <a:pPr>
                <a:spcBef>
                  <a:spcPts val="300"/>
                </a:spcBef>
                <a:buClr>
                  <a:srgbClr val="879BAA"/>
                </a:buClr>
              </a:pPr>
              <a:r>
                <a:rPr lang="en-US" sz="1199" dirty="0">
                  <a:solidFill>
                    <a:schemeClr val="bg1"/>
                  </a:solidFill>
                  <a:cs typeface="Arial" charset="0"/>
                </a:rPr>
                <a:t>At vero eos et accusam</a:t>
              </a:r>
            </a:p>
          </p:txBody>
        </p:sp>
        <p:sp>
          <p:nvSpPr>
            <p:cNvPr id="254" name="Freeform 70"/>
            <p:cNvSpPr>
              <a:spLocks noEditPoints="1"/>
            </p:cNvSpPr>
            <p:nvPr/>
          </p:nvSpPr>
          <p:spPr bwMode="auto">
            <a:xfrm>
              <a:off x="1450800" y="3931763"/>
              <a:ext cx="593271" cy="774220"/>
            </a:xfrm>
            <a:custGeom>
              <a:avLst/>
              <a:gdLst>
                <a:gd name="T0" fmla="*/ 1439 w 1970"/>
                <a:gd name="T1" fmla="*/ 1960 h 2578"/>
                <a:gd name="T2" fmla="*/ 985 w 1970"/>
                <a:gd name="T3" fmla="*/ 2328 h 2578"/>
                <a:gd name="T4" fmla="*/ 532 w 1970"/>
                <a:gd name="T5" fmla="*/ 1960 h 2578"/>
                <a:gd name="T6" fmla="*/ 601 w 1970"/>
                <a:gd name="T7" fmla="*/ 1955 h 2578"/>
                <a:gd name="T8" fmla="*/ 651 w 1970"/>
                <a:gd name="T9" fmla="*/ 1973 h 2578"/>
                <a:gd name="T10" fmla="*/ 825 w 1970"/>
                <a:gd name="T11" fmla="*/ 2068 h 2578"/>
                <a:gd name="T12" fmla="*/ 985 w 1970"/>
                <a:gd name="T13" fmla="*/ 2014 h 2578"/>
                <a:gd name="T14" fmla="*/ 1145 w 1970"/>
                <a:gd name="T15" fmla="*/ 2068 h 2578"/>
                <a:gd name="T16" fmla="*/ 1320 w 1970"/>
                <a:gd name="T17" fmla="*/ 1973 h 2578"/>
                <a:gd name="T18" fmla="*/ 1369 w 1970"/>
                <a:gd name="T19" fmla="*/ 1955 h 2578"/>
                <a:gd name="T20" fmla="*/ 1911 w 1970"/>
                <a:gd name="T21" fmla="*/ 1316 h 2578"/>
                <a:gd name="T22" fmla="*/ 1740 w 1970"/>
                <a:gd name="T23" fmla="*/ 1613 h 2578"/>
                <a:gd name="T24" fmla="*/ 1478 w 1970"/>
                <a:gd name="T25" fmla="*/ 1833 h 2578"/>
                <a:gd name="T26" fmla="*/ 1156 w 1970"/>
                <a:gd name="T27" fmla="*/ 1950 h 2578"/>
                <a:gd name="T28" fmla="*/ 814 w 1970"/>
                <a:gd name="T29" fmla="*/ 1950 h 2578"/>
                <a:gd name="T30" fmla="*/ 492 w 1970"/>
                <a:gd name="T31" fmla="*/ 1833 h 2578"/>
                <a:gd name="T32" fmla="*/ 230 w 1970"/>
                <a:gd name="T33" fmla="*/ 1613 h 2578"/>
                <a:gd name="T34" fmla="*/ 59 w 1970"/>
                <a:gd name="T35" fmla="*/ 1316 h 2578"/>
                <a:gd name="T36" fmla="*/ 0 w 1970"/>
                <a:gd name="T37" fmla="*/ 979 h 2578"/>
                <a:gd name="T38" fmla="*/ 59 w 1970"/>
                <a:gd name="T39" fmla="*/ 642 h 2578"/>
                <a:gd name="T40" fmla="*/ 230 w 1970"/>
                <a:gd name="T41" fmla="*/ 346 h 2578"/>
                <a:gd name="T42" fmla="*/ 492 w 1970"/>
                <a:gd name="T43" fmla="*/ 126 h 2578"/>
                <a:gd name="T44" fmla="*/ 814 w 1970"/>
                <a:gd name="T45" fmla="*/ 9 h 2578"/>
                <a:gd name="T46" fmla="*/ 1156 w 1970"/>
                <a:gd name="T47" fmla="*/ 9 h 2578"/>
                <a:gd name="T48" fmla="*/ 1478 w 1970"/>
                <a:gd name="T49" fmla="*/ 126 h 2578"/>
                <a:gd name="T50" fmla="*/ 1740 w 1970"/>
                <a:gd name="T51" fmla="*/ 346 h 2578"/>
                <a:gd name="T52" fmla="*/ 1911 w 1970"/>
                <a:gd name="T53" fmla="*/ 642 h 2578"/>
                <a:gd name="T54" fmla="*/ 1970 w 1970"/>
                <a:gd name="T55" fmla="*/ 979 h 2578"/>
                <a:gd name="T56" fmla="*/ 1911 w 1970"/>
                <a:gd name="T57" fmla="*/ 1316 h 2578"/>
                <a:gd name="T58" fmla="*/ 985 w 1970"/>
                <a:gd name="T59" fmla="*/ 203 h 2578"/>
                <a:gd name="T60" fmla="*/ 985 w 1970"/>
                <a:gd name="T61" fmla="*/ 1756 h 2578"/>
                <a:gd name="T62" fmla="*/ 1645 w 1970"/>
                <a:gd name="T63" fmla="*/ 979 h 2578"/>
                <a:gd name="T64" fmla="*/ 326 w 1970"/>
                <a:gd name="T65" fmla="*/ 979 h 2578"/>
                <a:gd name="T66" fmla="*/ 1645 w 1970"/>
                <a:gd name="T67" fmla="*/ 979 h 2578"/>
                <a:gd name="T68" fmla="*/ 732 w 1970"/>
                <a:gd name="T69" fmla="*/ 925 h 2578"/>
                <a:gd name="T70" fmla="*/ 582 w 1970"/>
                <a:gd name="T71" fmla="*/ 816 h 2578"/>
                <a:gd name="T72" fmla="*/ 432 w 1970"/>
                <a:gd name="T73" fmla="*/ 925 h 2578"/>
                <a:gd name="T74" fmla="*/ 490 w 1970"/>
                <a:gd name="T75" fmla="*/ 1101 h 2578"/>
                <a:gd name="T76" fmla="*/ 675 w 1970"/>
                <a:gd name="T77" fmla="*/ 1101 h 2578"/>
                <a:gd name="T78" fmla="*/ 1042 w 1970"/>
                <a:gd name="T79" fmla="*/ 992 h 2578"/>
                <a:gd name="T80" fmla="*/ 1021 w 1970"/>
                <a:gd name="T81" fmla="*/ 925 h 2578"/>
                <a:gd name="T82" fmla="*/ 950 w 1970"/>
                <a:gd name="T83" fmla="*/ 925 h 2578"/>
                <a:gd name="T84" fmla="*/ 928 w 1970"/>
                <a:gd name="T85" fmla="*/ 992 h 2578"/>
                <a:gd name="T86" fmla="*/ 985 w 1970"/>
                <a:gd name="T87" fmla="*/ 1034 h 2578"/>
                <a:gd name="T88" fmla="*/ 1042 w 1970"/>
                <a:gd name="T89" fmla="*/ 992 h 2578"/>
                <a:gd name="T90" fmla="*/ 1538 w 1970"/>
                <a:gd name="T91" fmla="*/ 925 h 2578"/>
                <a:gd name="T92" fmla="*/ 1388 w 1970"/>
                <a:gd name="T93" fmla="*/ 816 h 2578"/>
                <a:gd name="T94" fmla="*/ 1238 w 1970"/>
                <a:gd name="T95" fmla="*/ 925 h 2578"/>
                <a:gd name="T96" fmla="*/ 1295 w 1970"/>
                <a:gd name="T97" fmla="*/ 1101 h 2578"/>
                <a:gd name="T98" fmla="*/ 1481 w 1970"/>
                <a:gd name="T99" fmla="*/ 1101 h 2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70" h="2578">
                  <a:moveTo>
                    <a:pt x="1431" y="1960"/>
                  </a:moveTo>
                  <a:cubicBezTo>
                    <a:pt x="1434" y="1960"/>
                    <a:pt x="1436" y="1960"/>
                    <a:pt x="1439" y="1960"/>
                  </a:cubicBezTo>
                  <a:cubicBezTo>
                    <a:pt x="1439" y="2578"/>
                    <a:pt x="1439" y="2578"/>
                    <a:pt x="1439" y="2578"/>
                  </a:cubicBezTo>
                  <a:cubicBezTo>
                    <a:pt x="985" y="2328"/>
                    <a:pt x="985" y="2328"/>
                    <a:pt x="985" y="2328"/>
                  </a:cubicBezTo>
                  <a:cubicBezTo>
                    <a:pt x="532" y="2578"/>
                    <a:pt x="532" y="2578"/>
                    <a:pt x="532" y="2578"/>
                  </a:cubicBezTo>
                  <a:cubicBezTo>
                    <a:pt x="532" y="1960"/>
                    <a:pt x="532" y="1960"/>
                    <a:pt x="532" y="1960"/>
                  </a:cubicBezTo>
                  <a:cubicBezTo>
                    <a:pt x="534" y="1960"/>
                    <a:pt x="536" y="1960"/>
                    <a:pt x="539" y="1960"/>
                  </a:cubicBezTo>
                  <a:cubicBezTo>
                    <a:pt x="561" y="1960"/>
                    <a:pt x="582" y="1957"/>
                    <a:pt x="601" y="1955"/>
                  </a:cubicBezTo>
                  <a:cubicBezTo>
                    <a:pt x="612" y="1954"/>
                    <a:pt x="623" y="1953"/>
                    <a:pt x="631" y="1952"/>
                  </a:cubicBezTo>
                  <a:cubicBezTo>
                    <a:pt x="637" y="1958"/>
                    <a:pt x="645" y="1966"/>
                    <a:pt x="651" y="1973"/>
                  </a:cubicBezTo>
                  <a:cubicBezTo>
                    <a:pt x="682" y="2007"/>
                    <a:pt x="725" y="2053"/>
                    <a:pt x="794" y="2065"/>
                  </a:cubicBezTo>
                  <a:cubicBezTo>
                    <a:pt x="804" y="2067"/>
                    <a:pt x="815" y="2068"/>
                    <a:pt x="825" y="2068"/>
                  </a:cubicBezTo>
                  <a:cubicBezTo>
                    <a:pt x="879" y="2068"/>
                    <a:pt x="922" y="2046"/>
                    <a:pt x="957" y="2028"/>
                  </a:cubicBezTo>
                  <a:cubicBezTo>
                    <a:pt x="966" y="2023"/>
                    <a:pt x="977" y="2017"/>
                    <a:pt x="985" y="2014"/>
                  </a:cubicBezTo>
                  <a:cubicBezTo>
                    <a:pt x="993" y="2017"/>
                    <a:pt x="1005" y="2023"/>
                    <a:pt x="1013" y="2028"/>
                  </a:cubicBezTo>
                  <a:cubicBezTo>
                    <a:pt x="1048" y="2046"/>
                    <a:pt x="1092" y="2068"/>
                    <a:pt x="1145" y="2068"/>
                  </a:cubicBezTo>
                  <a:cubicBezTo>
                    <a:pt x="1156" y="2068"/>
                    <a:pt x="1166" y="2067"/>
                    <a:pt x="1176" y="2065"/>
                  </a:cubicBezTo>
                  <a:cubicBezTo>
                    <a:pt x="1245" y="2053"/>
                    <a:pt x="1288" y="2007"/>
                    <a:pt x="1320" y="1973"/>
                  </a:cubicBezTo>
                  <a:cubicBezTo>
                    <a:pt x="1325" y="1966"/>
                    <a:pt x="1334" y="1958"/>
                    <a:pt x="1339" y="1952"/>
                  </a:cubicBezTo>
                  <a:cubicBezTo>
                    <a:pt x="1348" y="1953"/>
                    <a:pt x="1359" y="1954"/>
                    <a:pt x="1369" y="1955"/>
                  </a:cubicBezTo>
                  <a:cubicBezTo>
                    <a:pt x="1388" y="1957"/>
                    <a:pt x="1409" y="1960"/>
                    <a:pt x="1431" y="1960"/>
                  </a:cubicBezTo>
                  <a:close/>
                  <a:moveTo>
                    <a:pt x="1911" y="1316"/>
                  </a:moveTo>
                  <a:cubicBezTo>
                    <a:pt x="1892" y="1369"/>
                    <a:pt x="1806" y="1390"/>
                    <a:pt x="1779" y="1437"/>
                  </a:cubicBezTo>
                  <a:cubicBezTo>
                    <a:pt x="1751" y="1485"/>
                    <a:pt x="1775" y="1570"/>
                    <a:pt x="1740" y="1613"/>
                  </a:cubicBezTo>
                  <a:cubicBezTo>
                    <a:pt x="1704" y="1655"/>
                    <a:pt x="1616" y="1645"/>
                    <a:pt x="1574" y="1681"/>
                  </a:cubicBezTo>
                  <a:cubicBezTo>
                    <a:pt x="1532" y="1717"/>
                    <a:pt x="1526" y="1805"/>
                    <a:pt x="1478" y="1833"/>
                  </a:cubicBezTo>
                  <a:cubicBezTo>
                    <a:pt x="1430" y="1860"/>
                    <a:pt x="1351" y="1821"/>
                    <a:pt x="1298" y="1840"/>
                  </a:cubicBezTo>
                  <a:cubicBezTo>
                    <a:pt x="1247" y="1859"/>
                    <a:pt x="1211" y="1940"/>
                    <a:pt x="1156" y="1950"/>
                  </a:cubicBezTo>
                  <a:cubicBezTo>
                    <a:pt x="1103" y="1959"/>
                    <a:pt x="1041" y="1895"/>
                    <a:pt x="985" y="1895"/>
                  </a:cubicBezTo>
                  <a:cubicBezTo>
                    <a:pt x="929" y="1895"/>
                    <a:pt x="868" y="1959"/>
                    <a:pt x="814" y="1950"/>
                  </a:cubicBezTo>
                  <a:cubicBezTo>
                    <a:pt x="759" y="1940"/>
                    <a:pt x="723" y="1859"/>
                    <a:pt x="672" y="1840"/>
                  </a:cubicBezTo>
                  <a:cubicBezTo>
                    <a:pt x="619" y="1821"/>
                    <a:pt x="540" y="1860"/>
                    <a:pt x="492" y="1833"/>
                  </a:cubicBezTo>
                  <a:cubicBezTo>
                    <a:pt x="444" y="1805"/>
                    <a:pt x="439" y="1717"/>
                    <a:pt x="396" y="1681"/>
                  </a:cubicBezTo>
                  <a:cubicBezTo>
                    <a:pt x="354" y="1645"/>
                    <a:pt x="266" y="1655"/>
                    <a:pt x="230" y="1613"/>
                  </a:cubicBezTo>
                  <a:cubicBezTo>
                    <a:pt x="195" y="1570"/>
                    <a:pt x="219" y="1485"/>
                    <a:pt x="192" y="1437"/>
                  </a:cubicBezTo>
                  <a:cubicBezTo>
                    <a:pt x="164" y="1390"/>
                    <a:pt x="78" y="1369"/>
                    <a:pt x="59" y="1316"/>
                  </a:cubicBezTo>
                  <a:cubicBezTo>
                    <a:pt x="40" y="1265"/>
                    <a:pt x="92" y="1194"/>
                    <a:pt x="83" y="1138"/>
                  </a:cubicBezTo>
                  <a:cubicBezTo>
                    <a:pt x="73" y="1085"/>
                    <a:pt x="0" y="1036"/>
                    <a:pt x="0" y="979"/>
                  </a:cubicBezTo>
                  <a:cubicBezTo>
                    <a:pt x="0" y="923"/>
                    <a:pt x="73" y="874"/>
                    <a:pt x="83" y="820"/>
                  </a:cubicBezTo>
                  <a:cubicBezTo>
                    <a:pt x="92" y="765"/>
                    <a:pt x="40" y="694"/>
                    <a:pt x="59" y="642"/>
                  </a:cubicBezTo>
                  <a:cubicBezTo>
                    <a:pt x="78" y="590"/>
                    <a:pt x="164" y="569"/>
                    <a:pt x="192" y="521"/>
                  </a:cubicBezTo>
                  <a:cubicBezTo>
                    <a:pt x="219" y="473"/>
                    <a:pt x="195" y="388"/>
                    <a:pt x="230" y="346"/>
                  </a:cubicBezTo>
                  <a:cubicBezTo>
                    <a:pt x="266" y="304"/>
                    <a:pt x="354" y="313"/>
                    <a:pt x="396" y="278"/>
                  </a:cubicBezTo>
                  <a:cubicBezTo>
                    <a:pt x="439" y="242"/>
                    <a:pt x="444" y="154"/>
                    <a:pt x="492" y="126"/>
                  </a:cubicBezTo>
                  <a:cubicBezTo>
                    <a:pt x="540" y="98"/>
                    <a:pt x="619" y="137"/>
                    <a:pt x="672" y="118"/>
                  </a:cubicBezTo>
                  <a:cubicBezTo>
                    <a:pt x="723" y="100"/>
                    <a:pt x="759" y="19"/>
                    <a:pt x="814" y="9"/>
                  </a:cubicBezTo>
                  <a:cubicBezTo>
                    <a:pt x="868" y="0"/>
                    <a:pt x="929" y="63"/>
                    <a:pt x="985" y="63"/>
                  </a:cubicBezTo>
                  <a:cubicBezTo>
                    <a:pt x="1041" y="63"/>
                    <a:pt x="1103" y="0"/>
                    <a:pt x="1156" y="9"/>
                  </a:cubicBezTo>
                  <a:cubicBezTo>
                    <a:pt x="1211" y="19"/>
                    <a:pt x="1247" y="100"/>
                    <a:pt x="1298" y="118"/>
                  </a:cubicBezTo>
                  <a:cubicBezTo>
                    <a:pt x="1351" y="137"/>
                    <a:pt x="1430" y="98"/>
                    <a:pt x="1478" y="126"/>
                  </a:cubicBezTo>
                  <a:cubicBezTo>
                    <a:pt x="1526" y="154"/>
                    <a:pt x="1532" y="242"/>
                    <a:pt x="1574" y="278"/>
                  </a:cubicBezTo>
                  <a:cubicBezTo>
                    <a:pt x="1616" y="313"/>
                    <a:pt x="1704" y="304"/>
                    <a:pt x="1740" y="346"/>
                  </a:cubicBezTo>
                  <a:cubicBezTo>
                    <a:pt x="1775" y="388"/>
                    <a:pt x="1751" y="473"/>
                    <a:pt x="1779" y="521"/>
                  </a:cubicBezTo>
                  <a:cubicBezTo>
                    <a:pt x="1806" y="569"/>
                    <a:pt x="1892" y="590"/>
                    <a:pt x="1911" y="642"/>
                  </a:cubicBezTo>
                  <a:cubicBezTo>
                    <a:pt x="1930" y="694"/>
                    <a:pt x="1878" y="765"/>
                    <a:pt x="1887" y="820"/>
                  </a:cubicBezTo>
                  <a:cubicBezTo>
                    <a:pt x="1897" y="874"/>
                    <a:pt x="1970" y="923"/>
                    <a:pt x="1970" y="979"/>
                  </a:cubicBezTo>
                  <a:cubicBezTo>
                    <a:pt x="1970" y="1036"/>
                    <a:pt x="1897" y="1085"/>
                    <a:pt x="1887" y="1138"/>
                  </a:cubicBezTo>
                  <a:cubicBezTo>
                    <a:pt x="1878" y="1194"/>
                    <a:pt x="1930" y="1265"/>
                    <a:pt x="1911" y="1316"/>
                  </a:cubicBezTo>
                  <a:close/>
                  <a:moveTo>
                    <a:pt x="1762" y="979"/>
                  </a:moveTo>
                  <a:cubicBezTo>
                    <a:pt x="1762" y="551"/>
                    <a:pt x="1413" y="203"/>
                    <a:pt x="985" y="203"/>
                  </a:cubicBezTo>
                  <a:cubicBezTo>
                    <a:pt x="557" y="203"/>
                    <a:pt x="208" y="551"/>
                    <a:pt x="208" y="979"/>
                  </a:cubicBezTo>
                  <a:cubicBezTo>
                    <a:pt x="208" y="1408"/>
                    <a:pt x="557" y="1756"/>
                    <a:pt x="985" y="1756"/>
                  </a:cubicBezTo>
                  <a:cubicBezTo>
                    <a:pt x="1413" y="1756"/>
                    <a:pt x="1762" y="1408"/>
                    <a:pt x="1762" y="979"/>
                  </a:cubicBezTo>
                  <a:close/>
                  <a:moveTo>
                    <a:pt x="1645" y="979"/>
                  </a:moveTo>
                  <a:cubicBezTo>
                    <a:pt x="1645" y="1343"/>
                    <a:pt x="1349" y="1639"/>
                    <a:pt x="985" y="1639"/>
                  </a:cubicBezTo>
                  <a:cubicBezTo>
                    <a:pt x="621" y="1639"/>
                    <a:pt x="326" y="1343"/>
                    <a:pt x="326" y="979"/>
                  </a:cubicBezTo>
                  <a:cubicBezTo>
                    <a:pt x="326" y="616"/>
                    <a:pt x="621" y="320"/>
                    <a:pt x="985" y="320"/>
                  </a:cubicBezTo>
                  <a:cubicBezTo>
                    <a:pt x="1349" y="320"/>
                    <a:pt x="1645" y="616"/>
                    <a:pt x="1645" y="979"/>
                  </a:cubicBezTo>
                  <a:close/>
                  <a:moveTo>
                    <a:pt x="640" y="992"/>
                  </a:moveTo>
                  <a:cubicBezTo>
                    <a:pt x="732" y="925"/>
                    <a:pt x="732" y="925"/>
                    <a:pt x="732" y="925"/>
                  </a:cubicBezTo>
                  <a:cubicBezTo>
                    <a:pt x="618" y="925"/>
                    <a:pt x="618" y="925"/>
                    <a:pt x="618" y="925"/>
                  </a:cubicBezTo>
                  <a:cubicBezTo>
                    <a:pt x="582" y="816"/>
                    <a:pt x="582" y="816"/>
                    <a:pt x="582" y="816"/>
                  </a:cubicBezTo>
                  <a:cubicBezTo>
                    <a:pt x="547" y="925"/>
                    <a:pt x="547" y="925"/>
                    <a:pt x="547" y="925"/>
                  </a:cubicBezTo>
                  <a:cubicBezTo>
                    <a:pt x="432" y="925"/>
                    <a:pt x="432" y="925"/>
                    <a:pt x="432" y="925"/>
                  </a:cubicBezTo>
                  <a:cubicBezTo>
                    <a:pt x="525" y="992"/>
                    <a:pt x="525" y="992"/>
                    <a:pt x="525" y="992"/>
                  </a:cubicBezTo>
                  <a:cubicBezTo>
                    <a:pt x="490" y="1101"/>
                    <a:pt x="490" y="1101"/>
                    <a:pt x="490" y="1101"/>
                  </a:cubicBezTo>
                  <a:cubicBezTo>
                    <a:pt x="582" y="1034"/>
                    <a:pt x="582" y="1034"/>
                    <a:pt x="582" y="1034"/>
                  </a:cubicBezTo>
                  <a:cubicBezTo>
                    <a:pt x="675" y="1101"/>
                    <a:pt x="675" y="1101"/>
                    <a:pt x="675" y="1101"/>
                  </a:cubicBezTo>
                  <a:lnTo>
                    <a:pt x="640" y="992"/>
                  </a:lnTo>
                  <a:close/>
                  <a:moveTo>
                    <a:pt x="1042" y="992"/>
                  </a:moveTo>
                  <a:cubicBezTo>
                    <a:pt x="1135" y="925"/>
                    <a:pt x="1135" y="925"/>
                    <a:pt x="1135" y="925"/>
                  </a:cubicBezTo>
                  <a:cubicBezTo>
                    <a:pt x="1021" y="925"/>
                    <a:pt x="1021" y="925"/>
                    <a:pt x="1021" y="925"/>
                  </a:cubicBezTo>
                  <a:cubicBezTo>
                    <a:pt x="985" y="816"/>
                    <a:pt x="985" y="816"/>
                    <a:pt x="985" y="816"/>
                  </a:cubicBezTo>
                  <a:cubicBezTo>
                    <a:pt x="950" y="925"/>
                    <a:pt x="950" y="925"/>
                    <a:pt x="950" y="925"/>
                  </a:cubicBezTo>
                  <a:cubicBezTo>
                    <a:pt x="835" y="925"/>
                    <a:pt x="835" y="925"/>
                    <a:pt x="835" y="925"/>
                  </a:cubicBezTo>
                  <a:cubicBezTo>
                    <a:pt x="928" y="992"/>
                    <a:pt x="928" y="992"/>
                    <a:pt x="928" y="992"/>
                  </a:cubicBezTo>
                  <a:cubicBezTo>
                    <a:pt x="892" y="1101"/>
                    <a:pt x="892" y="1101"/>
                    <a:pt x="892" y="1101"/>
                  </a:cubicBezTo>
                  <a:cubicBezTo>
                    <a:pt x="985" y="1034"/>
                    <a:pt x="985" y="1034"/>
                    <a:pt x="985" y="1034"/>
                  </a:cubicBezTo>
                  <a:cubicBezTo>
                    <a:pt x="1078" y="1101"/>
                    <a:pt x="1078" y="1101"/>
                    <a:pt x="1078" y="1101"/>
                  </a:cubicBezTo>
                  <a:lnTo>
                    <a:pt x="1042" y="992"/>
                  </a:lnTo>
                  <a:close/>
                  <a:moveTo>
                    <a:pt x="1445" y="992"/>
                  </a:moveTo>
                  <a:cubicBezTo>
                    <a:pt x="1538" y="925"/>
                    <a:pt x="1538" y="925"/>
                    <a:pt x="1538" y="925"/>
                  </a:cubicBezTo>
                  <a:cubicBezTo>
                    <a:pt x="1423" y="925"/>
                    <a:pt x="1423" y="925"/>
                    <a:pt x="1423" y="925"/>
                  </a:cubicBezTo>
                  <a:cubicBezTo>
                    <a:pt x="1388" y="816"/>
                    <a:pt x="1388" y="816"/>
                    <a:pt x="1388" y="816"/>
                  </a:cubicBezTo>
                  <a:cubicBezTo>
                    <a:pt x="1352" y="925"/>
                    <a:pt x="1352" y="925"/>
                    <a:pt x="1352" y="925"/>
                  </a:cubicBezTo>
                  <a:cubicBezTo>
                    <a:pt x="1238" y="925"/>
                    <a:pt x="1238" y="925"/>
                    <a:pt x="1238" y="925"/>
                  </a:cubicBezTo>
                  <a:cubicBezTo>
                    <a:pt x="1330" y="992"/>
                    <a:pt x="1330" y="992"/>
                    <a:pt x="1330" y="992"/>
                  </a:cubicBezTo>
                  <a:cubicBezTo>
                    <a:pt x="1295" y="1101"/>
                    <a:pt x="1295" y="1101"/>
                    <a:pt x="1295" y="1101"/>
                  </a:cubicBezTo>
                  <a:cubicBezTo>
                    <a:pt x="1388" y="1034"/>
                    <a:pt x="1388" y="1034"/>
                    <a:pt x="1388" y="1034"/>
                  </a:cubicBezTo>
                  <a:cubicBezTo>
                    <a:pt x="1481" y="1101"/>
                    <a:pt x="1481" y="1101"/>
                    <a:pt x="1481" y="1101"/>
                  </a:cubicBezTo>
                  <a:lnTo>
                    <a:pt x="1445" y="992"/>
                  </a:lnTo>
                  <a:close/>
                </a:path>
              </a:pathLst>
            </a:custGeom>
            <a:solidFill>
              <a:schemeClr val="bg1"/>
            </a:solidFill>
            <a:ln>
              <a:noFill/>
            </a:ln>
          </p:spPr>
          <p:txBody>
            <a:bodyPr vert="horz" wrap="square" lIns="91392" tIns="45696" rIns="91392" bIns="45696" numCol="1" anchor="t" anchorCtr="0" compatLnSpc="1">
              <a:prstTxWarp prst="textNoShape">
                <a:avLst/>
              </a:prstTxWarp>
            </a:bodyPr>
            <a:lstStyle/>
            <a:p>
              <a:endParaRPr lang="en-US" sz="1799" dirty="0"/>
            </a:p>
          </p:txBody>
        </p:sp>
        <p:sp>
          <p:nvSpPr>
            <p:cNvPr id="279" name="TextBox 278"/>
            <p:cNvSpPr txBox="1">
              <a:spLocks/>
            </p:cNvSpPr>
            <p:nvPr/>
          </p:nvSpPr>
          <p:spPr bwMode="gray">
            <a:xfrm>
              <a:off x="3864488" y="3861275"/>
              <a:ext cx="2233163" cy="2303931"/>
            </a:xfrm>
            <a:prstGeom prst="rect">
              <a:avLst/>
            </a:prstGeom>
            <a:noFill/>
          </p:spPr>
          <p:txBody>
            <a:bodyPr wrap="square" lIns="143925" tIns="0" rIns="0" bIns="0" rtlCol="0" anchor="t" anchorCtr="0">
              <a:noAutofit/>
            </a:bodyPr>
            <a:lstStyle/>
            <a:p>
              <a:pPr>
                <a:spcBef>
                  <a:spcPts val="300"/>
                </a:spcBef>
                <a:buClr>
                  <a:srgbClr val="41AAAA"/>
                </a:buClr>
              </a:pPr>
              <a:r>
                <a:rPr lang="en-US" sz="1199" dirty="0">
                  <a:solidFill>
                    <a:srgbClr val="66667E"/>
                  </a:solidFill>
                </a:rPr>
                <a:t>Department</a:t>
              </a:r>
              <a:br>
                <a:rPr lang="en-US" sz="1199" dirty="0">
                  <a:solidFill>
                    <a:srgbClr val="66667E"/>
                  </a:solidFill>
                </a:rPr>
              </a:br>
              <a:r>
                <a:rPr lang="en-US" sz="1199" dirty="0">
                  <a:solidFill>
                    <a:srgbClr val="66667E"/>
                  </a:solidFill>
                </a:rPr>
                <a:t>Number</a:t>
              </a:r>
            </a:p>
            <a:p>
              <a:pPr>
                <a:spcBef>
                  <a:spcPts val="300"/>
                </a:spcBef>
                <a:buClr>
                  <a:srgbClr val="41AAAA"/>
                </a:buClr>
              </a:pPr>
              <a:r>
                <a:rPr lang="en-US" sz="1199" b="1" dirty="0">
                  <a:solidFill>
                    <a:srgbClr val="66667E"/>
                  </a:solidFill>
                </a:rPr>
                <a:t>Phone</a:t>
              </a:r>
              <a:br>
                <a:rPr lang="en-US" sz="1199" dirty="0">
                  <a:solidFill>
                    <a:srgbClr val="66667E"/>
                  </a:solidFill>
                </a:rPr>
              </a:br>
              <a:r>
                <a:rPr lang="en-US" sz="1199" dirty="0">
                  <a:solidFill>
                    <a:srgbClr val="66667E"/>
                  </a:solidFill>
                </a:rPr>
                <a:t>+49 123 123456-99</a:t>
              </a:r>
            </a:p>
            <a:p>
              <a:pPr>
                <a:spcBef>
                  <a:spcPts val="300"/>
                </a:spcBef>
                <a:buClr>
                  <a:srgbClr val="41AAAA"/>
                </a:buClr>
              </a:pPr>
              <a:r>
                <a:rPr lang="en-US" sz="1199" b="1" dirty="0">
                  <a:solidFill>
                    <a:srgbClr val="66667E"/>
                  </a:solidFill>
                </a:rPr>
                <a:t>Mobile</a:t>
              </a:r>
              <a:br>
                <a:rPr lang="en-US" sz="1199" dirty="0">
                  <a:solidFill>
                    <a:srgbClr val="66667E"/>
                  </a:solidFill>
                </a:rPr>
              </a:br>
              <a:r>
                <a:rPr lang="en-US" sz="1199" dirty="0">
                  <a:solidFill>
                    <a:srgbClr val="66667E"/>
                  </a:solidFill>
                </a:rPr>
                <a:t>+49 123 123456-77</a:t>
              </a:r>
            </a:p>
            <a:p>
              <a:pPr>
                <a:spcBef>
                  <a:spcPts val="300"/>
                </a:spcBef>
                <a:buClr>
                  <a:srgbClr val="41AAAA"/>
                </a:buClr>
              </a:pPr>
              <a:r>
                <a:rPr lang="en-US" sz="1199" b="1" dirty="0">
                  <a:solidFill>
                    <a:srgbClr val="66667E"/>
                  </a:solidFill>
                </a:rPr>
                <a:t>E-mail</a:t>
              </a:r>
              <a:br>
                <a:rPr lang="en-US" sz="1199" dirty="0">
                  <a:solidFill>
                    <a:srgbClr val="66667E"/>
                  </a:solidFill>
                </a:rPr>
              </a:br>
              <a:r>
                <a:rPr lang="en-US" sz="1199" dirty="0">
                  <a:solidFill>
                    <a:srgbClr val="66667E"/>
                  </a:solidFill>
                </a:rPr>
                <a:t>marianne.mastermind@</a:t>
              </a:r>
              <a:br>
                <a:rPr lang="en-US" sz="1199" dirty="0">
                  <a:solidFill>
                    <a:srgbClr val="66667E"/>
                  </a:solidFill>
                </a:rPr>
              </a:br>
              <a:r>
                <a:rPr lang="en-US" sz="1199" dirty="0">
                  <a:solidFill>
                    <a:srgbClr val="66667E"/>
                  </a:solidFill>
                </a:rPr>
                <a:t>siemens.com</a:t>
              </a:r>
            </a:p>
          </p:txBody>
        </p:sp>
        <p:sp>
          <p:nvSpPr>
            <p:cNvPr id="23" name="Freeform 96"/>
            <p:cNvSpPr>
              <a:spLocks noEditPoints="1"/>
            </p:cNvSpPr>
            <p:nvPr/>
          </p:nvSpPr>
          <p:spPr bwMode="auto">
            <a:xfrm>
              <a:off x="2314331" y="4369094"/>
              <a:ext cx="1371414" cy="1798682"/>
            </a:xfrm>
            <a:custGeom>
              <a:avLst/>
              <a:gdLst>
                <a:gd name="T0" fmla="*/ 520 w 1965"/>
                <a:gd name="T1" fmla="*/ 529 h 2570"/>
                <a:gd name="T2" fmla="*/ 983 w 1965"/>
                <a:gd name="T3" fmla="*/ 0 h 2570"/>
                <a:gd name="T4" fmla="*/ 1446 w 1965"/>
                <a:gd name="T5" fmla="*/ 529 h 2570"/>
                <a:gd name="T6" fmla="*/ 983 w 1965"/>
                <a:gd name="T7" fmla="*/ 1058 h 2570"/>
                <a:gd name="T8" fmla="*/ 520 w 1965"/>
                <a:gd name="T9" fmla="*/ 529 h 2570"/>
                <a:gd name="T10" fmla="*/ 1965 w 1965"/>
                <a:gd name="T11" fmla="*/ 1684 h 2570"/>
                <a:gd name="T12" fmla="*/ 1648 w 1965"/>
                <a:gd name="T13" fmla="*/ 1302 h 2570"/>
                <a:gd name="T14" fmla="*/ 1648 w 1965"/>
                <a:gd name="T15" fmla="*/ 1302 h 2570"/>
                <a:gd name="T16" fmla="*/ 1310 w 1965"/>
                <a:gd name="T17" fmla="*/ 1278 h 2570"/>
                <a:gd name="T18" fmla="*/ 1310 w 1965"/>
                <a:gd name="T19" fmla="*/ 1278 h 2570"/>
                <a:gd name="T20" fmla="*/ 1310 w 1965"/>
                <a:gd name="T21" fmla="*/ 1278 h 2570"/>
                <a:gd name="T22" fmla="*/ 983 w 1965"/>
                <a:gd name="T23" fmla="*/ 1606 h 2570"/>
                <a:gd name="T24" fmla="*/ 983 w 1965"/>
                <a:gd name="T25" fmla="*/ 1606 h 2570"/>
                <a:gd name="T26" fmla="*/ 655 w 1965"/>
                <a:gd name="T27" fmla="*/ 1278 h 2570"/>
                <a:gd name="T28" fmla="*/ 655 w 1965"/>
                <a:gd name="T29" fmla="*/ 1278 h 2570"/>
                <a:gd name="T30" fmla="*/ 655 w 1965"/>
                <a:gd name="T31" fmla="*/ 1278 h 2570"/>
                <a:gd name="T32" fmla="*/ 317 w 1965"/>
                <a:gd name="T33" fmla="*/ 1302 h 2570"/>
                <a:gd name="T34" fmla="*/ 317 w 1965"/>
                <a:gd name="T35" fmla="*/ 1302 h 2570"/>
                <a:gd name="T36" fmla="*/ 0 w 1965"/>
                <a:gd name="T37" fmla="*/ 1684 h 2570"/>
                <a:gd name="T38" fmla="*/ 0 w 1965"/>
                <a:gd name="T39" fmla="*/ 1684 h 2570"/>
                <a:gd name="T40" fmla="*/ 0 w 1965"/>
                <a:gd name="T41" fmla="*/ 2570 h 2570"/>
                <a:gd name="T42" fmla="*/ 1965 w 1965"/>
                <a:gd name="T43" fmla="*/ 2570 h 2570"/>
                <a:gd name="T44" fmla="*/ 1965 w 1965"/>
                <a:gd name="T45" fmla="*/ 1684 h 2570"/>
                <a:gd name="T46" fmla="*/ 1965 w 1965"/>
                <a:gd name="T47" fmla="*/ 1684 h 2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5" h="2570">
                  <a:moveTo>
                    <a:pt x="520" y="529"/>
                  </a:moveTo>
                  <a:cubicBezTo>
                    <a:pt x="520" y="212"/>
                    <a:pt x="707" y="0"/>
                    <a:pt x="983" y="0"/>
                  </a:cubicBezTo>
                  <a:cubicBezTo>
                    <a:pt x="1258" y="0"/>
                    <a:pt x="1446" y="212"/>
                    <a:pt x="1446" y="529"/>
                  </a:cubicBezTo>
                  <a:cubicBezTo>
                    <a:pt x="1446" y="846"/>
                    <a:pt x="1258" y="1058"/>
                    <a:pt x="983" y="1058"/>
                  </a:cubicBezTo>
                  <a:cubicBezTo>
                    <a:pt x="707" y="1058"/>
                    <a:pt x="520" y="846"/>
                    <a:pt x="520" y="529"/>
                  </a:cubicBezTo>
                  <a:close/>
                  <a:moveTo>
                    <a:pt x="1965" y="1684"/>
                  </a:moveTo>
                  <a:cubicBezTo>
                    <a:pt x="1961" y="1464"/>
                    <a:pt x="1835" y="1316"/>
                    <a:pt x="1648" y="1302"/>
                  </a:cubicBezTo>
                  <a:cubicBezTo>
                    <a:pt x="1648" y="1302"/>
                    <a:pt x="1648" y="1302"/>
                    <a:pt x="1648" y="1302"/>
                  </a:cubicBezTo>
                  <a:cubicBezTo>
                    <a:pt x="1310" y="1278"/>
                    <a:pt x="1310" y="1278"/>
                    <a:pt x="1310" y="1278"/>
                  </a:cubicBezTo>
                  <a:cubicBezTo>
                    <a:pt x="1310" y="1278"/>
                    <a:pt x="1310" y="1278"/>
                    <a:pt x="1310" y="1278"/>
                  </a:cubicBezTo>
                  <a:cubicBezTo>
                    <a:pt x="1310" y="1278"/>
                    <a:pt x="1310" y="1278"/>
                    <a:pt x="1310" y="1278"/>
                  </a:cubicBezTo>
                  <a:cubicBezTo>
                    <a:pt x="983" y="1606"/>
                    <a:pt x="983" y="1606"/>
                    <a:pt x="983" y="1606"/>
                  </a:cubicBezTo>
                  <a:cubicBezTo>
                    <a:pt x="983" y="1606"/>
                    <a:pt x="983" y="1606"/>
                    <a:pt x="983" y="1606"/>
                  </a:cubicBezTo>
                  <a:cubicBezTo>
                    <a:pt x="655" y="1278"/>
                    <a:pt x="655" y="1278"/>
                    <a:pt x="655" y="1278"/>
                  </a:cubicBezTo>
                  <a:cubicBezTo>
                    <a:pt x="655" y="1278"/>
                    <a:pt x="655" y="1278"/>
                    <a:pt x="655" y="1278"/>
                  </a:cubicBezTo>
                  <a:cubicBezTo>
                    <a:pt x="655" y="1278"/>
                    <a:pt x="655" y="1278"/>
                    <a:pt x="655" y="1278"/>
                  </a:cubicBezTo>
                  <a:cubicBezTo>
                    <a:pt x="317" y="1302"/>
                    <a:pt x="317" y="1302"/>
                    <a:pt x="317" y="1302"/>
                  </a:cubicBezTo>
                  <a:cubicBezTo>
                    <a:pt x="317" y="1302"/>
                    <a:pt x="317" y="1302"/>
                    <a:pt x="317" y="1302"/>
                  </a:cubicBezTo>
                  <a:cubicBezTo>
                    <a:pt x="130" y="1316"/>
                    <a:pt x="4" y="1464"/>
                    <a:pt x="0" y="1684"/>
                  </a:cubicBezTo>
                  <a:cubicBezTo>
                    <a:pt x="0" y="1684"/>
                    <a:pt x="0" y="1684"/>
                    <a:pt x="0" y="1684"/>
                  </a:cubicBezTo>
                  <a:cubicBezTo>
                    <a:pt x="0" y="1761"/>
                    <a:pt x="0" y="2183"/>
                    <a:pt x="0" y="2570"/>
                  </a:cubicBezTo>
                  <a:cubicBezTo>
                    <a:pt x="1965" y="2570"/>
                    <a:pt x="1965" y="2570"/>
                    <a:pt x="1965" y="2570"/>
                  </a:cubicBezTo>
                  <a:cubicBezTo>
                    <a:pt x="1965" y="2183"/>
                    <a:pt x="1965" y="1761"/>
                    <a:pt x="1965" y="1684"/>
                  </a:cubicBezTo>
                  <a:cubicBezTo>
                    <a:pt x="1965" y="1684"/>
                    <a:pt x="1965" y="1684"/>
                    <a:pt x="1965" y="1684"/>
                  </a:cubicBezTo>
                  <a:close/>
                </a:path>
              </a:pathLst>
            </a:custGeom>
            <a:solidFill>
              <a:srgbClr val="66667E"/>
            </a:solidFill>
            <a:ln>
              <a:noFill/>
            </a:ln>
          </p:spPr>
          <p:txBody>
            <a:bodyPr vert="horz" wrap="square" lIns="91392" tIns="45696" rIns="91392" bIns="45696" numCol="1" anchor="t" anchorCtr="0" compatLnSpc="1">
              <a:prstTxWarp prst="textNoShape">
                <a:avLst/>
              </a:prstTxWarp>
            </a:bodyPr>
            <a:lstStyle/>
            <a:p>
              <a:endParaRPr lang="en-US" sz="1799" dirty="0"/>
            </a:p>
          </p:txBody>
        </p:sp>
      </p:grpSp>
      <p:grpSp>
        <p:nvGrpSpPr>
          <p:cNvPr id="7" name="Gruppieren 6">
            <a:extLst>
              <a:ext uri="{FF2B5EF4-FFF2-40B4-BE49-F238E27FC236}">
                <a16:creationId xmlns:a16="http://schemas.microsoft.com/office/drawing/2014/main" id="{E7DAFA10-5BFC-4589-A371-0677EF9EE46F}"/>
              </a:ext>
            </a:extLst>
          </p:cNvPr>
          <p:cNvGrpSpPr/>
          <p:nvPr/>
        </p:nvGrpSpPr>
        <p:grpSpPr>
          <a:xfrm>
            <a:off x="6314399" y="3861051"/>
            <a:ext cx="5472000" cy="2305300"/>
            <a:chOff x="6253009" y="3861275"/>
            <a:chExt cx="5474851" cy="2306501"/>
          </a:xfrm>
        </p:grpSpPr>
        <p:sp>
          <p:nvSpPr>
            <p:cNvPr id="280" name="Rechteck 139"/>
            <p:cNvSpPr>
              <a:spLocks/>
            </p:cNvSpPr>
            <p:nvPr/>
          </p:nvSpPr>
          <p:spPr bwMode="auto">
            <a:xfrm>
              <a:off x="7765797" y="3863845"/>
              <a:ext cx="1728900" cy="2303931"/>
            </a:xfrm>
            <a:prstGeom prst="rect">
              <a:avLst/>
            </a:prstGeom>
            <a:solidFill>
              <a:srgbClr val="E5E5E9"/>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97" name="Textfeld 8"/>
            <p:cNvSpPr txBox="1">
              <a:spLocks/>
            </p:cNvSpPr>
            <p:nvPr/>
          </p:nvSpPr>
          <p:spPr bwMode="gray">
            <a:xfrm>
              <a:off x="6253009" y="3863776"/>
              <a:ext cx="1512788" cy="2304000"/>
            </a:xfrm>
            <a:prstGeom prst="rect">
              <a:avLst/>
            </a:prstGeom>
            <a:solidFill>
              <a:srgbClr val="66667E"/>
            </a:solidFill>
            <a:ln>
              <a:noFill/>
            </a:ln>
          </p:spPr>
          <p:txBody>
            <a:bodyPr wrap="square" lIns="143925" tIns="71963" rIns="143925" bIns="71963" rtlCol="0" anchor="b">
              <a:noAutofit/>
            </a:bodyPr>
            <a:lstStyle/>
            <a:p>
              <a:pPr>
                <a:spcBef>
                  <a:spcPct val="0"/>
                </a:spcBef>
                <a:buClr>
                  <a:srgbClr val="879BAA"/>
                </a:buClr>
              </a:pPr>
              <a:r>
                <a:rPr lang="en-US" sz="1599" b="1" kern="1400" dirty="0">
                  <a:solidFill>
                    <a:schemeClr val="bg1"/>
                  </a:solidFill>
                  <a:ea typeface="ＭＳ Ｐゴシック" pitchFamily="34" charset="-128"/>
                  <a:cs typeface="Arial" charset="0"/>
                </a:rPr>
                <a:t>Marianne Mastermind</a:t>
              </a:r>
            </a:p>
            <a:p>
              <a:pPr>
                <a:spcBef>
                  <a:spcPts val="300"/>
                </a:spcBef>
                <a:buClr>
                  <a:srgbClr val="879BAA"/>
                </a:buClr>
              </a:pPr>
              <a:r>
                <a:rPr lang="en-US" sz="1199" dirty="0">
                  <a:solidFill>
                    <a:schemeClr val="bg1"/>
                  </a:solidFill>
                  <a:cs typeface="Arial" charset="0"/>
                </a:rPr>
                <a:t>At vero eos et accusam</a:t>
              </a:r>
            </a:p>
          </p:txBody>
        </p:sp>
        <p:sp>
          <p:nvSpPr>
            <p:cNvPr id="303" name="TextBox 302"/>
            <p:cNvSpPr txBox="1">
              <a:spLocks/>
            </p:cNvSpPr>
            <p:nvPr/>
          </p:nvSpPr>
          <p:spPr bwMode="gray">
            <a:xfrm>
              <a:off x="9494697" y="3861275"/>
              <a:ext cx="2233163" cy="2306501"/>
            </a:xfrm>
            <a:prstGeom prst="rect">
              <a:avLst/>
            </a:prstGeom>
            <a:noFill/>
          </p:spPr>
          <p:txBody>
            <a:bodyPr wrap="square" lIns="143925" tIns="0" rIns="0" bIns="0" rtlCol="0" anchor="t" anchorCtr="0">
              <a:noAutofit/>
            </a:bodyPr>
            <a:lstStyle/>
            <a:p>
              <a:pPr>
                <a:spcBef>
                  <a:spcPts val="300"/>
                </a:spcBef>
                <a:buClr>
                  <a:srgbClr val="41AAAA"/>
                </a:buClr>
              </a:pPr>
              <a:r>
                <a:rPr lang="en-US" sz="1199" dirty="0">
                  <a:solidFill>
                    <a:srgbClr val="66667E"/>
                  </a:solidFill>
                </a:rPr>
                <a:t>Department</a:t>
              </a:r>
              <a:br>
                <a:rPr lang="en-US" sz="1199" dirty="0">
                  <a:solidFill>
                    <a:srgbClr val="66667E"/>
                  </a:solidFill>
                </a:rPr>
              </a:br>
              <a:r>
                <a:rPr lang="en-US" sz="1199" dirty="0">
                  <a:solidFill>
                    <a:srgbClr val="66667E"/>
                  </a:solidFill>
                </a:rPr>
                <a:t>Number</a:t>
              </a:r>
            </a:p>
            <a:p>
              <a:pPr>
                <a:spcBef>
                  <a:spcPts val="300"/>
                </a:spcBef>
                <a:buClr>
                  <a:srgbClr val="41AAAA"/>
                </a:buClr>
              </a:pPr>
              <a:r>
                <a:rPr lang="en-US" sz="1199" b="1" dirty="0">
                  <a:solidFill>
                    <a:srgbClr val="66667E"/>
                  </a:solidFill>
                </a:rPr>
                <a:t>Phone</a:t>
              </a:r>
              <a:br>
                <a:rPr lang="en-US" sz="1199" dirty="0">
                  <a:solidFill>
                    <a:srgbClr val="66667E"/>
                  </a:solidFill>
                </a:rPr>
              </a:br>
              <a:r>
                <a:rPr lang="en-US" sz="1199" dirty="0">
                  <a:solidFill>
                    <a:srgbClr val="66667E"/>
                  </a:solidFill>
                </a:rPr>
                <a:t>+49 123 123456-99</a:t>
              </a:r>
            </a:p>
            <a:p>
              <a:pPr>
                <a:spcBef>
                  <a:spcPts val="300"/>
                </a:spcBef>
                <a:buClr>
                  <a:srgbClr val="41AAAA"/>
                </a:buClr>
              </a:pPr>
              <a:r>
                <a:rPr lang="en-US" sz="1199" b="1" dirty="0">
                  <a:solidFill>
                    <a:srgbClr val="66667E"/>
                  </a:solidFill>
                </a:rPr>
                <a:t>Mobile</a:t>
              </a:r>
              <a:br>
                <a:rPr lang="en-US" sz="1199" dirty="0">
                  <a:solidFill>
                    <a:srgbClr val="66667E"/>
                  </a:solidFill>
                </a:rPr>
              </a:br>
              <a:r>
                <a:rPr lang="en-US" sz="1199" dirty="0">
                  <a:solidFill>
                    <a:srgbClr val="66667E"/>
                  </a:solidFill>
                </a:rPr>
                <a:t>+49 123 123456-77</a:t>
              </a:r>
            </a:p>
            <a:p>
              <a:pPr>
                <a:spcBef>
                  <a:spcPts val="300"/>
                </a:spcBef>
                <a:buClr>
                  <a:srgbClr val="41AAAA"/>
                </a:buClr>
              </a:pPr>
              <a:r>
                <a:rPr lang="en-US" sz="1199" b="1" dirty="0">
                  <a:solidFill>
                    <a:srgbClr val="66667E"/>
                  </a:solidFill>
                </a:rPr>
                <a:t>E-mail</a:t>
              </a:r>
              <a:br>
                <a:rPr lang="en-US" sz="1199" dirty="0">
                  <a:solidFill>
                    <a:srgbClr val="66667E"/>
                  </a:solidFill>
                </a:rPr>
              </a:br>
              <a:r>
                <a:rPr lang="en-US" sz="1199" dirty="0">
                  <a:solidFill>
                    <a:srgbClr val="66667E"/>
                  </a:solidFill>
                </a:rPr>
                <a:t>marianne.mastermind@</a:t>
              </a:r>
              <a:br>
                <a:rPr lang="en-US" sz="1199" dirty="0">
                  <a:solidFill>
                    <a:srgbClr val="66667E"/>
                  </a:solidFill>
                </a:rPr>
              </a:br>
              <a:r>
                <a:rPr lang="en-US" sz="1199" dirty="0">
                  <a:solidFill>
                    <a:srgbClr val="66667E"/>
                  </a:solidFill>
                </a:rPr>
                <a:t>siemens.com</a:t>
              </a:r>
            </a:p>
          </p:txBody>
        </p:sp>
        <p:sp>
          <p:nvSpPr>
            <p:cNvPr id="24" name="Freeform 96"/>
            <p:cNvSpPr>
              <a:spLocks noEditPoints="1"/>
            </p:cNvSpPr>
            <p:nvPr/>
          </p:nvSpPr>
          <p:spPr bwMode="auto">
            <a:xfrm>
              <a:off x="7944540" y="4369094"/>
              <a:ext cx="1371414" cy="1798682"/>
            </a:xfrm>
            <a:custGeom>
              <a:avLst/>
              <a:gdLst>
                <a:gd name="T0" fmla="*/ 520 w 1965"/>
                <a:gd name="T1" fmla="*/ 529 h 2570"/>
                <a:gd name="T2" fmla="*/ 983 w 1965"/>
                <a:gd name="T3" fmla="*/ 0 h 2570"/>
                <a:gd name="T4" fmla="*/ 1446 w 1965"/>
                <a:gd name="T5" fmla="*/ 529 h 2570"/>
                <a:gd name="T6" fmla="*/ 983 w 1965"/>
                <a:gd name="T7" fmla="*/ 1058 h 2570"/>
                <a:gd name="T8" fmla="*/ 520 w 1965"/>
                <a:gd name="T9" fmla="*/ 529 h 2570"/>
                <a:gd name="T10" fmla="*/ 1965 w 1965"/>
                <a:gd name="T11" fmla="*/ 1684 h 2570"/>
                <a:gd name="T12" fmla="*/ 1648 w 1965"/>
                <a:gd name="T13" fmla="*/ 1302 h 2570"/>
                <a:gd name="T14" fmla="*/ 1648 w 1965"/>
                <a:gd name="T15" fmla="*/ 1302 h 2570"/>
                <a:gd name="T16" fmla="*/ 1310 w 1965"/>
                <a:gd name="T17" fmla="*/ 1278 h 2570"/>
                <a:gd name="T18" fmla="*/ 1310 w 1965"/>
                <a:gd name="T19" fmla="*/ 1278 h 2570"/>
                <a:gd name="T20" fmla="*/ 1310 w 1965"/>
                <a:gd name="T21" fmla="*/ 1278 h 2570"/>
                <a:gd name="T22" fmla="*/ 983 w 1965"/>
                <a:gd name="T23" fmla="*/ 1606 h 2570"/>
                <a:gd name="T24" fmla="*/ 983 w 1965"/>
                <a:gd name="T25" fmla="*/ 1606 h 2570"/>
                <a:gd name="T26" fmla="*/ 655 w 1965"/>
                <a:gd name="T27" fmla="*/ 1278 h 2570"/>
                <a:gd name="T28" fmla="*/ 655 w 1965"/>
                <a:gd name="T29" fmla="*/ 1278 h 2570"/>
                <a:gd name="T30" fmla="*/ 655 w 1965"/>
                <a:gd name="T31" fmla="*/ 1278 h 2570"/>
                <a:gd name="T32" fmla="*/ 317 w 1965"/>
                <a:gd name="T33" fmla="*/ 1302 h 2570"/>
                <a:gd name="T34" fmla="*/ 317 w 1965"/>
                <a:gd name="T35" fmla="*/ 1302 h 2570"/>
                <a:gd name="T36" fmla="*/ 0 w 1965"/>
                <a:gd name="T37" fmla="*/ 1684 h 2570"/>
                <a:gd name="T38" fmla="*/ 0 w 1965"/>
                <a:gd name="T39" fmla="*/ 1684 h 2570"/>
                <a:gd name="T40" fmla="*/ 0 w 1965"/>
                <a:gd name="T41" fmla="*/ 2570 h 2570"/>
                <a:gd name="T42" fmla="*/ 1965 w 1965"/>
                <a:gd name="T43" fmla="*/ 2570 h 2570"/>
                <a:gd name="T44" fmla="*/ 1965 w 1965"/>
                <a:gd name="T45" fmla="*/ 1684 h 2570"/>
                <a:gd name="T46" fmla="*/ 1965 w 1965"/>
                <a:gd name="T47" fmla="*/ 1684 h 2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5" h="2570">
                  <a:moveTo>
                    <a:pt x="520" y="529"/>
                  </a:moveTo>
                  <a:cubicBezTo>
                    <a:pt x="520" y="212"/>
                    <a:pt x="707" y="0"/>
                    <a:pt x="983" y="0"/>
                  </a:cubicBezTo>
                  <a:cubicBezTo>
                    <a:pt x="1258" y="0"/>
                    <a:pt x="1446" y="212"/>
                    <a:pt x="1446" y="529"/>
                  </a:cubicBezTo>
                  <a:cubicBezTo>
                    <a:pt x="1446" y="846"/>
                    <a:pt x="1258" y="1058"/>
                    <a:pt x="983" y="1058"/>
                  </a:cubicBezTo>
                  <a:cubicBezTo>
                    <a:pt x="707" y="1058"/>
                    <a:pt x="520" y="846"/>
                    <a:pt x="520" y="529"/>
                  </a:cubicBezTo>
                  <a:close/>
                  <a:moveTo>
                    <a:pt x="1965" y="1684"/>
                  </a:moveTo>
                  <a:cubicBezTo>
                    <a:pt x="1961" y="1464"/>
                    <a:pt x="1835" y="1316"/>
                    <a:pt x="1648" y="1302"/>
                  </a:cubicBezTo>
                  <a:cubicBezTo>
                    <a:pt x="1648" y="1302"/>
                    <a:pt x="1648" y="1302"/>
                    <a:pt x="1648" y="1302"/>
                  </a:cubicBezTo>
                  <a:cubicBezTo>
                    <a:pt x="1310" y="1278"/>
                    <a:pt x="1310" y="1278"/>
                    <a:pt x="1310" y="1278"/>
                  </a:cubicBezTo>
                  <a:cubicBezTo>
                    <a:pt x="1310" y="1278"/>
                    <a:pt x="1310" y="1278"/>
                    <a:pt x="1310" y="1278"/>
                  </a:cubicBezTo>
                  <a:cubicBezTo>
                    <a:pt x="1310" y="1278"/>
                    <a:pt x="1310" y="1278"/>
                    <a:pt x="1310" y="1278"/>
                  </a:cubicBezTo>
                  <a:cubicBezTo>
                    <a:pt x="983" y="1606"/>
                    <a:pt x="983" y="1606"/>
                    <a:pt x="983" y="1606"/>
                  </a:cubicBezTo>
                  <a:cubicBezTo>
                    <a:pt x="983" y="1606"/>
                    <a:pt x="983" y="1606"/>
                    <a:pt x="983" y="1606"/>
                  </a:cubicBezTo>
                  <a:cubicBezTo>
                    <a:pt x="655" y="1278"/>
                    <a:pt x="655" y="1278"/>
                    <a:pt x="655" y="1278"/>
                  </a:cubicBezTo>
                  <a:cubicBezTo>
                    <a:pt x="655" y="1278"/>
                    <a:pt x="655" y="1278"/>
                    <a:pt x="655" y="1278"/>
                  </a:cubicBezTo>
                  <a:cubicBezTo>
                    <a:pt x="655" y="1278"/>
                    <a:pt x="655" y="1278"/>
                    <a:pt x="655" y="1278"/>
                  </a:cubicBezTo>
                  <a:cubicBezTo>
                    <a:pt x="317" y="1302"/>
                    <a:pt x="317" y="1302"/>
                    <a:pt x="317" y="1302"/>
                  </a:cubicBezTo>
                  <a:cubicBezTo>
                    <a:pt x="317" y="1302"/>
                    <a:pt x="317" y="1302"/>
                    <a:pt x="317" y="1302"/>
                  </a:cubicBezTo>
                  <a:cubicBezTo>
                    <a:pt x="130" y="1316"/>
                    <a:pt x="4" y="1464"/>
                    <a:pt x="0" y="1684"/>
                  </a:cubicBezTo>
                  <a:cubicBezTo>
                    <a:pt x="0" y="1684"/>
                    <a:pt x="0" y="1684"/>
                    <a:pt x="0" y="1684"/>
                  </a:cubicBezTo>
                  <a:cubicBezTo>
                    <a:pt x="0" y="1761"/>
                    <a:pt x="0" y="2183"/>
                    <a:pt x="0" y="2570"/>
                  </a:cubicBezTo>
                  <a:cubicBezTo>
                    <a:pt x="1965" y="2570"/>
                    <a:pt x="1965" y="2570"/>
                    <a:pt x="1965" y="2570"/>
                  </a:cubicBezTo>
                  <a:cubicBezTo>
                    <a:pt x="1965" y="2183"/>
                    <a:pt x="1965" y="1761"/>
                    <a:pt x="1965" y="1684"/>
                  </a:cubicBezTo>
                  <a:cubicBezTo>
                    <a:pt x="1965" y="1684"/>
                    <a:pt x="1965" y="1684"/>
                    <a:pt x="1965" y="1684"/>
                  </a:cubicBezTo>
                  <a:close/>
                </a:path>
              </a:pathLst>
            </a:custGeom>
            <a:solidFill>
              <a:srgbClr val="66667E"/>
            </a:solidFill>
            <a:ln>
              <a:noFill/>
            </a:ln>
          </p:spPr>
          <p:txBody>
            <a:bodyPr vert="horz" wrap="square" lIns="91392" tIns="45696" rIns="91392" bIns="45696" numCol="1" anchor="t" anchorCtr="0" compatLnSpc="1">
              <a:prstTxWarp prst="textNoShape">
                <a:avLst/>
              </a:prstTxWarp>
            </a:bodyPr>
            <a:lstStyle/>
            <a:p>
              <a:endParaRPr lang="en-US" sz="1799" dirty="0"/>
            </a:p>
          </p:txBody>
        </p:sp>
      </p:grpSp>
      <p:grpSp>
        <p:nvGrpSpPr>
          <p:cNvPr id="6" name="Gruppieren 5">
            <a:extLst>
              <a:ext uri="{FF2B5EF4-FFF2-40B4-BE49-F238E27FC236}">
                <a16:creationId xmlns:a16="http://schemas.microsoft.com/office/drawing/2014/main" id="{B3B2766A-00F5-4403-B2E6-F79673BE2A60}"/>
              </a:ext>
            </a:extLst>
          </p:cNvPr>
          <p:cNvGrpSpPr/>
          <p:nvPr/>
        </p:nvGrpSpPr>
        <p:grpSpPr>
          <a:xfrm>
            <a:off x="6314399" y="1415848"/>
            <a:ext cx="5472000" cy="2302801"/>
            <a:chOff x="6253009" y="1414800"/>
            <a:chExt cx="5474851" cy="2304000"/>
          </a:xfrm>
        </p:grpSpPr>
        <p:sp>
          <p:nvSpPr>
            <p:cNvPr id="281" name="Textfeld 8"/>
            <p:cNvSpPr txBox="1">
              <a:spLocks/>
            </p:cNvSpPr>
            <p:nvPr/>
          </p:nvSpPr>
          <p:spPr bwMode="gray">
            <a:xfrm>
              <a:off x="6253009" y="1414800"/>
              <a:ext cx="1512788" cy="2304000"/>
            </a:xfrm>
            <a:prstGeom prst="rect">
              <a:avLst/>
            </a:prstGeom>
            <a:solidFill>
              <a:srgbClr val="66667E"/>
            </a:solidFill>
            <a:ln>
              <a:noFill/>
            </a:ln>
          </p:spPr>
          <p:txBody>
            <a:bodyPr wrap="square" lIns="143925" tIns="71963" rIns="143925" bIns="71963" rtlCol="0" anchor="b">
              <a:noAutofit/>
            </a:bodyPr>
            <a:lstStyle/>
            <a:p>
              <a:pPr>
                <a:spcBef>
                  <a:spcPct val="0"/>
                </a:spcBef>
                <a:buClr>
                  <a:srgbClr val="879BAA"/>
                </a:buClr>
              </a:pPr>
              <a:r>
                <a:rPr lang="en-US" sz="1599" b="1" kern="1400" dirty="0">
                  <a:solidFill>
                    <a:schemeClr val="bg1"/>
                  </a:solidFill>
                  <a:ea typeface="ＭＳ Ｐゴシック" pitchFamily="34" charset="-128"/>
                  <a:cs typeface="Arial" charset="0"/>
                </a:rPr>
                <a:t>Sam Sample</a:t>
              </a:r>
            </a:p>
            <a:p>
              <a:pPr>
                <a:spcBef>
                  <a:spcPts val="300"/>
                </a:spcBef>
                <a:buClr>
                  <a:srgbClr val="879BAA"/>
                </a:buClr>
              </a:pPr>
              <a:r>
                <a:rPr lang="en-US" sz="1199" dirty="0">
                  <a:solidFill>
                    <a:schemeClr val="bg1"/>
                  </a:solidFill>
                  <a:cs typeface="Arial" charset="0"/>
                </a:rPr>
                <a:t>At vero eos et accusam</a:t>
              </a:r>
            </a:p>
          </p:txBody>
        </p:sp>
        <p:sp>
          <p:nvSpPr>
            <p:cNvPr id="300" name="Rechteck 137"/>
            <p:cNvSpPr>
              <a:spLocks/>
            </p:cNvSpPr>
            <p:nvPr/>
          </p:nvSpPr>
          <p:spPr bwMode="auto">
            <a:xfrm>
              <a:off x="7765797" y="1414800"/>
              <a:ext cx="1728900" cy="2303463"/>
            </a:xfrm>
            <a:prstGeom prst="rect">
              <a:avLst/>
            </a:prstGeom>
            <a:solidFill>
              <a:srgbClr val="E5E5E9"/>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302" name="TextBox 301"/>
            <p:cNvSpPr txBox="1">
              <a:spLocks/>
            </p:cNvSpPr>
            <p:nvPr/>
          </p:nvSpPr>
          <p:spPr bwMode="gray">
            <a:xfrm>
              <a:off x="9494697" y="1414800"/>
              <a:ext cx="2233163" cy="2303999"/>
            </a:xfrm>
            <a:prstGeom prst="rect">
              <a:avLst/>
            </a:prstGeom>
            <a:noFill/>
          </p:spPr>
          <p:txBody>
            <a:bodyPr wrap="square" lIns="143925" tIns="0" rIns="0" bIns="0" rtlCol="0" anchor="t" anchorCtr="0">
              <a:noAutofit/>
            </a:bodyPr>
            <a:lstStyle/>
            <a:p>
              <a:pPr>
                <a:spcBef>
                  <a:spcPts val="300"/>
                </a:spcBef>
                <a:buClr>
                  <a:srgbClr val="41AAAA"/>
                </a:buClr>
              </a:pPr>
              <a:r>
                <a:rPr lang="en-US" sz="1199" dirty="0">
                  <a:solidFill>
                    <a:srgbClr val="66667E"/>
                  </a:solidFill>
                </a:rPr>
                <a:t>Department</a:t>
              </a:r>
              <a:br>
                <a:rPr lang="en-US" sz="1199" dirty="0">
                  <a:solidFill>
                    <a:srgbClr val="66667E"/>
                  </a:solidFill>
                </a:rPr>
              </a:br>
              <a:r>
                <a:rPr lang="en-US" sz="1199" dirty="0">
                  <a:solidFill>
                    <a:srgbClr val="66667E"/>
                  </a:solidFill>
                </a:rPr>
                <a:t>Number</a:t>
              </a:r>
            </a:p>
            <a:p>
              <a:pPr>
                <a:spcBef>
                  <a:spcPts val="300"/>
                </a:spcBef>
                <a:buClr>
                  <a:srgbClr val="41AAAA"/>
                </a:buClr>
              </a:pPr>
              <a:r>
                <a:rPr lang="en-US" sz="1199" b="1" dirty="0">
                  <a:solidFill>
                    <a:srgbClr val="66667E"/>
                  </a:solidFill>
                </a:rPr>
                <a:t>Phone</a:t>
              </a:r>
              <a:br>
                <a:rPr lang="en-US" sz="1199" dirty="0">
                  <a:solidFill>
                    <a:srgbClr val="66667E"/>
                  </a:solidFill>
                </a:rPr>
              </a:br>
              <a:r>
                <a:rPr lang="en-US" sz="1199" dirty="0">
                  <a:solidFill>
                    <a:srgbClr val="66667E"/>
                  </a:solidFill>
                </a:rPr>
                <a:t>+49 123 123456-99</a:t>
              </a:r>
            </a:p>
            <a:p>
              <a:pPr>
                <a:spcBef>
                  <a:spcPts val="300"/>
                </a:spcBef>
                <a:buClr>
                  <a:srgbClr val="41AAAA"/>
                </a:buClr>
              </a:pPr>
              <a:r>
                <a:rPr lang="en-US" sz="1199" b="1" dirty="0">
                  <a:solidFill>
                    <a:srgbClr val="66667E"/>
                  </a:solidFill>
                </a:rPr>
                <a:t>Mobile</a:t>
              </a:r>
              <a:br>
                <a:rPr lang="en-US" sz="1199" dirty="0">
                  <a:solidFill>
                    <a:srgbClr val="66667E"/>
                  </a:solidFill>
                </a:rPr>
              </a:br>
              <a:r>
                <a:rPr lang="en-US" sz="1199" dirty="0">
                  <a:solidFill>
                    <a:srgbClr val="66667E"/>
                  </a:solidFill>
                </a:rPr>
                <a:t>+49 123 123456-77</a:t>
              </a:r>
            </a:p>
            <a:p>
              <a:pPr>
                <a:spcBef>
                  <a:spcPts val="300"/>
                </a:spcBef>
                <a:buClr>
                  <a:srgbClr val="41AAAA"/>
                </a:buClr>
              </a:pPr>
              <a:r>
                <a:rPr lang="en-US" sz="1199" b="1" dirty="0">
                  <a:solidFill>
                    <a:srgbClr val="66667E"/>
                  </a:solidFill>
                </a:rPr>
                <a:t>E-mail</a:t>
              </a:r>
              <a:br>
                <a:rPr lang="en-US" sz="1199" dirty="0">
                  <a:solidFill>
                    <a:srgbClr val="66667E"/>
                  </a:solidFill>
                </a:rPr>
              </a:br>
              <a:r>
                <a:rPr lang="en-US" sz="1199" dirty="0">
                  <a:solidFill>
                    <a:srgbClr val="66667E"/>
                  </a:solidFill>
                </a:rPr>
                <a:t>sam.sample@siemens.com</a:t>
              </a:r>
            </a:p>
          </p:txBody>
        </p:sp>
        <p:sp>
          <p:nvSpPr>
            <p:cNvPr id="25" name="Freeform 96"/>
            <p:cNvSpPr>
              <a:spLocks noEditPoints="1"/>
            </p:cNvSpPr>
            <p:nvPr/>
          </p:nvSpPr>
          <p:spPr bwMode="auto">
            <a:xfrm>
              <a:off x="7944540" y="1919581"/>
              <a:ext cx="1371414" cy="1798682"/>
            </a:xfrm>
            <a:custGeom>
              <a:avLst/>
              <a:gdLst>
                <a:gd name="T0" fmla="*/ 520 w 1965"/>
                <a:gd name="T1" fmla="*/ 529 h 2570"/>
                <a:gd name="T2" fmla="*/ 983 w 1965"/>
                <a:gd name="T3" fmla="*/ 0 h 2570"/>
                <a:gd name="T4" fmla="*/ 1446 w 1965"/>
                <a:gd name="T5" fmla="*/ 529 h 2570"/>
                <a:gd name="T6" fmla="*/ 983 w 1965"/>
                <a:gd name="T7" fmla="*/ 1058 h 2570"/>
                <a:gd name="T8" fmla="*/ 520 w 1965"/>
                <a:gd name="T9" fmla="*/ 529 h 2570"/>
                <a:gd name="T10" fmla="*/ 1965 w 1965"/>
                <a:gd name="T11" fmla="*/ 1684 h 2570"/>
                <a:gd name="T12" fmla="*/ 1648 w 1965"/>
                <a:gd name="T13" fmla="*/ 1302 h 2570"/>
                <a:gd name="T14" fmla="*/ 1648 w 1965"/>
                <a:gd name="T15" fmla="*/ 1302 h 2570"/>
                <a:gd name="T16" fmla="*/ 1310 w 1965"/>
                <a:gd name="T17" fmla="*/ 1278 h 2570"/>
                <a:gd name="T18" fmla="*/ 1310 w 1965"/>
                <a:gd name="T19" fmla="*/ 1278 h 2570"/>
                <a:gd name="T20" fmla="*/ 1310 w 1965"/>
                <a:gd name="T21" fmla="*/ 1278 h 2570"/>
                <a:gd name="T22" fmla="*/ 983 w 1965"/>
                <a:gd name="T23" fmla="*/ 1606 h 2570"/>
                <a:gd name="T24" fmla="*/ 983 w 1965"/>
                <a:gd name="T25" fmla="*/ 1606 h 2570"/>
                <a:gd name="T26" fmla="*/ 655 w 1965"/>
                <a:gd name="T27" fmla="*/ 1278 h 2570"/>
                <a:gd name="T28" fmla="*/ 655 w 1965"/>
                <a:gd name="T29" fmla="*/ 1278 h 2570"/>
                <a:gd name="T30" fmla="*/ 655 w 1965"/>
                <a:gd name="T31" fmla="*/ 1278 h 2570"/>
                <a:gd name="T32" fmla="*/ 317 w 1965"/>
                <a:gd name="T33" fmla="*/ 1302 h 2570"/>
                <a:gd name="T34" fmla="*/ 317 w 1965"/>
                <a:gd name="T35" fmla="*/ 1302 h 2570"/>
                <a:gd name="T36" fmla="*/ 0 w 1965"/>
                <a:gd name="T37" fmla="*/ 1684 h 2570"/>
                <a:gd name="T38" fmla="*/ 0 w 1965"/>
                <a:gd name="T39" fmla="*/ 1684 h 2570"/>
                <a:gd name="T40" fmla="*/ 0 w 1965"/>
                <a:gd name="T41" fmla="*/ 2570 h 2570"/>
                <a:gd name="T42" fmla="*/ 1965 w 1965"/>
                <a:gd name="T43" fmla="*/ 2570 h 2570"/>
                <a:gd name="T44" fmla="*/ 1965 w 1965"/>
                <a:gd name="T45" fmla="*/ 1684 h 2570"/>
                <a:gd name="T46" fmla="*/ 1965 w 1965"/>
                <a:gd name="T47" fmla="*/ 1684 h 2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5" h="2570">
                  <a:moveTo>
                    <a:pt x="520" y="529"/>
                  </a:moveTo>
                  <a:cubicBezTo>
                    <a:pt x="520" y="212"/>
                    <a:pt x="707" y="0"/>
                    <a:pt x="983" y="0"/>
                  </a:cubicBezTo>
                  <a:cubicBezTo>
                    <a:pt x="1258" y="0"/>
                    <a:pt x="1446" y="212"/>
                    <a:pt x="1446" y="529"/>
                  </a:cubicBezTo>
                  <a:cubicBezTo>
                    <a:pt x="1446" y="846"/>
                    <a:pt x="1258" y="1058"/>
                    <a:pt x="983" y="1058"/>
                  </a:cubicBezTo>
                  <a:cubicBezTo>
                    <a:pt x="707" y="1058"/>
                    <a:pt x="520" y="846"/>
                    <a:pt x="520" y="529"/>
                  </a:cubicBezTo>
                  <a:close/>
                  <a:moveTo>
                    <a:pt x="1965" y="1684"/>
                  </a:moveTo>
                  <a:cubicBezTo>
                    <a:pt x="1961" y="1464"/>
                    <a:pt x="1835" y="1316"/>
                    <a:pt x="1648" y="1302"/>
                  </a:cubicBezTo>
                  <a:cubicBezTo>
                    <a:pt x="1648" y="1302"/>
                    <a:pt x="1648" y="1302"/>
                    <a:pt x="1648" y="1302"/>
                  </a:cubicBezTo>
                  <a:cubicBezTo>
                    <a:pt x="1310" y="1278"/>
                    <a:pt x="1310" y="1278"/>
                    <a:pt x="1310" y="1278"/>
                  </a:cubicBezTo>
                  <a:cubicBezTo>
                    <a:pt x="1310" y="1278"/>
                    <a:pt x="1310" y="1278"/>
                    <a:pt x="1310" y="1278"/>
                  </a:cubicBezTo>
                  <a:cubicBezTo>
                    <a:pt x="1310" y="1278"/>
                    <a:pt x="1310" y="1278"/>
                    <a:pt x="1310" y="1278"/>
                  </a:cubicBezTo>
                  <a:cubicBezTo>
                    <a:pt x="983" y="1606"/>
                    <a:pt x="983" y="1606"/>
                    <a:pt x="983" y="1606"/>
                  </a:cubicBezTo>
                  <a:cubicBezTo>
                    <a:pt x="983" y="1606"/>
                    <a:pt x="983" y="1606"/>
                    <a:pt x="983" y="1606"/>
                  </a:cubicBezTo>
                  <a:cubicBezTo>
                    <a:pt x="655" y="1278"/>
                    <a:pt x="655" y="1278"/>
                    <a:pt x="655" y="1278"/>
                  </a:cubicBezTo>
                  <a:cubicBezTo>
                    <a:pt x="655" y="1278"/>
                    <a:pt x="655" y="1278"/>
                    <a:pt x="655" y="1278"/>
                  </a:cubicBezTo>
                  <a:cubicBezTo>
                    <a:pt x="655" y="1278"/>
                    <a:pt x="655" y="1278"/>
                    <a:pt x="655" y="1278"/>
                  </a:cubicBezTo>
                  <a:cubicBezTo>
                    <a:pt x="317" y="1302"/>
                    <a:pt x="317" y="1302"/>
                    <a:pt x="317" y="1302"/>
                  </a:cubicBezTo>
                  <a:cubicBezTo>
                    <a:pt x="317" y="1302"/>
                    <a:pt x="317" y="1302"/>
                    <a:pt x="317" y="1302"/>
                  </a:cubicBezTo>
                  <a:cubicBezTo>
                    <a:pt x="130" y="1316"/>
                    <a:pt x="4" y="1464"/>
                    <a:pt x="0" y="1684"/>
                  </a:cubicBezTo>
                  <a:cubicBezTo>
                    <a:pt x="0" y="1684"/>
                    <a:pt x="0" y="1684"/>
                    <a:pt x="0" y="1684"/>
                  </a:cubicBezTo>
                  <a:cubicBezTo>
                    <a:pt x="0" y="1761"/>
                    <a:pt x="0" y="2183"/>
                    <a:pt x="0" y="2570"/>
                  </a:cubicBezTo>
                  <a:cubicBezTo>
                    <a:pt x="1965" y="2570"/>
                    <a:pt x="1965" y="2570"/>
                    <a:pt x="1965" y="2570"/>
                  </a:cubicBezTo>
                  <a:cubicBezTo>
                    <a:pt x="1965" y="2183"/>
                    <a:pt x="1965" y="1761"/>
                    <a:pt x="1965" y="1684"/>
                  </a:cubicBezTo>
                  <a:cubicBezTo>
                    <a:pt x="1965" y="1684"/>
                    <a:pt x="1965" y="1684"/>
                    <a:pt x="1965" y="1684"/>
                  </a:cubicBezTo>
                  <a:close/>
                </a:path>
              </a:pathLst>
            </a:custGeom>
            <a:solidFill>
              <a:srgbClr val="66667E"/>
            </a:solidFill>
            <a:ln>
              <a:noFill/>
            </a:ln>
          </p:spPr>
          <p:txBody>
            <a:bodyPr vert="horz" wrap="square" lIns="91392" tIns="45696" rIns="91392" bIns="45696" numCol="1" anchor="t" anchorCtr="0" compatLnSpc="1">
              <a:prstTxWarp prst="textNoShape">
                <a:avLst/>
              </a:prstTxWarp>
            </a:bodyPr>
            <a:lstStyle/>
            <a:p>
              <a:endParaRPr lang="en-US" sz="1799" dirty="0"/>
            </a:p>
          </p:txBody>
        </p:sp>
      </p:grpSp>
    </p:spTree>
    <p:extLst>
      <p:ext uri="{BB962C8B-B14F-4D97-AF65-F5344CB8AC3E}">
        <p14:creationId xmlns:p14="http://schemas.microsoft.com/office/powerpoint/2010/main" val="3476413139"/>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 name="Objekt 52"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3" imgW="360" imgH="360" progId="">
                  <p:embed/>
                </p:oleObj>
              </mc:Choice>
              <mc:Fallback>
                <p:oleObj name="think-cell Folie" r:id="rId3" imgW="360" imgH="360" progId="">
                  <p:embed/>
                  <p:pic>
                    <p:nvPicPr>
                      <p:cNvPr id="53" name="Objekt 5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en-US" dirty="0"/>
              <a:t>Contact overview – executives</a:t>
            </a:r>
          </a:p>
        </p:txBody>
      </p:sp>
      <p:sp>
        <p:nvSpPr>
          <p:cNvPr id="3" name="Footer Placeholder 2">
            <a:extLst>
              <a:ext uri="{FF2B5EF4-FFF2-40B4-BE49-F238E27FC236}">
                <a16:creationId xmlns:a16="http://schemas.microsoft.com/office/drawing/2014/main" id="{21D106F7-B0A4-4813-887A-B19BDBFB2D8F}"/>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8" name="Slide Number Placeholder 7">
            <a:extLst>
              <a:ext uri="{FF2B5EF4-FFF2-40B4-BE49-F238E27FC236}">
                <a16:creationId xmlns:a16="http://schemas.microsoft.com/office/drawing/2014/main" id="{210CAE07-0946-4A82-A399-93B04358AEAD}"/>
              </a:ext>
            </a:extLst>
          </p:cNvPr>
          <p:cNvSpPr>
            <a:spLocks noGrp="1"/>
          </p:cNvSpPr>
          <p:nvPr>
            <p:ph type="sldNum" sz="quarter" idx="11"/>
          </p:nvPr>
        </p:nvSpPr>
        <p:spPr/>
        <p:txBody>
          <a:bodyPr/>
          <a:lstStyle/>
          <a:p>
            <a:r>
              <a:rPr lang="en-US" dirty="0"/>
              <a:t>Page </a:t>
            </a:r>
            <a:fld id="{15EBE321-CBB1-4E91-BD14-37C8D44326FB}" type="slidenum">
              <a:rPr lang="en-US" smtClean="0"/>
              <a:pPr/>
              <a:t>211</a:t>
            </a:fld>
            <a:endParaRPr lang="en-US" dirty="0"/>
          </a:p>
        </p:txBody>
      </p:sp>
      <p:grpSp>
        <p:nvGrpSpPr>
          <p:cNvPr id="4" name="Gruppieren 3">
            <a:extLst>
              <a:ext uri="{FF2B5EF4-FFF2-40B4-BE49-F238E27FC236}">
                <a16:creationId xmlns:a16="http://schemas.microsoft.com/office/drawing/2014/main" id="{880D1128-3F1D-4722-978C-2D7098140CF4}"/>
              </a:ext>
            </a:extLst>
          </p:cNvPr>
          <p:cNvGrpSpPr/>
          <p:nvPr/>
        </p:nvGrpSpPr>
        <p:grpSpPr>
          <a:xfrm>
            <a:off x="410400" y="1415848"/>
            <a:ext cx="5472000" cy="2302801"/>
            <a:chOff x="622800" y="1414800"/>
            <a:chExt cx="5474851" cy="2304000"/>
          </a:xfrm>
        </p:grpSpPr>
        <p:sp>
          <p:nvSpPr>
            <p:cNvPr id="145" name="Textfeld 8"/>
            <p:cNvSpPr txBox="1">
              <a:spLocks/>
            </p:cNvSpPr>
            <p:nvPr/>
          </p:nvSpPr>
          <p:spPr bwMode="gray">
            <a:xfrm>
              <a:off x="622800" y="1414800"/>
              <a:ext cx="1512788" cy="2304000"/>
            </a:xfrm>
            <a:prstGeom prst="rect">
              <a:avLst/>
            </a:prstGeom>
            <a:solidFill>
              <a:schemeClr val="tx1"/>
            </a:solidFill>
            <a:ln>
              <a:noFill/>
            </a:ln>
          </p:spPr>
          <p:txBody>
            <a:bodyPr wrap="square" lIns="143925" tIns="71963" rIns="143925" bIns="71963" rtlCol="0" anchor="b">
              <a:noAutofit/>
            </a:bodyPr>
            <a:lstStyle/>
            <a:p>
              <a:pPr>
                <a:spcBef>
                  <a:spcPct val="0"/>
                </a:spcBef>
                <a:buClr>
                  <a:srgbClr val="879BAA"/>
                </a:buClr>
              </a:pPr>
              <a:r>
                <a:rPr lang="en-US" sz="1599" b="1" kern="1400" dirty="0">
                  <a:solidFill>
                    <a:schemeClr val="bg2"/>
                  </a:solidFill>
                  <a:ea typeface="ＭＳ Ｐゴシック" pitchFamily="34" charset="-128"/>
                  <a:cs typeface="Arial" charset="0"/>
                </a:rPr>
                <a:t>Sam Sample</a:t>
              </a:r>
            </a:p>
            <a:p>
              <a:pPr>
                <a:spcBef>
                  <a:spcPts val="300"/>
                </a:spcBef>
                <a:buClr>
                  <a:srgbClr val="879BAA"/>
                </a:buClr>
              </a:pPr>
              <a:r>
                <a:rPr lang="en-US" sz="1199" dirty="0">
                  <a:solidFill>
                    <a:schemeClr val="bg2"/>
                  </a:solidFill>
                  <a:cs typeface="Arial" charset="0"/>
                </a:rPr>
                <a:t>At vero eos et accusam</a:t>
              </a:r>
            </a:p>
          </p:txBody>
        </p:sp>
        <p:sp>
          <p:nvSpPr>
            <p:cNvPr id="253" name="Freeform 70"/>
            <p:cNvSpPr>
              <a:spLocks noEditPoints="1"/>
            </p:cNvSpPr>
            <p:nvPr/>
          </p:nvSpPr>
          <p:spPr bwMode="auto">
            <a:xfrm>
              <a:off x="1450800" y="1484089"/>
              <a:ext cx="593271" cy="774220"/>
            </a:xfrm>
            <a:custGeom>
              <a:avLst/>
              <a:gdLst>
                <a:gd name="T0" fmla="*/ 1439 w 1970"/>
                <a:gd name="T1" fmla="*/ 1960 h 2578"/>
                <a:gd name="T2" fmla="*/ 985 w 1970"/>
                <a:gd name="T3" fmla="*/ 2328 h 2578"/>
                <a:gd name="T4" fmla="*/ 532 w 1970"/>
                <a:gd name="T5" fmla="*/ 1960 h 2578"/>
                <a:gd name="T6" fmla="*/ 601 w 1970"/>
                <a:gd name="T7" fmla="*/ 1955 h 2578"/>
                <a:gd name="T8" fmla="*/ 651 w 1970"/>
                <a:gd name="T9" fmla="*/ 1973 h 2578"/>
                <a:gd name="T10" fmla="*/ 825 w 1970"/>
                <a:gd name="T11" fmla="*/ 2068 h 2578"/>
                <a:gd name="T12" fmla="*/ 985 w 1970"/>
                <a:gd name="T13" fmla="*/ 2014 h 2578"/>
                <a:gd name="T14" fmla="*/ 1145 w 1970"/>
                <a:gd name="T15" fmla="*/ 2068 h 2578"/>
                <a:gd name="T16" fmla="*/ 1320 w 1970"/>
                <a:gd name="T17" fmla="*/ 1973 h 2578"/>
                <a:gd name="T18" fmla="*/ 1369 w 1970"/>
                <a:gd name="T19" fmla="*/ 1955 h 2578"/>
                <a:gd name="T20" fmla="*/ 1911 w 1970"/>
                <a:gd name="T21" fmla="*/ 1316 h 2578"/>
                <a:gd name="T22" fmla="*/ 1740 w 1970"/>
                <a:gd name="T23" fmla="*/ 1613 h 2578"/>
                <a:gd name="T24" fmla="*/ 1478 w 1970"/>
                <a:gd name="T25" fmla="*/ 1833 h 2578"/>
                <a:gd name="T26" fmla="*/ 1156 w 1970"/>
                <a:gd name="T27" fmla="*/ 1950 h 2578"/>
                <a:gd name="T28" fmla="*/ 814 w 1970"/>
                <a:gd name="T29" fmla="*/ 1950 h 2578"/>
                <a:gd name="T30" fmla="*/ 492 w 1970"/>
                <a:gd name="T31" fmla="*/ 1833 h 2578"/>
                <a:gd name="T32" fmla="*/ 230 w 1970"/>
                <a:gd name="T33" fmla="*/ 1613 h 2578"/>
                <a:gd name="T34" fmla="*/ 59 w 1970"/>
                <a:gd name="T35" fmla="*/ 1316 h 2578"/>
                <a:gd name="T36" fmla="*/ 0 w 1970"/>
                <a:gd name="T37" fmla="*/ 979 h 2578"/>
                <a:gd name="T38" fmla="*/ 59 w 1970"/>
                <a:gd name="T39" fmla="*/ 642 h 2578"/>
                <a:gd name="T40" fmla="*/ 230 w 1970"/>
                <a:gd name="T41" fmla="*/ 346 h 2578"/>
                <a:gd name="T42" fmla="*/ 492 w 1970"/>
                <a:gd name="T43" fmla="*/ 126 h 2578"/>
                <a:gd name="T44" fmla="*/ 814 w 1970"/>
                <a:gd name="T45" fmla="*/ 9 h 2578"/>
                <a:gd name="T46" fmla="*/ 1156 w 1970"/>
                <a:gd name="T47" fmla="*/ 9 h 2578"/>
                <a:gd name="T48" fmla="*/ 1478 w 1970"/>
                <a:gd name="T49" fmla="*/ 126 h 2578"/>
                <a:gd name="T50" fmla="*/ 1740 w 1970"/>
                <a:gd name="T51" fmla="*/ 346 h 2578"/>
                <a:gd name="T52" fmla="*/ 1911 w 1970"/>
                <a:gd name="T53" fmla="*/ 642 h 2578"/>
                <a:gd name="T54" fmla="*/ 1970 w 1970"/>
                <a:gd name="T55" fmla="*/ 979 h 2578"/>
                <a:gd name="T56" fmla="*/ 1911 w 1970"/>
                <a:gd name="T57" fmla="*/ 1316 h 2578"/>
                <a:gd name="T58" fmla="*/ 985 w 1970"/>
                <a:gd name="T59" fmla="*/ 203 h 2578"/>
                <a:gd name="T60" fmla="*/ 985 w 1970"/>
                <a:gd name="T61" fmla="*/ 1756 h 2578"/>
                <a:gd name="T62" fmla="*/ 1645 w 1970"/>
                <a:gd name="T63" fmla="*/ 979 h 2578"/>
                <a:gd name="T64" fmla="*/ 326 w 1970"/>
                <a:gd name="T65" fmla="*/ 979 h 2578"/>
                <a:gd name="T66" fmla="*/ 1645 w 1970"/>
                <a:gd name="T67" fmla="*/ 979 h 2578"/>
                <a:gd name="T68" fmla="*/ 732 w 1970"/>
                <a:gd name="T69" fmla="*/ 925 h 2578"/>
                <a:gd name="T70" fmla="*/ 582 w 1970"/>
                <a:gd name="T71" fmla="*/ 816 h 2578"/>
                <a:gd name="T72" fmla="*/ 432 w 1970"/>
                <a:gd name="T73" fmla="*/ 925 h 2578"/>
                <a:gd name="T74" fmla="*/ 490 w 1970"/>
                <a:gd name="T75" fmla="*/ 1101 h 2578"/>
                <a:gd name="T76" fmla="*/ 675 w 1970"/>
                <a:gd name="T77" fmla="*/ 1101 h 2578"/>
                <a:gd name="T78" fmla="*/ 1042 w 1970"/>
                <a:gd name="T79" fmla="*/ 992 h 2578"/>
                <a:gd name="T80" fmla="*/ 1021 w 1970"/>
                <a:gd name="T81" fmla="*/ 925 h 2578"/>
                <a:gd name="T82" fmla="*/ 950 w 1970"/>
                <a:gd name="T83" fmla="*/ 925 h 2578"/>
                <a:gd name="T84" fmla="*/ 928 w 1970"/>
                <a:gd name="T85" fmla="*/ 992 h 2578"/>
                <a:gd name="T86" fmla="*/ 985 w 1970"/>
                <a:gd name="T87" fmla="*/ 1034 h 2578"/>
                <a:gd name="T88" fmla="*/ 1042 w 1970"/>
                <a:gd name="T89" fmla="*/ 992 h 2578"/>
                <a:gd name="T90" fmla="*/ 1538 w 1970"/>
                <a:gd name="T91" fmla="*/ 925 h 2578"/>
                <a:gd name="T92" fmla="*/ 1388 w 1970"/>
                <a:gd name="T93" fmla="*/ 816 h 2578"/>
                <a:gd name="T94" fmla="*/ 1238 w 1970"/>
                <a:gd name="T95" fmla="*/ 925 h 2578"/>
                <a:gd name="T96" fmla="*/ 1295 w 1970"/>
                <a:gd name="T97" fmla="*/ 1101 h 2578"/>
                <a:gd name="T98" fmla="*/ 1481 w 1970"/>
                <a:gd name="T99" fmla="*/ 1101 h 2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70" h="2578">
                  <a:moveTo>
                    <a:pt x="1431" y="1960"/>
                  </a:moveTo>
                  <a:cubicBezTo>
                    <a:pt x="1434" y="1960"/>
                    <a:pt x="1436" y="1960"/>
                    <a:pt x="1439" y="1960"/>
                  </a:cubicBezTo>
                  <a:cubicBezTo>
                    <a:pt x="1439" y="2578"/>
                    <a:pt x="1439" y="2578"/>
                    <a:pt x="1439" y="2578"/>
                  </a:cubicBezTo>
                  <a:cubicBezTo>
                    <a:pt x="985" y="2328"/>
                    <a:pt x="985" y="2328"/>
                    <a:pt x="985" y="2328"/>
                  </a:cubicBezTo>
                  <a:cubicBezTo>
                    <a:pt x="532" y="2578"/>
                    <a:pt x="532" y="2578"/>
                    <a:pt x="532" y="2578"/>
                  </a:cubicBezTo>
                  <a:cubicBezTo>
                    <a:pt x="532" y="1960"/>
                    <a:pt x="532" y="1960"/>
                    <a:pt x="532" y="1960"/>
                  </a:cubicBezTo>
                  <a:cubicBezTo>
                    <a:pt x="534" y="1960"/>
                    <a:pt x="536" y="1960"/>
                    <a:pt x="539" y="1960"/>
                  </a:cubicBezTo>
                  <a:cubicBezTo>
                    <a:pt x="561" y="1960"/>
                    <a:pt x="582" y="1957"/>
                    <a:pt x="601" y="1955"/>
                  </a:cubicBezTo>
                  <a:cubicBezTo>
                    <a:pt x="612" y="1954"/>
                    <a:pt x="623" y="1953"/>
                    <a:pt x="631" y="1952"/>
                  </a:cubicBezTo>
                  <a:cubicBezTo>
                    <a:pt x="637" y="1958"/>
                    <a:pt x="645" y="1966"/>
                    <a:pt x="651" y="1973"/>
                  </a:cubicBezTo>
                  <a:cubicBezTo>
                    <a:pt x="682" y="2007"/>
                    <a:pt x="725" y="2053"/>
                    <a:pt x="794" y="2065"/>
                  </a:cubicBezTo>
                  <a:cubicBezTo>
                    <a:pt x="804" y="2067"/>
                    <a:pt x="815" y="2068"/>
                    <a:pt x="825" y="2068"/>
                  </a:cubicBezTo>
                  <a:cubicBezTo>
                    <a:pt x="879" y="2068"/>
                    <a:pt x="922" y="2046"/>
                    <a:pt x="957" y="2028"/>
                  </a:cubicBezTo>
                  <a:cubicBezTo>
                    <a:pt x="966" y="2023"/>
                    <a:pt x="977" y="2017"/>
                    <a:pt x="985" y="2014"/>
                  </a:cubicBezTo>
                  <a:cubicBezTo>
                    <a:pt x="993" y="2017"/>
                    <a:pt x="1005" y="2023"/>
                    <a:pt x="1013" y="2028"/>
                  </a:cubicBezTo>
                  <a:cubicBezTo>
                    <a:pt x="1048" y="2046"/>
                    <a:pt x="1092" y="2068"/>
                    <a:pt x="1145" y="2068"/>
                  </a:cubicBezTo>
                  <a:cubicBezTo>
                    <a:pt x="1156" y="2068"/>
                    <a:pt x="1166" y="2067"/>
                    <a:pt x="1176" y="2065"/>
                  </a:cubicBezTo>
                  <a:cubicBezTo>
                    <a:pt x="1245" y="2053"/>
                    <a:pt x="1288" y="2007"/>
                    <a:pt x="1320" y="1973"/>
                  </a:cubicBezTo>
                  <a:cubicBezTo>
                    <a:pt x="1325" y="1966"/>
                    <a:pt x="1334" y="1958"/>
                    <a:pt x="1339" y="1952"/>
                  </a:cubicBezTo>
                  <a:cubicBezTo>
                    <a:pt x="1348" y="1953"/>
                    <a:pt x="1359" y="1954"/>
                    <a:pt x="1369" y="1955"/>
                  </a:cubicBezTo>
                  <a:cubicBezTo>
                    <a:pt x="1388" y="1957"/>
                    <a:pt x="1409" y="1960"/>
                    <a:pt x="1431" y="1960"/>
                  </a:cubicBezTo>
                  <a:close/>
                  <a:moveTo>
                    <a:pt x="1911" y="1316"/>
                  </a:moveTo>
                  <a:cubicBezTo>
                    <a:pt x="1892" y="1369"/>
                    <a:pt x="1806" y="1390"/>
                    <a:pt x="1779" y="1437"/>
                  </a:cubicBezTo>
                  <a:cubicBezTo>
                    <a:pt x="1751" y="1485"/>
                    <a:pt x="1775" y="1570"/>
                    <a:pt x="1740" y="1613"/>
                  </a:cubicBezTo>
                  <a:cubicBezTo>
                    <a:pt x="1704" y="1655"/>
                    <a:pt x="1616" y="1645"/>
                    <a:pt x="1574" y="1681"/>
                  </a:cubicBezTo>
                  <a:cubicBezTo>
                    <a:pt x="1532" y="1717"/>
                    <a:pt x="1526" y="1805"/>
                    <a:pt x="1478" y="1833"/>
                  </a:cubicBezTo>
                  <a:cubicBezTo>
                    <a:pt x="1430" y="1860"/>
                    <a:pt x="1351" y="1821"/>
                    <a:pt x="1298" y="1840"/>
                  </a:cubicBezTo>
                  <a:cubicBezTo>
                    <a:pt x="1247" y="1859"/>
                    <a:pt x="1211" y="1940"/>
                    <a:pt x="1156" y="1950"/>
                  </a:cubicBezTo>
                  <a:cubicBezTo>
                    <a:pt x="1103" y="1959"/>
                    <a:pt x="1041" y="1895"/>
                    <a:pt x="985" y="1895"/>
                  </a:cubicBezTo>
                  <a:cubicBezTo>
                    <a:pt x="929" y="1895"/>
                    <a:pt x="868" y="1959"/>
                    <a:pt x="814" y="1950"/>
                  </a:cubicBezTo>
                  <a:cubicBezTo>
                    <a:pt x="759" y="1940"/>
                    <a:pt x="723" y="1859"/>
                    <a:pt x="672" y="1840"/>
                  </a:cubicBezTo>
                  <a:cubicBezTo>
                    <a:pt x="619" y="1821"/>
                    <a:pt x="540" y="1860"/>
                    <a:pt x="492" y="1833"/>
                  </a:cubicBezTo>
                  <a:cubicBezTo>
                    <a:pt x="444" y="1805"/>
                    <a:pt x="439" y="1717"/>
                    <a:pt x="396" y="1681"/>
                  </a:cubicBezTo>
                  <a:cubicBezTo>
                    <a:pt x="354" y="1645"/>
                    <a:pt x="266" y="1655"/>
                    <a:pt x="230" y="1613"/>
                  </a:cubicBezTo>
                  <a:cubicBezTo>
                    <a:pt x="195" y="1570"/>
                    <a:pt x="219" y="1485"/>
                    <a:pt x="192" y="1437"/>
                  </a:cubicBezTo>
                  <a:cubicBezTo>
                    <a:pt x="164" y="1390"/>
                    <a:pt x="78" y="1369"/>
                    <a:pt x="59" y="1316"/>
                  </a:cubicBezTo>
                  <a:cubicBezTo>
                    <a:pt x="40" y="1265"/>
                    <a:pt x="92" y="1194"/>
                    <a:pt x="83" y="1138"/>
                  </a:cubicBezTo>
                  <a:cubicBezTo>
                    <a:pt x="73" y="1085"/>
                    <a:pt x="0" y="1036"/>
                    <a:pt x="0" y="979"/>
                  </a:cubicBezTo>
                  <a:cubicBezTo>
                    <a:pt x="0" y="923"/>
                    <a:pt x="73" y="874"/>
                    <a:pt x="83" y="820"/>
                  </a:cubicBezTo>
                  <a:cubicBezTo>
                    <a:pt x="92" y="765"/>
                    <a:pt x="40" y="694"/>
                    <a:pt x="59" y="642"/>
                  </a:cubicBezTo>
                  <a:cubicBezTo>
                    <a:pt x="78" y="590"/>
                    <a:pt x="164" y="569"/>
                    <a:pt x="192" y="521"/>
                  </a:cubicBezTo>
                  <a:cubicBezTo>
                    <a:pt x="219" y="473"/>
                    <a:pt x="195" y="388"/>
                    <a:pt x="230" y="346"/>
                  </a:cubicBezTo>
                  <a:cubicBezTo>
                    <a:pt x="266" y="304"/>
                    <a:pt x="354" y="313"/>
                    <a:pt x="396" y="278"/>
                  </a:cubicBezTo>
                  <a:cubicBezTo>
                    <a:pt x="439" y="242"/>
                    <a:pt x="444" y="154"/>
                    <a:pt x="492" y="126"/>
                  </a:cubicBezTo>
                  <a:cubicBezTo>
                    <a:pt x="540" y="98"/>
                    <a:pt x="619" y="137"/>
                    <a:pt x="672" y="118"/>
                  </a:cubicBezTo>
                  <a:cubicBezTo>
                    <a:pt x="723" y="100"/>
                    <a:pt x="759" y="19"/>
                    <a:pt x="814" y="9"/>
                  </a:cubicBezTo>
                  <a:cubicBezTo>
                    <a:pt x="868" y="0"/>
                    <a:pt x="929" y="63"/>
                    <a:pt x="985" y="63"/>
                  </a:cubicBezTo>
                  <a:cubicBezTo>
                    <a:pt x="1041" y="63"/>
                    <a:pt x="1103" y="0"/>
                    <a:pt x="1156" y="9"/>
                  </a:cubicBezTo>
                  <a:cubicBezTo>
                    <a:pt x="1211" y="19"/>
                    <a:pt x="1247" y="100"/>
                    <a:pt x="1298" y="118"/>
                  </a:cubicBezTo>
                  <a:cubicBezTo>
                    <a:pt x="1351" y="137"/>
                    <a:pt x="1430" y="98"/>
                    <a:pt x="1478" y="126"/>
                  </a:cubicBezTo>
                  <a:cubicBezTo>
                    <a:pt x="1526" y="154"/>
                    <a:pt x="1532" y="242"/>
                    <a:pt x="1574" y="278"/>
                  </a:cubicBezTo>
                  <a:cubicBezTo>
                    <a:pt x="1616" y="313"/>
                    <a:pt x="1704" y="304"/>
                    <a:pt x="1740" y="346"/>
                  </a:cubicBezTo>
                  <a:cubicBezTo>
                    <a:pt x="1775" y="388"/>
                    <a:pt x="1751" y="473"/>
                    <a:pt x="1779" y="521"/>
                  </a:cubicBezTo>
                  <a:cubicBezTo>
                    <a:pt x="1806" y="569"/>
                    <a:pt x="1892" y="590"/>
                    <a:pt x="1911" y="642"/>
                  </a:cubicBezTo>
                  <a:cubicBezTo>
                    <a:pt x="1930" y="694"/>
                    <a:pt x="1878" y="765"/>
                    <a:pt x="1887" y="820"/>
                  </a:cubicBezTo>
                  <a:cubicBezTo>
                    <a:pt x="1897" y="874"/>
                    <a:pt x="1970" y="923"/>
                    <a:pt x="1970" y="979"/>
                  </a:cubicBezTo>
                  <a:cubicBezTo>
                    <a:pt x="1970" y="1036"/>
                    <a:pt x="1897" y="1085"/>
                    <a:pt x="1887" y="1138"/>
                  </a:cubicBezTo>
                  <a:cubicBezTo>
                    <a:pt x="1878" y="1194"/>
                    <a:pt x="1930" y="1265"/>
                    <a:pt x="1911" y="1316"/>
                  </a:cubicBezTo>
                  <a:close/>
                  <a:moveTo>
                    <a:pt x="1762" y="979"/>
                  </a:moveTo>
                  <a:cubicBezTo>
                    <a:pt x="1762" y="551"/>
                    <a:pt x="1413" y="203"/>
                    <a:pt x="985" y="203"/>
                  </a:cubicBezTo>
                  <a:cubicBezTo>
                    <a:pt x="557" y="203"/>
                    <a:pt x="208" y="551"/>
                    <a:pt x="208" y="979"/>
                  </a:cubicBezTo>
                  <a:cubicBezTo>
                    <a:pt x="208" y="1408"/>
                    <a:pt x="557" y="1756"/>
                    <a:pt x="985" y="1756"/>
                  </a:cubicBezTo>
                  <a:cubicBezTo>
                    <a:pt x="1413" y="1756"/>
                    <a:pt x="1762" y="1408"/>
                    <a:pt x="1762" y="979"/>
                  </a:cubicBezTo>
                  <a:close/>
                  <a:moveTo>
                    <a:pt x="1645" y="979"/>
                  </a:moveTo>
                  <a:cubicBezTo>
                    <a:pt x="1645" y="1343"/>
                    <a:pt x="1349" y="1639"/>
                    <a:pt x="985" y="1639"/>
                  </a:cubicBezTo>
                  <a:cubicBezTo>
                    <a:pt x="621" y="1639"/>
                    <a:pt x="326" y="1343"/>
                    <a:pt x="326" y="979"/>
                  </a:cubicBezTo>
                  <a:cubicBezTo>
                    <a:pt x="326" y="616"/>
                    <a:pt x="621" y="320"/>
                    <a:pt x="985" y="320"/>
                  </a:cubicBezTo>
                  <a:cubicBezTo>
                    <a:pt x="1349" y="320"/>
                    <a:pt x="1645" y="616"/>
                    <a:pt x="1645" y="979"/>
                  </a:cubicBezTo>
                  <a:close/>
                  <a:moveTo>
                    <a:pt x="640" y="992"/>
                  </a:moveTo>
                  <a:cubicBezTo>
                    <a:pt x="732" y="925"/>
                    <a:pt x="732" y="925"/>
                    <a:pt x="732" y="925"/>
                  </a:cubicBezTo>
                  <a:cubicBezTo>
                    <a:pt x="618" y="925"/>
                    <a:pt x="618" y="925"/>
                    <a:pt x="618" y="925"/>
                  </a:cubicBezTo>
                  <a:cubicBezTo>
                    <a:pt x="582" y="816"/>
                    <a:pt x="582" y="816"/>
                    <a:pt x="582" y="816"/>
                  </a:cubicBezTo>
                  <a:cubicBezTo>
                    <a:pt x="547" y="925"/>
                    <a:pt x="547" y="925"/>
                    <a:pt x="547" y="925"/>
                  </a:cubicBezTo>
                  <a:cubicBezTo>
                    <a:pt x="432" y="925"/>
                    <a:pt x="432" y="925"/>
                    <a:pt x="432" y="925"/>
                  </a:cubicBezTo>
                  <a:cubicBezTo>
                    <a:pt x="525" y="992"/>
                    <a:pt x="525" y="992"/>
                    <a:pt x="525" y="992"/>
                  </a:cubicBezTo>
                  <a:cubicBezTo>
                    <a:pt x="490" y="1101"/>
                    <a:pt x="490" y="1101"/>
                    <a:pt x="490" y="1101"/>
                  </a:cubicBezTo>
                  <a:cubicBezTo>
                    <a:pt x="582" y="1034"/>
                    <a:pt x="582" y="1034"/>
                    <a:pt x="582" y="1034"/>
                  </a:cubicBezTo>
                  <a:cubicBezTo>
                    <a:pt x="675" y="1101"/>
                    <a:pt x="675" y="1101"/>
                    <a:pt x="675" y="1101"/>
                  </a:cubicBezTo>
                  <a:lnTo>
                    <a:pt x="640" y="992"/>
                  </a:lnTo>
                  <a:close/>
                  <a:moveTo>
                    <a:pt x="1042" y="992"/>
                  </a:moveTo>
                  <a:cubicBezTo>
                    <a:pt x="1135" y="925"/>
                    <a:pt x="1135" y="925"/>
                    <a:pt x="1135" y="925"/>
                  </a:cubicBezTo>
                  <a:cubicBezTo>
                    <a:pt x="1021" y="925"/>
                    <a:pt x="1021" y="925"/>
                    <a:pt x="1021" y="925"/>
                  </a:cubicBezTo>
                  <a:cubicBezTo>
                    <a:pt x="985" y="816"/>
                    <a:pt x="985" y="816"/>
                    <a:pt x="985" y="816"/>
                  </a:cubicBezTo>
                  <a:cubicBezTo>
                    <a:pt x="950" y="925"/>
                    <a:pt x="950" y="925"/>
                    <a:pt x="950" y="925"/>
                  </a:cubicBezTo>
                  <a:cubicBezTo>
                    <a:pt x="835" y="925"/>
                    <a:pt x="835" y="925"/>
                    <a:pt x="835" y="925"/>
                  </a:cubicBezTo>
                  <a:cubicBezTo>
                    <a:pt x="928" y="992"/>
                    <a:pt x="928" y="992"/>
                    <a:pt x="928" y="992"/>
                  </a:cubicBezTo>
                  <a:cubicBezTo>
                    <a:pt x="892" y="1101"/>
                    <a:pt x="892" y="1101"/>
                    <a:pt x="892" y="1101"/>
                  </a:cubicBezTo>
                  <a:cubicBezTo>
                    <a:pt x="985" y="1034"/>
                    <a:pt x="985" y="1034"/>
                    <a:pt x="985" y="1034"/>
                  </a:cubicBezTo>
                  <a:cubicBezTo>
                    <a:pt x="1078" y="1101"/>
                    <a:pt x="1078" y="1101"/>
                    <a:pt x="1078" y="1101"/>
                  </a:cubicBezTo>
                  <a:lnTo>
                    <a:pt x="1042" y="992"/>
                  </a:lnTo>
                  <a:close/>
                  <a:moveTo>
                    <a:pt x="1445" y="992"/>
                  </a:moveTo>
                  <a:cubicBezTo>
                    <a:pt x="1538" y="925"/>
                    <a:pt x="1538" y="925"/>
                    <a:pt x="1538" y="925"/>
                  </a:cubicBezTo>
                  <a:cubicBezTo>
                    <a:pt x="1423" y="925"/>
                    <a:pt x="1423" y="925"/>
                    <a:pt x="1423" y="925"/>
                  </a:cubicBezTo>
                  <a:cubicBezTo>
                    <a:pt x="1388" y="816"/>
                    <a:pt x="1388" y="816"/>
                    <a:pt x="1388" y="816"/>
                  </a:cubicBezTo>
                  <a:cubicBezTo>
                    <a:pt x="1352" y="925"/>
                    <a:pt x="1352" y="925"/>
                    <a:pt x="1352" y="925"/>
                  </a:cubicBezTo>
                  <a:cubicBezTo>
                    <a:pt x="1238" y="925"/>
                    <a:pt x="1238" y="925"/>
                    <a:pt x="1238" y="925"/>
                  </a:cubicBezTo>
                  <a:cubicBezTo>
                    <a:pt x="1330" y="992"/>
                    <a:pt x="1330" y="992"/>
                    <a:pt x="1330" y="992"/>
                  </a:cubicBezTo>
                  <a:cubicBezTo>
                    <a:pt x="1295" y="1101"/>
                    <a:pt x="1295" y="1101"/>
                    <a:pt x="1295" y="1101"/>
                  </a:cubicBezTo>
                  <a:cubicBezTo>
                    <a:pt x="1388" y="1034"/>
                    <a:pt x="1388" y="1034"/>
                    <a:pt x="1388" y="1034"/>
                  </a:cubicBezTo>
                  <a:cubicBezTo>
                    <a:pt x="1481" y="1101"/>
                    <a:pt x="1481" y="1101"/>
                    <a:pt x="1481" y="1101"/>
                  </a:cubicBezTo>
                  <a:lnTo>
                    <a:pt x="1445" y="992"/>
                  </a:lnTo>
                  <a:close/>
                </a:path>
              </a:pathLst>
            </a:custGeom>
            <a:solidFill>
              <a:schemeClr val="bg2"/>
            </a:solidFill>
            <a:ln>
              <a:noFill/>
            </a:ln>
          </p:spPr>
          <p:txBody>
            <a:bodyPr vert="horz" wrap="square" lIns="91392" tIns="45696" rIns="91392" bIns="45696" numCol="1" anchor="t" anchorCtr="0" compatLnSpc="1">
              <a:prstTxWarp prst="textNoShape">
                <a:avLst/>
              </a:prstTxWarp>
            </a:bodyPr>
            <a:lstStyle/>
            <a:p>
              <a:endParaRPr lang="en-US" sz="1799" dirty="0"/>
            </a:p>
          </p:txBody>
        </p:sp>
        <p:sp>
          <p:nvSpPr>
            <p:cNvPr id="147" name="Rechteck 137"/>
            <p:cNvSpPr>
              <a:spLocks/>
            </p:cNvSpPr>
            <p:nvPr/>
          </p:nvSpPr>
          <p:spPr bwMode="auto">
            <a:xfrm>
              <a:off x="2135588" y="1414800"/>
              <a:ext cx="1728900" cy="2303463"/>
            </a:xfrm>
            <a:prstGeom prst="rect">
              <a:avLst/>
            </a:prstGeom>
            <a:solidFill>
              <a:srgbClr val="66667E"/>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55" name="TextBox 254"/>
            <p:cNvSpPr txBox="1">
              <a:spLocks/>
            </p:cNvSpPr>
            <p:nvPr/>
          </p:nvSpPr>
          <p:spPr bwMode="gray">
            <a:xfrm>
              <a:off x="3864488" y="1414800"/>
              <a:ext cx="2233163" cy="2303999"/>
            </a:xfrm>
            <a:prstGeom prst="rect">
              <a:avLst/>
            </a:prstGeom>
            <a:noFill/>
          </p:spPr>
          <p:txBody>
            <a:bodyPr wrap="square" lIns="143925" tIns="0" rIns="0" bIns="0" rtlCol="0" anchor="t" anchorCtr="0">
              <a:noAutofit/>
            </a:bodyPr>
            <a:lstStyle/>
            <a:p>
              <a:pPr>
                <a:spcBef>
                  <a:spcPts val="300"/>
                </a:spcBef>
                <a:buClr>
                  <a:srgbClr val="41AAAA"/>
                </a:buClr>
              </a:pPr>
              <a:r>
                <a:rPr lang="en-US" sz="1199" dirty="0">
                  <a:solidFill>
                    <a:srgbClr val="9999A9"/>
                  </a:solidFill>
                </a:rPr>
                <a:t>Department</a:t>
              </a:r>
              <a:br>
                <a:rPr lang="en-US" sz="1199" dirty="0">
                  <a:solidFill>
                    <a:srgbClr val="9999A9"/>
                  </a:solidFill>
                </a:rPr>
              </a:br>
              <a:r>
                <a:rPr lang="en-US" sz="1199" dirty="0">
                  <a:solidFill>
                    <a:srgbClr val="9999A9"/>
                  </a:solidFill>
                </a:rPr>
                <a:t>Number</a:t>
              </a:r>
            </a:p>
            <a:p>
              <a:pPr>
                <a:spcBef>
                  <a:spcPts val="300"/>
                </a:spcBef>
                <a:buClr>
                  <a:srgbClr val="41AAAA"/>
                </a:buClr>
              </a:pPr>
              <a:r>
                <a:rPr lang="en-US" sz="1199" b="1" dirty="0">
                  <a:solidFill>
                    <a:srgbClr val="9999A9"/>
                  </a:solidFill>
                </a:rPr>
                <a:t>Phone</a:t>
              </a:r>
              <a:br>
                <a:rPr lang="en-US" sz="1199" dirty="0">
                  <a:solidFill>
                    <a:srgbClr val="9999A9"/>
                  </a:solidFill>
                </a:rPr>
              </a:br>
              <a:r>
                <a:rPr lang="en-US" sz="1199" dirty="0">
                  <a:solidFill>
                    <a:srgbClr val="9999A9"/>
                  </a:solidFill>
                </a:rPr>
                <a:t>+49 123 123456-99</a:t>
              </a:r>
            </a:p>
            <a:p>
              <a:pPr>
                <a:spcBef>
                  <a:spcPts val="300"/>
                </a:spcBef>
                <a:buClr>
                  <a:srgbClr val="41AAAA"/>
                </a:buClr>
              </a:pPr>
              <a:r>
                <a:rPr lang="en-US" sz="1199" b="1" dirty="0">
                  <a:solidFill>
                    <a:srgbClr val="9999A9"/>
                  </a:solidFill>
                </a:rPr>
                <a:t>Mobile</a:t>
              </a:r>
              <a:br>
                <a:rPr lang="en-US" sz="1199" dirty="0">
                  <a:solidFill>
                    <a:srgbClr val="9999A9"/>
                  </a:solidFill>
                </a:rPr>
              </a:br>
              <a:r>
                <a:rPr lang="en-US" sz="1199" dirty="0">
                  <a:solidFill>
                    <a:srgbClr val="9999A9"/>
                  </a:solidFill>
                </a:rPr>
                <a:t>+49 123 123456-77</a:t>
              </a:r>
            </a:p>
            <a:p>
              <a:pPr>
                <a:spcBef>
                  <a:spcPts val="300"/>
                </a:spcBef>
                <a:buClr>
                  <a:srgbClr val="41AAAA"/>
                </a:buClr>
              </a:pPr>
              <a:r>
                <a:rPr lang="en-US" sz="1199" b="1" dirty="0">
                  <a:solidFill>
                    <a:srgbClr val="9999A9"/>
                  </a:solidFill>
                </a:rPr>
                <a:t>E-mail</a:t>
              </a:r>
              <a:br>
                <a:rPr lang="en-US" sz="1199" dirty="0">
                  <a:solidFill>
                    <a:srgbClr val="9999A9"/>
                  </a:solidFill>
                </a:rPr>
              </a:br>
              <a:r>
                <a:rPr lang="en-US" sz="1199" dirty="0">
                  <a:solidFill>
                    <a:srgbClr val="9999A9"/>
                  </a:solidFill>
                </a:rPr>
                <a:t>sam.sample@siemens.com</a:t>
              </a:r>
            </a:p>
          </p:txBody>
        </p:sp>
        <p:sp>
          <p:nvSpPr>
            <p:cNvPr id="22" name="Freeform 96"/>
            <p:cNvSpPr>
              <a:spLocks noEditPoints="1"/>
            </p:cNvSpPr>
            <p:nvPr/>
          </p:nvSpPr>
          <p:spPr bwMode="auto">
            <a:xfrm>
              <a:off x="2314331" y="1919581"/>
              <a:ext cx="1371414" cy="1798682"/>
            </a:xfrm>
            <a:custGeom>
              <a:avLst/>
              <a:gdLst>
                <a:gd name="T0" fmla="*/ 520 w 1965"/>
                <a:gd name="T1" fmla="*/ 529 h 2570"/>
                <a:gd name="T2" fmla="*/ 983 w 1965"/>
                <a:gd name="T3" fmla="*/ 0 h 2570"/>
                <a:gd name="T4" fmla="*/ 1446 w 1965"/>
                <a:gd name="T5" fmla="*/ 529 h 2570"/>
                <a:gd name="T6" fmla="*/ 983 w 1965"/>
                <a:gd name="T7" fmla="*/ 1058 h 2570"/>
                <a:gd name="T8" fmla="*/ 520 w 1965"/>
                <a:gd name="T9" fmla="*/ 529 h 2570"/>
                <a:gd name="T10" fmla="*/ 1965 w 1965"/>
                <a:gd name="T11" fmla="*/ 1684 h 2570"/>
                <a:gd name="T12" fmla="*/ 1648 w 1965"/>
                <a:gd name="T13" fmla="*/ 1302 h 2570"/>
                <a:gd name="T14" fmla="*/ 1648 w 1965"/>
                <a:gd name="T15" fmla="*/ 1302 h 2570"/>
                <a:gd name="T16" fmla="*/ 1310 w 1965"/>
                <a:gd name="T17" fmla="*/ 1278 h 2570"/>
                <a:gd name="T18" fmla="*/ 1310 w 1965"/>
                <a:gd name="T19" fmla="*/ 1278 h 2570"/>
                <a:gd name="T20" fmla="*/ 1310 w 1965"/>
                <a:gd name="T21" fmla="*/ 1278 h 2570"/>
                <a:gd name="T22" fmla="*/ 983 w 1965"/>
                <a:gd name="T23" fmla="*/ 1606 h 2570"/>
                <a:gd name="T24" fmla="*/ 983 w 1965"/>
                <a:gd name="T25" fmla="*/ 1606 h 2570"/>
                <a:gd name="T26" fmla="*/ 655 w 1965"/>
                <a:gd name="T27" fmla="*/ 1278 h 2570"/>
                <a:gd name="T28" fmla="*/ 655 w 1965"/>
                <a:gd name="T29" fmla="*/ 1278 h 2570"/>
                <a:gd name="T30" fmla="*/ 655 w 1965"/>
                <a:gd name="T31" fmla="*/ 1278 h 2570"/>
                <a:gd name="T32" fmla="*/ 317 w 1965"/>
                <a:gd name="T33" fmla="*/ 1302 h 2570"/>
                <a:gd name="T34" fmla="*/ 317 w 1965"/>
                <a:gd name="T35" fmla="*/ 1302 h 2570"/>
                <a:gd name="T36" fmla="*/ 0 w 1965"/>
                <a:gd name="T37" fmla="*/ 1684 h 2570"/>
                <a:gd name="T38" fmla="*/ 0 w 1965"/>
                <a:gd name="T39" fmla="*/ 1684 h 2570"/>
                <a:gd name="T40" fmla="*/ 0 w 1965"/>
                <a:gd name="T41" fmla="*/ 2570 h 2570"/>
                <a:gd name="T42" fmla="*/ 1965 w 1965"/>
                <a:gd name="T43" fmla="*/ 2570 h 2570"/>
                <a:gd name="T44" fmla="*/ 1965 w 1965"/>
                <a:gd name="T45" fmla="*/ 1684 h 2570"/>
                <a:gd name="T46" fmla="*/ 1965 w 1965"/>
                <a:gd name="T47" fmla="*/ 1684 h 2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5" h="2570">
                  <a:moveTo>
                    <a:pt x="520" y="529"/>
                  </a:moveTo>
                  <a:cubicBezTo>
                    <a:pt x="520" y="212"/>
                    <a:pt x="707" y="0"/>
                    <a:pt x="983" y="0"/>
                  </a:cubicBezTo>
                  <a:cubicBezTo>
                    <a:pt x="1258" y="0"/>
                    <a:pt x="1446" y="212"/>
                    <a:pt x="1446" y="529"/>
                  </a:cubicBezTo>
                  <a:cubicBezTo>
                    <a:pt x="1446" y="846"/>
                    <a:pt x="1258" y="1058"/>
                    <a:pt x="983" y="1058"/>
                  </a:cubicBezTo>
                  <a:cubicBezTo>
                    <a:pt x="707" y="1058"/>
                    <a:pt x="520" y="846"/>
                    <a:pt x="520" y="529"/>
                  </a:cubicBezTo>
                  <a:close/>
                  <a:moveTo>
                    <a:pt x="1965" y="1684"/>
                  </a:moveTo>
                  <a:cubicBezTo>
                    <a:pt x="1961" y="1464"/>
                    <a:pt x="1835" y="1316"/>
                    <a:pt x="1648" y="1302"/>
                  </a:cubicBezTo>
                  <a:cubicBezTo>
                    <a:pt x="1648" y="1302"/>
                    <a:pt x="1648" y="1302"/>
                    <a:pt x="1648" y="1302"/>
                  </a:cubicBezTo>
                  <a:cubicBezTo>
                    <a:pt x="1310" y="1278"/>
                    <a:pt x="1310" y="1278"/>
                    <a:pt x="1310" y="1278"/>
                  </a:cubicBezTo>
                  <a:cubicBezTo>
                    <a:pt x="1310" y="1278"/>
                    <a:pt x="1310" y="1278"/>
                    <a:pt x="1310" y="1278"/>
                  </a:cubicBezTo>
                  <a:cubicBezTo>
                    <a:pt x="1310" y="1278"/>
                    <a:pt x="1310" y="1278"/>
                    <a:pt x="1310" y="1278"/>
                  </a:cubicBezTo>
                  <a:cubicBezTo>
                    <a:pt x="983" y="1606"/>
                    <a:pt x="983" y="1606"/>
                    <a:pt x="983" y="1606"/>
                  </a:cubicBezTo>
                  <a:cubicBezTo>
                    <a:pt x="983" y="1606"/>
                    <a:pt x="983" y="1606"/>
                    <a:pt x="983" y="1606"/>
                  </a:cubicBezTo>
                  <a:cubicBezTo>
                    <a:pt x="655" y="1278"/>
                    <a:pt x="655" y="1278"/>
                    <a:pt x="655" y="1278"/>
                  </a:cubicBezTo>
                  <a:cubicBezTo>
                    <a:pt x="655" y="1278"/>
                    <a:pt x="655" y="1278"/>
                    <a:pt x="655" y="1278"/>
                  </a:cubicBezTo>
                  <a:cubicBezTo>
                    <a:pt x="655" y="1278"/>
                    <a:pt x="655" y="1278"/>
                    <a:pt x="655" y="1278"/>
                  </a:cubicBezTo>
                  <a:cubicBezTo>
                    <a:pt x="317" y="1302"/>
                    <a:pt x="317" y="1302"/>
                    <a:pt x="317" y="1302"/>
                  </a:cubicBezTo>
                  <a:cubicBezTo>
                    <a:pt x="317" y="1302"/>
                    <a:pt x="317" y="1302"/>
                    <a:pt x="317" y="1302"/>
                  </a:cubicBezTo>
                  <a:cubicBezTo>
                    <a:pt x="130" y="1316"/>
                    <a:pt x="4" y="1464"/>
                    <a:pt x="0" y="1684"/>
                  </a:cubicBezTo>
                  <a:cubicBezTo>
                    <a:pt x="0" y="1684"/>
                    <a:pt x="0" y="1684"/>
                    <a:pt x="0" y="1684"/>
                  </a:cubicBezTo>
                  <a:cubicBezTo>
                    <a:pt x="0" y="1761"/>
                    <a:pt x="0" y="2183"/>
                    <a:pt x="0" y="2570"/>
                  </a:cubicBezTo>
                  <a:cubicBezTo>
                    <a:pt x="1965" y="2570"/>
                    <a:pt x="1965" y="2570"/>
                    <a:pt x="1965" y="2570"/>
                  </a:cubicBezTo>
                  <a:cubicBezTo>
                    <a:pt x="1965" y="2183"/>
                    <a:pt x="1965" y="1761"/>
                    <a:pt x="1965" y="1684"/>
                  </a:cubicBezTo>
                  <a:cubicBezTo>
                    <a:pt x="1965" y="1684"/>
                    <a:pt x="1965" y="1684"/>
                    <a:pt x="1965" y="1684"/>
                  </a:cubicBezTo>
                  <a:close/>
                </a:path>
              </a:pathLst>
            </a:custGeom>
            <a:solidFill>
              <a:srgbClr val="E5E5E9"/>
            </a:solidFill>
            <a:ln>
              <a:noFill/>
            </a:ln>
          </p:spPr>
          <p:txBody>
            <a:bodyPr vert="horz" wrap="square" lIns="91392" tIns="45696" rIns="91392" bIns="45696" numCol="1" anchor="t" anchorCtr="0" compatLnSpc="1">
              <a:prstTxWarp prst="textNoShape">
                <a:avLst/>
              </a:prstTxWarp>
            </a:bodyPr>
            <a:lstStyle/>
            <a:p>
              <a:endParaRPr lang="en-US" sz="1799" dirty="0"/>
            </a:p>
          </p:txBody>
        </p:sp>
      </p:grpSp>
      <p:grpSp>
        <p:nvGrpSpPr>
          <p:cNvPr id="5" name="Gruppieren 4">
            <a:extLst>
              <a:ext uri="{FF2B5EF4-FFF2-40B4-BE49-F238E27FC236}">
                <a16:creationId xmlns:a16="http://schemas.microsoft.com/office/drawing/2014/main" id="{010FF864-46B9-48A2-8157-68C93072D849}"/>
              </a:ext>
            </a:extLst>
          </p:cNvPr>
          <p:cNvGrpSpPr/>
          <p:nvPr/>
        </p:nvGrpSpPr>
        <p:grpSpPr>
          <a:xfrm>
            <a:off x="410400" y="3861051"/>
            <a:ext cx="5472000" cy="2305300"/>
            <a:chOff x="622800" y="3861275"/>
            <a:chExt cx="5474851" cy="2306501"/>
          </a:xfrm>
        </p:grpSpPr>
        <p:sp>
          <p:nvSpPr>
            <p:cNvPr id="140" name="Rechteck 139"/>
            <p:cNvSpPr>
              <a:spLocks/>
            </p:cNvSpPr>
            <p:nvPr/>
          </p:nvSpPr>
          <p:spPr bwMode="auto">
            <a:xfrm>
              <a:off x="2135588" y="3863845"/>
              <a:ext cx="1728900" cy="2303931"/>
            </a:xfrm>
            <a:prstGeom prst="rect">
              <a:avLst/>
            </a:prstGeom>
            <a:solidFill>
              <a:srgbClr val="66667E"/>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52" name="Textfeld 8"/>
            <p:cNvSpPr txBox="1">
              <a:spLocks/>
            </p:cNvSpPr>
            <p:nvPr/>
          </p:nvSpPr>
          <p:spPr bwMode="gray">
            <a:xfrm>
              <a:off x="622800" y="3863776"/>
              <a:ext cx="1512788" cy="2304000"/>
            </a:xfrm>
            <a:prstGeom prst="rect">
              <a:avLst/>
            </a:prstGeom>
            <a:solidFill>
              <a:srgbClr val="00FFB9"/>
            </a:solidFill>
            <a:ln>
              <a:noFill/>
            </a:ln>
          </p:spPr>
          <p:txBody>
            <a:bodyPr wrap="square" lIns="143925" tIns="71963" rIns="143925" bIns="71963" rtlCol="0" anchor="b">
              <a:noAutofit/>
            </a:bodyPr>
            <a:lstStyle/>
            <a:p>
              <a:pPr>
                <a:spcBef>
                  <a:spcPct val="0"/>
                </a:spcBef>
                <a:buClr>
                  <a:srgbClr val="879BAA"/>
                </a:buClr>
              </a:pPr>
              <a:r>
                <a:rPr lang="en-US" sz="1599" b="1" kern="1400" dirty="0">
                  <a:solidFill>
                    <a:schemeClr val="bg2"/>
                  </a:solidFill>
                  <a:ea typeface="ＭＳ Ｐゴシック" pitchFamily="34" charset="-128"/>
                  <a:cs typeface="Arial" charset="0"/>
                </a:rPr>
                <a:t>Marianne Mastermind</a:t>
              </a:r>
            </a:p>
            <a:p>
              <a:pPr>
                <a:spcBef>
                  <a:spcPts val="300"/>
                </a:spcBef>
                <a:buClr>
                  <a:srgbClr val="879BAA"/>
                </a:buClr>
              </a:pPr>
              <a:r>
                <a:rPr lang="en-US" sz="1199" dirty="0">
                  <a:solidFill>
                    <a:schemeClr val="bg2"/>
                  </a:solidFill>
                  <a:cs typeface="Arial" charset="0"/>
                </a:rPr>
                <a:t>At vero eos et accusam</a:t>
              </a:r>
            </a:p>
          </p:txBody>
        </p:sp>
        <p:sp>
          <p:nvSpPr>
            <p:cNvPr id="254" name="Freeform 70"/>
            <p:cNvSpPr>
              <a:spLocks noEditPoints="1"/>
            </p:cNvSpPr>
            <p:nvPr/>
          </p:nvSpPr>
          <p:spPr bwMode="auto">
            <a:xfrm>
              <a:off x="1450800" y="3931763"/>
              <a:ext cx="593271" cy="774220"/>
            </a:xfrm>
            <a:custGeom>
              <a:avLst/>
              <a:gdLst>
                <a:gd name="T0" fmla="*/ 1439 w 1970"/>
                <a:gd name="T1" fmla="*/ 1960 h 2578"/>
                <a:gd name="T2" fmla="*/ 985 w 1970"/>
                <a:gd name="T3" fmla="*/ 2328 h 2578"/>
                <a:gd name="T4" fmla="*/ 532 w 1970"/>
                <a:gd name="T5" fmla="*/ 1960 h 2578"/>
                <a:gd name="T6" fmla="*/ 601 w 1970"/>
                <a:gd name="T7" fmla="*/ 1955 h 2578"/>
                <a:gd name="T8" fmla="*/ 651 w 1970"/>
                <a:gd name="T9" fmla="*/ 1973 h 2578"/>
                <a:gd name="T10" fmla="*/ 825 w 1970"/>
                <a:gd name="T11" fmla="*/ 2068 h 2578"/>
                <a:gd name="T12" fmla="*/ 985 w 1970"/>
                <a:gd name="T13" fmla="*/ 2014 h 2578"/>
                <a:gd name="T14" fmla="*/ 1145 w 1970"/>
                <a:gd name="T15" fmla="*/ 2068 h 2578"/>
                <a:gd name="T16" fmla="*/ 1320 w 1970"/>
                <a:gd name="T17" fmla="*/ 1973 h 2578"/>
                <a:gd name="T18" fmla="*/ 1369 w 1970"/>
                <a:gd name="T19" fmla="*/ 1955 h 2578"/>
                <a:gd name="T20" fmla="*/ 1911 w 1970"/>
                <a:gd name="T21" fmla="*/ 1316 h 2578"/>
                <a:gd name="T22" fmla="*/ 1740 w 1970"/>
                <a:gd name="T23" fmla="*/ 1613 h 2578"/>
                <a:gd name="T24" fmla="*/ 1478 w 1970"/>
                <a:gd name="T25" fmla="*/ 1833 h 2578"/>
                <a:gd name="T26" fmla="*/ 1156 w 1970"/>
                <a:gd name="T27" fmla="*/ 1950 h 2578"/>
                <a:gd name="T28" fmla="*/ 814 w 1970"/>
                <a:gd name="T29" fmla="*/ 1950 h 2578"/>
                <a:gd name="T30" fmla="*/ 492 w 1970"/>
                <a:gd name="T31" fmla="*/ 1833 h 2578"/>
                <a:gd name="T32" fmla="*/ 230 w 1970"/>
                <a:gd name="T33" fmla="*/ 1613 h 2578"/>
                <a:gd name="T34" fmla="*/ 59 w 1970"/>
                <a:gd name="T35" fmla="*/ 1316 h 2578"/>
                <a:gd name="T36" fmla="*/ 0 w 1970"/>
                <a:gd name="T37" fmla="*/ 979 h 2578"/>
                <a:gd name="T38" fmla="*/ 59 w 1970"/>
                <a:gd name="T39" fmla="*/ 642 h 2578"/>
                <a:gd name="T40" fmla="*/ 230 w 1970"/>
                <a:gd name="T41" fmla="*/ 346 h 2578"/>
                <a:gd name="T42" fmla="*/ 492 w 1970"/>
                <a:gd name="T43" fmla="*/ 126 h 2578"/>
                <a:gd name="T44" fmla="*/ 814 w 1970"/>
                <a:gd name="T45" fmla="*/ 9 h 2578"/>
                <a:gd name="T46" fmla="*/ 1156 w 1970"/>
                <a:gd name="T47" fmla="*/ 9 h 2578"/>
                <a:gd name="T48" fmla="*/ 1478 w 1970"/>
                <a:gd name="T49" fmla="*/ 126 h 2578"/>
                <a:gd name="T50" fmla="*/ 1740 w 1970"/>
                <a:gd name="T51" fmla="*/ 346 h 2578"/>
                <a:gd name="T52" fmla="*/ 1911 w 1970"/>
                <a:gd name="T53" fmla="*/ 642 h 2578"/>
                <a:gd name="T54" fmla="*/ 1970 w 1970"/>
                <a:gd name="T55" fmla="*/ 979 h 2578"/>
                <a:gd name="T56" fmla="*/ 1911 w 1970"/>
                <a:gd name="T57" fmla="*/ 1316 h 2578"/>
                <a:gd name="T58" fmla="*/ 985 w 1970"/>
                <a:gd name="T59" fmla="*/ 203 h 2578"/>
                <a:gd name="T60" fmla="*/ 985 w 1970"/>
                <a:gd name="T61" fmla="*/ 1756 h 2578"/>
                <a:gd name="T62" fmla="*/ 1645 w 1970"/>
                <a:gd name="T63" fmla="*/ 979 h 2578"/>
                <a:gd name="T64" fmla="*/ 326 w 1970"/>
                <a:gd name="T65" fmla="*/ 979 h 2578"/>
                <a:gd name="T66" fmla="*/ 1645 w 1970"/>
                <a:gd name="T67" fmla="*/ 979 h 2578"/>
                <a:gd name="T68" fmla="*/ 732 w 1970"/>
                <a:gd name="T69" fmla="*/ 925 h 2578"/>
                <a:gd name="T70" fmla="*/ 582 w 1970"/>
                <a:gd name="T71" fmla="*/ 816 h 2578"/>
                <a:gd name="T72" fmla="*/ 432 w 1970"/>
                <a:gd name="T73" fmla="*/ 925 h 2578"/>
                <a:gd name="T74" fmla="*/ 490 w 1970"/>
                <a:gd name="T75" fmla="*/ 1101 h 2578"/>
                <a:gd name="T76" fmla="*/ 675 w 1970"/>
                <a:gd name="T77" fmla="*/ 1101 h 2578"/>
                <a:gd name="T78" fmla="*/ 1042 w 1970"/>
                <a:gd name="T79" fmla="*/ 992 h 2578"/>
                <a:gd name="T80" fmla="*/ 1021 w 1970"/>
                <a:gd name="T81" fmla="*/ 925 h 2578"/>
                <a:gd name="T82" fmla="*/ 950 w 1970"/>
                <a:gd name="T83" fmla="*/ 925 h 2578"/>
                <a:gd name="T84" fmla="*/ 928 w 1970"/>
                <a:gd name="T85" fmla="*/ 992 h 2578"/>
                <a:gd name="T86" fmla="*/ 985 w 1970"/>
                <a:gd name="T87" fmla="*/ 1034 h 2578"/>
                <a:gd name="T88" fmla="*/ 1042 w 1970"/>
                <a:gd name="T89" fmla="*/ 992 h 2578"/>
                <a:gd name="T90" fmla="*/ 1538 w 1970"/>
                <a:gd name="T91" fmla="*/ 925 h 2578"/>
                <a:gd name="T92" fmla="*/ 1388 w 1970"/>
                <a:gd name="T93" fmla="*/ 816 h 2578"/>
                <a:gd name="T94" fmla="*/ 1238 w 1970"/>
                <a:gd name="T95" fmla="*/ 925 h 2578"/>
                <a:gd name="T96" fmla="*/ 1295 w 1970"/>
                <a:gd name="T97" fmla="*/ 1101 h 2578"/>
                <a:gd name="T98" fmla="*/ 1481 w 1970"/>
                <a:gd name="T99" fmla="*/ 1101 h 2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70" h="2578">
                  <a:moveTo>
                    <a:pt x="1431" y="1960"/>
                  </a:moveTo>
                  <a:cubicBezTo>
                    <a:pt x="1434" y="1960"/>
                    <a:pt x="1436" y="1960"/>
                    <a:pt x="1439" y="1960"/>
                  </a:cubicBezTo>
                  <a:cubicBezTo>
                    <a:pt x="1439" y="2578"/>
                    <a:pt x="1439" y="2578"/>
                    <a:pt x="1439" y="2578"/>
                  </a:cubicBezTo>
                  <a:cubicBezTo>
                    <a:pt x="985" y="2328"/>
                    <a:pt x="985" y="2328"/>
                    <a:pt x="985" y="2328"/>
                  </a:cubicBezTo>
                  <a:cubicBezTo>
                    <a:pt x="532" y="2578"/>
                    <a:pt x="532" y="2578"/>
                    <a:pt x="532" y="2578"/>
                  </a:cubicBezTo>
                  <a:cubicBezTo>
                    <a:pt x="532" y="1960"/>
                    <a:pt x="532" y="1960"/>
                    <a:pt x="532" y="1960"/>
                  </a:cubicBezTo>
                  <a:cubicBezTo>
                    <a:pt x="534" y="1960"/>
                    <a:pt x="536" y="1960"/>
                    <a:pt x="539" y="1960"/>
                  </a:cubicBezTo>
                  <a:cubicBezTo>
                    <a:pt x="561" y="1960"/>
                    <a:pt x="582" y="1957"/>
                    <a:pt x="601" y="1955"/>
                  </a:cubicBezTo>
                  <a:cubicBezTo>
                    <a:pt x="612" y="1954"/>
                    <a:pt x="623" y="1953"/>
                    <a:pt x="631" y="1952"/>
                  </a:cubicBezTo>
                  <a:cubicBezTo>
                    <a:pt x="637" y="1958"/>
                    <a:pt x="645" y="1966"/>
                    <a:pt x="651" y="1973"/>
                  </a:cubicBezTo>
                  <a:cubicBezTo>
                    <a:pt x="682" y="2007"/>
                    <a:pt x="725" y="2053"/>
                    <a:pt x="794" y="2065"/>
                  </a:cubicBezTo>
                  <a:cubicBezTo>
                    <a:pt x="804" y="2067"/>
                    <a:pt x="815" y="2068"/>
                    <a:pt x="825" y="2068"/>
                  </a:cubicBezTo>
                  <a:cubicBezTo>
                    <a:pt x="879" y="2068"/>
                    <a:pt x="922" y="2046"/>
                    <a:pt x="957" y="2028"/>
                  </a:cubicBezTo>
                  <a:cubicBezTo>
                    <a:pt x="966" y="2023"/>
                    <a:pt x="977" y="2017"/>
                    <a:pt x="985" y="2014"/>
                  </a:cubicBezTo>
                  <a:cubicBezTo>
                    <a:pt x="993" y="2017"/>
                    <a:pt x="1005" y="2023"/>
                    <a:pt x="1013" y="2028"/>
                  </a:cubicBezTo>
                  <a:cubicBezTo>
                    <a:pt x="1048" y="2046"/>
                    <a:pt x="1092" y="2068"/>
                    <a:pt x="1145" y="2068"/>
                  </a:cubicBezTo>
                  <a:cubicBezTo>
                    <a:pt x="1156" y="2068"/>
                    <a:pt x="1166" y="2067"/>
                    <a:pt x="1176" y="2065"/>
                  </a:cubicBezTo>
                  <a:cubicBezTo>
                    <a:pt x="1245" y="2053"/>
                    <a:pt x="1288" y="2007"/>
                    <a:pt x="1320" y="1973"/>
                  </a:cubicBezTo>
                  <a:cubicBezTo>
                    <a:pt x="1325" y="1966"/>
                    <a:pt x="1334" y="1958"/>
                    <a:pt x="1339" y="1952"/>
                  </a:cubicBezTo>
                  <a:cubicBezTo>
                    <a:pt x="1348" y="1953"/>
                    <a:pt x="1359" y="1954"/>
                    <a:pt x="1369" y="1955"/>
                  </a:cubicBezTo>
                  <a:cubicBezTo>
                    <a:pt x="1388" y="1957"/>
                    <a:pt x="1409" y="1960"/>
                    <a:pt x="1431" y="1960"/>
                  </a:cubicBezTo>
                  <a:close/>
                  <a:moveTo>
                    <a:pt x="1911" y="1316"/>
                  </a:moveTo>
                  <a:cubicBezTo>
                    <a:pt x="1892" y="1369"/>
                    <a:pt x="1806" y="1390"/>
                    <a:pt x="1779" y="1437"/>
                  </a:cubicBezTo>
                  <a:cubicBezTo>
                    <a:pt x="1751" y="1485"/>
                    <a:pt x="1775" y="1570"/>
                    <a:pt x="1740" y="1613"/>
                  </a:cubicBezTo>
                  <a:cubicBezTo>
                    <a:pt x="1704" y="1655"/>
                    <a:pt x="1616" y="1645"/>
                    <a:pt x="1574" y="1681"/>
                  </a:cubicBezTo>
                  <a:cubicBezTo>
                    <a:pt x="1532" y="1717"/>
                    <a:pt x="1526" y="1805"/>
                    <a:pt x="1478" y="1833"/>
                  </a:cubicBezTo>
                  <a:cubicBezTo>
                    <a:pt x="1430" y="1860"/>
                    <a:pt x="1351" y="1821"/>
                    <a:pt x="1298" y="1840"/>
                  </a:cubicBezTo>
                  <a:cubicBezTo>
                    <a:pt x="1247" y="1859"/>
                    <a:pt x="1211" y="1940"/>
                    <a:pt x="1156" y="1950"/>
                  </a:cubicBezTo>
                  <a:cubicBezTo>
                    <a:pt x="1103" y="1959"/>
                    <a:pt x="1041" y="1895"/>
                    <a:pt x="985" y="1895"/>
                  </a:cubicBezTo>
                  <a:cubicBezTo>
                    <a:pt x="929" y="1895"/>
                    <a:pt x="868" y="1959"/>
                    <a:pt x="814" y="1950"/>
                  </a:cubicBezTo>
                  <a:cubicBezTo>
                    <a:pt x="759" y="1940"/>
                    <a:pt x="723" y="1859"/>
                    <a:pt x="672" y="1840"/>
                  </a:cubicBezTo>
                  <a:cubicBezTo>
                    <a:pt x="619" y="1821"/>
                    <a:pt x="540" y="1860"/>
                    <a:pt x="492" y="1833"/>
                  </a:cubicBezTo>
                  <a:cubicBezTo>
                    <a:pt x="444" y="1805"/>
                    <a:pt x="439" y="1717"/>
                    <a:pt x="396" y="1681"/>
                  </a:cubicBezTo>
                  <a:cubicBezTo>
                    <a:pt x="354" y="1645"/>
                    <a:pt x="266" y="1655"/>
                    <a:pt x="230" y="1613"/>
                  </a:cubicBezTo>
                  <a:cubicBezTo>
                    <a:pt x="195" y="1570"/>
                    <a:pt x="219" y="1485"/>
                    <a:pt x="192" y="1437"/>
                  </a:cubicBezTo>
                  <a:cubicBezTo>
                    <a:pt x="164" y="1390"/>
                    <a:pt x="78" y="1369"/>
                    <a:pt x="59" y="1316"/>
                  </a:cubicBezTo>
                  <a:cubicBezTo>
                    <a:pt x="40" y="1265"/>
                    <a:pt x="92" y="1194"/>
                    <a:pt x="83" y="1138"/>
                  </a:cubicBezTo>
                  <a:cubicBezTo>
                    <a:pt x="73" y="1085"/>
                    <a:pt x="0" y="1036"/>
                    <a:pt x="0" y="979"/>
                  </a:cubicBezTo>
                  <a:cubicBezTo>
                    <a:pt x="0" y="923"/>
                    <a:pt x="73" y="874"/>
                    <a:pt x="83" y="820"/>
                  </a:cubicBezTo>
                  <a:cubicBezTo>
                    <a:pt x="92" y="765"/>
                    <a:pt x="40" y="694"/>
                    <a:pt x="59" y="642"/>
                  </a:cubicBezTo>
                  <a:cubicBezTo>
                    <a:pt x="78" y="590"/>
                    <a:pt x="164" y="569"/>
                    <a:pt x="192" y="521"/>
                  </a:cubicBezTo>
                  <a:cubicBezTo>
                    <a:pt x="219" y="473"/>
                    <a:pt x="195" y="388"/>
                    <a:pt x="230" y="346"/>
                  </a:cubicBezTo>
                  <a:cubicBezTo>
                    <a:pt x="266" y="304"/>
                    <a:pt x="354" y="313"/>
                    <a:pt x="396" y="278"/>
                  </a:cubicBezTo>
                  <a:cubicBezTo>
                    <a:pt x="439" y="242"/>
                    <a:pt x="444" y="154"/>
                    <a:pt x="492" y="126"/>
                  </a:cubicBezTo>
                  <a:cubicBezTo>
                    <a:pt x="540" y="98"/>
                    <a:pt x="619" y="137"/>
                    <a:pt x="672" y="118"/>
                  </a:cubicBezTo>
                  <a:cubicBezTo>
                    <a:pt x="723" y="100"/>
                    <a:pt x="759" y="19"/>
                    <a:pt x="814" y="9"/>
                  </a:cubicBezTo>
                  <a:cubicBezTo>
                    <a:pt x="868" y="0"/>
                    <a:pt x="929" y="63"/>
                    <a:pt x="985" y="63"/>
                  </a:cubicBezTo>
                  <a:cubicBezTo>
                    <a:pt x="1041" y="63"/>
                    <a:pt x="1103" y="0"/>
                    <a:pt x="1156" y="9"/>
                  </a:cubicBezTo>
                  <a:cubicBezTo>
                    <a:pt x="1211" y="19"/>
                    <a:pt x="1247" y="100"/>
                    <a:pt x="1298" y="118"/>
                  </a:cubicBezTo>
                  <a:cubicBezTo>
                    <a:pt x="1351" y="137"/>
                    <a:pt x="1430" y="98"/>
                    <a:pt x="1478" y="126"/>
                  </a:cubicBezTo>
                  <a:cubicBezTo>
                    <a:pt x="1526" y="154"/>
                    <a:pt x="1532" y="242"/>
                    <a:pt x="1574" y="278"/>
                  </a:cubicBezTo>
                  <a:cubicBezTo>
                    <a:pt x="1616" y="313"/>
                    <a:pt x="1704" y="304"/>
                    <a:pt x="1740" y="346"/>
                  </a:cubicBezTo>
                  <a:cubicBezTo>
                    <a:pt x="1775" y="388"/>
                    <a:pt x="1751" y="473"/>
                    <a:pt x="1779" y="521"/>
                  </a:cubicBezTo>
                  <a:cubicBezTo>
                    <a:pt x="1806" y="569"/>
                    <a:pt x="1892" y="590"/>
                    <a:pt x="1911" y="642"/>
                  </a:cubicBezTo>
                  <a:cubicBezTo>
                    <a:pt x="1930" y="694"/>
                    <a:pt x="1878" y="765"/>
                    <a:pt x="1887" y="820"/>
                  </a:cubicBezTo>
                  <a:cubicBezTo>
                    <a:pt x="1897" y="874"/>
                    <a:pt x="1970" y="923"/>
                    <a:pt x="1970" y="979"/>
                  </a:cubicBezTo>
                  <a:cubicBezTo>
                    <a:pt x="1970" y="1036"/>
                    <a:pt x="1897" y="1085"/>
                    <a:pt x="1887" y="1138"/>
                  </a:cubicBezTo>
                  <a:cubicBezTo>
                    <a:pt x="1878" y="1194"/>
                    <a:pt x="1930" y="1265"/>
                    <a:pt x="1911" y="1316"/>
                  </a:cubicBezTo>
                  <a:close/>
                  <a:moveTo>
                    <a:pt x="1762" y="979"/>
                  </a:moveTo>
                  <a:cubicBezTo>
                    <a:pt x="1762" y="551"/>
                    <a:pt x="1413" y="203"/>
                    <a:pt x="985" y="203"/>
                  </a:cubicBezTo>
                  <a:cubicBezTo>
                    <a:pt x="557" y="203"/>
                    <a:pt x="208" y="551"/>
                    <a:pt x="208" y="979"/>
                  </a:cubicBezTo>
                  <a:cubicBezTo>
                    <a:pt x="208" y="1408"/>
                    <a:pt x="557" y="1756"/>
                    <a:pt x="985" y="1756"/>
                  </a:cubicBezTo>
                  <a:cubicBezTo>
                    <a:pt x="1413" y="1756"/>
                    <a:pt x="1762" y="1408"/>
                    <a:pt x="1762" y="979"/>
                  </a:cubicBezTo>
                  <a:close/>
                  <a:moveTo>
                    <a:pt x="1645" y="979"/>
                  </a:moveTo>
                  <a:cubicBezTo>
                    <a:pt x="1645" y="1343"/>
                    <a:pt x="1349" y="1639"/>
                    <a:pt x="985" y="1639"/>
                  </a:cubicBezTo>
                  <a:cubicBezTo>
                    <a:pt x="621" y="1639"/>
                    <a:pt x="326" y="1343"/>
                    <a:pt x="326" y="979"/>
                  </a:cubicBezTo>
                  <a:cubicBezTo>
                    <a:pt x="326" y="616"/>
                    <a:pt x="621" y="320"/>
                    <a:pt x="985" y="320"/>
                  </a:cubicBezTo>
                  <a:cubicBezTo>
                    <a:pt x="1349" y="320"/>
                    <a:pt x="1645" y="616"/>
                    <a:pt x="1645" y="979"/>
                  </a:cubicBezTo>
                  <a:close/>
                  <a:moveTo>
                    <a:pt x="640" y="992"/>
                  </a:moveTo>
                  <a:cubicBezTo>
                    <a:pt x="732" y="925"/>
                    <a:pt x="732" y="925"/>
                    <a:pt x="732" y="925"/>
                  </a:cubicBezTo>
                  <a:cubicBezTo>
                    <a:pt x="618" y="925"/>
                    <a:pt x="618" y="925"/>
                    <a:pt x="618" y="925"/>
                  </a:cubicBezTo>
                  <a:cubicBezTo>
                    <a:pt x="582" y="816"/>
                    <a:pt x="582" y="816"/>
                    <a:pt x="582" y="816"/>
                  </a:cubicBezTo>
                  <a:cubicBezTo>
                    <a:pt x="547" y="925"/>
                    <a:pt x="547" y="925"/>
                    <a:pt x="547" y="925"/>
                  </a:cubicBezTo>
                  <a:cubicBezTo>
                    <a:pt x="432" y="925"/>
                    <a:pt x="432" y="925"/>
                    <a:pt x="432" y="925"/>
                  </a:cubicBezTo>
                  <a:cubicBezTo>
                    <a:pt x="525" y="992"/>
                    <a:pt x="525" y="992"/>
                    <a:pt x="525" y="992"/>
                  </a:cubicBezTo>
                  <a:cubicBezTo>
                    <a:pt x="490" y="1101"/>
                    <a:pt x="490" y="1101"/>
                    <a:pt x="490" y="1101"/>
                  </a:cubicBezTo>
                  <a:cubicBezTo>
                    <a:pt x="582" y="1034"/>
                    <a:pt x="582" y="1034"/>
                    <a:pt x="582" y="1034"/>
                  </a:cubicBezTo>
                  <a:cubicBezTo>
                    <a:pt x="675" y="1101"/>
                    <a:pt x="675" y="1101"/>
                    <a:pt x="675" y="1101"/>
                  </a:cubicBezTo>
                  <a:lnTo>
                    <a:pt x="640" y="992"/>
                  </a:lnTo>
                  <a:close/>
                  <a:moveTo>
                    <a:pt x="1042" y="992"/>
                  </a:moveTo>
                  <a:cubicBezTo>
                    <a:pt x="1135" y="925"/>
                    <a:pt x="1135" y="925"/>
                    <a:pt x="1135" y="925"/>
                  </a:cubicBezTo>
                  <a:cubicBezTo>
                    <a:pt x="1021" y="925"/>
                    <a:pt x="1021" y="925"/>
                    <a:pt x="1021" y="925"/>
                  </a:cubicBezTo>
                  <a:cubicBezTo>
                    <a:pt x="985" y="816"/>
                    <a:pt x="985" y="816"/>
                    <a:pt x="985" y="816"/>
                  </a:cubicBezTo>
                  <a:cubicBezTo>
                    <a:pt x="950" y="925"/>
                    <a:pt x="950" y="925"/>
                    <a:pt x="950" y="925"/>
                  </a:cubicBezTo>
                  <a:cubicBezTo>
                    <a:pt x="835" y="925"/>
                    <a:pt x="835" y="925"/>
                    <a:pt x="835" y="925"/>
                  </a:cubicBezTo>
                  <a:cubicBezTo>
                    <a:pt x="928" y="992"/>
                    <a:pt x="928" y="992"/>
                    <a:pt x="928" y="992"/>
                  </a:cubicBezTo>
                  <a:cubicBezTo>
                    <a:pt x="892" y="1101"/>
                    <a:pt x="892" y="1101"/>
                    <a:pt x="892" y="1101"/>
                  </a:cubicBezTo>
                  <a:cubicBezTo>
                    <a:pt x="985" y="1034"/>
                    <a:pt x="985" y="1034"/>
                    <a:pt x="985" y="1034"/>
                  </a:cubicBezTo>
                  <a:cubicBezTo>
                    <a:pt x="1078" y="1101"/>
                    <a:pt x="1078" y="1101"/>
                    <a:pt x="1078" y="1101"/>
                  </a:cubicBezTo>
                  <a:lnTo>
                    <a:pt x="1042" y="992"/>
                  </a:lnTo>
                  <a:close/>
                  <a:moveTo>
                    <a:pt x="1445" y="992"/>
                  </a:moveTo>
                  <a:cubicBezTo>
                    <a:pt x="1538" y="925"/>
                    <a:pt x="1538" y="925"/>
                    <a:pt x="1538" y="925"/>
                  </a:cubicBezTo>
                  <a:cubicBezTo>
                    <a:pt x="1423" y="925"/>
                    <a:pt x="1423" y="925"/>
                    <a:pt x="1423" y="925"/>
                  </a:cubicBezTo>
                  <a:cubicBezTo>
                    <a:pt x="1388" y="816"/>
                    <a:pt x="1388" y="816"/>
                    <a:pt x="1388" y="816"/>
                  </a:cubicBezTo>
                  <a:cubicBezTo>
                    <a:pt x="1352" y="925"/>
                    <a:pt x="1352" y="925"/>
                    <a:pt x="1352" y="925"/>
                  </a:cubicBezTo>
                  <a:cubicBezTo>
                    <a:pt x="1238" y="925"/>
                    <a:pt x="1238" y="925"/>
                    <a:pt x="1238" y="925"/>
                  </a:cubicBezTo>
                  <a:cubicBezTo>
                    <a:pt x="1330" y="992"/>
                    <a:pt x="1330" y="992"/>
                    <a:pt x="1330" y="992"/>
                  </a:cubicBezTo>
                  <a:cubicBezTo>
                    <a:pt x="1295" y="1101"/>
                    <a:pt x="1295" y="1101"/>
                    <a:pt x="1295" y="1101"/>
                  </a:cubicBezTo>
                  <a:cubicBezTo>
                    <a:pt x="1388" y="1034"/>
                    <a:pt x="1388" y="1034"/>
                    <a:pt x="1388" y="1034"/>
                  </a:cubicBezTo>
                  <a:cubicBezTo>
                    <a:pt x="1481" y="1101"/>
                    <a:pt x="1481" y="1101"/>
                    <a:pt x="1481" y="1101"/>
                  </a:cubicBezTo>
                  <a:lnTo>
                    <a:pt x="1445" y="992"/>
                  </a:lnTo>
                  <a:close/>
                </a:path>
              </a:pathLst>
            </a:custGeom>
            <a:solidFill>
              <a:schemeClr val="bg2"/>
            </a:solidFill>
            <a:ln>
              <a:noFill/>
            </a:ln>
          </p:spPr>
          <p:txBody>
            <a:bodyPr vert="horz" wrap="square" lIns="91392" tIns="45696" rIns="91392" bIns="45696" numCol="1" anchor="t" anchorCtr="0" compatLnSpc="1">
              <a:prstTxWarp prst="textNoShape">
                <a:avLst/>
              </a:prstTxWarp>
            </a:bodyPr>
            <a:lstStyle/>
            <a:p>
              <a:endParaRPr lang="en-US" sz="1799" dirty="0"/>
            </a:p>
          </p:txBody>
        </p:sp>
        <p:sp>
          <p:nvSpPr>
            <p:cNvPr id="279" name="TextBox 278"/>
            <p:cNvSpPr txBox="1">
              <a:spLocks/>
            </p:cNvSpPr>
            <p:nvPr/>
          </p:nvSpPr>
          <p:spPr bwMode="gray">
            <a:xfrm>
              <a:off x="3864488" y="3861275"/>
              <a:ext cx="2233163" cy="2303931"/>
            </a:xfrm>
            <a:prstGeom prst="rect">
              <a:avLst/>
            </a:prstGeom>
            <a:noFill/>
          </p:spPr>
          <p:txBody>
            <a:bodyPr wrap="square" lIns="143925" tIns="0" rIns="0" bIns="0" rtlCol="0" anchor="t" anchorCtr="0">
              <a:noAutofit/>
            </a:bodyPr>
            <a:lstStyle/>
            <a:p>
              <a:pPr>
                <a:spcBef>
                  <a:spcPts val="300"/>
                </a:spcBef>
                <a:buClr>
                  <a:srgbClr val="41AAAA"/>
                </a:buClr>
              </a:pPr>
              <a:r>
                <a:rPr lang="en-US" sz="1199" dirty="0">
                  <a:solidFill>
                    <a:srgbClr val="9999A9"/>
                  </a:solidFill>
                </a:rPr>
                <a:t>Department</a:t>
              </a:r>
              <a:br>
                <a:rPr lang="en-US" sz="1199" dirty="0">
                  <a:solidFill>
                    <a:srgbClr val="9999A9"/>
                  </a:solidFill>
                </a:rPr>
              </a:br>
              <a:r>
                <a:rPr lang="en-US" sz="1199" dirty="0">
                  <a:solidFill>
                    <a:srgbClr val="9999A9"/>
                  </a:solidFill>
                </a:rPr>
                <a:t>Number</a:t>
              </a:r>
            </a:p>
            <a:p>
              <a:pPr>
                <a:spcBef>
                  <a:spcPts val="300"/>
                </a:spcBef>
                <a:buClr>
                  <a:srgbClr val="41AAAA"/>
                </a:buClr>
              </a:pPr>
              <a:r>
                <a:rPr lang="en-US" sz="1199" b="1" dirty="0">
                  <a:solidFill>
                    <a:srgbClr val="9999A9"/>
                  </a:solidFill>
                </a:rPr>
                <a:t>Phone</a:t>
              </a:r>
              <a:br>
                <a:rPr lang="en-US" sz="1199" dirty="0">
                  <a:solidFill>
                    <a:srgbClr val="9999A9"/>
                  </a:solidFill>
                </a:rPr>
              </a:br>
              <a:r>
                <a:rPr lang="en-US" sz="1199" dirty="0">
                  <a:solidFill>
                    <a:srgbClr val="9999A9"/>
                  </a:solidFill>
                </a:rPr>
                <a:t>+49 123 123456-99</a:t>
              </a:r>
            </a:p>
            <a:p>
              <a:pPr>
                <a:spcBef>
                  <a:spcPts val="300"/>
                </a:spcBef>
                <a:buClr>
                  <a:srgbClr val="41AAAA"/>
                </a:buClr>
              </a:pPr>
              <a:r>
                <a:rPr lang="en-US" sz="1199" b="1" dirty="0">
                  <a:solidFill>
                    <a:srgbClr val="9999A9"/>
                  </a:solidFill>
                </a:rPr>
                <a:t>Mobile</a:t>
              </a:r>
              <a:br>
                <a:rPr lang="en-US" sz="1199" dirty="0">
                  <a:solidFill>
                    <a:srgbClr val="9999A9"/>
                  </a:solidFill>
                </a:rPr>
              </a:br>
              <a:r>
                <a:rPr lang="en-US" sz="1199" dirty="0">
                  <a:solidFill>
                    <a:srgbClr val="9999A9"/>
                  </a:solidFill>
                </a:rPr>
                <a:t>+49 123 123456-77</a:t>
              </a:r>
            </a:p>
            <a:p>
              <a:pPr>
                <a:spcBef>
                  <a:spcPts val="300"/>
                </a:spcBef>
                <a:buClr>
                  <a:srgbClr val="41AAAA"/>
                </a:buClr>
              </a:pPr>
              <a:r>
                <a:rPr lang="en-US" sz="1199" b="1" dirty="0">
                  <a:solidFill>
                    <a:srgbClr val="9999A9"/>
                  </a:solidFill>
                </a:rPr>
                <a:t>E-mail</a:t>
              </a:r>
              <a:br>
                <a:rPr lang="en-US" sz="1199" dirty="0">
                  <a:solidFill>
                    <a:srgbClr val="9999A9"/>
                  </a:solidFill>
                </a:rPr>
              </a:br>
              <a:r>
                <a:rPr lang="en-US" sz="1199" dirty="0">
                  <a:solidFill>
                    <a:srgbClr val="9999A9"/>
                  </a:solidFill>
                </a:rPr>
                <a:t>marianne.mastermind@</a:t>
              </a:r>
              <a:br>
                <a:rPr lang="en-US" sz="1199" dirty="0">
                  <a:solidFill>
                    <a:srgbClr val="9999A9"/>
                  </a:solidFill>
                </a:rPr>
              </a:br>
              <a:r>
                <a:rPr lang="en-US" sz="1199" dirty="0">
                  <a:solidFill>
                    <a:srgbClr val="9999A9"/>
                  </a:solidFill>
                </a:rPr>
                <a:t>siemens.com</a:t>
              </a:r>
            </a:p>
          </p:txBody>
        </p:sp>
        <p:sp>
          <p:nvSpPr>
            <p:cNvPr id="23" name="Freeform 96"/>
            <p:cNvSpPr>
              <a:spLocks noEditPoints="1"/>
            </p:cNvSpPr>
            <p:nvPr/>
          </p:nvSpPr>
          <p:spPr bwMode="auto">
            <a:xfrm>
              <a:off x="2314331" y="4369094"/>
              <a:ext cx="1371414" cy="1798682"/>
            </a:xfrm>
            <a:custGeom>
              <a:avLst/>
              <a:gdLst>
                <a:gd name="T0" fmla="*/ 520 w 1965"/>
                <a:gd name="T1" fmla="*/ 529 h 2570"/>
                <a:gd name="T2" fmla="*/ 983 w 1965"/>
                <a:gd name="T3" fmla="*/ 0 h 2570"/>
                <a:gd name="T4" fmla="*/ 1446 w 1965"/>
                <a:gd name="T5" fmla="*/ 529 h 2570"/>
                <a:gd name="T6" fmla="*/ 983 w 1965"/>
                <a:gd name="T7" fmla="*/ 1058 h 2570"/>
                <a:gd name="T8" fmla="*/ 520 w 1965"/>
                <a:gd name="T9" fmla="*/ 529 h 2570"/>
                <a:gd name="T10" fmla="*/ 1965 w 1965"/>
                <a:gd name="T11" fmla="*/ 1684 h 2570"/>
                <a:gd name="T12" fmla="*/ 1648 w 1965"/>
                <a:gd name="T13" fmla="*/ 1302 h 2570"/>
                <a:gd name="T14" fmla="*/ 1648 w 1965"/>
                <a:gd name="T15" fmla="*/ 1302 h 2570"/>
                <a:gd name="T16" fmla="*/ 1310 w 1965"/>
                <a:gd name="T17" fmla="*/ 1278 h 2570"/>
                <a:gd name="T18" fmla="*/ 1310 w 1965"/>
                <a:gd name="T19" fmla="*/ 1278 h 2570"/>
                <a:gd name="T20" fmla="*/ 1310 w 1965"/>
                <a:gd name="T21" fmla="*/ 1278 h 2570"/>
                <a:gd name="T22" fmla="*/ 983 w 1965"/>
                <a:gd name="T23" fmla="*/ 1606 h 2570"/>
                <a:gd name="T24" fmla="*/ 983 w 1965"/>
                <a:gd name="T25" fmla="*/ 1606 h 2570"/>
                <a:gd name="T26" fmla="*/ 655 w 1965"/>
                <a:gd name="T27" fmla="*/ 1278 h 2570"/>
                <a:gd name="T28" fmla="*/ 655 w 1965"/>
                <a:gd name="T29" fmla="*/ 1278 h 2570"/>
                <a:gd name="T30" fmla="*/ 655 w 1965"/>
                <a:gd name="T31" fmla="*/ 1278 h 2570"/>
                <a:gd name="T32" fmla="*/ 317 w 1965"/>
                <a:gd name="T33" fmla="*/ 1302 h 2570"/>
                <a:gd name="T34" fmla="*/ 317 w 1965"/>
                <a:gd name="T35" fmla="*/ 1302 h 2570"/>
                <a:gd name="T36" fmla="*/ 0 w 1965"/>
                <a:gd name="T37" fmla="*/ 1684 h 2570"/>
                <a:gd name="T38" fmla="*/ 0 w 1965"/>
                <a:gd name="T39" fmla="*/ 1684 h 2570"/>
                <a:gd name="T40" fmla="*/ 0 w 1965"/>
                <a:gd name="T41" fmla="*/ 2570 h 2570"/>
                <a:gd name="T42" fmla="*/ 1965 w 1965"/>
                <a:gd name="T43" fmla="*/ 2570 h 2570"/>
                <a:gd name="T44" fmla="*/ 1965 w 1965"/>
                <a:gd name="T45" fmla="*/ 1684 h 2570"/>
                <a:gd name="T46" fmla="*/ 1965 w 1965"/>
                <a:gd name="T47" fmla="*/ 1684 h 2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5" h="2570">
                  <a:moveTo>
                    <a:pt x="520" y="529"/>
                  </a:moveTo>
                  <a:cubicBezTo>
                    <a:pt x="520" y="212"/>
                    <a:pt x="707" y="0"/>
                    <a:pt x="983" y="0"/>
                  </a:cubicBezTo>
                  <a:cubicBezTo>
                    <a:pt x="1258" y="0"/>
                    <a:pt x="1446" y="212"/>
                    <a:pt x="1446" y="529"/>
                  </a:cubicBezTo>
                  <a:cubicBezTo>
                    <a:pt x="1446" y="846"/>
                    <a:pt x="1258" y="1058"/>
                    <a:pt x="983" y="1058"/>
                  </a:cubicBezTo>
                  <a:cubicBezTo>
                    <a:pt x="707" y="1058"/>
                    <a:pt x="520" y="846"/>
                    <a:pt x="520" y="529"/>
                  </a:cubicBezTo>
                  <a:close/>
                  <a:moveTo>
                    <a:pt x="1965" y="1684"/>
                  </a:moveTo>
                  <a:cubicBezTo>
                    <a:pt x="1961" y="1464"/>
                    <a:pt x="1835" y="1316"/>
                    <a:pt x="1648" y="1302"/>
                  </a:cubicBezTo>
                  <a:cubicBezTo>
                    <a:pt x="1648" y="1302"/>
                    <a:pt x="1648" y="1302"/>
                    <a:pt x="1648" y="1302"/>
                  </a:cubicBezTo>
                  <a:cubicBezTo>
                    <a:pt x="1310" y="1278"/>
                    <a:pt x="1310" y="1278"/>
                    <a:pt x="1310" y="1278"/>
                  </a:cubicBezTo>
                  <a:cubicBezTo>
                    <a:pt x="1310" y="1278"/>
                    <a:pt x="1310" y="1278"/>
                    <a:pt x="1310" y="1278"/>
                  </a:cubicBezTo>
                  <a:cubicBezTo>
                    <a:pt x="1310" y="1278"/>
                    <a:pt x="1310" y="1278"/>
                    <a:pt x="1310" y="1278"/>
                  </a:cubicBezTo>
                  <a:cubicBezTo>
                    <a:pt x="983" y="1606"/>
                    <a:pt x="983" y="1606"/>
                    <a:pt x="983" y="1606"/>
                  </a:cubicBezTo>
                  <a:cubicBezTo>
                    <a:pt x="983" y="1606"/>
                    <a:pt x="983" y="1606"/>
                    <a:pt x="983" y="1606"/>
                  </a:cubicBezTo>
                  <a:cubicBezTo>
                    <a:pt x="655" y="1278"/>
                    <a:pt x="655" y="1278"/>
                    <a:pt x="655" y="1278"/>
                  </a:cubicBezTo>
                  <a:cubicBezTo>
                    <a:pt x="655" y="1278"/>
                    <a:pt x="655" y="1278"/>
                    <a:pt x="655" y="1278"/>
                  </a:cubicBezTo>
                  <a:cubicBezTo>
                    <a:pt x="655" y="1278"/>
                    <a:pt x="655" y="1278"/>
                    <a:pt x="655" y="1278"/>
                  </a:cubicBezTo>
                  <a:cubicBezTo>
                    <a:pt x="317" y="1302"/>
                    <a:pt x="317" y="1302"/>
                    <a:pt x="317" y="1302"/>
                  </a:cubicBezTo>
                  <a:cubicBezTo>
                    <a:pt x="317" y="1302"/>
                    <a:pt x="317" y="1302"/>
                    <a:pt x="317" y="1302"/>
                  </a:cubicBezTo>
                  <a:cubicBezTo>
                    <a:pt x="130" y="1316"/>
                    <a:pt x="4" y="1464"/>
                    <a:pt x="0" y="1684"/>
                  </a:cubicBezTo>
                  <a:cubicBezTo>
                    <a:pt x="0" y="1684"/>
                    <a:pt x="0" y="1684"/>
                    <a:pt x="0" y="1684"/>
                  </a:cubicBezTo>
                  <a:cubicBezTo>
                    <a:pt x="0" y="1761"/>
                    <a:pt x="0" y="2183"/>
                    <a:pt x="0" y="2570"/>
                  </a:cubicBezTo>
                  <a:cubicBezTo>
                    <a:pt x="1965" y="2570"/>
                    <a:pt x="1965" y="2570"/>
                    <a:pt x="1965" y="2570"/>
                  </a:cubicBezTo>
                  <a:cubicBezTo>
                    <a:pt x="1965" y="2183"/>
                    <a:pt x="1965" y="1761"/>
                    <a:pt x="1965" y="1684"/>
                  </a:cubicBezTo>
                  <a:cubicBezTo>
                    <a:pt x="1965" y="1684"/>
                    <a:pt x="1965" y="1684"/>
                    <a:pt x="1965" y="1684"/>
                  </a:cubicBezTo>
                  <a:close/>
                </a:path>
              </a:pathLst>
            </a:custGeom>
            <a:solidFill>
              <a:srgbClr val="E5E5E9"/>
            </a:solidFill>
            <a:ln>
              <a:noFill/>
            </a:ln>
          </p:spPr>
          <p:txBody>
            <a:bodyPr vert="horz" wrap="square" lIns="91392" tIns="45696" rIns="91392" bIns="45696" numCol="1" anchor="t" anchorCtr="0" compatLnSpc="1">
              <a:prstTxWarp prst="textNoShape">
                <a:avLst/>
              </a:prstTxWarp>
            </a:bodyPr>
            <a:lstStyle/>
            <a:p>
              <a:endParaRPr lang="en-US" sz="1799" dirty="0"/>
            </a:p>
          </p:txBody>
        </p:sp>
      </p:grpSp>
      <p:grpSp>
        <p:nvGrpSpPr>
          <p:cNvPr id="7" name="Gruppieren 6">
            <a:extLst>
              <a:ext uri="{FF2B5EF4-FFF2-40B4-BE49-F238E27FC236}">
                <a16:creationId xmlns:a16="http://schemas.microsoft.com/office/drawing/2014/main" id="{E7DAFA10-5BFC-4589-A371-0677EF9EE46F}"/>
              </a:ext>
            </a:extLst>
          </p:cNvPr>
          <p:cNvGrpSpPr/>
          <p:nvPr/>
        </p:nvGrpSpPr>
        <p:grpSpPr>
          <a:xfrm>
            <a:off x="6314399" y="3861051"/>
            <a:ext cx="5472000" cy="2305300"/>
            <a:chOff x="6253009" y="3861275"/>
            <a:chExt cx="5474851" cy="2306501"/>
          </a:xfrm>
        </p:grpSpPr>
        <p:sp>
          <p:nvSpPr>
            <p:cNvPr id="280" name="Rechteck 139"/>
            <p:cNvSpPr>
              <a:spLocks/>
            </p:cNvSpPr>
            <p:nvPr/>
          </p:nvSpPr>
          <p:spPr bwMode="auto">
            <a:xfrm>
              <a:off x="7765797" y="3863845"/>
              <a:ext cx="1728900" cy="2303931"/>
            </a:xfrm>
            <a:prstGeom prst="rect">
              <a:avLst/>
            </a:prstGeom>
            <a:solidFill>
              <a:srgbClr val="66667E"/>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97" name="Textfeld 8"/>
            <p:cNvSpPr txBox="1">
              <a:spLocks/>
            </p:cNvSpPr>
            <p:nvPr/>
          </p:nvSpPr>
          <p:spPr bwMode="gray">
            <a:xfrm>
              <a:off x="6253009" y="3863776"/>
              <a:ext cx="1512788" cy="2304000"/>
            </a:xfrm>
            <a:prstGeom prst="rect">
              <a:avLst/>
            </a:prstGeom>
            <a:solidFill>
              <a:srgbClr val="CCCCD4"/>
            </a:solidFill>
            <a:ln>
              <a:noFill/>
            </a:ln>
          </p:spPr>
          <p:txBody>
            <a:bodyPr wrap="square" lIns="143925" tIns="71963" rIns="143925" bIns="71963" rtlCol="0" anchor="b">
              <a:noAutofit/>
            </a:bodyPr>
            <a:lstStyle/>
            <a:p>
              <a:pPr>
                <a:spcBef>
                  <a:spcPct val="0"/>
                </a:spcBef>
                <a:buClr>
                  <a:srgbClr val="879BAA"/>
                </a:buClr>
              </a:pPr>
              <a:r>
                <a:rPr lang="en-US" sz="1599" b="1" kern="1400" dirty="0">
                  <a:solidFill>
                    <a:srgbClr val="333353"/>
                  </a:solidFill>
                  <a:ea typeface="ＭＳ Ｐゴシック" pitchFamily="34" charset="-128"/>
                  <a:cs typeface="Arial" charset="0"/>
                </a:rPr>
                <a:t>Marianne Mastermind</a:t>
              </a:r>
            </a:p>
            <a:p>
              <a:pPr>
                <a:spcBef>
                  <a:spcPts val="300"/>
                </a:spcBef>
                <a:buClr>
                  <a:srgbClr val="879BAA"/>
                </a:buClr>
              </a:pPr>
              <a:r>
                <a:rPr lang="en-US" sz="1199" dirty="0">
                  <a:solidFill>
                    <a:srgbClr val="333353"/>
                  </a:solidFill>
                  <a:cs typeface="Arial" charset="0"/>
                </a:rPr>
                <a:t>At vero eos et accusam</a:t>
              </a:r>
            </a:p>
          </p:txBody>
        </p:sp>
        <p:sp>
          <p:nvSpPr>
            <p:cNvPr id="303" name="TextBox 302"/>
            <p:cNvSpPr txBox="1">
              <a:spLocks/>
            </p:cNvSpPr>
            <p:nvPr/>
          </p:nvSpPr>
          <p:spPr bwMode="gray">
            <a:xfrm>
              <a:off x="9494697" y="3861275"/>
              <a:ext cx="2233163" cy="2306501"/>
            </a:xfrm>
            <a:prstGeom prst="rect">
              <a:avLst/>
            </a:prstGeom>
            <a:noFill/>
          </p:spPr>
          <p:txBody>
            <a:bodyPr wrap="square" lIns="143925" tIns="0" rIns="0" bIns="0" rtlCol="0" anchor="t" anchorCtr="0">
              <a:noAutofit/>
            </a:bodyPr>
            <a:lstStyle/>
            <a:p>
              <a:pPr>
                <a:spcBef>
                  <a:spcPts val="300"/>
                </a:spcBef>
                <a:buClr>
                  <a:srgbClr val="41AAAA"/>
                </a:buClr>
              </a:pPr>
              <a:r>
                <a:rPr lang="en-US" sz="1199" dirty="0">
                  <a:solidFill>
                    <a:srgbClr val="9999A9"/>
                  </a:solidFill>
                </a:rPr>
                <a:t>Department</a:t>
              </a:r>
              <a:br>
                <a:rPr lang="en-US" sz="1199" dirty="0">
                  <a:solidFill>
                    <a:srgbClr val="9999A9"/>
                  </a:solidFill>
                </a:rPr>
              </a:br>
              <a:r>
                <a:rPr lang="en-US" sz="1199" dirty="0">
                  <a:solidFill>
                    <a:srgbClr val="9999A9"/>
                  </a:solidFill>
                </a:rPr>
                <a:t>Number</a:t>
              </a:r>
            </a:p>
            <a:p>
              <a:pPr>
                <a:spcBef>
                  <a:spcPts val="300"/>
                </a:spcBef>
                <a:buClr>
                  <a:srgbClr val="41AAAA"/>
                </a:buClr>
              </a:pPr>
              <a:r>
                <a:rPr lang="en-US" sz="1199" b="1" dirty="0">
                  <a:solidFill>
                    <a:srgbClr val="9999A9"/>
                  </a:solidFill>
                </a:rPr>
                <a:t>Phone</a:t>
              </a:r>
              <a:br>
                <a:rPr lang="en-US" sz="1199" dirty="0">
                  <a:solidFill>
                    <a:srgbClr val="9999A9"/>
                  </a:solidFill>
                </a:rPr>
              </a:br>
              <a:r>
                <a:rPr lang="en-US" sz="1199" dirty="0">
                  <a:solidFill>
                    <a:srgbClr val="9999A9"/>
                  </a:solidFill>
                </a:rPr>
                <a:t>+49 123 123456-99</a:t>
              </a:r>
            </a:p>
            <a:p>
              <a:pPr>
                <a:spcBef>
                  <a:spcPts val="300"/>
                </a:spcBef>
                <a:buClr>
                  <a:srgbClr val="41AAAA"/>
                </a:buClr>
              </a:pPr>
              <a:r>
                <a:rPr lang="en-US" sz="1199" b="1" dirty="0">
                  <a:solidFill>
                    <a:srgbClr val="9999A9"/>
                  </a:solidFill>
                </a:rPr>
                <a:t>Mobile</a:t>
              </a:r>
              <a:br>
                <a:rPr lang="en-US" sz="1199" dirty="0">
                  <a:solidFill>
                    <a:srgbClr val="9999A9"/>
                  </a:solidFill>
                </a:rPr>
              </a:br>
              <a:r>
                <a:rPr lang="en-US" sz="1199" dirty="0">
                  <a:solidFill>
                    <a:srgbClr val="9999A9"/>
                  </a:solidFill>
                </a:rPr>
                <a:t>+49 123 123456-77</a:t>
              </a:r>
            </a:p>
            <a:p>
              <a:pPr>
                <a:spcBef>
                  <a:spcPts val="300"/>
                </a:spcBef>
                <a:buClr>
                  <a:srgbClr val="41AAAA"/>
                </a:buClr>
              </a:pPr>
              <a:r>
                <a:rPr lang="en-US" sz="1199" b="1" dirty="0">
                  <a:solidFill>
                    <a:srgbClr val="9999A9"/>
                  </a:solidFill>
                </a:rPr>
                <a:t>E-mail</a:t>
              </a:r>
              <a:br>
                <a:rPr lang="en-US" sz="1199" dirty="0">
                  <a:solidFill>
                    <a:srgbClr val="9999A9"/>
                  </a:solidFill>
                </a:rPr>
              </a:br>
              <a:r>
                <a:rPr lang="en-US" sz="1199" dirty="0">
                  <a:solidFill>
                    <a:srgbClr val="9999A9"/>
                  </a:solidFill>
                </a:rPr>
                <a:t>marianne.mastermind@</a:t>
              </a:r>
              <a:br>
                <a:rPr lang="en-US" sz="1199" dirty="0">
                  <a:solidFill>
                    <a:srgbClr val="9999A9"/>
                  </a:solidFill>
                </a:rPr>
              </a:br>
              <a:r>
                <a:rPr lang="en-US" sz="1199" dirty="0">
                  <a:solidFill>
                    <a:srgbClr val="9999A9"/>
                  </a:solidFill>
                </a:rPr>
                <a:t>siemens.com</a:t>
              </a:r>
            </a:p>
          </p:txBody>
        </p:sp>
        <p:sp>
          <p:nvSpPr>
            <p:cNvPr id="24" name="Freeform 96"/>
            <p:cNvSpPr>
              <a:spLocks noEditPoints="1"/>
            </p:cNvSpPr>
            <p:nvPr/>
          </p:nvSpPr>
          <p:spPr bwMode="auto">
            <a:xfrm>
              <a:off x="7944540" y="4369094"/>
              <a:ext cx="1371414" cy="1798682"/>
            </a:xfrm>
            <a:custGeom>
              <a:avLst/>
              <a:gdLst>
                <a:gd name="T0" fmla="*/ 520 w 1965"/>
                <a:gd name="T1" fmla="*/ 529 h 2570"/>
                <a:gd name="T2" fmla="*/ 983 w 1965"/>
                <a:gd name="T3" fmla="*/ 0 h 2570"/>
                <a:gd name="T4" fmla="*/ 1446 w 1965"/>
                <a:gd name="T5" fmla="*/ 529 h 2570"/>
                <a:gd name="T6" fmla="*/ 983 w 1965"/>
                <a:gd name="T7" fmla="*/ 1058 h 2570"/>
                <a:gd name="T8" fmla="*/ 520 w 1965"/>
                <a:gd name="T9" fmla="*/ 529 h 2570"/>
                <a:gd name="T10" fmla="*/ 1965 w 1965"/>
                <a:gd name="T11" fmla="*/ 1684 h 2570"/>
                <a:gd name="T12" fmla="*/ 1648 w 1965"/>
                <a:gd name="T13" fmla="*/ 1302 h 2570"/>
                <a:gd name="T14" fmla="*/ 1648 w 1965"/>
                <a:gd name="T15" fmla="*/ 1302 h 2570"/>
                <a:gd name="T16" fmla="*/ 1310 w 1965"/>
                <a:gd name="T17" fmla="*/ 1278 h 2570"/>
                <a:gd name="T18" fmla="*/ 1310 w 1965"/>
                <a:gd name="T19" fmla="*/ 1278 h 2570"/>
                <a:gd name="T20" fmla="*/ 1310 w 1965"/>
                <a:gd name="T21" fmla="*/ 1278 h 2570"/>
                <a:gd name="T22" fmla="*/ 983 w 1965"/>
                <a:gd name="T23" fmla="*/ 1606 h 2570"/>
                <a:gd name="T24" fmla="*/ 983 w 1965"/>
                <a:gd name="T25" fmla="*/ 1606 h 2570"/>
                <a:gd name="T26" fmla="*/ 655 w 1965"/>
                <a:gd name="T27" fmla="*/ 1278 h 2570"/>
                <a:gd name="T28" fmla="*/ 655 w 1965"/>
                <a:gd name="T29" fmla="*/ 1278 h 2570"/>
                <a:gd name="T30" fmla="*/ 655 w 1965"/>
                <a:gd name="T31" fmla="*/ 1278 h 2570"/>
                <a:gd name="T32" fmla="*/ 317 w 1965"/>
                <a:gd name="T33" fmla="*/ 1302 h 2570"/>
                <a:gd name="T34" fmla="*/ 317 w 1965"/>
                <a:gd name="T35" fmla="*/ 1302 h 2570"/>
                <a:gd name="T36" fmla="*/ 0 w 1965"/>
                <a:gd name="T37" fmla="*/ 1684 h 2570"/>
                <a:gd name="T38" fmla="*/ 0 w 1965"/>
                <a:gd name="T39" fmla="*/ 1684 h 2570"/>
                <a:gd name="T40" fmla="*/ 0 w 1965"/>
                <a:gd name="T41" fmla="*/ 2570 h 2570"/>
                <a:gd name="T42" fmla="*/ 1965 w 1965"/>
                <a:gd name="T43" fmla="*/ 2570 h 2570"/>
                <a:gd name="T44" fmla="*/ 1965 w 1965"/>
                <a:gd name="T45" fmla="*/ 1684 h 2570"/>
                <a:gd name="T46" fmla="*/ 1965 w 1965"/>
                <a:gd name="T47" fmla="*/ 1684 h 2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5" h="2570">
                  <a:moveTo>
                    <a:pt x="520" y="529"/>
                  </a:moveTo>
                  <a:cubicBezTo>
                    <a:pt x="520" y="212"/>
                    <a:pt x="707" y="0"/>
                    <a:pt x="983" y="0"/>
                  </a:cubicBezTo>
                  <a:cubicBezTo>
                    <a:pt x="1258" y="0"/>
                    <a:pt x="1446" y="212"/>
                    <a:pt x="1446" y="529"/>
                  </a:cubicBezTo>
                  <a:cubicBezTo>
                    <a:pt x="1446" y="846"/>
                    <a:pt x="1258" y="1058"/>
                    <a:pt x="983" y="1058"/>
                  </a:cubicBezTo>
                  <a:cubicBezTo>
                    <a:pt x="707" y="1058"/>
                    <a:pt x="520" y="846"/>
                    <a:pt x="520" y="529"/>
                  </a:cubicBezTo>
                  <a:close/>
                  <a:moveTo>
                    <a:pt x="1965" y="1684"/>
                  </a:moveTo>
                  <a:cubicBezTo>
                    <a:pt x="1961" y="1464"/>
                    <a:pt x="1835" y="1316"/>
                    <a:pt x="1648" y="1302"/>
                  </a:cubicBezTo>
                  <a:cubicBezTo>
                    <a:pt x="1648" y="1302"/>
                    <a:pt x="1648" y="1302"/>
                    <a:pt x="1648" y="1302"/>
                  </a:cubicBezTo>
                  <a:cubicBezTo>
                    <a:pt x="1310" y="1278"/>
                    <a:pt x="1310" y="1278"/>
                    <a:pt x="1310" y="1278"/>
                  </a:cubicBezTo>
                  <a:cubicBezTo>
                    <a:pt x="1310" y="1278"/>
                    <a:pt x="1310" y="1278"/>
                    <a:pt x="1310" y="1278"/>
                  </a:cubicBezTo>
                  <a:cubicBezTo>
                    <a:pt x="1310" y="1278"/>
                    <a:pt x="1310" y="1278"/>
                    <a:pt x="1310" y="1278"/>
                  </a:cubicBezTo>
                  <a:cubicBezTo>
                    <a:pt x="983" y="1606"/>
                    <a:pt x="983" y="1606"/>
                    <a:pt x="983" y="1606"/>
                  </a:cubicBezTo>
                  <a:cubicBezTo>
                    <a:pt x="983" y="1606"/>
                    <a:pt x="983" y="1606"/>
                    <a:pt x="983" y="1606"/>
                  </a:cubicBezTo>
                  <a:cubicBezTo>
                    <a:pt x="655" y="1278"/>
                    <a:pt x="655" y="1278"/>
                    <a:pt x="655" y="1278"/>
                  </a:cubicBezTo>
                  <a:cubicBezTo>
                    <a:pt x="655" y="1278"/>
                    <a:pt x="655" y="1278"/>
                    <a:pt x="655" y="1278"/>
                  </a:cubicBezTo>
                  <a:cubicBezTo>
                    <a:pt x="655" y="1278"/>
                    <a:pt x="655" y="1278"/>
                    <a:pt x="655" y="1278"/>
                  </a:cubicBezTo>
                  <a:cubicBezTo>
                    <a:pt x="317" y="1302"/>
                    <a:pt x="317" y="1302"/>
                    <a:pt x="317" y="1302"/>
                  </a:cubicBezTo>
                  <a:cubicBezTo>
                    <a:pt x="317" y="1302"/>
                    <a:pt x="317" y="1302"/>
                    <a:pt x="317" y="1302"/>
                  </a:cubicBezTo>
                  <a:cubicBezTo>
                    <a:pt x="130" y="1316"/>
                    <a:pt x="4" y="1464"/>
                    <a:pt x="0" y="1684"/>
                  </a:cubicBezTo>
                  <a:cubicBezTo>
                    <a:pt x="0" y="1684"/>
                    <a:pt x="0" y="1684"/>
                    <a:pt x="0" y="1684"/>
                  </a:cubicBezTo>
                  <a:cubicBezTo>
                    <a:pt x="0" y="1761"/>
                    <a:pt x="0" y="2183"/>
                    <a:pt x="0" y="2570"/>
                  </a:cubicBezTo>
                  <a:cubicBezTo>
                    <a:pt x="1965" y="2570"/>
                    <a:pt x="1965" y="2570"/>
                    <a:pt x="1965" y="2570"/>
                  </a:cubicBezTo>
                  <a:cubicBezTo>
                    <a:pt x="1965" y="2183"/>
                    <a:pt x="1965" y="1761"/>
                    <a:pt x="1965" y="1684"/>
                  </a:cubicBezTo>
                  <a:cubicBezTo>
                    <a:pt x="1965" y="1684"/>
                    <a:pt x="1965" y="1684"/>
                    <a:pt x="1965" y="1684"/>
                  </a:cubicBezTo>
                  <a:close/>
                </a:path>
              </a:pathLst>
            </a:custGeom>
            <a:solidFill>
              <a:srgbClr val="E5E5E9"/>
            </a:solidFill>
            <a:ln>
              <a:noFill/>
            </a:ln>
          </p:spPr>
          <p:txBody>
            <a:bodyPr vert="horz" wrap="square" lIns="91392" tIns="45696" rIns="91392" bIns="45696" numCol="1" anchor="t" anchorCtr="0" compatLnSpc="1">
              <a:prstTxWarp prst="textNoShape">
                <a:avLst/>
              </a:prstTxWarp>
            </a:bodyPr>
            <a:lstStyle/>
            <a:p>
              <a:endParaRPr lang="en-US" sz="1799" dirty="0"/>
            </a:p>
          </p:txBody>
        </p:sp>
      </p:grpSp>
      <p:grpSp>
        <p:nvGrpSpPr>
          <p:cNvPr id="6" name="Gruppieren 5">
            <a:extLst>
              <a:ext uri="{FF2B5EF4-FFF2-40B4-BE49-F238E27FC236}">
                <a16:creationId xmlns:a16="http://schemas.microsoft.com/office/drawing/2014/main" id="{B3B2766A-00F5-4403-B2E6-F79673BE2A60}"/>
              </a:ext>
            </a:extLst>
          </p:cNvPr>
          <p:cNvGrpSpPr/>
          <p:nvPr/>
        </p:nvGrpSpPr>
        <p:grpSpPr>
          <a:xfrm>
            <a:off x="6314399" y="1415848"/>
            <a:ext cx="5472000" cy="2302801"/>
            <a:chOff x="6253009" y="1414800"/>
            <a:chExt cx="5474851" cy="2304000"/>
          </a:xfrm>
        </p:grpSpPr>
        <p:sp>
          <p:nvSpPr>
            <p:cNvPr id="281" name="Textfeld 8"/>
            <p:cNvSpPr txBox="1">
              <a:spLocks/>
            </p:cNvSpPr>
            <p:nvPr/>
          </p:nvSpPr>
          <p:spPr bwMode="gray">
            <a:xfrm>
              <a:off x="6253009" y="1414800"/>
              <a:ext cx="1512788" cy="2304000"/>
            </a:xfrm>
            <a:prstGeom prst="rect">
              <a:avLst/>
            </a:prstGeom>
            <a:solidFill>
              <a:srgbClr val="CCCCD4"/>
            </a:solidFill>
            <a:ln>
              <a:noFill/>
            </a:ln>
          </p:spPr>
          <p:txBody>
            <a:bodyPr wrap="square" lIns="143925" tIns="71963" rIns="143925" bIns="71963" rtlCol="0" anchor="b">
              <a:noAutofit/>
            </a:bodyPr>
            <a:lstStyle/>
            <a:p>
              <a:pPr>
                <a:spcBef>
                  <a:spcPct val="0"/>
                </a:spcBef>
                <a:buClr>
                  <a:srgbClr val="879BAA"/>
                </a:buClr>
              </a:pPr>
              <a:r>
                <a:rPr lang="en-US" sz="1599" b="1" kern="1400" dirty="0">
                  <a:solidFill>
                    <a:srgbClr val="333353"/>
                  </a:solidFill>
                  <a:ea typeface="ＭＳ Ｐゴシック" pitchFamily="34" charset="-128"/>
                  <a:cs typeface="Arial" charset="0"/>
                </a:rPr>
                <a:t>Sam Sample</a:t>
              </a:r>
            </a:p>
            <a:p>
              <a:pPr>
                <a:spcBef>
                  <a:spcPts val="300"/>
                </a:spcBef>
                <a:buClr>
                  <a:srgbClr val="879BAA"/>
                </a:buClr>
              </a:pPr>
              <a:r>
                <a:rPr lang="en-US" sz="1199" dirty="0">
                  <a:solidFill>
                    <a:srgbClr val="333353"/>
                  </a:solidFill>
                  <a:cs typeface="Arial" charset="0"/>
                </a:rPr>
                <a:t>At vero eos et accusam</a:t>
              </a:r>
            </a:p>
          </p:txBody>
        </p:sp>
        <p:sp>
          <p:nvSpPr>
            <p:cNvPr id="300" name="Rechteck 137"/>
            <p:cNvSpPr>
              <a:spLocks/>
            </p:cNvSpPr>
            <p:nvPr/>
          </p:nvSpPr>
          <p:spPr bwMode="auto">
            <a:xfrm>
              <a:off x="7765797" y="1414800"/>
              <a:ext cx="1728900" cy="2303463"/>
            </a:xfrm>
            <a:prstGeom prst="rect">
              <a:avLst/>
            </a:prstGeom>
            <a:solidFill>
              <a:srgbClr val="66667E"/>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302" name="TextBox 301"/>
            <p:cNvSpPr txBox="1">
              <a:spLocks/>
            </p:cNvSpPr>
            <p:nvPr/>
          </p:nvSpPr>
          <p:spPr bwMode="gray">
            <a:xfrm>
              <a:off x="9494697" y="1414800"/>
              <a:ext cx="2233163" cy="2303999"/>
            </a:xfrm>
            <a:prstGeom prst="rect">
              <a:avLst/>
            </a:prstGeom>
            <a:noFill/>
          </p:spPr>
          <p:txBody>
            <a:bodyPr wrap="square" lIns="143925" tIns="0" rIns="0" bIns="0" rtlCol="0" anchor="t" anchorCtr="0">
              <a:noAutofit/>
            </a:bodyPr>
            <a:lstStyle/>
            <a:p>
              <a:pPr>
                <a:spcBef>
                  <a:spcPts val="300"/>
                </a:spcBef>
                <a:buClr>
                  <a:srgbClr val="41AAAA"/>
                </a:buClr>
              </a:pPr>
              <a:r>
                <a:rPr lang="en-US" sz="1199" dirty="0">
                  <a:solidFill>
                    <a:srgbClr val="9999A9"/>
                  </a:solidFill>
                </a:rPr>
                <a:t>Department</a:t>
              </a:r>
              <a:br>
                <a:rPr lang="en-US" sz="1199" dirty="0">
                  <a:solidFill>
                    <a:srgbClr val="9999A9"/>
                  </a:solidFill>
                </a:rPr>
              </a:br>
              <a:r>
                <a:rPr lang="en-US" sz="1199" dirty="0">
                  <a:solidFill>
                    <a:srgbClr val="9999A9"/>
                  </a:solidFill>
                </a:rPr>
                <a:t>Number</a:t>
              </a:r>
            </a:p>
            <a:p>
              <a:pPr>
                <a:spcBef>
                  <a:spcPts val="300"/>
                </a:spcBef>
                <a:buClr>
                  <a:srgbClr val="41AAAA"/>
                </a:buClr>
              </a:pPr>
              <a:r>
                <a:rPr lang="en-US" sz="1199" b="1" dirty="0">
                  <a:solidFill>
                    <a:srgbClr val="9999A9"/>
                  </a:solidFill>
                </a:rPr>
                <a:t>Phone</a:t>
              </a:r>
              <a:br>
                <a:rPr lang="en-US" sz="1199" dirty="0">
                  <a:solidFill>
                    <a:srgbClr val="9999A9"/>
                  </a:solidFill>
                </a:rPr>
              </a:br>
              <a:r>
                <a:rPr lang="en-US" sz="1199" dirty="0">
                  <a:solidFill>
                    <a:srgbClr val="9999A9"/>
                  </a:solidFill>
                </a:rPr>
                <a:t>+49 123 123456-99</a:t>
              </a:r>
            </a:p>
            <a:p>
              <a:pPr>
                <a:spcBef>
                  <a:spcPts val="300"/>
                </a:spcBef>
                <a:buClr>
                  <a:srgbClr val="41AAAA"/>
                </a:buClr>
              </a:pPr>
              <a:r>
                <a:rPr lang="en-US" sz="1199" b="1" dirty="0">
                  <a:solidFill>
                    <a:srgbClr val="9999A9"/>
                  </a:solidFill>
                </a:rPr>
                <a:t>Mobile</a:t>
              </a:r>
              <a:br>
                <a:rPr lang="en-US" sz="1199" dirty="0">
                  <a:solidFill>
                    <a:srgbClr val="9999A9"/>
                  </a:solidFill>
                </a:rPr>
              </a:br>
              <a:r>
                <a:rPr lang="en-US" sz="1199" dirty="0">
                  <a:solidFill>
                    <a:srgbClr val="9999A9"/>
                  </a:solidFill>
                </a:rPr>
                <a:t>+49 123 123456-77</a:t>
              </a:r>
            </a:p>
            <a:p>
              <a:pPr>
                <a:spcBef>
                  <a:spcPts val="300"/>
                </a:spcBef>
                <a:buClr>
                  <a:srgbClr val="41AAAA"/>
                </a:buClr>
              </a:pPr>
              <a:r>
                <a:rPr lang="en-US" sz="1199" b="1" dirty="0">
                  <a:solidFill>
                    <a:srgbClr val="9999A9"/>
                  </a:solidFill>
                </a:rPr>
                <a:t>E-mail</a:t>
              </a:r>
              <a:br>
                <a:rPr lang="en-US" sz="1199" dirty="0">
                  <a:solidFill>
                    <a:srgbClr val="9999A9"/>
                  </a:solidFill>
                </a:rPr>
              </a:br>
              <a:r>
                <a:rPr lang="en-US" sz="1199" dirty="0">
                  <a:solidFill>
                    <a:srgbClr val="9999A9"/>
                  </a:solidFill>
                </a:rPr>
                <a:t>sam.sample@siemens.com</a:t>
              </a:r>
            </a:p>
          </p:txBody>
        </p:sp>
        <p:sp>
          <p:nvSpPr>
            <p:cNvPr id="25" name="Freeform 96"/>
            <p:cNvSpPr>
              <a:spLocks noEditPoints="1"/>
            </p:cNvSpPr>
            <p:nvPr/>
          </p:nvSpPr>
          <p:spPr bwMode="auto">
            <a:xfrm>
              <a:off x="7944540" y="1919581"/>
              <a:ext cx="1371414" cy="1798682"/>
            </a:xfrm>
            <a:custGeom>
              <a:avLst/>
              <a:gdLst>
                <a:gd name="T0" fmla="*/ 520 w 1965"/>
                <a:gd name="T1" fmla="*/ 529 h 2570"/>
                <a:gd name="T2" fmla="*/ 983 w 1965"/>
                <a:gd name="T3" fmla="*/ 0 h 2570"/>
                <a:gd name="T4" fmla="*/ 1446 w 1965"/>
                <a:gd name="T5" fmla="*/ 529 h 2570"/>
                <a:gd name="T6" fmla="*/ 983 w 1965"/>
                <a:gd name="T7" fmla="*/ 1058 h 2570"/>
                <a:gd name="T8" fmla="*/ 520 w 1965"/>
                <a:gd name="T9" fmla="*/ 529 h 2570"/>
                <a:gd name="T10" fmla="*/ 1965 w 1965"/>
                <a:gd name="T11" fmla="*/ 1684 h 2570"/>
                <a:gd name="T12" fmla="*/ 1648 w 1965"/>
                <a:gd name="T13" fmla="*/ 1302 h 2570"/>
                <a:gd name="T14" fmla="*/ 1648 w 1965"/>
                <a:gd name="T15" fmla="*/ 1302 h 2570"/>
                <a:gd name="T16" fmla="*/ 1310 w 1965"/>
                <a:gd name="T17" fmla="*/ 1278 h 2570"/>
                <a:gd name="T18" fmla="*/ 1310 w 1965"/>
                <a:gd name="T19" fmla="*/ 1278 h 2570"/>
                <a:gd name="T20" fmla="*/ 1310 w 1965"/>
                <a:gd name="T21" fmla="*/ 1278 h 2570"/>
                <a:gd name="T22" fmla="*/ 983 w 1965"/>
                <a:gd name="T23" fmla="*/ 1606 h 2570"/>
                <a:gd name="T24" fmla="*/ 983 w 1965"/>
                <a:gd name="T25" fmla="*/ 1606 h 2570"/>
                <a:gd name="T26" fmla="*/ 655 w 1965"/>
                <a:gd name="T27" fmla="*/ 1278 h 2570"/>
                <a:gd name="T28" fmla="*/ 655 w 1965"/>
                <a:gd name="T29" fmla="*/ 1278 h 2570"/>
                <a:gd name="T30" fmla="*/ 655 w 1965"/>
                <a:gd name="T31" fmla="*/ 1278 h 2570"/>
                <a:gd name="T32" fmla="*/ 317 w 1965"/>
                <a:gd name="T33" fmla="*/ 1302 h 2570"/>
                <a:gd name="T34" fmla="*/ 317 w 1965"/>
                <a:gd name="T35" fmla="*/ 1302 h 2570"/>
                <a:gd name="T36" fmla="*/ 0 w 1965"/>
                <a:gd name="T37" fmla="*/ 1684 h 2570"/>
                <a:gd name="T38" fmla="*/ 0 w 1965"/>
                <a:gd name="T39" fmla="*/ 1684 h 2570"/>
                <a:gd name="T40" fmla="*/ 0 w 1965"/>
                <a:gd name="T41" fmla="*/ 2570 h 2570"/>
                <a:gd name="T42" fmla="*/ 1965 w 1965"/>
                <a:gd name="T43" fmla="*/ 2570 h 2570"/>
                <a:gd name="T44" fmla="*/ 1965 w 1965"/>
                <a:gd name="T45" fmla="*/ 1684 h 2570"/>
                <a:gd name="T46" fmla="*/ 1965 w 1965"/>
                <a:gd name="T47" fmla="*/ 1684 h 2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5" h="2570">
                  <a:moveTo>
                    <a:pt x="520" y="529"/>
                  </a:moveTo>
                  <a:cubicBezTo>
                    <a:pt x="520" y="212"/>
                    <a:pt x="707" y="0"/>
                    <a:pt x="983" y="0"/>
                  </a:cubicBezTo>
                  <a:cubicBezTo>
                    <a:pt x="1258" y="0"/>
                    <a:pt x="1446" y="212"/>
                    <a:pt x="1446" y="529"/>
                  </a:cubicBezTo>
                  <a:cubicBezTo>
                    <a:pt x="1446" y="846"/>
                    <a:pt x="1258" y="1058"/>
                    <a:pt x="983" y="1058"/>
                  </a:cubicBezTo>
                  <a:cubicBezTo>
                    <a:pt x="707" y="1058"/>
                    <a:pt x="520" y="846"/>
                    <a:pt x="520" y="529"/>
                  </a:cubicBezTo>
                  <a:close/>
                  <a:moveTo>
                    <a:pt x="1965" y="1684"/>
                  </a:moveTo>
                  <a:cubicBezTo>
                    <a:pt x="1961" y="1464"/>
                    <a:pt x="1835" y="1316"/>
                    <a:pt x="1648" y="1302"/>
                  </a:cubicBezTo>
                  <a:cubicBezTo>
                    <a:pt x="1648" y="1302"/>
                    <a:pt x="1648" y="1302"/>
                    <a:pt x="1648" y="1302"/>
                  </a:cubicBezTo>
                  <a:cubicBezTo>
                    <a:pt x="1310" y="1278"/>
                    <a:pt x="1310" y="1278"/>
                    <a:pt x="1310" y="1278"/>
                  </a:cubicBezTo>
                  <a:cubicBezTo>
                    <a:pt x="1310" y="1278"/>
                    <a:pt x="1310" y="1278"/>
                    <a:pt x="1310" y="1278"/>
                  </a:cubicBezTo>
                  <a:cubicBezTo>
                    <a:pt x="1310" y="1278"/>
                    <a:pt x="1310" y="1278"/>
                    <a:pt x="1310" y="1278"/>
                  </a:cubicBezTo>
                  <a:cubicBezTo>
                    <a:pt x="983" y="1606"/>
                    <a:pt x="983" y="1606"/>
                    <a:pt x="983" y="1606"/>
                  </a:cubicBezTo>
                  <a:cubicBezTo>
                    <a:pt x="983" y="1606"/>
                    <a:pt x="983" y="1606"/>
                    <a:pt x="983" y="1606"/>
                  </a:cubicBezTo>
                  <a:cubicBezTo>
                    <a:pt x="655" y="1278"/>
                    <a:pt x="655" y="1278"/>
                    <a:pt x="655" y="1278"/>
                  </a:cubicBezTo>
                  <a:cubicBezTo>
                    <a:pt x="655" y="1278"/>
                    <a:pt x="655" y="1278"/>
                    <a:pt x="655" y="1278"/>
                  </a:cubicBezTo>
                  <a:cubicBezTo>
                    <a:pt x="655" y="1278"/>
                    <a:pt x="655" y="1278"/>
                    <a:pt x="655" y="1278"/>
                  </a:cubicBezTo>
                  <a:cubicBezTo>
                    <a:pt x="317" y="1302"/>
                    <a:pt x="317" y="1302"/>
                    <a:pt x="317" y="1302"/>
                  </a:cubicBezTo>
                  <a:cubicBezTo>
                    <a:pt x="317" y="1302"/>
                    <a:pt x="317" y="1302"/>
                    <a:pt x="317" y="1302"/>
                  </a:cubicBezTo>
                  <a:cubicBezTo>
                    <a:pt x="130" y="1316"/>
                    <a:pt x="4" y="1464"/>
                    <a:pt x="0" y="1684"/>
                  </a:cubicBezTo>
                  <a:cubicBezTo>
                    <a:pt x="0" y="1684"/>
                    <a:pt x="0" y="1684"/>
                    <a:pt x="0" y="1684"/>
                  </a:cubicBezTo>
                  <a:cubicBezTo>
                    <a:pt x="0" y="1761"/>
                    <a:pt x="0" y="2183"/>
                    <a:pt x="0" y="2570"/>
                  </a:cubicBezTo>
                  <a:cubicBezTo>
                    <a:pt x="1965" y="2570"/>
                    <a:pt x="1965" y="2570"/>
                    <a:pt x="1965" y="2570"/>
                  </a:cubicBezTo>
                  <a:cubicBezTo>
                    <a:pt x="1965" y="2183"/>
                    <a:pt x="1965" y="1761"/>
                    <a:pt x="1965" y="1684"/>
                  </a:cubicBezTo>
                  <a:cubicBezTo>
                    <a:pt x="1965" y="1684"/>
                    <a:pt x="1965" y="1684"/>
                    <a:pt x="1965" y="1684"/>
                  </a:cubicBezTo>
                  <a:close/>
                </a:path>
              </a:pathLst>
            </a:custGeom>
            <a:solidFill>
              <a:srgbClr val="E5E5E9"/>
            </a:solidFill>
            <a:ln>
              <a:noFill/>
            </a:ln>
          </p:spPr>
          <p:txBody>
            <a:bodyPr vert="horz" wrap="square" lIns="91392" tIns="45696" rIns="91392" bIns="45696" numCol="1" anchor="t" anchorCtr="0" compatLnSpc="1">
              <a:prstTxWarp prst="textNoShape">
                <a:avLst/>
              </a:prstTxWarp>
            </a:bodyPr>
            <a:lstStyle/>
            <a:p>
              <a:endParaRPr lang="en-US" sz="1799" dirty="0"/>
            </a:p>
          </p:txBody>
        </p:sp>
      </p:grpSp>
    </p:spTree>
    <p:extLst>
      <p:ext uri="{BB962C8B-B14F-4D97-AF65-F5344CB8AC3E}">
        <p14:creationId xmlns:p14="http://schemas.microsoft.com/office/powerpoint/2010/main" val="3901548094"/>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C9CEF81D-3B55-47E5-94B9-C519906E5A08}"/>
              </a:ext>
            </a:extLst>
          </p:cNvPr>
          <p:cNvSpPr>
            <a:spLocks noGrp="1"/>
          </p:cNvSpPr>
          <p:nvPr>
            <p:ph type="title"/>
          </p:nvPr>
        </p:nvSpPr>
        <p:spPr/>
        <p:txBody>
          <a:bodyPr/>
          <a:lstStyle/>
          <a:p>
            <a:r>
              <a:rPr lang="en-US" dirty="0"/>
              <a:t>Disclaimer</a:t>
            </a:r>
          </a:p>
        </p:txBody>
      </p:sp>
      <p:sp>
        <p:nvSpPr>
          <p:cNvPr id="3" name="Content Placeholder">
            <a:extLst>
              <a:ext uri="{FF2B5EF4-FFF2-40B4-BE49-F238E27FC236}">
                <a16:creationId xmlns:a16="http://schemas.microsoft.com/office/drawing/2014/main" id="{536CB846-BF47-4D54-AA64-A816E2B1BA57}"/>
              </a:ext>
            </a:extLst>
          </p:cNvPr>
          <p:cNvSpPr>
            <a:spLocks noGrp="1"/>
          </p:cNvSpPr>
          <p:nvPr>
            <p:ph idx="1"/>
          </p:nvPr>
        </p:nvSpPr>
        <p:spPr/>
        <p:txBody>
          <a:bodyPr/>
          <a:lstStyle/>
          <a:p>
            <a:r>
              <a:rPr lang="en-US" dirty="0"/>
              <a:t>© Siemens 20XX</a:t>
            </a:r>
          </a:p>
          <a:p>
            <a:endParaRPr lang="en-US" dirty="0"/>
          </a:p>
          <a:p>
            <a:r>
              <a:rPr lang="en-US" dirty="0"/>
              <a:t>Subject to changes and errors. The information given in this document only contains general descriptions and/or performance features which may not always specifically reflect those described, or which may undergo modification in the course of further development of the products. The requested performance features are binding only when they are expressly agreed upon in the concluded contract.</a:t>
            </a:r>
          </a:p>
          <a:p>
            <a:endParaRPr lang="en-US" dirty="0"/>
          </a:p>
          <a:p>
            <a:r>
              <a:rPr lang="en-US" dirty="0"/>
              <a:t>All product designations may be trademarks or other rights of </a:t>
            </a:r>
            <a:br>
              <a:rPr lang="en-US" dirty="0"/>
            </a:br>
            <a:r>
              <a:rPr lang="en-US" dirty="0"/>
              <a:t>Siemens AG, its affiliated companies or other companies whose use by third parties for their own purposes could violate the rights of the respective owner.</a:t>
            </a:r>
          </a:p>
        </p:txBody>
      </p:sp>
      <p:sp>
        <p:nvSpPr>
          <p:cNvPr id="4" name="Footer Placeholder">
            <a:extLst>
              <a:ext uri="{FF2B5EF4-FFF2-40B4-BE49-F238E27FC236}">
                <a16:creationId xmlns:a16="http://schemas.microsoft.com/office/drawing/2014/main" id="{AD6006ED-C279-47ED-B706-5853C56262D3}"/>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5" name="Slide Number Placeholder">
            <a:extLst>
              <a:ext uri="{FF2B5EF4-FFF2-40B4-BE49-F238E27FC236}">
                <a16:creationId xmlns:a16="http://schemas.microsoft.com/office/drawing/2014/main" id="{8DB1DAF3-971A-4A20-8FEB-5F5A28F00306}"/>
              </a:ext>
            </a:extLst>
          </p:cNvPr>
          <p:cNvSpPr>
            <a:spLocks noGrp="1"/>
          </p:cNvSpPr>
          <p:nvPr>
            <p:ph type="sldNum" sz="quarter" idx="11"/>
          </p:nvPr>
        </p:nvSpPr>
        <p:spPr/>
        <p:txBody>
          <a:bodyPr/>
          <a:lstStyle/>
          <a:p>
            <a:r>
              <a:rPr lang="en-US" dirty="0"/>
              <a:t>Page </a:t>
            </a:r>
            <a:fld id="{15EBE321-CBB1-4E91-BD14-37C8D44326FB}" type="slidenum">
              <a:rPr lang="en-US" smtClean="0"/>
              <a:pPr/>
              <a:t>212</a:t>
            </a:fld>
            <a:endParaRPr lang="en-US" dirty="0"/>
          </a:p>
        </p:txBody>
      </p:sp>
    </p:spTree>
    <p:extLst>
      <p:ext uri="{BB962C8B-B14F-4D97-AF65-F5344CB8AC3E}">
        <p14:creationId xmlns:p14="http://schemas.microsoft.com/office/powerpoint/2010/main" val="2435204155"/>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a:extLst>
              <a:ext uri="{FF2B5EF4-FFF2-40B4-BE49-F238E27FC236}">
                <a16:creationId xmlns:a16="http://schemas.microsoft.com/office/drawing/2014/main" id="{EF7BA6B8-2D49-49EE-AA38-401584ACB3E0}"/>
              </a:ext>
            </a:extLst>
          </p:cNvPr>
          <p:cNvSpPr>
            <a:spLocks noGrp="1"/>
          </p:cNvSpPr>
          <p:nvPr>
            <p:ph type="title"/>
          </p:nvPr>
        </p:nvSpPr>
        <p:spPr/>
        <p:txBody>
          <a:bodyPr/>
          <a:lstStyle/>
          <a:p>
            <a:r>
              <a:rPr lang="en-US" dirty="0"/>
              <a:t>Contact</a:t>
            </a:r>
          </a:p>
        </p:txBody>
      </p:sp>
      <p:sp>
        <p:nvSpPr>
          <p:cNvPr id="3" name="Subtitle">
            <a:extLst>
              <a:ext uri="{FF2B5EF4-FFF2-40B4-BE49-F238E27FC236}">
                <a16:creationId xmlns:a16="http://schemas.microsoft.com/office/drawing/2014/main" id="{A8C0B1B3-7902-4A0F-A274-1F5878B8197A}"/>
              </a:ext>
            </a:extLst>
          </p:cNvPr>
          <p:cNvSpPr>
            <a:spLocks noGrp="1"/>
          </p:cNvSpPr>
          <p:nvPr>
            <p:ph type="subTitle" idx="1"/>
          </p:nvPr>
        </p:nvSpPr>
        <p:spPr>
          <a:xfrm>
            <a:off x="1058400" y="2397324"/>
            <a:ext cx="9215900" cy="3409751"/>
          </a:xfrm>
        </p:spPr>
        <p:txBody>
          <a:bodyPr/>
          <a:lstStyle/>
          <a:p>
            <a:r>
              <a:rPr lang="en-US" dirty="0"/>
              <a:t>Published by Siemens AG</a:t>
            </a:r>
          </a:p>
          <a:p>
            <a:pPr lvl="1"/>
            <a:r>
              <a:rPr lang="en-US" dirty="0"/>
              <a:t>Communications</a:t>
            </a:r>
          </a:p>
          <a:p>
            <a:r>
              <a:rPr lang="en-US" dirty="0"/>
              <a:t>Branding</a:t>
            </a:r>
            <a:br>
              <a:rPr lang="en-US" dirty="0"/>
            </a:br>
            <a:r>
              <a:rPr lang="en-US" dirty="0"/>
              <a:t>CM B SG</a:t>
            </a:r>
          </a:p>
          <a:p>
            <a:endParaRPr lang="en-US" dirty="0"/>
          </a:p>
          <a:p>
            <a:r>
              <a:rPr lang="en-US" dirty="0"/>
              <a:t>Don’t hesitate to contact our Design Support Team via the GBS Service Portal. We’re happy to assist you.</a:t>
            </a:r>
          </a:p>
          <a:p>
            <a:r>
              <a:rPr lang="en-US" dirty="0">
                <a:hlinkClick r:id="rId2" tooltip="Siemens employee"/>
              </a:rPr>
              <a:t>I am an employee</a:t>
            </a:r>
            <a:endParaRPr lang="en-US" dirty="0"/>
          </a:p>
          <a:p>
            <a:r>
              <a:rPr lang="en-US" dirty="0">
                <a:hlinkClick r:id="rId3" tooltip="Business partner"/>
              </a:rPr>
              <a:t>I am a business partner</a:t>
            </a:r>
            <a:br>
              <a:rPr lang="en-US" dirty="0"/>
            </a:br>
            <a:endParaRPr lang="en-US" sz="1100" dirty="0"/>
          </a:p>
          <a:p>
            <a:r>
              <a:rPr lang="en-US" sz="1100" b="1" dirty="0"/>
              <a:t>Please note: </a:t>
            </a:r>
            <a:r>
              <a:rPr lang="en-US" sz="1100" dirty="0"/>
              <a:t>This service can only receive unencrypted emails.</a:t>
            </a:r>
            <a:br>
              <a:rPr lang="en-US" sz="1100" dirty="0"/>
            </a:br>
            <a:r>
              <a:rPr lang="en-US" sz="1100" dirty="0"/>
              <a:t>You may only send documents and information up to and including protection class “Restricted”.</a:t>
            </a:r>
          </a:p>
          <a:p>
            <a:endParaRPr lang="en-US" sz="1100" dirty="0"/>
          </a:p>
          <a:p>
            <a:r>
              <a:rPr lang="en-US" dirty="0"/>
              <a:t>Get latest updates, share your inspiration and questions with the </a:t>
            </a:r>
            <a:br>
              <a:rPr lang="en-US" dirty="0"/>
            </a:br>
            <a:r>
              <a:rPr lang="en-US" dirty="0">
                <a:hlinkClick r:id="rId4"/>
              </a:rPr>
              <a:t>Siemens AG Brand Community on Yammer.</a:t>
            </a:r>
            <a:endParaRPr lang="en-US" b="1" dirty="0"/>
          </a:p>
        </p:txBody>
      </p:sp>
      <p:sp>
        <p:nvSpPr>
          <p:cNvPr id="2" name="Footer Placeholder">
            <a:extLst>
              <a:ext uri="{FF2B5EF4-FFF2-40B4-BE49-F238E27FC236}">
                <a16:creationId xmlns:a16="http://schemas.microsoft.com/office/drawing/2014/main" id="{7D86EBFB-CE6A-4758-896A-AAD8E1D08CC8}"/>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a:extLst>
              <a:ext uri="{FF2B5EF4-FFF2-40B4-BE49-F238E27FC236}">
                <a16:creationId xmlns:a16="http://schemas.microsoft.com/office/drawing/2014/main" id="{DEC03887-CC62-463B-9CCE-729F072DFB79}"/>
              </a:ext>
            </a:extLst>
          </p:cNvPr>
          <p:cNvSpPr>
            <a:spLocks noGrp="1"/>
          </p:cNvSpPr>
          <p:nvPr>
            <p:ph type="sldNum" sz="quarter" idx="11"/>
          </p:nvPr>
        </p:nvSpPr>
        <p:spPr/>
        <p:txBody>
          <a:bodyPr/>
          <a:lstStyle/>
          <a:p>
            <a:r>
              <a:rPr lang="en-US" dirty="0"/>
              <a:t>Page </a:t>
            </a:r>
            <a:fld id="{15EBE321-CBB1-4E91-BD14-37C8D44326FB}" type="slidenum">
              <a:rPr lang="en-US" smtClean="0"/>
              <a:pPr/>
              <a:t>213</a:t>
            </a:fld>
            <a:endParaRPr lang="en-US" dirty="0"/>
          </a:p>
        </p:txBody>
      </p:sp>
    </p:spTree>
    <p:extLst>
      <p:ext uri="{BB962C8B-B14F-4D97-AF65-F5344CB8AC3E}">
        <p14:creationId xmlns:p14="http://schemas.microsoft.com/office/powerpoint/2010/main" val="30440833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 name="Objekt 55"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3" imgW="360" imgH="360" progId="">
                  <p:embed/>
                </p:oleObj>
              </mc:Choice>
              <mc:Fallback>
                <p:oleObj name="think-cell Folie" r:id="rId3" imgW="360" imgH="360" progId="">
                  <p:embed/>
                  <p:pic>
                    <p:nvPicPr>
                      <p:cNvPr id="56" name="Objekt 5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55" name="Tabelle 54"/>
          <p:cNvGraphicFramePr>
            <a:graphicFrameLocks noGrp="1"/>
          </p:cNvGraphicFramePr>
          <p:nvPr>
            <p:extLst>
              <p:ext uri="{D42A27DB-BD31-4B8C-83A1-F6EECF244321}">
                <p14:modId xmlns:p14="http://schemas.microsoft.com/office/powerpoint/2010/main" val="233679777"/>
              </p:ext>
            </p:extLst>
          </p:nvPr>
        </p:nvGraphicFramePr>
        <p:xfrm>
          <a:off x="410400" y="1415849"/>
          <a:ext cx="7776000" cy="4749528"/>
        </p:xfrm>
        <a:graphic>
          <a:graphicData uri="http://schemas.openxmlformats.org/drawingml/2006/table">
            <a:tbl>
              <a:tblPr>
                <a:tableStyleId>{0E3FDE45-AF77-4B5C-9715-49D594BDF05E}</a:tableStyleId>
              </a:tblPr>
              <a:tblGrid>
                <a:gridCol w="648000">
                  <a:extLst>
                    <a:ext uri="{9D8B030D-6E8A-4147-A177-3AD203B41FA5}">
                      <a16:colId xmlns:a16="http://schemas.microsoft.com/office/drawing/2014/main" val="20001"/>
                    </a:ext>
                  </a:extLst>
                </a:gridCol>
                <a:gridCol w="7128000">
                  <a:extLst>
                    <a:ext uri="{9D8B030D-6E8A-4147-A177-3AD203B41FA5}">
                      <a16:colId xmlns:a16="http://schemas.microsoft.com/office/drawing/2014/main" val="20002"/>
                    </a:ext>
                  </a:extLst>
                </a:gridCol>
              </a:tblGrid>
              <a:tr h="791588">
                <a:tc>
                  <a:txBody>
                    <a:bodyPr/>
                    <a:lstStyle/>
                    <a:p>
                      <a:endParaRPr lang="en-US" sz="1800" noProof="0" dirty="0">
                        <a:solidFill>
                          <a:srgbClr val="66667E"/>
                        </a:solidFill>
                        <a:latin typeface="+mn-lt"/>
                      </a:endParaRPr>
                    </a:p>
                  </a:txBody>
                  <a:tcPr marL="143925" marR="143925" marT="71963" marB="71963" anchor="ctr">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66667E"/>
                          </a:solidFill>
                          <a:effectLst/>
                          <a:uLnTx/>
                          <a:uFillTx/>
                        </a:rPr>
                        <a:t>Cras ultricies mi eu</a:t>
                      </a:r>
                      <a:endParaRPr lang="en-US" sz="1800" noProof="0" dirty="0">
                        <a:solidFill>
                          <a:srgbClr val="66667E"/>
                        </a:solidFill>
                        <a:latin typeface="+mn-lt"/>
                        <a:ea typeface="Arial Unicode MS"/>
                      </a:endParaRPr>
                    </a:p>
                  </a:txBody>
                  <a:tcPr marL="0" marR="0" marT="71963" marB="71963" anchor="ctr">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1"/>
                  </a:ext>
                </a:extLst>
              </a:tr>
              <a:tr h="79158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noProof="0" dirty="0">
                        <a:solidFill>
                          <a:srgbClr val="66667E"/>
                        </a:solidFill>
                        <a:latin typeface="+mn-lt"/>
                      </a:endParaRPr>
                    </a:p>
                  </a:txBody>
                  <a:tcPr marL="143925" marR="143925"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66667E"/>
                          </a:solidFill>
                          <a:effectLst/>
                          <a:uLnTx/>
                          <a:uFillTx/>
                        </a:rPr>
                        <a:t>At vero eos et accusam</a:t>
                      </a:r>
                      <a:endParaRPr lang="en-US" sz="1800" noProof="0" dirty="0">
                        <a:solidFill>
                          <a:srgbClr val="66667E"/>
                        </a:solidFill>
                        <a:latin typeface="+mn-lt"/>
                        <a:ea typeface="Arial Unicode MS"/>
                      </a:endParaRPr>
                    </a:p>
                  </a:txBody>
                  <a:tcPr marL="0" marR="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2"/>
                  </a:ext>
                </a:extLst>
              </a:tr>
              <a:tr h="79158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noProof="0" dirty="0">
                        <a:solidFill>
                          <a:srgbClr val="66667E"/>
                        </a:solidFill>
                        <a:latin typeface="+mn-lt"/>
                      </a:endParaRPr>
                    </a:p>
                  </a:txBody>
                  <a:tcPr marL="143925" marR="143925"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s-ES" sz="1800" u="none" strike="noStrike" kern="1200" cap="none" spc="0" normalizeH="0" baseline="0" noProof="0" dirty="0">
                          <a:ln>
                            <a:noFill/>
                          </a:ln>
                          <a:solidFill>
                            <a:srgbClr val="66667E"/>
                          </a:solidFill>
                          <a:effectLst/>
                          <a:uLnTx/>
                          <a:uFillTx/>
                        </a:rPr>
                        <a:t>Duis arcu tortor, suscipit eget</a:t>
                      </a:r>
                      <a:endParaRPr lang="en-US" sz="1800" noProof="0" dirty="0">
                        <a:solidFill>
                          <a:srgbClr val="66667E"/>
                        </a:solidFill>
                        <a:latin typeface="+mn-lt"/>
                        <a:ea typeface="Arial Unicode MS"/>
                      </a:endParaRPr>
                    </a:p>
                  </a:txBody>
                  <a:tcPr marL="0" marR="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3"/>
                  </a:ext>
                </a:extLst>
              </a:tr>
              <a:tr h="79158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noProof="0" dirty="0">
                        <a:solidFill>
                          <a:srgbClr val="66667E"/>
                        </a:solidFill>
                        <a:latin typeface="+mn-lt"/>
                      </a:endParaRPr>
                    </a:p>
                  </a:txBody>
                  <a:tcPr marL="143925" marR="143925"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66667E"/>
                          </a:solidFill>
                          <a:effectLst/>
                          <a:uLnTx/>
                          <a:uFillTx/>
                        </a:rPr>
                        <a:t>Cras ultricies mi eu</a:t>
                      </a:r>
                      <a:endParaRPr lang="en-US" sz="1800" noProof="0" dirty="0">
                        <a:solidFill>
                          <a:srgbClr val="66667E"/>
                        </a:solidFill>
                        <a:latin typeface="+mn-lt"/>
                        <a:ea typeface="Arial Unicode MS"/>
                      </a:endParaRPr>
                    </a:p>
                  </a:txBody>
                  <a:tcPr marL="0" marR="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4"/>
                  </a:ext>
                </a:extLst>
              </a:tr>
              <a:tr h="79158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noProof="0" dirty="0">
                        <a:solidFill>
                          <a:srgbClr val="66667E"/>
                        </a:solidFill>
                        <a:latin typeface="+mn-lt"/>
                      </a:endParaRPr>
                    </a:p>
                  </a:txBody>
                  <a:tcPr marL="143925" marR="143925"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66667E"/>
                          </a:solidFill>
                          <a:effectLst/>
                          <a:uLnTx/>
                          <a:uFillTx/>
                        </a:rPr>
                        <a:t>Duis arcu tortor, suscipit eget, imperdiet nec, imperdiet iaculis</a:t>
                      </a:r>
                      <a:endParaRPr lang="en-US" sz="1800" noProof="0" dirty="0">
                        <a:solidFill>
                          <a:srgbClr val="66667E"/>
                        </a:solidFill>
                        <a:latin typeface="+mn-lt"/>
                        <a:ea typeface="Arial Unicode MS"/>
                      </a:endParaRPr>
                    </a:p>
                  </a:txBody>
                  <a:tcPr marL="0" marR="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2514599482"/>
                  </a:ext>
                </a:extLst>
              </a:tr>
              <a:tr h="79158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noProof="0" dirty="0">
                        <a:solidFill>
                          <a:srgbClr val="66667E"/>
                        </a:solidFill>
                        <a:latin typeface="+mn-lt"/>
                      </a:endParaRPr>
                    </a:p>
                  </a:txBody>
                  <a:tcPr marL="143925" marR="143925"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66667E"/>
                          </a:solidFill>
                          <a:effectLst/>
                          <a:uLnTx/>
                          <a:uFillTx/>
                        </a:rPr>
                        <a:t>At vero eos et accusam</a:t>
                      </a:r>
                      <a:endParaRPr lang="en-US" sz="1800" noProof="0" dirty="0">
                        <a:solidFill>
                          <a:srgbClr val="66667E"/>
                        </a:solidFill>
                        <a:latin typeface="+mn-lt"/>
                        <a:ea typeface="Arial Unicode MS"/>
                      </a:endParaRPr>
                    </a:p>
                  </a:txBody>
                  <a:tcPr marL="0" marR="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237210138"/>
                  </a:ext>
                </a:extLst>
              </a:tr>
            </a:tbl>
          </a:graphicData>
        </a:graphic>
      </p:graphicFrame>
      <p:sp>
        <p:nvSpPr>
          <p:cNvPr id="5" name="Titel 4"/>
          <p:cNvSpPr>
            <a:spLocks noGrp="1"/>
          </p:cNvSpPr>
          <p:nvPr>
            <p:ph type="title"/>
          </p:nvPr>
        </p:nvSpPr>
        <p:spPr/>
        <p:txBody>
          <a:bodyPr/>
          <a:lstStyle/>
          <a:p>
            <a:r>
              <a:rPr lang="en-US" dirty="0"/>
              <a:t>Factors – list view and description, Siemens Petrol</a:t>
            </a:r>
          </a:p>
        </p:txBody>
      </p:sp>
      <p:sp>
        <p:nvSpPr>
          <p:cNvPr id="6" name="Oval 4"/>
          <p:cNvSpPr>
            <a:spLocks noChangeAspect="1" noChangeArrowheads="1"/>
          </p:cNvSpPr>
          <p:nvPr/>
        </p:nvSpPr>
        <p:spPr bwMode="auto">
          <a:xfrm>
            <a:off x="410400" y="1584960"/>
            <a:ext cx="449766" cy="449766"/>
          </a:xfrm>
          <a:prstGeom prst="rect">
            <a:avLst/>
          </a:prstGeom>
          <a:solidFill>
            <a:srgbClr val="009999"/>
          </a:solidFill>
          <a:ln>
            <a:noFill/>
          </a:ln>
          <a:effectLst/>
        </p:spPr>
        <p:txBody>
          <a:bodyPr wrap="none" lIns="84337" tIns="42169" rIns="84337" bIns="42169" anchor="ctr"/>
          <a:lstStyle/>
          <a:p>
            <a:pPr algn="ctr" defTabSz="702911">
              <a:spcBef>
                <a:spcPct val="0"/>
              </a:spcBef>
            </a:pPr>
            <a:r>
              <a:rPr lang="en-US" sz="1799" b="1" dirty="0">
                <a:solidFill>
                  <a:srgbClr val="FFFFFF"/>
                </a:solidFill>
              </a:rPr>
              <a:t>1</a:t>
            </a:r>
          </a:p>
        </p:txBody>
      </p:sp>
      <p:sp>
        <p:nvSpPr>
          <p:cNvPr id="7" name="Oval 4"/>
          <p:cNvSpPr>
            <a:spLocks noChangeAspect="1" noChangeArrowheads="1"/>
          </p:cNvSpPr>
          <p:nvPr/>
        </p:nvSpPr>
        <p:spPr bwMode="auto">
          <a:xfrm>
            <a:off x="410400" y="2378222"/>
            <a:ext cx="449766" cy="449766"/>
          </a:xfrm>
          <a:prstGeom prst="rect">
            <a:avLst/>
          </a:prstGeom>
          <a:solidFill>
            <a:srgbClr val="009999"/>
          </a:solidFill>
          <a:ln>
            <a:noFill/>
          </a:ln>
          <a:effectLst/>
        </p:spPr>
        <p:txBody>
          <a:bodyPr wrap="none" lIns="84337" tIns="42169" rIns="84337" bIns="42169" anchor="ctr"/>
          <a:lstStyle/>
          <a:p>
            <a:pPr algn="ctr" defTabSz="702911">
              <a:spcBef>
                <a:spcPct val="0"/>
              </a:spcBef>
            </a:pPr>
            <a:r>
              <a:rPr lang="en-US" sz="1799" b="1" dirty="0">
                <a:solidFill>
                  <a:srgbClr val="FFFFFF"/>
                </a:solidFill>
              </a:rPr>
              <a:t>2</a:t>
            </a:r>
          </a:p>
        </p:txBody>
      </p:sp>
      <p:sp>
        <p:nvSpPr>
          <p:cNvPr id="8" name="Oval 4"/>
          <p:cNvSpPr>
            <a:spLocks noChangeAspect="1" noChangeArrowheads="1"/>
          </p:cNvSpPr>
          <p:nvPr/>
        </p:nvSpPr>
        <p:spPr bwMode="auto">
          <a:xfrm>
            <a:off x="410400" y="3171484"/>
            <a:ext cx="449766" cy="449766"/>
          </a:xfrm>
          <a:prstGeom prst="rect">
            <a:avLst/>
          </a:prstGeom>
          <a:solidFill>
            <a:srgbClr val="009999"/>
          </a:solidFill>
          <a:ln>
            <a:noFill/>
          </a:ln>
          <a:effectLst/>
        </p:spPr>
        <p:txBody>
          <a:bodyPr wrap="none" lIns="84337" tIns="42169" rIns="84337" bIns="42169" anchor="ctr"/>
          <a:lstStyle/>
          <a:p>
            <a:pPr algn="ctr" defTabSz="702911">
              <a:spcBef>
                <a:spcPct val="0"/>
              </a:spcBef>
            </a:pPr>
            <a:r>
              <a:rPr lang="en-US" sz="1799" b="1" dirty="0">
                <a:solidFill>
                  <a:srgbClr val="FFFFFF"/>
                </a:solidFill>
              </a:rPr>
              <a:t>3</a:t>
            </a:r>
          </a:p>
        </p:txBody>
      </p:sp>
      <p:sp>
        <p:nvSpPr>
          <p:cNvPr id="9" name="Oval 4"/>
          <p:cNvSpPr>
            <a:spLocks noChangeAspect="1" noChangeArrowheads="1"/>
          </p:cNvSpPr>
          <p:nvPr/>
        </p:nvSpPr>
        <p:spPr bwMode="auto">
          <a:xfrm>
            <a:off x="410400" y="3964746"/>
            <a:ext cx="449766" cy="449766"/>
          </a:xfrm>
          <a:prstGeom prst="rect">
            <a:avLst/>
          </a:prstGeom>
          <a:solidFill>
            <a:srgbClr val="009999"/>
          </a:solidFill>
          <a:ln>
            <a:noFill/>
          </a:ln>
          <a:effectLst/>
        </p:spPr>
        <p:txBody>
          <a:bodyPr wrap="none" lIns="84337" tIns="42169" rIns="84337" bIns="42169" anchor="ctr"/>
          <a:lstStyle/>
          <a:p>
            <a:pPr algn="ctr" defTabSz="702911">
              <a:spcBef>
                <a:spcPct val="0"/>
              </a:spcBef>
            </a:pPr>
            <a:r>
              <a:rPr lang="en-US" sz="1799" b="1" dirty="0">
                <a:solidFill>
                  <a:srgbClr val="FFFFFF"/>
                </a:solidFill>
              </a:rPr>
              <a:t>4</a:t>
            </a:r>
          </a:p>
        </p:txBody>
      </p:sp>
      <p:sp>
        <p:nvSpPr>
          <p:cNvPr id="10" name="Oval 4"/>
          <p:cNvSpPr>
            <a:spLocks noChangeAspect="1" noChangeArrowheads="1"/>
          </p:cNvSpPr>
          <p:nvPr/>
        </p:nvSpPr>
        <p:spPr bwMode="auto">
          <a:xfrm>
            <a:off x="410400" y="4758008"/>
            <a:ext cx="449766" cy="449766"/>
          </a:xfrm>
          <a:prstGeom prst="rect">
            <a:avLst/>
          </a:prstGeom>
          <a:solidFill>
            <a:srgbClr val="009999"/>
          </a:solidFill>
          <a:ln>
            <a:noFill/>
          </a:ln>
          <a:effectLst/>
        </p:spPr>
        <p:txBody>
          <a:bodyPr wrap="none" lIns="84337" tIns="42169" rIns="84337" bIns="42169" anchor="ctr"/>
          <a:lstStyle/>
          <a:p>
            <a:pPr algn="ctr" defTabSz="702911">
              <a:spcBef>
                <a:spcPct val="0"/>
              </a:spcBef>
            </a:pPr>
            <a:r>
              <a:rPr lang="en-US" sz="1799" b="1" dirty="0">
                <a:solidFill>
                  <a:srgbClr val="FFFFFF"/>
                </a:solidFill>
              </a:rPr>
              <a:t>5</a:t>
            </a:r>
          </a:p>
        </p:txBody>
      </p:sp>
      <p:sp>
        <p:nvSpPr>
          <p:cNvPr id="11" name="Oval 4"/>
          <p:cNvSpPr>
            <a:spLocks noChangeAspect="1" noChangeArrowheads="1"/>
          </p:cNvSpPr>
          <p:nvPr/>
        </p:nvSpPr>
        <p:spPr bwMode="auto">
          <a:xfrm>
            <a:off x="410400" y="5551269"/>
            <a:ext cx="449766" cy="449766"/>
          </a:xfrm>
          <a:prstGeom prst="rect">
            <a:avLst/>
          </a:prstGeom>
          <a:solidFill>
            <a:srgbClr val="009999"/>
          </a:solidFill>
          <a:ln>
            <a:noFill/>
          </a:ln>
          <a:effectLst/>
        </p:spPr>
        <p:txBody>
          <a:bodyPr wrap="none" lIns="84337" tIns="42169" rIns="84337" bIns="42169" anchor="ctr"/>
          <a:lstStyle/>
          <a:p>
            <a:pPr algn="ctr" defTabSz="702911">
              <a:spcBef>
                <a:spcPct val="0"/>
              </a:spcBef>
            </a:pPr>
            <a:r>
              <a:rPr lang="en-US" sz="1799" b="1" dirty="0">
                <a:solidFill>
                  <a:srgbClr val="FFFFFF"/>
                </a:solidFill>
              </a:rPr>
              <a:t>6</a:t>
            </a:r>
          </a:p>
        </p:txBody>
      </p:sp>
      <p:sp>
        <p:nvSpPr>
          <p:cNvPr id="3" name="Footer Placeholder 2">
            <a:extLst>
              <a:ext uri="{FF2B5EF4-FFF2-40B4-BE49-F238E27FC236}">
                <a16:creationId xmlns:a16="http://schemas.microsoft.com/office/drawing/2014/main" id="{080998A0-BCF1-4F87-8C18-400E84046EA5}"/>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46B66258-F735-4E52-AC39-270DC83434FD}"/>
              </a:ext>
            </a:extLst>
          </p:cNvPr>
          <p:cNvSpPr>
            <a:spLocks noGrp="1"/>
          </p:cNvSpPr>
          <p:nvPr>
            <p:ph type="sldNum" sz="quarter" idx="11"/>
          </p:nvPr>
        </p:nvSpPr>
        <p:spPr/>
        <p:txBody>
          <a:bodyPr/>
          <a:lstStyle/>
          <a:p>
            <a:r>
              <a:rPr lang="en-US" dirty="0"/>
              <a:t>Page </a:t>
            </a:r>
            <a:fld id="{15EBE321-CBB1-4E91-BD14-37C8D44326FB}" type="slidenum">
              <a:rPr lang="en-US" smtClean="0"/>
              <a:pPr/>
              <a:t>22</a:t>
            </a:fld>
            <a:endParaRPr lang="en-US" dirty="0"/>
          </a:p>
        </p:txBody>
      </p:sp>
    </p:spTree>
    <p:extLst>
      <p:ext uri="{BB962C8B-B14F-4D97-AF65-F5344CB8AC3E}">
        <p14:creationId xmlns:p14="http://schemas.microsoft.com/office/powerpoint/2010/main" val="239782568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 name="Objekt 55"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3" imgW="360" imgH="360" progId="">
                  <p:embed/>
                </p:oleObj>
              </mc:Choice>
              <mc:Fallback>
                <p:oleObj name="think-cell Folie" r:id="rId3" imgW="360" imgH="360" progId="">
                  <p:embed/>
                  <p:pic>
                    <p:nvPicPr>
                      <p:cNvPr id="56" name="Objekt 5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55" name="Tabelle 54"/>
          <p:cNvGraphicFramePr>
            <a:graphicFrameLocks noGrp="1"/>
          </p:cNvGraphicFramePr>
          <p:nvPr>
            <p:extLst>
              <p:ext uri="{D42A27DB-BD31-4B8C-83A1-F6EECF244321}">
                <p14:modId xmlns:p14="http://schemas.microsoft.com/office/powerpoint/2010/main" val="3038192584"/>
              </p:ext>
            </p:extLst>
          </p:nvPr>
        </p:nvGraphicFramePr>
        <p:xfrm>
          <a:off x="410400" y="1415849"/>
          <a:ext cx="7776000" cy="4749528"/>
        </p:xfrm>
        <a:graphic>
          <a:graphicData uri="http://schemas.openxmlformats.org/drawingml/2006/table">
            <a:tbl>
              <a:tblPr>
                <a:tableStyleId>{0E3FDE45-AF77-4B5C-9715-49D594BDF05E}</a:tableStyleId>
              </a:tblPr>
              <a:tblGrid>
                <a:gridCol w="648000">
                  <a:extLst>
                    <a:ext uri="{9D8B030D-6E8A-4147-A177-3AD203B41FA5}">
                      <a16:colId xmlns:a16="http://schemas.microsoft.com/office/drawing/2014/main" val="20001"/>
                    </a:ext>
                  </a:extLst>
                </a:gridCol>
                <a:gridCol w="7128000">
                  <a:extLst>
                    <a:ext uri="{9D8B030D-6E8A-4147-A177-3AD203B41FA5}">
                      <a16:colId xmlns:a16="http://schemas.microsoft.com/office/drawing/2014/main" val="20002"/>
                    </a:ext>
                  </a:extLst>
                </a:gridCol>
              </a:tblGrid>
              <a:tr h="791588">
                <a:tc>
                  <a:txBody>
                    <a:bodyPr/>
                    <a:lstStyle/>
                    <a:p>
                      <a:endParaRPr lang="en-US" sz="1800" noProof="0" dirty="0">
                        <a:solidFill>
                          <a:srgbClr val="9999A9"/>
                        </a:solidFill>
                        <a:latin typeface="+mn-lt"/>
                      </a:endParaRPr>
                    </a:p>
                  </a:txBody>
                  <a:tcPr marL="143925" marR="143925" marT="71963" marB="71963" anchor="ctr">
                    <a:lnB w="12700" cap="flat" cmpd="sng" algn="ctr">
                      <a:solidFill>
                        <a:srgbClr val="9999A9"/>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9999A9"/>
                          </a:solidFill>
                          <a:effectLst/>
                          <a:uLnTx/>
                          <a:uFillTx/>
                        </a:rPr>
                        <a:t>Cras ultricies mi eu</a:t>
                      </a:r>
                      <a:endParaRPr lang="en-US" sz="1800" noProof="0" dirty="0">
                        <a:solidFill>
                          <a:srgbClr val="9999A9"/>
                        </a:solidFill>
                        <a:latin typeface="+mn-lt"/>
                        <a:ea typeface="Arial Unicode MS"/>
                      </a:endParaRPr>
                    </a:p>
                  </a:txBody>
                  <a:tcPr marL="0" marR="0" marT="71963" marB="71963" anchor="ctr">
                    <a:lnB w="12700" cap="flat" cmpd="sng" algn="ctr">
                      <a:solidFill>
                        <a:srgbClr val="9999A9"/>
                      </a:solidFill>
                      <a:prstDash val="solid"/>
                      <a:round/>
                      <a:headEnd type="none" w="med" len="med"/>
                      <a:tailEnd type="none" w="med" len="med"/>
                    </a:lnB>
                  </a:tcPr>
                </a:tc>
                <a:extLst>
                  <a:ext uri="{0D108BD9-81ED-4DB2-BD59-A6C34878D82A}">
                    <a16:rowId xmlns:a16="http://schemas.microsoft.com/office/drawing/2014/main" val="10001"/>
                  </a:ext>
                </a:extLst>
              </a:tr>
              <a:tr h="79158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noProof="0" dirty="0">
                        <a:solidFill>
                          <a:srgbClr val="9999A9"/>
                        </a:solidFill>
                        <a:latin typeface="+mn-lt"/>
                      </a:endParaRPr>
                    </a:p>
                  </a:txBody>
                  <a:tcPr marL="143925" marR="143925"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9999A9"/>
                          </a:solidFill>
                          <a:effectLst/>
                          <a:uLnTx/>
                          <a:uFillTx/>
                        </a:rPr>
                        <a:t>At vero eos et accusam</a:t>
                      </a:r>
                      <a:endParaRPr lang="en-US" sz="1800" noProof="0" dirty="0">
                        <a:solidFill>
                          <a:srgbClr val="9999A9"/>
                        </a:solidFill>
                        <a:latin typeface="+mn-lt"/>
                        <a:ea typeface="Arial Unicode MS"/>
                      </a:endParaRPr>
                    </a:p>
                  </a:txBody>
                  <a:tcPr marL="0" marR="0"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tcPr>
                </a:tc>
                <a:extLst>
                  <a:ext uri="{0D108BD9-81ED-4DB2-BD59-A6C34878D82A}">
                    <a16:rowId xmlns:a16="http://schemas.microsoft.com/office/drawing/2014/main" val="10002"/>
                  </a:ext>
                </a:extLst>
              </a:tr>
              <a:tr h="79158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noProof="0" dirty="0">
                        <a:solidFill>
                          <a:srgbClr val="9999A9"/>
                        </a:solidFill>
                        <a:latin typeface="+mn-lt"/>
                      </a:endParaRPr>
                    </a:p>
                  </a:txBody>
                  <a:tcPr marL="143925" marR="143925"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s-ES" sz="1800" u="none" strike="noStrike" kern="1200" cap="none" spc="0" normalizeH="0" baseline="0" noProof="0" dirty="0">
                          <a:ln>
                            <a:noFill/>
                          </a:ln>
                          <a:solidFill>
                            <a:srgbClr val="9999A9"/>
                          </a:solidFill>
                          <a:effectLst/>
                          <a:uLnTx/>
                          <a:uFillTx/>
                        </a:rPr>
                        <a:t>Duis arcu tortor, suscipit eget</a:t>
                      </a:r>
                      <a:endParaRPr lang="en-US" sz="1800" noProof="0" dirty="0">
                        <a:solidFill>
                          <a:srgbClr val="9999A9"/>
                        </a:solidFill>
                        <a:latin typeface="+mn-lt"/>
                        <a:ea typeface="Arial Unicode MS"/>
                      </a:endParaRPr>
                    </a:p>
                  </a:txBody>
                  <a:tcPr marL="0" marR="0"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tcPr>
                </a:tc>
                <a:extLst>
                  <a:ext uri="{0D108BD9-81ED-4DB2-BD59-A6C34878D82A}">
                    <a16:rowId xmlns:a16="http://schemas.microsoft.com/office/drawing/2014/main" val="10003"/>
                  </a:ext>
                </a:extLst>
              </a:tr>
              <a:tr h="79158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noProof="0" dirty="0">
                        <a:solidFill>
                          <a:srgbClr val="9999A9"/>
                        </a:solidFill>
                        <a:latin typeface="+mn-lt"/>
                      </a:endParaRPr>
                    </a:p>
                  </a:txBody>
                  <a:tcPr marL="143925" marR="143925"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9999A9"/>
                          </a:solidFill>
                          <a:effectLst/>
                          <a:uLnTx/>
                          <a:uFillTx/>
                        </a:rPr>
                        <a:t>Cras ultricies mi eu</a:t>
                      </a:r>
                      <a:endParaRPr lang="en-US" sz="1800" noProof="0" dirty="0">
                        <a:solidFill>
                          <a:srgbClr val="9999A9"/>
                        </a:solidFill>
                        <a:latin typeface="+mn-lt"/>
                        <a:ea typeface="Arial Unicode MS"/>
                      </a:endParaRPr>
                    </a:p>
                  </a:txBody>
                  <a:tcPr marL="0" marR="0"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tcPr>
                </a:tc>
                <a:extLst>
                  <a:ext uri="{0D108BD9-81ED-4DB2-BD59-A6C34878D82A}">
                    <a16:rowId xmlns:a16="http://schemas.microsoft.com/office/drawing/2014/main" val="10004"/>
                  </a:ext>
                </a:extLst>
              </a:tr>
              <a:tr h="79158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noProof="0" dirty="0">
                        <a:solidFill>
                          <a:srgbClr val="9999A9"/>
                        </a:solidFill>
                        <a:latin typeface="+mn-lt"/>
                      </a:endParaRPr>
                    </a:p>
                  </a:txBody>
                  <a:tcPr marL="143925" marR="143925"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9999A9"/>
                          </a:solidFill>
                          <a:effectLst/>
                          <a:uLnTx/>
                          <a:uFillTx/>
                        </a:rPr>
                        <a:t>Duis arcu tortor, suscipit eget, imperdiet nec, imperdiet iaculis</a:t>
                      </a:r>
                      <a:endParaRPr lang="en-US" sz="1800" noProof="0" dirty="0">
                        <a:solidFill>
                          <a:srgbClr val="9999A9"/>
                        </a:solidFill>
                        <a:latin typeface="+mn-lt"/>
                        <a:ea typeface="Arial Unicode MS"/>
                      </a:endParaRPr>
                    </a:p>
                  </a:txBody>
                  <a:tcPr marL="0" marR="0"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tcPr>
                </a:tc>
                <a:extLst>
                  <a:ext uri="{0D108BD9-81ED-4DB2-BD59-A6C34878D82A}">
                    <a16:rowId xmlns:a16="http://schemas.microsoft.com/office/drawing/2014/main" val="2514599482"/>
                  </a:ext>
                </a:extLst>
              </a:tr>
              <a:tr h="79158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noProof="0" dirty="0">
                        <a:solidFill>
                          <a:srgbClr val="9999A9"/>
                        </a:solidFill>
                        <a:latin typeface="+mn-lt"/>
                      </a:endParaRPr>
                    </a:p>
                  </a:txBody>
                  <a:tcPr marL="143925" marR="143925"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9999A9"/>
                          </a:solidFill>
                          <a:effectLst/>
                          <a:uLnTx/>
                          <a:uFillTx/>
                        </a:rPr>
                        <a:t>At vero eos et accusam</a:t>
                      </a:r>
                      <a:endParaRPr lang="en-US" sz="1800" noProof="0" dirty="0">
                        <a:solidFill>
                          <a:srgbClr val="9999A9"/>
                        </a:solidFill>
                        <a:latin typeface="+mn-lt"/>
                        <a:ea typeface="Arial Unicode MS"/>
                      </a:endParaRPr>
                    </a:p>
                  </a:txBody>
                  <a:tcPr marL="0" marR="0"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tcPr>
                </a:tc>
                <a:extLst>
                  <a:ext uri="{0D108BD9-81ED-4DB2-BD59-A6C34878D82A}">
                    <a16:rowId xmlns:a16="http://schemas.microsoft.com/office/drawing/2014/main" val="1237210138"/>
                  </a:ext>
                </a:extLst>
              </a:tr>
            </a:tbl>
          </a:graphicData>
        </a:graphic>
      </p:graphicFrame>
      <p:sp>
        <p:nvSpPr>
          <p:cNvPr id="5" name="Titel 4"/>
          <p:cNvSpPr>
            <a:spLocks noGrp="1"/>
          </p:cNvSpPr>
          <p:nvPr>
            <p:ph type="title"/>
          </p:nvPr>
        </p:nvSpPr>
        <p:spPr/>
        <p:txBody>
          <a:bodyPr/>
          <a:lstStyle/>
          <a:p>
            <a:r>
              <a:rPr lang="en-US" dirty="0"/>
              <a:t>Factors – list view and description, Siemens Petrol</a:t>
            </a:r>
          </a:p>
        </p:txBody>
      </p:sp>
      <p:sp>
        <p:nvSpPr>
          <p:cNvPr id="3" name="Footer Placeholder 2">
            <a:extLst>
              <a:ext uri="{FF2B5EF4-FFF2-40B4-BE49-F238E27FC236}">
                <a16:creationId xmlns:a16="http://schemas.microsoft.com/office/drawing/2014/main" id="{080998A0-BCF1-4F87-8C18-400E84046EA5}"/>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46B66258-F735-4E52-AC39-270DC83434FD}"/>
              </a:ext>
            </a:extLst>
          </p:cNvPr>
          <p:cNvSpPr>
            <a:spLocks noGrp="1"/>
          </p:cNvSpPr>
          <p:nvPr>
            <p:ph type="sldNum" sz="quarter" idx="11"/>
          </p:nvPr>
        </p:nvSpPr>
        <p:spPr/>
        <p:txBody>
          <a:bodyPr/>
          <a:lstStyle/>
          <a:p>
            <a:r>
              <a:rPr lang="en-US" dirty="0"/>
              <a:t>Page </a:t>
            </a:r>
            <a:fld id="{15EBE321-CBB1-4E91-BD14-37C8D44326FB}" type="slidenum">
              <a:rPr lang="en-US" smtClean="0"/>
              <a:pPr/>
              <a:t>23</a:t>
            </a:fld>
            <a:endParaRPr lang="en-US" dirty="0"/>
          </a:p>
        </p:txBody>
      </p:sp>
      <p:sp>
        <p:nvSpPr>
          <p:cNvPr id="6" name="Oval 4"/>
          <p:cNvSpPr>
            <a:spLocks noChangeAspect="1" noChangeArrowheads="1"/>
          </p:cNvSpPr>
          <p:nvPr/>
        </p:nvSpPr>
        <p:spPr bwMode="auto">
          <a:xfrm>
            <a:off x="410400" y="1584960"/>
            <a:ext cx="449766" cy="449766"/>
          </a:xfrm>
          <a:prstGeom prst="rect">
            <a:avLst/>
          </a:prstGeom>
          <a:solidFill>
            <a:srgbClr val="00FFB9"/>
          </a:solidFill>
          <a:ln>
            <a:noFill/>
          </a:ln>
          <a:effectLst/>
        </p:spPr>
        <p:txBody>
          <a:bodyPr wrap="none" lIns="84337" tIns="42169" rIns="84337" bIns="42169" anchor="ctr"/>
          <a:lstStyle/>
          <a:p>
            <a:pPr algn="ctr" defTabSz="702911">
              <a:spcBef>
                <a:spcPct val="0"/>
              </a:spcBef>
            </a:pPr>
            <a:r>
              <a:rPr lang="en-US" sz="1799" b="1" dirty="0">
                <a:solidFill>
                  <a:schemeClr val="bg2"/>
                </a:solidFill>
              </a:rPr>
              <a:t>1</a:t>
            </a:r>
          </a:p>
        </p:txBody>
      </p:sp>
      <p:sp>
        <p:nvSpPr>
          <p:cNvPr id="7" name="Oval 4"/>
          <p:cNvSpPr>
            <a:spLocks noChangeAspect="1" noChangeArrowheads="1"/>
          </p:cNvSpPr>
          <p:nvPr/>
        </p:nvSpPr>
        <p:spPr bwMode="auto">
          <a:xfrm>
            <a:off x="410400" y="2378222"/>
            <a:ext cx="449766" cy="449766"/>
          </a:xfrm>
          <a:prstGeom prst="rect">
            <a:avLst/>
          </a:prstGeom>
          <a:solidFill>
            <a:srgbClr val="00FFB9"/>
          </a:solidFill>
          <a:ln>
            <a:noFill/>
          </a:ln>
          <a:effectLst/>
        </p:spPr>
        <p:txBody>
          <a:bodyPr wrap="none" lIns="84337" tIns="42169" rIns="84337" bIns="42169" anchor="ctr"/>
          <a:lstStyle/>
          <a:p>
            <a:pPr algn="ctr" defTabSz="702911">
              <a:spcBef>
                <a:spcPct val="0"/>
              </a:spcBef>
            </a:pPr>
            <a:r>
              <a:rPr lang="en-US" sz="1799" b="1" dirty="0">
                <a:solidFill>
                  <a:schemeClr val="bg2"/>
                </a:solidFill>
              </a:rPr>
              <a:t>2</a:t>
            </a:r>
          </a:p>
        </p:txBody>
      </p:sp>
      <p:sp>
        <p:nvSpPr>
          <p:cNvPr id="8" name="Oval 4"/>
          <p:cNvSpPr>
            <a:spLocks noChangeAspect="1" noChangeArrowheads="1"/>
          </p:cNvSpPr>
          <p:nvPr/>
        </p:nvSpPr>
        <p:spPr bwMode="auto">
          <a:xfrm>
            <a:off x="410400" y="3171484"/>
            <a:ext cx="449766" cy="449766"/>
          </a:xfrm>
          <a:prstGeom prst="rect">
            <a:avLst/>
          </a:prstGeom>
          <a:solidFill>
            <a:srgbClr val="00FFB9"/>
          </a:solidFill>
          <a:ln>
            <a:noFill/>
          </a:ln>
          <a:effectLst/>
        </p:spPr>
        <p:txBody>
          <a:bodyPr wrap="none" lIns="84337" tIns="42169" rIns="84337" bIns="42169" anchor="ctr"/>
          <a:lstStyle/>
          <a:p>
            <a:pPr algn="ctr" defTabSz="702911">
              <a:spcBef>
                <a:spcPct val="0"/>
              </a:spcBef>
            </a:pPr>
            <a:r>
              <a:rPr lang="en-US" sz="1799" b="1" dirty="0">
                <a:solidFill>
                  <a:schemeClr val="bg2"/>
                </a:solidFill>
              </a:rPr>
              <a:t>3</a:t>
            </a:r>
          </a:p>
        </p:txBody>
      </p:sp>
      <p:sp>
        <p:nvSpPr>
          <p:cNvPr id="9" name="Oval 4"/>
          <p:cNvSpPr>
            <a:spLocks noChangeAspect="1" noChangeArrowheads="1"/>
          </p:cNvSpPr>
          <p:nvPr/>
        </p:nvSpPr>
        <p:spPr bwMode="auto">
          <a:xfrm>
            <a:off x="410400" y="3964746"/>
            <a:ext cx="449766" cy="449766"/>
          </a:xfrm>
          <a:prstGeom prst="rect">
            <a:avLst/>
          </a:prstGeom>
          <a:solidFill>
            <a:srgbClr val="00FFB9"/>
          </a:solidFill>
          <a:ln>
            <a:noFill/>
          </a:ln>
          <a:effectLst/>
        </p:spPr>
        <p:txBody>
          <a:bodyPr wrap="none" lIns="84337" tIns="42169" rIns="84337" bIns="42169" anchor="ctr"/>
          <a:lstStyle/>
          <a:p>
            <a:pPr algn="ctr" defTabSz="702911">
              <a:spcBef>
                <a:spcPct val="0"/>
              </a:spcBef>
            </a:pPr>
            <a:r>
              <a:rPr lang="en-US" sz="1799" b="1" dirty="0">
                <a:solidFill>
                  <a:schemeClr val="bg2"/>
                </a:solidFill>
              </a:rPr>
              <a:t>4</a:t>
            </a:r>
          </a:p>
        </p:txBody>
      </p:sp>
      <p:sp>
        <p:nvSpPr>
          <p:cNvPr id="10" name="Oval 4"/>
          <p:cNvSpPr>
            <a:spLocks noChangeAspect="1" noChangeArrowheads="1"/>
          </p:cNvSpPr>
          <p:nvPr/>
        </p:nvSpPr>
        <p:spPr bwMode="auto">
          <a:xfrm>
            <a:off x="410400" y="4758008"/>
            <a:ext cx="449766" cy="449766"/>
          </a:xfrm>
          <a:prstGeom prst="rect">
            <a:avLst/>
          </a:prstGeom>
          <a:solidFill>
            <a:srgbClr val="00FFB9"/>
          </a:solidFill>
          <a:ln>
            <a:noFill/>
          </a:ln>
          <a:effectLst/>
        </p:spPr>
        <p:txBody>
          <a:bodyPr wrap="none" lIns="84337" tIns="42169" rIns="84337" bIns="42169" anchor="ctr"/>
          <a:lstStyle/>
          <a:p>
            <a:pPr algn="ctr" defTabSz="702911">
              <a:spcBef>
                <a:spcPct val="0"/>
              </a:spcBef>
            </a:pPr>
            <a:r>
              <a:rPr lang="en-US" sz="1799" b="1" dirty="0">
                <a:solidFill>
                  <a:schemeClr val="bg2"/>
                </a:solidFill>
              </a:rPr>
              <a:t>5</a:t>
            </a:r>
          </a:p>
        </p:txBody>
      </p:sp>
      <p:sp>
        <p:nvSpPr>
          <p:cNvPr id="11" name="Oval 4"/>
          <p:cNvSpPr>
            <a:spLocks noChangeAspect="1" noChangeArrowheads="1"/>
          </p:cNvSpPr>
          <p:nvPr/>
        </p:nvSpPr>
        <p:spPr bwMode="auto">
          <a:xfrm>
            <a:off x="410400" y="5551269"/>
            <a:ext cx="449766" cy="449766"/>
          </a:xfrm>
          <a:prstGeom prst="rect">
            <a:avLst/>
          </a:prstGeom>
          <a:solidFill>
            <a:srgbClr val="00FFB9"/>
          </a:solidFill>
          <a:ln>
            <a:noFill/>
          </a:ln>
          <a:effectLst/>
        </p:spPr>
        <p:txBody>
          <a:bodyPr wrap="none" lIns="84337" tIns="42169" rIns="84337" bIns="42169" anchor="ctr"/>
          <a:lstStyle/>
          <a:p>
            <a:pPr algn="ctr" defTabSz="702911">
              <a:spcBef>
                <a:spcPct val="0"/>
              </a:spcBef>
            </a:pPr>
            <a:r>
              <a:rPr lang="en-US" sz="1799" b="1" dirty="0">
                <a:solidFill>
                  <a:schemeClr val="bg2"/>
                </a:solidFill>
              </a:rPr>
              <a:t>6</a:t>
            </a:r>
          </a:p>
        </p:txBody>
      </p:sp>
    </p:spTree>
    <p:extLst>
      <p:ext uri="{BB962C8B-B14F-4D97-AF65-F5344CB8AC3E}">
        <p14:creationId xmlns:p14="http://schemas.microsoft.com/office/powerpoint/2010/main" val="165920539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a:xfrm>
            <a:off x="410400" y="478800"/>
            <a:ext cx="9863997" cy="576000"/>
          </a:xfrm>
        </p:spPr>
        <p:txBody>
          <a:bodyPr/>
          <a:lstStyle/>
          <a:p>
            <a:r>
              <a:rPr lang="en-US" dirty="0"/>
              <a:t>Text blocks (three)</a:t>
            </a:r>
          </a:p>
        </p:txBody>
      </p:sp>
      <p:sp>
        <p:nvSpPr>
          <p:cNvPr id="22" name="Text Box 3"/>
          <p:cNvSpPr txBox="1">
            <a:spLocks noChangeArrowheads="1"/>
          </p:cNvSpPr>
          <p:nvPr>
            <p:custDataLst>
              <p:tags r:id="rId1"/>
            </p:custDataLst>
          </p:nvPr>
        </p:nvSpPr>
        <p:spPr bwMode="auto">
          <a:xfrm>
            <a:off x="410400" y="1901596"/>
            <a:ext cx="3599084" cy="4263779"/>
          </a:xfrm>
          <a:prstGeom prst="rect">
            <a:avLst/>
          </a:prstGeom>
          <a:noFill/>
          <a:ln w="12700">
            <a:noFill/>
          </a:ln>
          <a:effectLst/>
        </p:spPr>
        <p:txBody>
          <a:bodyPr lIns="143925" tIns="143925" rIns="143925" bIns="143925">
            <a:no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179910" indent="-179910">
              <a:lnSpc>
                <a:spcPct val="90000"/>
              </a:lnSpc>
              <a:spcBef>
                <a:spcPts val="600"/>
              </a:spcBef>
              <a:buClr>
                <a:schemeClr val="accent1"/>
              </a:buClr>
              <a:buSzPct val="100000"/>
              <a:buFont typeface="Arial" panose="020B0604020202020204" pitchFamily="34" charset="0"/>
              <a:buChar char="•"/>
            </a:pPr>
            <a:r>
              <a:rPr lang="en-US" sz="1799" dirty="0">
                <a:solidFill>
                  <a:srgbClr val="66667E"/>
                </a:solidFill>
                <a:latin typeface="+mn-lt"/>
              </a:rPr>
              <a:t>At vero eos et accusam</a:t>
            </a:r>
          </a:p>
          <a:p>
            <a:pPr marL="179910" indent="-179910">
              <a:lnSpc>
                <a:spcPct val="90000"/>
              </a:lnSpc>
              <a:spcBef>
                <a:spcPts val="600"/>
              </a:spcBef>
              <a:buClr>
                <a:schemeClr val="accent1"/>
              </a:buClr>
              <a:buSzPct val="100000"/>
              <a:buFont typeface="Arial" panose="020B0604020202020204" pitchFamily="34" charset="0"/>
              <a:buChar char="•"/>
            </a:pPr>
            <a:r>
              <a:rPr lang="en-US" sz="1799" dirty="0">
                <a:solidFill>
                  <a:srgbClr val="66667E"/>
                </a:solidFill>
                <a:latin typeface="+mn-lt"/>
              </a:rPr>
              <a:t>Cras ultricies mi eu</a:t>
            </a:r>
          </a:p>
        </p:txBody>
      </p:sp>
      <p:sp>
        <p:nvSpPr>
          <p:cNvPr id="23" name="Text Box 4"/>
          <p:cNvSpPr txBox="1">
            <a:spLocks noChangeArrowheads="1"/>
          </p:cNvSpPr>
          <p:nvPr>
            <p:custDataLst>
              <p:tags r:id="rId2"/>
            </p:custDataLst>
          </p:nvPr>
        </p:nvSpPr>
        <p:spPr bwMode="auto">
          <a:xfrm>
            <a:off x="410400" y="1415849"/>
            <a:ext cx="3599084" cy="485747"/>
          </a:xfrm>
          <a:prstGeom prst="rect">
            <a:avLst/>
          </a:prstGeom>
          <a:solidFill>
            <a:srgbClr val="00646E"/>
          </a:solidFill>
          <a:ln>
            <a:noFill/>
          </a:ln>
          <a:effectLst/>
        </p:spPr>
        <p:txBody>
          <a:bodyPr lIns="143925" tIns="71963" rIns="143925" bIns="71963" anchor="ctr"/>
          <a:lstStyle>
            <a:lvl1pPr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a:spcBef>
                <a:spcPct val="0"/>
              </a:spcBef>
              <a:buClrTx/>
              <a:buFontTx/>
              <a:buNone/>
            </a:pPr>
            <a:r>
              <a:rPr lang="en-US" sz="1799" b="1" dirty="0">
                <a:solidFill>
                  <a:schemeClr val="bg1"/>
                </a:solidFill>
                <a:latin typeface="+mn-lt"/>
              </a:rPr>
              <a:t>Duis arcu tortor, suscipit eget</a:t>
            </a:r>
          </a:p>
        </p:txBody>
      </p:sp>
      <p:sp>
        <p:nvSpPr>
          <p:cNvPr id="24" name="Text Box 3"/>
          <p:cNvSpPr txBox="1">
            <a:spLocks noChangeArrowheads="1"/>
          </p:cNvSpPr>
          <p:nvPr>
            <p:custDataLst>
              <p:tags r:id="rId3"/>
            </p:custDataLst>
          </p:nvPr>
        </p:nvSpPr>
        <p:spPr bwMode="auto">
          <a:xfrm>
            <a:off x="4296600" y="1901596"/>
            <a:ext cx="3599084" cy="4263779"/>
          </a:xfrm>
          <a:prstGeom prst="rect">
            <a:avLst/>
          </a:prstGeom>
          <a:noFill/>
          <a:ln w="12700">
            <a:noFill/>
          </a:ln>
          <a:effectLst/>
        </p:spPr>
        <p:txBody>
          <a:bodyPr lIns="143925" tIns="143925" rIns="143925" bIns="143925">
            <a:no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179910" indent="-179910">
              <a:lnSpc>
                <a:spcPct val="90000"/>
              </a:lnSpc>
              <a:spcBef>
                <a:spcPts val="600"/>
              </a:spcBef>
              <a:buClr>
                <a:schemeClr val="accent1"/>
              </a:buClr>
              <a:buSzPct val="100000"/>
              <a:buFont typeface="Arial" panose="020B0604020202020204" pitchFamily="34" charset="0"/>
              <a:buChar char="•"/>
            </a:pPr>
            <a:r>
              <a:rPr lang="en-US" sz="1799" dirty="0">
                <a:solidFill>
                  <a:srgbClr val="66667E"/>
                </a:solidFill>
                <a:latin typeface="+mn-lt"/>
              </a:rPr>
              <a:t>Cras ultricies mi eu</a:t>
            </a:r>
          </a:p>
          <a:p>
            <a:pPr marL="179910" indent="-179910">
              <a:lnSpc>
                <a:spcPct val="90000"/>
              </a:lnSpc>
              <a:spcBef>
                <a:spcPts val="600"/>
              </a:spcBef>
              <a:buClr>
                <a:schemeClr val="accent1"/>
              </a:buClr>
              <a:buSzPct val="100000"/>
              <a:buFont typeface="Arial" panose="020B0604020202020204" pitchFamily="34" charset="0"/>
              <a:buChar char="•"/>
            </a:pPr>
            <a:r>
              <a:rPr lang="en-US" sz="1799" dirty="0">
                <a:solidFill>
                  <a:srgbClr val="66667E"/>
                </a:solidFill>
                <a:latin typeface="+mn-lt"/>
              </a:rPr>
              <a:t>Duis arcu tortor, suscipit eget, imperdiet nec, imperdiet iaculis, ipsum</a:t>
            </a:r>
          </a:p>
          <a:p>
            <a:pPr marL="179910" indent="-179910">
              <a:lnSpc>
                <a:spcPct val="90000"/>
              </a:lnSpc>
              <a:spcBef>
                <a:spcPts val="600"/>
              </a:spcBef>
              <a:buClr>
                <a:schemeClr val="accent1"/>
              </a:buClr>
              <a:buSzPct val="120000"/>
              <a:buFont typeface="Arial" panose="020B0604020202020204" pitchFamily="34" charset="0"/>
              <a:buChar char="•"/>
            </a:pPr>
            <a:endParaRPr lang="en-US" sz="1799" dirty="0">
              <a:solidFill>
                <a:srgbClr val="66667E"/>
              </a:solidFill>
              <a:latin typeface="+mn-lt"/>
            </a:endParaRPr>
          </a:p>
        </p:txBody>
      </p:sp>
      <p:sp>
        <p:nvSpPr>
          <p:cNvPr id="25" name="Text Box 4"/>
          <p:cNvSpPr txBox="1">
            <a:spLocks noChangeArrowheads="1"/>
          </p:cNvSpPr>
          <p:nvPr>
            <p:custDataLst>
              <p:tags r:id="rId4"/>
            </p:custDataLst>
          </p:nvPr>
        </p:nvSpPr>
        <p:spPr bwMode="auto">
          <a:xfrm>
            <a:off x="4296600" y="1415849"/>
            <a:ext cx="3599084" cy="485747"/>
          </a:xfrm>
          <a:prstGeom prst="rect">
            <a:avLst/>
          </a:prstGeom>
          <a:solidFill>
            <a:srgbClr val="00AF8E"/>
          </a:solidFill>
          <a:ln>
            <a:noFill/>
          </a:ln>
          <a:effectLst/>
        </p:spPr>
        <p:txBody>
          <a:bodyPr lIns="143925" tIns="71963" rIns="143925" bIns="71963" anchor="ctr"/>
          <a:lstStyle>
            <a:lvl1pPr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a:spcBef>
                <a:spcPct val="0"/>
              </a:spcBef>
              <a:buClrTx/>
              <a:buFontTx/>
              <a:buNone/>
            </a:pPr>
            <a:r>
              <a:rPr lang="en-US" sz="1799" b="1" dirty="0">
                <a:solidFill>
                  <a:schemeClr val="tx2"/>
                </a:solidFill>
                <a:latin typeface="+mn-lt"/>
              </a:rPr>
              <a:t>Duis arcu tortor</a:t>
            </a:r>
          </a:p>
        </p:txBody>
      </p:sp>
      <p:sp>
        <p:nvSpPr>
          <p:cNvPr id="26" name="Text Box 3"/>
          <p:cNvSpPr txBox="1">
            <a:spLocks noChangeArrowheads="1"/>
          </p:cNvSpPr>
          <p:nvPr>
            <p:custDataLst>
              <p:tags r:id="rId5"/>
            </p:custDataLst>
          </p:nvPr>
        </p:nvSpPr>
        <p:spPr bwMode="auto">
          <a:xfrm>
            <a:off x="8186400" y="1901596"/>
            <a:ext cx="3599084" cy="4263779"/>
          </a:xfrm>
          <a:prstGeom prst="rect">
            <a:avLst/>
          </a:prstGeom>
          <a:noFill/>
          <a:ln w="12700">
            <a:noFill/>
          </a:ln>
          <a:effectLst/>
        </p:spPr>
        <p:txBody>
          <a:bodyPr lIns="143925" tIns="143925" rIns="143925" bIns="143925">
            <a:no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179910" indent="-179910">
              <a:lnSpc>
                <a:spcPct val="90000"/>
              </a:lnSpc>
              <a:spcBef>
                <a:spcPts val="600"/>
              </a:spcBef>
              <a:buClr>
                <a:schemeClr val="accent1"/>
              </a:buClr>
              <a:buSzPct val="100000"/>
              <a:buFont typeface="Arial" panose="020B0604020202020204" pitchFamily="34" charset="0"/>
              <a:buChar char="•"/>
            </a:pPr>
            <a:r>
              <a:rPr lang="en-US" sz="1799" dirty="0">
                <a:solidFill>
                  <a:srgbClr val="66667E"/>
                </a:solidFill>
                <a:latin typeface="+mn-lt"/>
              </a:rPr>
              <a:t>Duis arcu tortor, suscipit eget, imperdiet nec, imperdiet iaculis, ipsum</a:t>
            </a:r>
          </a:p>
          <a:p>
            <a:pPr marL="179910" indent="-179910">
              <a:lnSpc>
                <a:spcPct val="90000"/>
              </a:lnSpc>
              <a:spcBef>
                <a:spcPts val="600"/>
              </a:spcBef>
              <a:buClr>
                <a:schemeClr val="accent1"/>
              </a:buClr>
              <a:buSzPct val="100000"/>
              <a:buFont typeface="Arial" panose="020B0604020202020204" pitchFamily="34" charset="0"/>
              <a:buChar char="•"/>
            </a:pPr>
            <a:r>
              <a:rPr lang="en-US" sz="1799" dirty="0">
                <a:solidFill>
                  <a:srgbClr val="66667E"/>
                </a:solidFill>
                <a:latin typeface="+mn-lt"/>
              </a:rPr>
              <a:t>Cras ultricies mi eu</a:t>
            </a:r>
          </a:p>
          <a:p>
            <a:pPr marL="179910" indent="-179910">
              <a:lnSpc>
                <a:spcPct val="90000"/>
              </a:lnSpc>
              <a:spcBef>
                <a:spcPts val="600"/>
              </a:spcBef>
              <a:buClr>
                <a:schemeClr val="accent1"/>
              </a:buClr>
              <a:buSzPct val="120000"/>
              <a:buFont typeface="Arial" panose="020B0604020202020204" pitchFamily="34" charset="0"/>
              <a:buChar char="•"/>
            </a:pPr>
            <a:endParaRPr lang="en-US" sz="1799" dirty="0">
              <a:solidFill>
                <a:srgbClr val="66667E"/>
              </a:solidFill>
              <a:latin typeface="+mn-lt"/>
            </a:endParaRPr>
          </a:p>
        </p:txBody>
      </p:sp>
      <p:sp>
        <p:nvSpPr>
          <p:cNvPr id="27" name="Text Box 4"/>
          <p:cNvSpPr txBox="1">
            <a:spLocks noChangeArrowheads="1"/>
          </p:cNvSpPr>
          <p:nvPr>
            <p:custDataLst>
              <p:tags r:id="rId6"/>
            </p:custDataLst>
          </p:nvPr>
        </p:nvSpPr>
        <p:spPr bwMode="auto">
          <a:xfrm>
            <a:off x="8186400" y="1415849"/>
            <a:ext cx="3599084" cy="485747"/>
          </a:xfrm>
          <a:prstGeom prst="rect">
            <a:avLst/>
          </a:prstGeom>
          <a:solidFill>
            <a:srgbClr val="00FFB9"/>
          </a:solidFill>
          <a:ln>
            <a:noFill/>
          </a:ln>
          <a:effectLst/>
        </p:spPr>
        <p:txBody>
          <a:bodyPr lIns="143925" tIns="71963" rIns="143925" bIns="71963" anchor="ctr"/>
          <a:lstStyle>
            <a:lvl1pPr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a:spcBef>
                <a:spcPct val="0"/>
              </a:spcBef>
              <a:buClrTx/>
              <a:buFontTx/>
              <a:buNone/>
            </a:pPr>
            <a:r>
              <a:rPr lang="en-US" sz="1799" b="1" dirty="0">
                <a:solidFill>
                  <a:schemeClr val="tx2"/>
                </a:solidFill>
                <a:latin typeface="+mn-lt"/>
              </a:rPr>
              <a:t>At vero eos et accusam</a:t>
            </a:r>
          </a:p>
        </p:txBody>
      </p:sp>
      <p:sp>
        <p:nvSpPr>
          <p:cNvPr id="6" name="Footer Placeholder 5">
            <a:extLst>
              <a:ext uri="{FF2B5EF4-FFF2-40B4-BE49-F238E27FC236}">
                <a16:creationId xmlns:a16="http://schemas.microsoft.com/office/drawing/2014/main" id="{4343ED8C-EECF-410C-A31F-A86078D50CC4}"/>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7" name="Slide Number Placeholder 6">
            <a:extLst>
              <a:ext uri="{FF2B5EF4-FFF2-40B4-BE49-F238E27FC236}">
                <a16:creationId xmlns:a16="http://schemas.microsoft.com/office/drawing/2014/main" id="{FF39AD5E-637D-409D-92A0-0552AE8DDA66}"/>
              </a:ext>
            </a:extLst>
          </p:cNvPr>
          <p:cNvSpPr>
            <a:spLocks noGrp="1"/>
          </p:cNvSpPr>
          <p:nvPr>
            <p:ph type="sldNum" sz="quarter" idx="11"/>
          </p:nvPr>
        </p:nvSpPr>
        <p:spPr/>
        <p:txBody>
          <a:bodyPr/>
          <a:lstStyle/>
          <a:p>
            <a:r>
              <a:rPr lang="en-US" dirty="0"/>
              <a:t>Page </a:t>
            </a:r>
            <a:fld id="{15EBE321-CBB1-4E91-BD14-37C8D44326FB}" type="slidenum">
              <a:rPr lang="en-US" smtClean="0"/>
              <a:pPr/>
              <a:t>24</a:t>
            </a:fld>
            <a:endParaRPr lang="en-US" dirty="0"/>
          </a:p>
        </p:txBody>
      </p:sp>
    </p:spTree>
    <p:extLst>
      <p:ext uri="{BB962C8B-B14F-4D97-AF65-F5344CB8AC3E}">
        <p14:creationId xmlns:p14="http://schemas.microsoft.com/office/powerpoint/2010/main" val="316584580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en-US" dirty="0"/>
              <a:t>Text blocks (three)</a:t>
            </a:r>
          </a:p>
        </p:txBody>
      </p:sp>
      <p:sp>
        <p:nvSpPr>
          <p:cNvPr id="6" name="Footer Placeholder 5">
            <a:extLst>
              <a:ext uri="{FF2B5EF4-FFF2-40B4-BE49-F238E27FC236}">
                <a16:creationId xmlns:a16="http://schemas.microsoft.com/office/drawing/2014/main" id="{4343ED8C-EECF-410C-A31F-A86078D50CC4}"/>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7" name="Slide Number Placeholder 6">
            <a:extLst>
              <a:ext uri="{FF2B5EF4-FFF2-40B4-BE49-F238E27FC236}">
                <a16:creationId xmlns:a16="http://schemas.microsoft.com/office/drawing/2014/main" id="{FF39AD5E-637D-409D-92A0-0552AE8DDA66}"/>
              </a:ext>
            </a:extLst>
          </p:cNvPr>
          <p:cNvSpPr>
            <a:spLocks noGrp="1"/>
          </p:cNvSpPr>
          <p:nvPr>
            <p:ph type="sldNum" sz="quarter" idx="11"/>
          </p:nvPr>
        </p:nvSpPr>
        <p:spPr/>
        <p:txBody>
          <a:bodyPr/>
          <a:lstStyle/>
          <a:p>
            <a:r>
              <a:rPr lang="en-US" dirty="0"/>
              <a:t>Page </a:t>
            </a:r>
            <a:fld id="{15EBE321-CBB1-4E91-BD14-37C8D44326FB}" type="slidenum">
              <a:rPr lang="en-US" smtClean="0"/>
              <a:pPr/>
              <a:t>25</a:t>
            </a:fld>
            <a:endParaRPr lang="en-US" dirty="0"/>
          </a:p>
        </p:txBody>
      </p:sp>
      <p:sp>
        <p:nvSpPr>
          <p:cNvPr id="22" name="Text Box 3"/>
          <p:cNvSpPr txBox="1">
            <a:spLocks noChangeArrowheads="1"/>
          </p:cNvSpPr>
          <p:nvPr>
            <p:custDataLst>
              <p:tags r:id="rId1"/>
            </p:custDataLst>
          </p:nvPr>
        </p:nvSpPr>
        <p:spPr bwMode="auto">
          <a:xfrm>
            <a:off x="410400" y="1901596"/>
            <a:ext cx="3599084" cy="4263779"/>
          </a:xfrm>
          <a:prstGeom prst="rect">
            <a:avLst/>
          </a:prstGeom>
          <a:noFill/>
          <a:ln w="12700">
            <a:noFill/>
          </a:ln>
          <a:effectLst/>
        </p:spPr>
        <p:txBody>
          <a:bodyPr lIns="143925" tIns="143925" rIns="143925" bIns="143925">
            <a:no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179910" indent="-179910">
              <a:lnSpc>
                <a:spcPct val="90000"/>
              </a:lnSpc>
              <a:spcBef>
                <a:spcPts val="600"/>
              </a:spcBef>
              <a:buClr>
                <a:schemeClr val="accent1"/>
              </a:buClr>
              <a:buSzPct val="100000"/>
              <a:buFont typeface="Arial" panose="020B0604020202020204" pitchFamily="34" charset="0"/>
              <a:buChar char="•"/>
            </a:pPr>
            <a:r>
              <a:rPr lang="en-US" sz="1799" dirty="0">
                <a:solidFill>
                  <a:srgbClr val="9999A9"/>
                </a:solidFill>
                <a:latin typeface="+mn-lt"/>
              </a:rPr>
              <a:t>At vero eos et accusam</a:t>
            </a:r>
          </a:p>
          <a:p>
            <a:pPr marL="179910" indent="-179910">
              <a:lnSpc>
                <a:spcPct val="90000"/>
              </a:lnSpc>
              <a:spcBef>
                <a:spcPts val="600"/>
              </a:spcBef>
              <a:buClr>
                <a:schemeClr val="accent1"/>
              </a:buClr>
              <a:buSzPct val="100000"/>
              <a:buFont typeface="Arial" panose="020B0604020202020204" pitchFamily="34" charset="0"/>
              <a:buChar char="•"/>
            </a:pPr>
            <a:r>
              <a:rPr lang="en-US" sz="1799" dirty="0">
                <a:solidFill>
                  <a:srgbClr val="9999A9"/>
                </a:solidFill>
                <a:latin typeface="+mn-lt"/>
              </a:rPr>
              <a:t>Cras ultricies mi eu</a:t>
            </a:r>
          </a:p>
        </p:txBody>
      </p:sp>
      <p:sp>
        <p:nvSpPr>
          <p:cNvPr id="23" name="Text Box 4"/>
          <p:cNvSpPr txBox="1">
            <a:spLocks noChangeArrowheads="1"/>
          </p:cNvSpPr>
          <p:nvPr>
            <p:custDataLst>
              <p:tags r:id="rId2"/>
            </p:custDataLst>
          </p:nvPr>
        </p:nvSpPr>
        <p:spPr bwMode="auto">
          <a:xfrm>
            <a:off x="410400" y="1415849"/>
            <a:ext cx="3599084" cy="485747"/>
          </a:xfrm>
          <a:prstGeom prst="rect">
            <a:avLst/>
          </a:prstGeom>
          <a:solidFill>
            <a:srgbClr val="00646E"/>
          </a:solidFill>
          <a:ln>
            <a:noFill/>
          </a:ln>
          <a:effectLst/>
        </p:spPr>
        <p:txBody>
          <a:bodyPr lIns="143925" tIns="71963" rIns="143925" bIns="71963" anchor="ctr"/>
          <a:lstStyle>
            <a:lvl1pPr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a:spcBef>
                <a:spcPct val="0"/>
              </a:spcBef>
              <a:buClrTx/>
              <a:buFontTx/>
              <a:buNone/>
            </a:pPr>
            <a:r>
              <a:rPr lang="en-US" sz="1799" b="1" dirty="0">
                <a:latin typeface="+mn-lt"/>
              </a:rPr>
              <a:t>Duis arcu tortor, suscipit eget</a:t>
            </a:r>
          </a:p>
        </p:txBody>
      </p:sp>
      <p:sp>
        <p:nvSpPr>
          <p:cNvPr id="24" name="Text Box 3"/>
          <p:cNvSpPr txBox="1">
            <a:spLocks noChangeArrowheads="1"/>
          </p:cNvSpPr>
          <p:nvPr>
            <p:custDataLst>
              <p:tags r:id="rId3"/>
            </p:custDataLst>
          </p:nvPr>
        </p:nvSpPr>
        <p:spPr bwMode="auto">
          <a:xfrm>
            <a:off x="4296600" y="1901596"/>
            <a:ext cx="3599084" cy="4263779"/>
          </a:xfrm>
          <a:prstGeom prst="rect">
            <a:avLst/>
          </a:prstGeom>
          <a:noFill/>
          <a:ln w="12700">
            <a:noFill/>
          </a:ln>
          <a:effectLst/>
        </p:spPr>
        <p:txBody>
          <a:bodyPr lIns="143925" tIns="143925" rIns="143925" bIns="143925">
            <a:no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179910" indent="-179910">
              <a:lnSpc>
                <a:spcPct val="90000"/>
              </a:lnSpc>
              <a:spcBef>
                <a:spcPts val="600"/>
              </a:spcBef>
              <a:buClr>
                <a:schemeClr val="accent1"/>
              </a:buClr>
              <a:buSzPct val="100000"/>
              <a:buFont typeface="Arial" panose="020B0604020202020204" pitchFamily="34" charset="0"/>
              <a:buChar char="•"/>
            </a:pPr>
            <a:r>
              <a:rPr lang="en-US" sz="1799" dirty="0">
                <a:solidFill>
                  <a:srgbClr val="9999A9"/>
                </a:solidFill>
                <a:latin typeface="+mn-lt"/>
              </a:rPr>
              <a:t>Cras ultricies mi eu</a:t>
            </a:r>
          </a:p>
          <a:p>
            <a:pPr marL="179910" indent="-179910">
              <a:lnSpc>
                <a:spcPct val="90000"/>
              </a:lnSpc>
              <a:spcBef>
                <a:spcPts val="600"/>
              </a:spcBef>
              <a:buClr>
                <a:schemeClr val="accent1"/>
              </a:buClr>
              <a:buSzPct val="100000"/>
              <a:buFont typeface="Arial" panose="020B0604020202020204" pitchFamily="34" charset="0"/>
              <a:buChar char="•"/>
            </a:pPr>
            <a:r>
              <a:rPr lang="en-US" sz="1799" dirty="0">
                <a:solidFill>
                  <a:srgbClr val="9999A9"/>
                </a:solidFill>
                <a:latin typeface="+mn-lt"/>
              </a:rPr>
              <a:t>Duis arcu tortor, suscipit eget, imperdiet nec, imperdiet iaculis, ipsum</a:t>
            </a:r>
          </a:p>
          <a:p>
            <a:pPr marL="179910" indent="-179910">
              <a:lnSpc>
                <a:spcPct val="90000"/>
              </a:lnSpc>
              <a:spcBef>
                <a:spcPts val="600"/>
              </a:spcBef>
              <a:buClr>
                <a:schemeClr val="accent1"/>
              </a:buClr>
              <a:buSzPct val="120000"/>
              <a:buFont typeface="Arial" panose="020B0604020202020204" pitchFamily="34" charset="0"/>
              <a:buChar char="•"/>
            </a:pPr>
            <a:endParaRPr lang="en-US" sz="1799" dirty="0">
              <a:solidFill>
                <a:srgbClr val="9999A9"/>
              </a:solidFill>
              <a:latin typeface="+mn-lt"/>
            </a:endParaRPr>
          </a:p>
        </p:txBody>
      </p:sp>
      <p:sp>
        <p:nvSpPr>
          <p:cNvPr id="25" name="Text Box 4"/>
          <p:cNvSpPr txBox="1">
            <a:spLocks noChangeArrowheads="1"/>
          </p:cNvSpPr>
          <p:nvPr>
            <p:custDataLst>
              <p:tags r:id="rId4"/>
            </p:custDataLst>
          </p:nvPr>
        </p:nvSpPr>
        <p:spPr bwMode="auto">
          <a:xfrm>
            <a:off x="4296600" y="1415849"/>
            <a:ext cx="3599084" cy="485747"/>
          </a:xfrm>
          <a:prstGeom prst="rect">
            <a:avLst/>
          </a:prstGeom>
          <a:solidFill>
            <a:srgbClr val="00AF8E"/>
          </a:solidFill>
          <a:ln>
            <a:noFill/>
          </a:ln>
          <a:effectLst/>
        </p:spPr>
        <p:txBody>
          <a:bodyPr lIns="143925" tIns="71963" rIns="143925" bIns="71963" anchor="ctr"/>
          <a:lstStyle>
            <a:lvl1pPr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a:spcBef>
                <a:spcPct val="0"/>
              </a:spcBef>
              <a:buClrTx/>
              <a:buFontTx/>
              <a:buNone/>
            </a:pPr>
            <a:r>
              <a:rPr lang="en-US" sz="1799" b="1" dirty="0">
                <a:solidFill>
                  <a:schemeClr val="bg2"/>
                </a:solidFill>
                <a:latin typeface="+mn-lt"/>
              </a:rPr>
              <a:t>Duis arcu tortor</a:t>
            </a:r>
          </a:p>
        </p:txBody>
      </p:sp>
      <p:sp>
        <p:nvSpPr>
          <p:cNvPr id="26" name="Text Box 3"/>
          <p:cNvSpPr txBox="1">
            <a:spLocks noChangeArrowheads="1"/>
          </p:cNvSpPr>
          <p:nvPr>
            <p:custDataLst>
              <p:tags r:id="rId5"/>
            </p:custDataLst>
          </p:nvPr>
        </p:nvSpPr>
        <p:spPr bwMode="auto">
          <a:xfrm>
            <a:off x="8186400" y="1901596"/>
            <a:ext cx="3599084" cy="4263779"/>
          </a:xfrm>
          <a:prstGeom prst="rect">
            <a:avLst/>
          </a:prstGeom>
          <a:noFill/>
          <a:ln w="12700">
            <a:noFill/>
          </a:ln>
          <a:effectLst/>
        </p:spPr>
        <p:txBody>
          <a:bodyPr lIns="143925" tIns="143925" rIns="143925" bIns="143925">
            <a:no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179910" indent="-179910">
              <a:lnSpc>
                <a:spcPct val="90000"/>
              </a:lnSpc>
              <a:spcBef>
                <a:spcPts val="600"/>
              </a:spcBef>
              <a:buClr>
                <a:schemeClr val="accent1"/>
              </a:buClr>
              <a:buSzPct val="100000"/>
              <a:buFont typeface="Arial" panose="020B0604020202020204" pitchFamily="34" charset="0"/>
              <a:buChar char="•"/>
            </a:pPr>
            <a:r>
              <a:rPr lang="en-US" sz="1799" dirty="0">
                <a:solidFill>
                  <a:srgbClr val="9999A9"/>
                </a:solidFill>
                <a:latin typeface="+mn-lt"/>
              </a:rPr>
              <a:t>Duis arcu tortor, suscipit eget, imperdiet nec, imperdiet iaculis, ipsum</a:t>
            </a:r>
          </a:p>
          <a:p>
            <a:pPr marL="179910" indent="-179910">
              <a:lnSpc>
                <a:spcPct val="90000"/>
              </a:lnSpc>
              <a:spcBef>
                <a:spcPts val="600"/>
              </a:spcBef>
              <a:buClr>
                <a:schemeClr val="accent1"/>
              </a:buClr>
              <a:buSzPct val="100000"/>
              <a:buFont typeface="Arial" panose="020B0604020202020204" pitchFamily="34" charset="0"/>
              <a:buChar char="•"/>
            </a:pPr>
            <a:r>
              <a:rPr lang="en-US" sz="1799" dirty="0">
                <a:solidFill>
                  <a:srgbClr val="9999A9"/>
                </a:solidFill>
                <a:latin typeface="+mn-lt"/>
              </a:rPr>
              <a:t>Cras ultricies mi eu</a:t>
            </a:r>
          </a:p>
          <a:p>
            <a:pPr marL="179910" indent="-179910">
              <a:lnSpc>
                <a:spcPct val="90000"/>
              </a:lnSpc>
              <a:spcBef>
                <a:spcPts val="600"/>
              </a:spcBef>
              <a:buClr>
                <a:schemeClr val="accent1"/>
              </a:buClr>
              <a:buSzPct val="120000"/>
              <a:buFont typeface="Arial" panose="020B0604020202020204" pitchFamily="34" charset="0"/>
              <a:buChar char="•"/>
            </a:pPr>
            <a:endParaRPr lang="en-US" sz="1799" dirty="0">
              <a:solidFill>
                <a:srgbClr val="9999A9"/>
              </a:solidFill>
              <a:latin typeface="+mn-lt"/>
            </a:endParaRPr>
          </a:p>
        </p:txBody>
      </p:sp>
      <p:sp>
        <p:nvSpPr>
          <p:cNvPr id="27" name="Text Box 4"/>
          <p:cNvSpPr txBox="1">
            <a:spLocks noChangeArrowheads="1"/>
          </p:cNvSpPr>
          <p:nvPr>
            <p:custDataLst>
              <p:tags r:id="rId6"/>
            </p:custDataLst>
          </p:nvPr>
        </p:nvSpPr>
        <p:spPr bwMode="auto">
          <a:xfrm>
            <a:off x="8186400" y="1415849"/>
            <a:ext cx="3599084" cy="485747"/>
          </a:xfrm>
          <a:prstGeom prst="rect">
            <a:avLst/>
          </a:prstGeom>
          <a:solidFill>
            <a:srgbClr val="00FFB9"/>
          </a:solidFill>
          <a:ln>
            <a:noFill/>
          </a:ln>
          <a:effectLst/>
        </p:spPr>
        <p:txBody>
          <a:bodyPr lIns="143925" tIns="71963" rIns="143925" bIns="71963" anchor="ctr"/>
          <a:lstStyle>
            <a:lvl1pPr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a:spcBef>
                <a:spcPct val="0"/>
              </a:spcBef>
              <a:buClrTx/>
              <a:buFontTx/>
              <a:buNone/>
            </a:pPr>
            <a:r>
              <a:rPr lang="en-US" sz="1799" b="1" dirty="0">
                <a:solidFill>
                  <a:schemeClr val="bg2"/>
                </a:solidFill>
                <a:latin typeface="+mn-lt"/>
              </a:rPr>
              <a:t>At vero eos et accusam</a:t>
            </a:r>
          </a:p>
        </p:txBody>
      </p:sp>
    </p:spTree>
    <p:extLst>
      <p:ext uri="{BB962C8B-B14F-4D97-AF65-F5344CB8AC3E}">
        <p14:creationId xmlns:p14="http://schemas.microsoft.com/office/powerpoint/2010/main" val="409127247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xt blocks (four)</a:t>
            </a:r>
          </a:p>
        </p:txBody>
      </p:sp>
      <p:sp>
        <p:nvSpPr>
          <p:cNvPr id="17" name="Text Box 3"/>
          <p:cNvSpPr txBox="1">
            <a:spLocks noChangeArrowheads="1"/>
          </p:cNvSpPr>
          <p:nvPr>
            <p:custDataLst>
              <p:tags r:id="rId1"/>
            </p:custDataLst>
          </p:nvPr>
        </p:nvSpPr>
        <p:spPr bwMode="auto">
          <a:xfrm>
            <a:off x="411950" y="1901595"/>
            <a:ext cx="4176000" cy="1817054"/>
          </a:xfrm>
          <a:prstGeom prst="rect">
            <a:avLst/>
          </a:prstGeom>
          <a:noFill/>
          <a:ln w="12700">
            <a:noFill/>
          </a:ln>
          <a:effectLst/>
        </p:spPr>
        <p:txBody>
          <a:bodyPr lIns="143925" tIns="143925" rIns="359813" bIns="143925">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179910" indent="-179910">
              <a:lnSpc>
                <a:spcPct val="90000"/>
              </a:lnSpc>
              <a:spcBef>
                <a:spcPts val="600"/>
              </a:spcBef>
              <a:buClr>
                <a:srgbClr val="009999"/>
              </a:buClr>
              <a:buSzPct val="100000"/>
              <a:buFont typeface="Arial" panose="020B0604020202020204" pitchFamily="34" charset="0"/>
              <a:buChar char="•"/>
            </a:pPr>
            <a:r>
              <a:rPr lang="en-US" sz="1799" dirty="0">
                <a:solidFill>
                  <a:srgbClr val="66667E"/>
                </a:solidFill>
                <a:latin typeface="+mn-lt"/>
              </a:rPr>
              <a:t>Cras ultricies mi eu</a:t>
            </a:r>
          </a:p>
          <a:p>
            <a:pPr marL="179910" indent="-179910">
              <a:lnSpc>
                <a:spcPct val="90000"/>
              </a:lnSpc>
              <a:spcBef>
                <a:spcPts val="600"/>
              </a:spcBef>
              <a:buClr>
                <a:srgbClr val="009999"/>
              </a:buClr>
              <a:buSzPct val="100000"/>
              <a:buFont typeface="Arial" panose="020B0604020202020204" pitchFamily="34" charset="0"/>
              <a:buChar char="•"/>
            </a:pPr>
            <a:r>
              <a:rPr lang="en-US" sz="1799" dirty="0">
                <a:solidFill>
                  <a:srgbClr val="66667E"/>
                </a:solidFill>
                <a:latin typeface="+mn-lt"/>
              </a:rPr>
              <a:t>Duis arcu tortor, suscipit eget, imperdiet nec, imperdiet iaculis, ipsum</a:t>
            </a:r>
          </a:p>
        </p:txBody>
      </p:sp>
      <p:sp>
        <p:nvSpPr>
          <p:cNvPr id="10" name="Text Box 4">
            <a:extLst>
              <a:ext uri="{FF2B5EF4-FFF2-40B4-BE49-F238E27FC236}">
                <a16:creationId xmlns:a16="http://schemas.microsoft.com/office/drawing/2014/main" id="{81BD8AE0-11F4-F94B-A838-E8F1EB9B4A57}"/>
              </a:ext>
            </a:extLst>
          </p:cNvPr>
          <p:cNvSpPr txBox="1">
            <a:spLocks noChangeArrowheads="1"/>
          </p:cNvSpPr>
          <p:nvPr>
            <p:custDataLst>
              <p:tags r:id="rId2"/>
            </p:custDataLst>
          </p:nvPr>
        </p:nvSpPr>
        <p:spPr bwMode="auto">
          <a:xfrm>
            <a:off x="411286" y="1415849"/>
            <a:ext cx="4176000" cy="485747"/>
          </a:xfrm>
          <a:prstGeom prst="rect">
            <a:avLst/>
          </a:prstGeom>
          <a:solidFill>
            <a:srgbClr val="00646E"/>
          </a:solidFill>
          <a:ln>
            <a:noFill/>
          </a:ln>
          <a:effectLst/>
        </p:spPr>
        <p:txBody>
          <a:bodyPr lIns="143925" tIns="71963" rIns="143925" bIns="71963" anchor="ctr"/>
          <a:lstStyle>
            <a:lvl1pPr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a:spcBef>
                <a:spcPct val="0"/>
              </a:spcBef>
              <a:buClrTx/>
              <a:buFontTx/>
              <a:buNone/>
            </a:pPr>
            <a:r>
              <a:rPr lang="en-US" sz="1799" b="1" dirty="0">
                <a:solidFill>
                  <a:schemeClr val="bg1"/>
                </a:solidFill>
                <a:latin typeface="+mn-lt"/>
              </a:rPr>
              <a:t>Duis arcu tortor</a:t>
            </a:r>
          </a:p>
        </p:txBody>
      </p:sp>
      <p:sp>
        <p:nvSpPr>
          <p:cNvPr id="11" name="Text Box 4">
            <a:extLst>
              <a:ext uri="{FF2B5EF4-FFF2-40B4-BE49-F238E27FC236}">
                <a16:creationId xmlns:a16="http://schemas.microsoft.com/office/drawing/2014/main" id="{D6290AD1-9071-1B4E-A5D8-90473A59B2CA}"/>
              </a:ext>
            </a:extLst>
          </p:cNvPr>
          <p:cNvSpPr txBox="1">
            <a:spLocks noChangeArrowheads="1"/>
          </p:cNvSpPr>
          <p:nvPr>
            <p:custDataLst>
              <p:tags r:id="rId3"/>
            </p:custDataLst>
          </p:nvPr>
        </p:nvSpPr>
        <p:spPr bwMode="auto">
          <a:xfrm>
            <a:off x="5018400" y="1415849"/>
            <a:ext cx="4176000" cy="485747"/>
          </a:xfrm>
          <a:prstGeom prst="rect">
            <a:avLst/>
          </a:prstGeom>
          <a:solidFill>
            <a:schemeClr val="accent1"/>
          </a:solidFill>
          <a:ln>
            <a:noFill/>
          </a:ln>
          <a:effectLst/>
        </p:spPr>
        <p:txBody>
          <a:bodyPr lIns="143925" tIns="71963" rIns="143925" bIns="71963" anchor="ctr"/>
          <a:lstStyle>
            <a:lvl1pPr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a:spcBef>
                <a:spcPct val="0"/>
              </a:spcBef>
              <a:buClrTx/>
              <a:buFontTx/>
              <a:buNone/>
            </a:pPr>
            <a:r>
              <a:rPr lang="en-US" sz="1799" b="1" dirty="0">
                <a:solidFill>
                  <a:schemeClr val="bg1"/>
                </a:solidFill>
                <a:latin typeface="+mn-lt"/>
              </a:rPr>
              <a:t>At vero eos et accusam</a:t>
            </a:r>
          </a:p>
        </p:txBody>
      </p:sp>
      <p:sp>
        <p:nvSpPr>
          <p:cNvPr id="14" name="Text Box 3"/>
          <p:cNvSpPr txBox="1">
            <a:spLocks noChangeArrowheads="1"/>
          </p:cNvSpPr>
          <p:nvPr>
            <p:custDataLst>
              <p:tags r:id="rId4"/>
            </p:custDataLst>
          </p:nvPr>
        </p:nvSpPr>
        <p:spPr bwMode="auto">
          <a:xfrm>
            <a:off x="411286" y="4347909"/>
            <a:ext cx="4176000" cy="1817054"/>
          </a:xfrm>
          <a:prstGeom prst="rect">
            <a:avLst/>
          </a:prstGeom>
          <a:noFill/>
          <a:ln w="12700">
            <a:noFill/>
          </a:ln>
          <a:effectLst/>
        </p:spPr>
        <p:txBody>
          <a:bodyPr lIns="143925" tIns="143925" rIns="359813" bIns="143925" anchor="t" anchorCtr="0">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179910" indent="-179910">
              <a:lnSpc>
                <a:spcPct val="90000"/>
              </a:lnSpc>
              <a:spcBef>
                <a:spcPts val="600"/>
              </a:spcBef>
              <a:buClr>
                <a:srgbClr val="009999"/>
              </a:buClr>
              <a:buSzPct val="100000"/>
              <a:buFont typeface="Arial" panose="020B0604020202020204" pitchFamily="34" charset="0"/>
              <a:buChar char="•"/>
            </a:pPr>
            <a:r>
              <a:rPr lang="en-US" sz="1799" dirty="0">
                <a:solidFill>
                  <a:srgbClr val="66667E"/>
                </a:solidFill>
                <a:latin typeface="+mn-lt"/>
              </a:rPr>
              <a:t>At vero eos et accusam</a:t>
            </a:r>
          </a:p>
          <a:p>
            <a:pPr marL="179910" indent="-179910">
              <a:lnSpc>
                <a:spcPct val="90000"/>
              </a:lnSpc>
              <a:spcBef>
                <a:spcPts val="600"/>
              </a:spcBef>
              <a:buClr>
                <a:srgbClr val="009999"/>
              </a:buClr>
              <a:buSzPct val="100000"/>
              <a:buFont typeface="Arial" panose="020B0604020202020204" pitchFamily="34" charset="0"/>
              <a:buChar char="•"/>
            </a:pPr>
            <a:r>
              <a:rPr lang="en-US" sz="1799" dirty="0">
                <a:solidFill>
                  <a:srgbClr val="66667E"/>
                </a:solidFill>
                <a:latin typeface="+mn-lt"/>
              </a:rPr>
              <a:t>Duis arcu tortor, suscipit eget</a:t>
            </a:r>
          </a:p>
        </p:txBody>
      </p:sp>
      <p:sp>
        <p:nvSpPr>
          <p:cNvPr id="12" name="Text Box 4">
            <a:extLst>
              <a:ext uri="{FF2B5EF4-FFF2-40B4-BE49-F238E27FC236}">
                <a16:creationId xmlns:a16="http://schemas.microsoft.com/office/drawing/2014/main" id="{722A6A91-69B0-EC41-918C-4BDE1F0FAB9B}"/>
              </a:ext>
            </a:extLst>
          </p:cNvPr>
          <p:cNvSpPr txBox="1">
            <a:spLocks noChangeArrowheads="1"/>
          </p:cNvSpPr>
          <p:nvPr>
            <p:custDataLst>
              <p:tags r:id="rId5"/>
            </p:custDataLst>
          </p:nvPr>
        </p:nvSpPr>
        <p:spPr bwMode="auto">
          <a:xfrm>
            <a:off x="411286" y="3862162"/>
            <a:ext cx="4176000" cy="485747"/>
          </a:xfrm>
          <a:prstGeom prst="rect">
            <a:avLst/>
          </a:prstGeom>
          <a:solidFill>
            <a:srgbClr val="00AF8E"/>
          </a:solidFill>
          <a:ln>
            <a:noFill/>
          </a:ln>
          <a:effectLst/>
        </p:spPr>
        <p:txBody>
          <a:bodyPr lIns="143925" tIns="71963" rIns="143925" bIns="71963" anchor="ctr"/>
          <a:lstStyle>
            <a:lvl1pPr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a:spcBef>
                <a:spcPct val="0"/>
              </a:spcBef>
              <a:buClrTx/>
              <a:buFontTx/>
              <a:buNone/>
            </a:pPr>
            <a:r>
              <a:rPr lang="en-US" sz="1799" b="1" dirty="0">
                <a:solidFill>
                  <a:schemeClr val="tx2"/>
                </a:solidFill>
                <a:latin typeface="+mn-lt"/>
              </a:rPr>
              <a:t>Phasellus nec sem</a:t>
            </a:r>
          </a:p>
        </p:txBody>
      </p:sp>
      <p:sp>
        <p:nvSpPr>
          <p:cNvPr id="16" name="Text Box 4">
            <a:extLst>
              <a:ext uri="{FF2B5EF4-FFF2-40B4-BE49-F238E27FC236}">
                <a16:creationId xmlns:a16="http://schemas.microsoft.com/office/drawing/2014/main" id="{C00A751A-EAD2-0948-BC98-2754361C43EE}"/>
              </a:ext>
            </a:extLst>
          </p:cNvPr>
          <p:cNvSpPr txBox="1">
            <a:spLocks noChangeArrowheads="1"/>
          </p:cNvSpPr>
          <p:nvPr>
            <p:custDataLst>
              <p:tags r:id="rId6"/>
            </p:custDataLst>
          </p:nvPr>
        </p:nvSpPr>
        <p:spPr bwMode="auto">
          <a:xfrm>
            <a:off x="5018400" y="3862162"/>
            <a:ext cx="4176000" cy="485747"/>
          </a:xfrm>
          <a:prstGeom prst="rect">
            <a:avLst/>
          </a:prstGeom>
          <a:solidFill>
            <a:srgbClr val="00FFB9"/>
          </a:solidFill>
          <a:ln>
            <a:noFill/>
          </a:ln>
          <a:effectLst/>
        </p:spPr>
        <p:txBody>
          <a:bodyPr lIns="143925" tIns="71963" rIns="143925" bIns="71963" anchor="ctr"/>
          <a:lstStyle>
            <a:lvl1pPr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a:spcBef>
                <a:spcPct val="0"/>
              </a:spcBef>
              <a:buClrTx/>
              <a:buFontTx/>
              <a:buNone/>
            </a:pPr>
            <a:r>
              <a:rPr lang="en-US" sz="1799" b="1" dirty="0">
                <a:solidFill>
                  <a:schemeClr val="tx2"/>
                </a:solidFill>
                <a:latin typeface="+mn-lt"/>
              </a:rPr>
              <a:t>Cras ultricies mi eu</a:t>
            </a:r>
          </a:p>
        </p:txBody>
      </p:sp>
      <p:sp>
        <p:nvSpPr>
          <p:cNvPr id="18" name="Text Box 3">
            <a:extLst>
              <a:ext uri="{FF2B5EF4-FFF2-40B4-BE49-F238E27FC236}">
                <a16:creationId xmlns:a16="http://schemas.microsoft.com/office/drawing/2014/main" id="{C6BE8477-8560-3040-A22B-30FF6D7FF4EB}"/>
              </a:ext>
            </a:extLst>
          </p:cNvPr>
          <p:cNvSpPr txBox="1">
            <a:spLocks noChangeArrowheads="1"/>
          </p:cNvSpPr>
          <p:nvPr>
            <p:custDataLst>
              <p:tags r:id="rId7"/>
            </p:custDataLst>
          </p:nvPr>
        </p:nvSpPr>
        <p:spPr bwMode="auto">
          <a:xfrm>
            <a:off x="5018400" y="4347909"/>
            <a:ext cx="4176000" cy="1817054"/>
          </a:xfrm>
          <a:prstGeom prst="rect">
            <a:avLst/>
          </a:prstGeom>
          <a:noFill/>
          <a:ln w="12700">
            <a:noFill/>
          </a:ln>
          <a:effectLst/>
        </p:spPr>
        <p:txBody>
          <a:bodyPr lIns="143925" tIns="143925" rIns="359813" bIns="143925" anchor="t" anchorCtr="0">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179910" indent="-179910">
              <a:lnSpc>
                <a:spcPct val="90000"/>
              </a:lnSpc>
              <a:spcBef>
                <a:spcPts val="600"/>
              </a:spcBef>
              <a:buClr>
                <a:srgbClr val="009999"/>
              </a:buClr>
              <a:buSzPct val="100000"/>
              <a:buFont typeface="Arial" panose="020B0604020202020204" pitchFamily="34" charset="0"/>
              <a:buChar char="•"/>
            </a:pPr>
            <a:r>
              <a:rPr lang="en-US" sz="1799" dirty="0">
                <a:solidFill>
                  <a:srgbClr val="66667E"/>
                </a:solidFill>
                <a:latin typeface="+mn-lt"/>
              </a:rPr>
              <a:t>Duis arcu tortor</a:t>
            </a:r>
          </a:p>
          <a:p>
            <a:pPr marL="179910" indent="-179910">
              <a:lnSpc>
                <a:spcPct val="90000"/>
              </a:lnSpc>
              <a:spcBef>
                <a:spcPts val="600"/>
              </a:spcBef>
              <a:buClr>
                <a:srgbClr val="009999"/>
              </a:buClr>
              <a:buSzPct val="100000"/>
              <a:buFont typeface="Arial" panose="020B0604020202020204" pitchFamily="34" charset="0"/>
              <a:buChar char="•"/>
            </a:pPr>
            <a:r>
              <a:rPr lang="en-US" sz="1799" dirty="0">
                <a:solidFill>
                  <a:srgbClr val="66667E"/>
                </a:solidFill>
                <a:latin typeface="+mn-lt"/>
              </a:rPr>
              <a:t>Cras ultricies mi eu</a:t>
            </a:r>
          </a:p>
        </p:txBody>
      </p:sp>
      <p:sp>
        <p:nvSpPr>
          <p:cNvPr id="19" name="Text Box 3">
            <a:extLst>
              <a:ext uri="{FF2B5EF4-FFF2-40B4-BE49-F238E27FC236}">
                <a16:creationId xmlns:a16="http://schemas.microsoft.com/office/drawing/2014/main" id="{7162F750-0E26-1D41-9B82-C65C40985887}"/>
              </a:ext>
            </a:extLst>
          </p:cNvPr>
          <p:cNvSpPr txBox="1">
            <a:spLocks noChangeArrowheads="1"/>
          </p:cNvSpPr>
          <p:nvPr>
            <p:custDataLst>
              <p:tags r:id="rId8"/>
            </p:custDataLst>
          </p:nvPr>
        </p:nvSpPr>
        <p:spPr bwMode="auto">
          <a:xfrm>
            <a:off x="5018400" y="1901595"/>
            <a:ext cx="4176000" cy="1817054"/>
          </a:xfrm>
          <a:prstGeom prst="rect">
            <a:avLst/>
          </a:prstGeom>
          <a:noFill/>
          <a:ln w="12700">
            <a:noFill/>
          </a:ln>
          <a:effectLst/>
        </p:spPr>
        <p:txBody>
          <a:bodyPr lIns="143925" tIns="143925" rIns="359813" bIns="143925">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179910" indent="-179910">
              <a:lnSpc>
                <a:spcPct val="90000"/>
              </a:lnSpc>
              <a:spcBef>
                <a:spcPts val="600"/>
              </a:spcBef>
              <a:buClr>
                <a:srgbClr val="009999"/>
              </a:buClr>
              <a:buSzPct val="100000"/>
              <a:buFont typeface="Arial" panose="020B0604020202020204" pitchFamily="34" charset="0"/>
              <a:buChar char="•"/>
            </a:pPr>
            <a:r>
              <a:rPr lang="en-US" sz="1799" dirty="0">
                <a:solidFill>
                  <a:srgbClr val="66667E"/>
                </a:solidFill>
                <a:latin typeface="+mn-lt"/>
              </a:rPr>
              <a:t>Cras ultricies mi eu</a:t>
            </a:r>
          </a:p>
          <a:p>
            <a:pPr marL="179910" indent="-179910">
              <a:lnSpc>
                <a:spcPct val="90000"/>
              </a:lnSpc>
              <a:spcBef>
                <a:spcPts val="600"/>
              </a:spcBef>
              <a:buClr>
                <a:srgbClr val="009999"/>
              </a:buClr>
              <a:buSzPct val="100000"/>
              <a:buFont typeface="Arial" panose="020B0604020202020204" pitchFamily="34" charset="0"/>
              <a:buChar char="•"/>
            </a:pPr>
            <a:r>
              <a:rPr lang="en-US" sz="1799" dirty="0">
                <a:solidFill>
                  <a:srgbClr val="66667E"/>
                </a:solidFill>
                <a:latin typeface="+mn-lt"/>
              </a:rPr>
              <a:t>Phasellus nec sem</a:t>
            </a:r>
          </a:p>
        </p:txBody>
      </p:sp>
      <p:sp>
        <p:nvSpPr>
          <p:cNvPr id="3" name="Footer Placeholder 2">
            <a:extLst>
              <a:ext uri="{FF2B5EF4-FFF2-40B4-BE49-F238E27FC236}">
                <a16:creationId xmlns:a16="http://schemas.microsoft.com/office/drawing/2014/main" id="{88808B14-A41B-4F30-8D13-46FADCC8C7A6}"/>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FF3AEA62-A286-478B-A0FE-A941E1BC9544}"/>
              </a:ext>
            </a:extLst>
          </p:cNvPr>
          <p:cNvSpPr>
            <a:spLocks noGrp="1"/>
          </p:cNvSpPr>
          <p:nvPr>
            <p:ph type="sldNum" sz="quarter" idx="11"/>
          </p:nvPr>
        </p:nvSpPr>
        <p:spPr/>
        <p:txBody>
          <a:bodyPr/>
          <a:lstStyle/>
          <a:p>
            <a:r>
              <a:rPr lang="en-US" dirty="0"/>
              <a:t>Page </a:t>
            </a:r>
            <a:fld id="{15EBE321-CBB1-4E91-BD14-37C8D44326FB}" type="slidenum">
              <a:rPr lang="en-US" smtClean="0"/>
              <a:pPr/>
              <a:t>26</a:t>
            </a:fld>
            <a:endParaRPr lang="en-US" dirty="0"/>
          </a:p>
        </p:txBody>
      </p:sp>
    </p:spTree>
    <p:extLst>
      <p:ext uri="{BB962C8B-B14F-4D97-AF65-F5344CB8AC3E}">
        <p14:creationId xmlns:p14="http://schemas.microsoft.com/office/powerpoint/2010/main" val="37859658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xt blocks (four)</a:t>
            </a:r>
          </a:p>
        </p:txBody>
      </p:sp>
      <p:sp>
        <p:nvSpPr>
          <p:cNvPr id="3" name="Footer Placeholder 2">
            <a:extLst>
              <a:ext uri="{FF2B5EF4-FFF2-40B4-BE49-F238E27FC236}">
                <a16:creationId xmlns:a16="http://schemas.microsoft.com/office/drawing/2014/main" id="{88808B14-A41B-4F30-8D13-46FADCC8C7A6}"/>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FF3AEA62-A286-478B-A0FE-A941E1BC9544}"/>
              </a:ext>
            </a:extLst>
          </p:cNvPr>
          <p:cNvSpPr>
            <a:spLocks noGrp="1"/>
          </p:cNvSpPr>
          <p:nvPr>
            <p:ph type="sldNum" sz="quarter" idx="11"/>
          </p:nvPr>
        </p:nvSpPr>
        <p:spPr/>
        <p:txBody>
          <a:bodyPr/>
          <a:lstStyle/>
          <a:p>
            <a:r>
              <a:rPr lang="en-US" dirty="0"/>
              <a:t>Page </a:t>
            </a:r>
            <a:fld id="{15EBE321-CBB1-4E91-BD14-37C8D44326FB}" type="slidenum">
              <a:rPr lang="en-US" smtClean="0"/>
              <a:pPr/>
              <a:t>27</a:t>
            </a:fld>
            <a:endParaRPr lang="en-US" dirty="0"/>
          </a:p>
        </p:txBody>
      </p:sp>
      <p:sp>
        <p:nvSpPr>
          <p:cNvPr id="17" name="Text Box 3"/>
          <p:cNvSpPr txBox="1">
            <a:spLocks noChangeArrowheads="1"/>
          </p:cNvSpPr>
          <p:nvPr>
            <p:custDataLst>
              <p:tags r:id="rId1"/>
            </p:custDataLst>
          </p:nvPr>
        </p:nvSpPr>
        <p:spPr bwMode="auto">
          <a:xfrm>
            <a:off x="411950" y="1901595"/>
            <a:ext cx="4176000" cy="1817054"/>
          </a:xfrm>
          <a:prstGeom prst="rect">
            <a:avLst/>
          </a:prstGeom>
          <a:noFill/>
          <a:ln w="12700">
            <a:noFill/>
          </a:ln>
          <a:effectLst/>
        </p:spPr>
        <p:txBody>
          <a:bodyPr lIns="143925" tIns="143925" rIns="359813" bIns="143925">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179910" indent="-179910">
              <a:lnSpc>
                <a:spcPct val="90000"/>
              </a:lnSpc>
              <a:spcBef>
                <a:spcPts val="600"/>
              </a:spcBef>
              <a:buClr>
                <a:srgbClr val="009999"/>
              </a:buClr>
              <a:buSzPct val="100000"/>
              <a:buFont typeface="Arial" panose="020B0604020202020204" pitchFamily="34" charset="0"/>
              <a:buChar char="•"/>
            </a:pPr>
            <a:r>
              <a:rPr lang="en-US" sz="1799" dirty="0">
                <a:solidFill>
                  <a:srgbClr val="9999A9"/>
                </a:solidFill>
                <a:latin typeface="+mn-lt"/>
              </a:rPr>
              <a:t>Cras ultricies mi eu</a:t>
            </a:r>
          </a:p>
          <a:p>
            <a:pPr marL="179910" indent="-179910">
              <a:lnSpc>
                <a:spcPct val="90000"/>
              </a:lnSpc>
              <a:spcBef>
                <a:spcPts val="600"/>
              </a:spcBef>
              <a:buClr>
                <a:srgbClr val="009999"/>
              </a:buClr>
              <a:buSzPct val="100000"/>
              <a:buFont typeface="Arial" panose="020B0604020202020204" pitchFamily="34" charset="0"/>
              <a:buChar char="•"/>
            </a:pPr>
            <a:r>
              <a:rPr lang="en-US" sz="1799" dirty="0">
                <a:solidFill>
                  <a:srgbClr val="9999A9"/>
                </a:solidFill>
                <a:latin typeface="+mn-lt"/>
              </a:rPr>
              <a:t>Duis arcu tortor, suscipit eget, imperdiet nec, imperdiet iaculis, ipsum</a:t>
            </a:r>
          </a:p>
        </p:txBody>
      </p:sp>
      <p:sp>
        <p:nvSpPr>
          <p:cNvPr id="10" name="Text Box 4">
            <a:extLst>
              <a:ext uri="{FF2B5EF4-FFF2-40B4-BE49-F238E27FC236}">
                <a16:creationId xmlns:a16="http://schemas.microsoft.com/office/drawing/2014/main" id="{81BD8AE0-11F4-F94B-A838-E8F1EB9B4A57}"/>
              </a:ext>
            </a:extLst>
          </p:cNvPr>
          <p:cNvSpPr txBox="1">
            <a:spLocks noChangeArrowheads="1"/>
          </p:cNvSpPr>
          <p:nvPr>
            <p:custDataLst>
              <p:tags r:id="rId2"/>
            </p:custDataLst>
          </p:nvPr>
        </p:nvSpPr>
        <p:spPr bwMode="auto">
          <a:xfrm>
            <a:off x="411286" y="1415849"/>
            <a:ext cx="4176000" cy="485747"/>
          </a:xfrm>
          <a:prstGeom prst="rect">
            <a:avLst/>
          </a:prstGeom>
          <a:solidFill>
            <a:srgbClr val="00646E"/>
          </a:solidFill>
          <a:ln>
            <a:noFill/>
          </a:ln>
          <a:effectLst/>
        </p:spPr>
        <p:txBody>
          <a:bodyPr lIns="143925" tIns="71963" rIns="143925" bIns="71963" anchor="ctr"/>
          <a:lstStyle>
            <a:lvl1pPr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a:spcBef>
                <a:spcPct val="0"/>
              </a:spcBef>
              <a:buClrTx/>
              <a:buFontTx/>
              <a:buNone/>
            </a:pPr>
            <a:r>
              <a:rPr lang="en-US" sz="1799" b="1" dirty="0">
                <a:latin typeface="+mn-lt"/>
              </a:rPr>
              <a:t>Duis arcu tortor</a:t>
            </a:r>
          </a:p>
        </p:txBody>
      </p:sp>
      <p:sp>
        <p:nvSpPr>
          <p:cNvPr id="11" name="Text Box 4">
            <a:extLst>
              <a:ext uri="{FF2B5EF4-FFF2-40B4-BE49-F238E27FC236}">
                <a16:creationId xmlns:a16="http://schemas.microsoft.com/office/drawing/2014/main" id="{D6290AD1-9071-1B4E-A5D8-90473A59B2CA}"/>
              </a:ext>
            </a:extLst>
          </p:cNvPr>
          <p:cNvSpPr txBox="1">
            <a:spLocks noChangeArrowheads="1"/>
          </p:cNvSpPr>
          <p:nvPr>
            <p:custDataLst>
              <p:tags r:id="rId3"/>
            </p:custDataLst>
          </p:nvPr>
        </p:nvSpPr>
        <p:spPr bwMode="auto">
          <a:xfrm>
            <a:off x="5018400" y="1415849"/>
            <a:ext cx="4176000" cy="485747"/>
          </a:xfrm>
          <a:prstGeom prst="rect">
            <a:avLst/>
          </a:prstGeom>
          <a:solidFill>
            <a:schemeClr val="accent1"/>
          </a:solidFill>
          <a:ln>
            <a:noFill/>
          </a:ln>
          <a:effectLst/>
        </p:spPr>
        <p:txBody>
          <a:bodyPr lIns="143925" tIns="71963" rIns="143925" bIns="71963" anchor="ctr"/>
          <a:lstStyle>
            <a:lvl1pPr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a:spcBef>
                <a:spcPct val="0"/>
              </a:spcBef>
              <a:buClrTx/>
              <a:buFontTx/>
              <a:buNone/>
            </a:pPr>
            <a:r>
              <a:rPr lang="en-US" sz="1799" b="1" dirty="0">
                <a:latin typeface="+mn-lt"/>
              </a:rPr>
              <a:t>At vero eos et accusam</a:t>
            </a:r>
          </a:p>
        </p:txBody>
      </p:sp>
      <p:sp>
        <p:nvSpPr>
          <p:cNvPr id="14" name="Text Box 3"/>
          <p:cNvSpPr txBox="1">
            <a:spLocks noChangeArrowheads="1"/>
          </p:cNvSpPr>
          <p:nvPr>
            <p:custDataLst>
              <p:tags r:id="rId4"/>
            </p:custDataLst>
          </p:nvPr>
        </p:nvSpPr>
        <p:spPr bwMode="auto">
          <a:xfrm>
            <a:off x="411286" y="4347909"/>
            <a:ext cx="4176000" cy="1817054"/>
          </a:xfrm>
          <a:prstGeom prst="rect">
            <a:avLst/>
          </a:prstGeom>
          <a:noFill/>
          <a:ln w="12700">
            <a:noFill/>
          </a:ln>
          <a:effectLst/>
        </p:spPr>
        <p:txBody>
          <a:bodyPr lIns="143925" tIns="143925" rIns="359813" bIns="143925" anchor="t" anchorCtr="0">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179910" indent="-179910">
              <a:lnSpc>
                <a:spcPct val="90000"/>
              </a:lnSpc>
              <a:spcBef>
                <a:spcPts val="600"/>
              </a:spcBef>
              <a:buClr>
                <a:srgbClr val="009999"/>
              </a:buClr>
              <a:buSzPct val="100000"/>
              <a:buFont typeface="Arial" panose="020B0604020202020204" pitchFamily="34" charset="0"/>
              <a:buChar char="•"/>
            </a:pPr>
            <a:r>
              <a:rPr lang="en-US" sz="1799" dirty="0">
                <a:solidFill>
                  <a:srgbClr val="9999A9"/>
                </a:solidFill>
                <a:latin typeface="+mn-lt"/>
              </a:rPr>
              <a:t>At vero eos et accusam</a:t>
            </a:r>
          </a:p>
          <a:p>
            <a:pPr marL="179910" indent="-179910">
              <a:lnSpc>
                <a:spcPct val="90000"/>
              </a:lnSpc>
              <a:spcBef>
                <a:spcPts val="600"/>
              </a:spcBef>
              <a:buClr>
                <a:srgbClr val="009999"/>
              </a:buClr>
              <a:buSzPct val="100000"/>
              <a:buFont typeface="Arial" panose="020B0604020202020204" pitchFamily="34" charset="0"/>
              <a:buChar char="•"/>
            </a:pPr>
            <a:r>
              <a:rPr lang="en-US" sz="1799" dirty="0">
                <a:solidFill>
                  <a:srgbClr val="9999A9"/>
                </a:solidFill>
                <a:latin typeface="+mn-lt"/>
              </a:rPr>
              <a:t>Duis arcu tortor, suscipit eget</a:t>
            </a:r>
          </a:p>
        </p:txBody>
      </p:sp>
      <p:sp>
        <p:nvSpPr>
          <p:cNvPr id="12" name="Text Box 4">
            <a:extLst>
              <a:ext uri="{FF2B5EF4-FFF2-40B4-BE49-F238E27FC236}">
                <a16:creationId xmlns:a16="http://schemas.microsoft.com/office/drawing/2014/main" id="{722A6A91-69B0-EC41-918C-4BDE1F0FAB9B}"/>
              </a:ext>
            </a:extLst>
          </p:cNvPr>
          <p:cNvSpPr txBox="1">
            <a:spLocks noChangeArrowheads="1"/>
          </p:cNvSpPr>
          <p:nvPr>
            <p:custDataLst>
              <p:tags r:id="rId5"/>
            </p:custDataLst>
          </p:nvPr>
        </p:nvSpPr>
        <p:spPr bwMode="auto">
          <a:xfrm>
            <a:off x="411286" y="3862162"/>
            <a:ext cx="4176000" cy="485747"/>
          </a:xfrm>
          <a:prstGeom prst="rect">
            <a:avLst/>
          </a:prstGeom>
          <a:solidFill>
            <a:srgbClr val="00AF8E"/>
          </a:solidFill>
          <a:ln>
            <a:noFill/>
          </a:ln>
          <a:effectLst/>
        </p:spPr>
        <p:txBody>
          <a:bodyPr lIns="143925" tIns="71963" rIns="143925" bIns="71963" anchor="ctr"/>
          <a:lstStyle>
            <a:lvl1pPr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a:spcBef>
                <a:spcPct val="0"/>
              </a:spcBef>
              <a:buClrTx/>
              <a:buFontTx/>
              <a:buNone/>
            </a:pPr>
            <a:r>
              <a:rPr lang="en-US" sz="1799" b="1" dirty="0">
                <a:solidFill>
                  <a:schemeClr val="bg2"/>
                </a:solidFill>
                <a:latin typeface="+mn-lt"/>
              </a:rPr>
              <a:t>Phasellus nec sem</a:t>
            </a:r>
          </a:p>
        </p:txBody>
      </p:sp>
      <p:sp>
        <p:nvSpPr>
          <p:cNvPr id="16" name="Text Box 4">
            <a:extLst>
              <a:ext uri="{FF2B5EF4-FFF2-40B4-BE49-F238E27FC236}">
                <a16:creationId xmlns:a16="http://schemas.microsoft.com/office/drawing/2014/main" id="{C00A751A-EAD2-0948-BC98-2754361C43EE}"/>
              </a:ext>
            </a:extLst>
          </p:cNvPr>
          <p:cNvSpPr txBox="1">
            <a:spLocks noChangeArrowheads="1"/>
          </p:cNvSpPr>
          <p:nvPr>
            <p:custDataLst>
              <p:tags r:id="rId6"/>
            </p:custDataLst>
          </p:nvPr>
        </p:nvSpPr>
        <p:spPr bwMode="auto">
          <a:xfrm>
            <a:off x="5018400" y="3862162"/>
            <a:ext cx="4176000" cy="485747"/>
          </a:xfrm>
          <a:prstGeom prst="rect">
            <a:avLst/>
          </a:prstGeom>
          <a:solidFill>
            <a:srgbClr val="00FFB9"/>
          </a:solidFill>
          <a:ln>
            <a:noFill/>
          </a:ln>
          <a:effectLst/>
        </p:spPr>
        <p:txBody>
          <a:bodyPr lIns="143925" tIns="71963" rIns="143925" bIns="71963" anchor="ctr"/>
          <a:lstStyle>
            <a:lvl1pPr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a:spcBef>
                <a:spcPct val="0"/>
              </a:spcBef>
              <a:buClrTx/>
              <a:buFontTx/>
              <a:buNone/>
            </a:pPr>
            <a:r>
              <a:rPr lang="en-US" sz="1799" b="1" dirty="0">
                <a:solidFill>
                  <a:schemeClr val="bg2"/>
                </a:solidFill>
                <a:latin typeface="+mn-lt"/>
              </a:rPr>
              <a:t>Cras ultricies mi eu</a:t>
            </a:r>
          </a:p>
        </p:txBody>
      </p:sp>
      <p:sp>
        <p:nvSpPr>
          <p:cNvPr id="18" name="Text Box 3">
            <a:extLst>
              <a:ext uri="{FF2B5EF4-FFF2-40B4-BE49-F238E27FC236}">
                <a16:creationId xmlns:a16="http://schemas.microsoft.com/office/drawing/2014/main" id="{C6BE8477-8560-3040-A22B-30FF6D7FF4EB}"/>
              </a:ext>
            </a:extLst>
          </p:cNvPr>
          <p:cNvSpPr txBox="1">
            <a:spLocks noChangeArrowheads="1"/>
          </p:cNvSpPr>
          <p:nvPr>
            <p:custDataLst>
              <p:tags r:id="rId7"/>
            </p:custDataLst>
          </p:nvPr>
        </p:nvSpPr>
        <p:spPr bwMode="auto">
          <a:xfrm>
            <a:off x="5018400" y="4347909"/>
            <a:ext cx="4176000" cy="1817054"/>
          </a:xfrm>
          <a:prstGeom prst="rect">
            <a:avLst/>
          </a:prstGeom>
          <a:noFill/>
          <a:ln w="12700">
            <a:noFill/>
          </a:ln>
          <a:effectLst/>
        </p:spPr>
        <p:txBody>
          <a:bodyPr lIns="143925" tIns="143925" rIns="359813" bIns="143925" anchor="t" anchorCtr="0">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179910" indent="-179910">
              <a:lnSpc>
                <a:spcPct val="90000"/>
              </a:lnSpc>
              <a:spcBef>
                <a:spcPts val="600"/>
              </a:spcBef>
              <a:buClr>
                <a:srgbClr val="009999"/>
              </a:buClr>
              <a:buSzPct val="100000"/>
              <a:buFont typeface="Arial" panose="020B0604020202020204" pitchFamily="34" charset="0"/>
              <a:buChar char="•"/>
            </a:pPr>
            <a:r>
              <a:rPr lang="en-US" sz="1799" dirty="0">
                <a:solidFill>
                  <a:srgbClr val="9999A9"/>
                </a:solidFill>
                <a:latin typeface="+mn-lt"/>
              </a:rPr>
              <a:t>Duis arcu tortor</a:t>
            </a:r>
          </a:p>
          <a:p>
            <a:pPr marL="179910" indent="-179910">
              <a:lnSpc>
                <a:spcPct val="90000"/>
              </a:lnSpc>
              <a:spcBef>
                <a:spcPts val="600"/>
              </a:spcBef>
              <a:buClr>
                <a:srgbClr val="009999"/>
              </a:buClr>
              <a:buSzPct val="100000"/>
              <a:buFont typeface="Arial" panose="020B0604020202020204" pitchFamily="34" charset="0"/>
              <a:buChar char="•"/>
            </a:pPr>
            <a:r>
              <a:rPr lang="en-US" sz="1799" dirty="0">
                <a:solidFill>
                  <a:srgbClr val="9999A9"/>
                </a:solidFill>
                <a:latin typeface="+mn-lt"/>
              </a:rPr>
              <a:t>Cras ultricies mi eu</a:t>
            </a:r>
          </a:p>
        </p:txBody>
      </p:sp>
      <p:sp>
        <p:nvSpPr>
          <p:cNvPr id="19" name="Text Box 3">
            <a:extLst>
              <a:ext uri="{FF2B5EF4-FFF2-40B4-BE49-F238E27FC236}">
                <a16:creationId xmlns:a16="http://schemas.microsoft.com/office/drawing/2014/main" id="{7162F750-0E26-1D41-9B82-C65C40985887}"/>
              </a:ext>
            </a:extLst>
          </p:cNvPr>
          <p:cNvSpPr txBox="1">
            <a:spLocks noChangeArrowheads="1"/>
          </p:cNvSpPr>
          <p:nvPr>
            <p:custDataLst>
              <p:tags r:id="rId8"/>
            </p:custDataLst>
          </p:nvPr>
        </p:nvSpPr>
        <p:spPr bwMode="auto">
          <a:xfrm>
            <a:off x="5018400" y="1901595"/>
            <a:ext cx="4176000" cy="1817054"/>
          </a:xfrm>
          <a:prstGeom prst="rect">
            <a:avLst/>
          </a:prstGeom>
          <a:noFill/>
          <a:ln w="12700">
            <a:noFill/>
          </a:ln>
          <a:effectLst/>
        </p:spPr>
        <p:txBody>
          <a:bodyPr lIns="143925" tIns="143925" rIns="359813" bIns="143925">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179910" indent="-179910">
              <a:lnSpc>
                <a:spcPct val="90000"/>
              </a:lnSpc>
              <a:spcBef>
                <a:spcPts val="600"/>
              </a:spcBef>
              <a:buClr>
                <a:srgbClr val="009999"/>
              </a:buClr>
              <a:buSzPct val="100000"/>
              <a:buFont typeface="Arial" panose="020B0604020202020204" pitchFamily="34" charset="0"/>
              <a:buChar char="•"/>
            </a:pPr>
            <a:r>
              <a:rPr lang="en-US" sz="1799" dirty="0">
                <a:solidFill>
                  <a:srgbClr val="9999A9"/>
                </a:solidFill>
                <a:latin typeface="+mn-lt"/>
              </a:rPr>
              <a:t>Cras ultricies mi eu</a:t>
            </a:r>
          </a:p>
          <a:p>
            <a:pPr marL="179910" indent="-179910">
              <a:lnSpc>
                <a:spcPct val="90000"/>
              </a:lnSpc>
              <a:spcBef>
                <a:spcPts val="600"/>
              </a:spcBef>
              <a:buClr>
                <a:srgbClr val="009999"/>
              </a:buClr>
              <a:buSzPct val="100000"/>
              <a:buFont typeface="Arial" panose="020B0604020202020204" pitchFamily="34" charset="0"/>
              <a:buChar char="•"/>
            </a:pPr>
            <a:r>
              <a:rPr lang="en-US" sz="1799" dirty="0">
                <a:solidFill>
                  <a:srgbClr val="9999A9"/>
                </a:solidFill>
                <a:latin typeface="+mn-lt"/>
              </a:rPr>
              <a:t>Phasellus nec sem</a:t>
            </a:r>
          </a:p>
        </p:txBody>
      </p:sp>
    </p:spTree>
    <p:extLst>
      <p:ext uri="{BB962C8B-B14F-4D97-AF65-F5344CB8AC3E}">
        <p14:creationId xmlns:p14="http://schemas.microsoft.com/office/powerpoint/2010/main" val="3618613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a:t>Further topic overviews </a:t>
            </a:r>
          </a:p>
        </p:txBody>
      </p:sp>
      <p:sp>
        <p:nvSpPr>
          <p:cNvPr id="4" name="Textfeld 3"/>
          <p:cNvSpPr txBox="1">
            <a:spLocks/>
          </p:cNvSpPr>
          <p:nvPr/>
        </p:nvSpPr>
        <p:spPr bwMode="gray">
          <a:xfrm>
            <a:off x="8186738" y="1846800"/>
            <a:ext cx="3599662" cy="719625"/>
          </a:xfrm>
          <a:prstGeom prst="rect">
            <a:avLst/>
          </a:prstGeom>
          <a:noFill/>
        </p:spPr>
        <p:txBody>
          <a:bodyPr wrap="square" lIns="143925" tIns="71963" rIns="71963" bIns="71963" rtlCol="0" anchor="t">
            <a:noAutofit/>
          </a:bodyPr>
          <a:lstStyle/>
          <a:p>
            <a:pPr marL="0" lvl="2">
              <a:tabLst>
                <a:tab pos="0" algn="l"/>
              </a:tabLst>
            </a:pPr>
            <a:r>
              <a:rPr lang="en-US" sz="1599" dirty="0">
                <a:solidFill>
                  <a:srgbClr val="66667E"/>
                </a:solidFill>
                <a:ea typeface="Arial Unicode MS"/>
              </a:rPr>
              <a:t>Cras ultricies mi eu</a:t>
            </a:r>
            <a:endParaRPr lang="en-US" sz="1049" dirty="0">
              <a:solidFill>
                <a:srgbClr val="66667E"/>
              </a:solidFill>
              <a:ea typeface="Arial Unicode MS"/>
            </a:endParaRPr>
          </a:p>
        </p:txBody>
      </p:sp>
      <p:sp>
        <p:nvSpPr>
          <p:cNvPr id="6" name="Textfeld 5"/>
          <p:cNvSpPr txBox="1"/>
          <p:nvPr/>
        </p:nvSpPr>
        <p:spPr bwMode="gray">
          <a:xfrm>
            <a:off x="410399" y="5338800"/>
            <a:ext cx="3600000" cy="828000"/>
          </a:xfrm>
          <a:prstGeom prst="rect">
            <a:avLst/>
          </a:prstGeom>
          <a:noFill/>
        </p:spPr>
        <p:txBody>
          <a:bodyPr wrap="square" lIns="71963" tIns="71963" rIns="143925" bIns="71963" rtlCol="0" anchor="t">
            <a:noAutofit/>
          </a:bodyPr>
          <a:lstStyle/>
          <a:p>
            <a:pPr algn="r">
              <a:tabLst>
                <a:tab pos="0" algn="l"/>
              </a:tabLst>
            </a:pPr>
            <a:r>
              <a:rPr lang="en-US" sz="1599" dirty="0">
                <a:solidFill>
                  <a:srgbClr val="66667E"/>
                </a:solidFill>
                <a:ea typeface="Arial Unicode MS"/>
              </a:rPr>
              <a:t>Duis arcu tortor, suscipit eget</a:t>
            </a:r>
          </a:p>
        </p:txBody>
      </p:sp>
      <p:sp>
        <p:nvSpPr>
          <p:cNvPr id="7" name="Textfeld 6"/>
          <p:cNvSpPr txBox="1"/>
          <p:nvPr/>
        </p:nvSpPr>
        <p:spPr bwMode="gray">
          <a:xfrm>
            <a:off x="8186738" y="5338800"/>
            <a:ext cx="3599661" cy="828000"/>
          </a:xfrm>
          <a:prstGeom prst="rect">
            <a:avLst/>
          </a:prstGeom>
          <a:noFill/>
        </p:spPr>
        <p:txBody>
          <a:bodyPr wrap="square" lIns="143925" tIns="71963" rIns="71963" bIns="71963" rtlCol="0" anchor="t">
            <a:noAutofit/>
          </a:bodyPr>
          <a:lstStyle/>
          <a:p>
            <a:pPr marL="0" lvl="2">
              <a:tabLst>
                <a:tab pos="0" algn="l"/>
              </a:tabLst>
            </a:pPr>
            <a:r>
              <a:rPr lang="en-US" sz="1599" dirty="0">
                <a:solidFill>
                  <a:srgbClr val="66667E"/>
                </a:solidFill>
                <a:ea typeface="Arial Unicode MS"/>
              </a:rPr>
              <a:t>Duis arcu tortor, suscipit eget, imperdiet nec, iaculis, ipsum</a:t>
            </a:r>
            <a:endParaRPr lang="en-US" sz="1049" dirty="0">
              <a:solidFill>
                <a:srgbClr val="66667E"/>
              </a:solidFill>
              <a:ea typeface="Arial Unicode MS"/>
            </a:endParaRPr>
          </a:p>
        </p:txBody>
      </p:sp>
      <p:sp>
        <p:nvSpPr>
          <p:cNvPr id="52" name="Textfeld 51"/>
          <p:cNvSpPr txBox="1"/>
          <p:nvPr/>
        </p:nvSpPr>
        <p:spPr bwMode="gray">
          <a:xfrm>
            <a:off x="410399" y="1846800"/>
            <a:ext cx="3600000" cy="719625"/>
          </a:xfrm>
          <a:prstGeom prst="rect">
            <a:avLst/>
          </a:prstGeom>
          <a:noFill/>
        </p:spPr>
        <p:txBody>
          <a:bodyPr wrap="square" lIns="71963" tIns="71963" rIns="143925" bIns="71963" rtlCol="0" anchor="t">
            <a:noAutofit/>
          </a:bodyPr>
          <a:lstStyle/>
          <a:p>
            <a:pPr algn="r">
              <a:tabLst>
                <a:tab pos="0" algn="l"/>
              </a:tabLst>
            </a:pPr>
            <a:r>
              <a:rPr lang="en-US" sz="1599" dirty="0">
                <a:solidFill>
                  <a:srgbClr val="66667E"/>
                </a:solidFill>
                <a:ea typeface="Arial Unicode MS"/>
              </a:rPr>
              <a:t>Phasellus nec sem</a:t>
            </a:r>
          </a:p>
        </p:txBody>
      </p:sp>
      <p:sp>
        <p:nvSpPr>
          <p:cNvPr id="19" name="Freeform: Shape 18">
            <a:extLst>
              <a:ext uri="{FF2B5EF4-FFF2-40B4-BE49-F238E27FC236}">
                <a16:creationId xmlns:a16="http://schemas.microsoft.com/office/drawing/2014/main" id="{37F272D2-4824-4202-878B-7E9B9BDDC7EB}"/>
              </a:ext>
            </a:extLst>
          </p:cNvPr>
          <p:cNvSpPr/>
          <p:nvPr/>
        </p:nvSpPr>
        <p:spPr bwMode="gray">
          <a:xfrm>
            <a:off x="4154568" y="1846950"/>
            <a:ext cx="3888000" cy="3888000"/>
          </a:xfrm>
          <a:custGeom>
            <a:avLst/>
            <a:gdLst>
              <a:gd name="connsiteX0" fmla="*/ 1944000 w 3888000"/>
              <a:gd name="connsiteY0" fmla="*/ 288000 h 3888000"/>
              <a:gd name="connsiteX1" fmla="*/ 288000 w 3888000"/>
              <a:gd name="connsiteY1" fmla="*/ 1944000 h 3888000"/>
              <a:gd name="connsiteX2" fmla="*/ 1944000 w 3888000"/>
              <a:gd name="connsiteY2" fmla="*/ 3600000 h 3888000"/>
              <a:gd name="connsiteX3" fmla="*/ 3600000 w 3888000"/>
              <a:gd name="connsiteY3" fmla="*/ 1944000 h 3888000"/>
              <a:gd name="connsiteX4" fmla="*/ 1944000 w 3888000"/>
              <a:gd name="connsiteY4" fmla="*/ 288000 h 3888000"/>
              <a:gd name="connsiteX5" fmla="*/ 1944000 w 3888000"/>
              <a:gd name="connsiteY5" fmla="*/ 0 h 3888000"/>
              <a:gd name="connsiteX6" fmla="*/ 3888000 w 3888000"/>
              <a:gd name="connsiteY6" fmla="*/ 1944000 h 3888000"/>
              <a:gd name="connsiteX7" fmla="*/ 1944000 w 3888000"/>
              <a:gd name="connsiteY7" fmla="*/ 3888000 h 3888000"/>
              <a:gd name="connsiteX8" fmla="*/ 0 w 3888000"/>
              <a:gd name="connsiteY8" fmla="*/ 1944000 h 3888000"/>
              <a:gd name="connsiteX9" fmla="*/ 1944000 w 3888000"/>
              <a:gd name="connsiteY9" fmla="*/ 0 h 388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88000" h="3888000">
                <a:moveTo>
                  <a:pt x="1944000" y="288000"/>
                </a:moveTo>
                <a:cubicBezTo>
                  <a:pt x="1029417" y="288000"/>
                  <a:pt x="288000" y="1029417"/>
                  <a:pt x="288000" y="1944000"/>
                </a:cubicBezTo>
                <a:cubicBezTo>
                  <a:pt x="288000" y="2858583"/>
                  <a:pt x="1029417" y="3600000"/>
                  <a:pt x="1944000" y="3600000"/>
                </a:cubicBezTo>
                <a:cubicBezTo>
                  <a:pt x="2858584" y="3600000"/>
                  <a:pt x="3600000" y="2858583"/>
                  <a:pt x="3600000" y="1944000"/>
                </a:cubicBezTo>
                <a:cubicBezTo>
                  <a:pt x="3600000" y="1029417"/>
                  <a:pt x="2858584" y="288000"/>
                  <a:pt x="1944000" y="288000"/>
                </a:cubicBezTo>
                <a:close/>
                <a:moveTo>
                  <a:pt x="1944000" y="0"/>
                </a:moveTo>
                <a:cubicBezTo>
                  <a:pt x="3017642" y="0"/>
                  <a:pt x="3888000" y="870359"/>
                  <a:pt x="3888000" y="1944000"/>
                </a:cubicBezTo>
                <a:cubicBezTo>
                  <a:pt x="3888000" y="3017641"/>
                  <a:pt x="3017642" y="3888000"/>
                  <a:pt x="1944000" y="3888000"/>
                </a:cubicBezTo>
                <a:cubicBezTo>
                  <a:pt x="870358" y="3888000"/>
                  <a:pt x="0" y="3017641"/>
                  <a:pt x="0" y="1944000"/>
                </a:cubicBezTo>
                <a:cubicBezTo>
                  <a:pt x="0" y="870359"/>
                  <a:pt x="870358" y="0"/>
                  <a:pt x="1944000" y="0"/>
                </a:cubicBezTo>
                <a:close/>
              </a:path>
            </a:pathLst>
          </a:custGeom>
          <a:gradFill>
            <a:gsLst>
              <a:gs pos="0">
                <a:srgbClr val="00FFB9"/>
              </a:gs>
              <a:gs pos="100000">
                <a:srgbClr val="00E6DC"/>
              </a:gs>
            </a:gsLst>
            <a:lin ang="0" scaled="0"/>
          </a:gradFill>
          <a:ln>
            <a:noFill/>
          </a:ln>
          <a:effectLst/>
        </p:spPr>
        <p:txBody>
          <a:bodyPr wrap="square" lIns="683644" tIns="143925" rIns="683644" bIns="143925" numCol="1" spcCol="72000" rtlCol="0" anchor="ctr">
            <a:noAutofit/>
          </a:bodyPr>
          <a:lstStyle/>
          <a:p>
            <a:pPr algn="ctr">
              <a:lnSpc>
                <a:spcPct val="110000"/>
              </a:lnSpc>
              <a:spcBef>
                <a:spcPct val="0"/>
              </a:spcBef>
            </a:pPr>
            <a:r>
              <a:rPr lang="en-US" sz="1799" b="1" dirty="0">
                <a:solidFill>
                  <a:srgbClr val="66667E"/>
                </a:solidFill>
              </a:rPr>
              <a:t>Cras ultricies</a:t>
            </a:r>
          </a:p>
        </p:txBody>
      </p:sp>
      <p:sp>
        <p:nvSpPr>
          <p:cNvPr id="51" name="Freihandform 50"/>
          <p:cNvSpPr>
            <a:spLocks noChangeAspect="1"/>
          </p:cNvSpPr>
          <p:nvPr/>
        </p:nvSpPr>
        <p:spPr bwMode="gray">
          <a:xfrm>
            <a:off x="4010023" y="2062800"/>
            <a:ext cx="810000" cy="446933"/>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66667E"/>
            </a:solidFill>
            <a:prstDash val="solid"/>
            <a:round/>
            <a:headEnd type="oval" w="lg" len="lg"/>
            <a:tailEnd type="none" w="lg" len="lg"/>
          </a:ln>
          <a:effectLst/>
        </p:spPr>
        <p:txBody>
          <a:bodyPr rtlCol="0" anchor="ctr"/>
          <a:lstStyle/>
          <a:p>
            <a:pPr algn="ctr"/>
            <a:endParaRPr lang="en-US" sz="1799" dirty="0">
              <a:ea typeface="Arial Unicode MS"/>
            </a:endParaRPr>
          </a:p>
        </p:txBody>
      </p:sp>
      <p:sp>
        <p:nvSpPr>
          <p:cNvPr id="53" name="Freihandform 52"/>
          <p:cNvSpPr>
            <a:spLocks noChangeAspect="1"/>
          </p:cNvSpPr>
          <p:nvPr/>
        </p:nvSpPr>
        <p:spPr bwMode="gray">
          <a:xfrm flipV="1">
            <a:off x="4010023" y="5091120"/>
            <a:ext cx="828000" cy="463680"/>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66667E"/>
            </a:solidFill>
            <a:prstDash val="solid"/>
            <a:round/>
            <a:headEnd type="oval" w="lg" len="lg"/>
            <a:tailEnd type="none" w="lg" len="lg"/>
          </a:ln>
          <a:effectLst/>
        </p:spPr>
        <p:txBody>
          <a:bodyPr rtlCol="0" anchor="ctr"/>
          <a:lstStyle/>
          <a:p>
            <a:pPr algn="ctr"/>
            <a:endParaRPr lang="en-US" sz="1799" dirty="0">
              <a:ea typeface="Arial Unicode MS"/>
            </a:endParaRPr>
          </a:p>
        </p:txBody>
      </p:sp>
      <p:sp>
        <p:nvSpPr>
          <p:cNvPr id="54" name="Freihandform 53"/>
          <p:cNvSpPr>
            <a:spLocks noChangeAspect="1"/>
          </p:cNvSpPr>
          <p:nvPr/>
        </p:nvSpPr>
        <p:spPr bwMode="gray">
          <a:xfrm flipH="1">
            <a:off x="7371979" y="2062800"/>
            <a:ext cx="810000" cy="446886"/>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66667E"/>
            </a:solidFill>
            <a:prstDash val="solid"/>
            <a:round/>
            <a:headEnd type="oval" w="lg" len="lg"/>
            <a:tailEnd type="none" w="lg" len="lg"/>
          </a:ln>
          <a:effectLst/>
        </p:spPr>
        <p:txBody>
          <a:bodyPr rtlCol="0" anchor="ctr"/>
          <a:lstStyle/>
          <a:p>
            <a:pPr algn="ctr"/>
            <a:endParaRPr lang="en-US" sz="1799" dirty="0">
              <a:ea typeface="Arial Unicode MS"/>
            </a:endParaRPr>
          </a:p>
        </p:txBody>
      </p:sp>
      <p:sp>
        <p:nvSpPr>
          <p:cNvPr id="55" name="Freihandform 54"/>
          <p:cNvSpPr>
            <a:spLocks noChangeAspect="1"/>
          </p:cNvSpPr>
          <p:nvPr/>
        </p:nvSpPr>
        <p:spPr bwMode="gray">
          <a:xfrm flipH="1" flipV="1">
            <a:off x="7353979" y="5091120"/>
            <a:ext cx="828000" cy="463680"/>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66667E"/>
            </a:solidFill>
            <a:prstDash val="solid"/>
            <a:round/>
            <a:headEnd type="oval" w="lg" len="lg"/>
            <a:tailEnd type="none" w="lg" len="lg"/>
          </a:ln>
          <a:effectLst/>
        </p:spPr>
        <p:txBody>
          <a:bodyPr rtlCol="0" anchor="ctr"/>
          <a:lstStyle/>
          <a:p>
            <a:pPr algn="ctr"/>
            <a:endParaRPr lang="en-US" sz="1799" dirty="0">
              <a:ea typeface="Arial Unicode MS"/>
            </a:endParaRPr>
          </a:p>
        </p:txBody>
      </p:sp>
      <p:sp>
        <p:nvSpPr>
          <p:cNvPr id="5" name="Textfeld 4"/>
          <p:cNvSpPr txBox="1"/>
          <p:nvPr/>
        </p:nvSpPr>
        <p:spPr bwMode="gray">
          <a:xfrm>
            <a:off x="410400" y="3513062"/>
            <a:ext cx="3240000" cy="719625"/>
          </a:xfrm>
          <a:prstGeom prst="rect">
            <a:avLst/>
          </a:prstGeom>
          <a:noFill/>
        </p:spPr>
        <p:txBody>
          <a:bodyPr wrap="square" lIns="71963" tIns="71963" rIns="143925" bIns="71963" rtlCol="0" anchor="t">
            <a:noAutofit/>
          </a:bodyPr>
          <a:lstStyle/>
          <a:p>
            <a:pPr marL="0" lvl="2" algn="r">
              <a:tabLst>
                <a:tab pos="0" algn="l"/>
              </a:tabLst>
            </a:pPr>
            <a:r>
              <a:rPr lang="en-US" sz="1599" dirty="0">
                <a:solidFill>
                  <a:srgbClr val="66667E"/>
                </a:solidFill>
                <a:ea typeface="Arial Unicode MS"/>
              </a:rPr>
              <a:t>Cras ultricies mi eu</a:t>
            </a:r>
          </a:p>
        </p:txBody>
      </p:sp>
      <p:sp>
        <p:nvSpPr>
          <p:cNvPr id="8" name="Textfeld 7"/>
          <p:cNvSpPr txBox="1"/>
          <p:nvPr/>
        </p:nvSpPr>
        <p:spPr bwMode="gray">
          <a:xfrm>
            <a:off x="8546400" y="3502800"/>
            <a:ext cx="3240000" cy="719625"/>
          </a:xfrm>
          <a:prstGeom prst="rect">
            <a:avLst/>
          </a:prstGeom>
          <a:noFill/>
        </p:spPr>
        <p:txBody>
          <a:bodyPr wrap="square" lIns="143925" tIns="71963" rIns="71963" bIns="71963" rtlCol="0" anchor="t">
            <a:noAutofit/>
          </a:bodyPr>
          <a:lstStyle/>
          <a:p>
            <a:pPr marL="0" lvl="2">
              <a:tabLst>
                <a:tab pos="0" algn="l"/>
              </a:tabLst>
            </a:pPr>
            <a:r>
              <a:rPr lang="en-US" sz="1599" dirty="0">
                <a:solidFill>
                  <a:srgbClr val="66667E"/>
                </a:solidFill>
                <a:ea typeface="Arial Unicode MS"/>
              </a:rPr>
              <a:t>Phasellus nec sem</a:t>
            </a:r>
            <a:endParaRPr lang="en-US" sz="1049" dirty="0">
              <a:solidFill>
                <a:srgbClr val="66667E"/>
              </a:solidFill>
              <a:ea typeface="Arial Unicode MS"/>
            </a:endParaRPr>
          </a:p>
        </p:txBody>
      </p:sp>
      <p:cxnSp>
        <p:nvCxnSpPr>
          <p:cNvPr id="56" name="Gerade Verbindung 55"/>
          <p:cNvCxnSpPr>
            <a:cxnSpLocks/>
          </p:cNvCxnSpPr>
          <p:nvPr/>
        </p:nvCxnSpPr>
        <p:spPr bwMode="gray">
          <a:xfrm flipV="1">
            <a:off x="7898400" y="3731721"/>
            <a:ext cx="648000" cy="1"/>
          </a:xfrm>
          <a:prstGeom prst="line">
            <a:avLst/>
          </a:prstGeom>
          <a:noFill/>
          <a:ln w="12700" cap="flat" cmpd="sng" algn="ctr">
            <a:solidFill>
              <a:srgbClr val="66667E"/>
            </a:solidFill>
            <a:prstDash val="solid"/>
            <a:round/>
            <a:headEnd type="oval" w="lg" len="lg"/>
            <a:tailEnd type="none" w="lg" len="lg"/>
          </a:ln>
          <a:effectLst/>
        </p:spPr>
      </p:cxnSp>
      <p:cxnSp>
        <p:nvCxnSpPr>
          <p:cNvPr id="57" name="Gerade Verbindung 56"/>
          <p:cNvCxnSpPr/>
          <p:nvPr/>
        </p:nvCxnSpPr>
        <p:spPr bwMode="gray">
          <a:xfrm flipH="1">
            <a:off x="3650400" y="3731720"/>
            <a:ext cx="648000" cy="1"/>
          </a:xfrm>
          <a:prstGeom prst="line">
            <a:avLst/>
          </a:prstGeom>
          <a:noFill/>
          <a:ln w="12700" cap="flat" cmpd="sng" algn="ctr">
            <a:solidFill>
              <a:srgbClr val="66667E"/>
            </a:solidFill>
            <a:prstDash val="solid"/>
            <a:round/>
            <a:headEnd type="oval" w="lg" len="lg"/>
            <a:tailEnd type="none" w="lg" len="lg"/>
          </a:ln>
          <a:effectLst/>
        </p:spPr>
      </p:cxnSp>
      <p:sp>
        <p:nvSpPr>
          <p:cNvPr id="11" name="Footer Placeholder 10">
            <a:extLst>
              <a:ext uri="{FF2B5EF4-FFF2-40B4-BE49-F238E27FC236}">
                <a16:creationId xmlns:a16="http://schemas.microsoft.com/office/drawing/2014/main" id="{402C620F-5A12-487A-B203-30FF13EE7899}"/>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12" name="Slide Number Placeholder 11">
            <a:extLst>
              <a:ext uri="{FF2B5EF4-FFF2-40B4-BE49-F238E27FC236}">
                <a16:creationId xmlns:a16="http://schemas.microsoft.com/office/drawing/2014/main" id="{1D751D4D-F29B-4E4E-950B-C5A8D1813156}"/>
              </a:ext>
            </a:extLst>
          </p:cNvPr>
          <p:cNvSpPr>
            <a:spLocks noGrp="1"/>
          </p:cNvSpPr>
          <p:nvPr>
            <p:ph type="sldNum" sz="quarter" idx="11"/>
          </p:nvPr>
        </p:nvSpPr>
        <p:spPr/>
        <p:txBody>
          <a:bodyPr/>
          <a:lstStyle/>
          <a:p>
            <a:r>
              <a:rPr lang="en-US" dirty="0"/>
              <a:t>Page </a:t>
            </a:r>
            <a:fld id="{15EBE321-CBB1-4E91-BD14-37C8D44326FB}" type="slidenum">
              <a:rPr lang="en-US" smtClean="0"/>
              <a:pPr/>
              <a:t>28</a:t>
            </a:fld>
            <a:endParaRPr lang="en-US" dirty="0"/>
          </a:p>
        </p:txBody>
      </p:sp>
    </p:spTree>
    <p:extLst>
      <p:ext uri="{BB962C8B-B14F-4D97-AF65-F5344CB8AC3E}">
        <p14:creationId xmlns:p14="http://schemas.microsoft.com/office/powerpoint/2010/main" val="154954259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a:t>Further topic overviews </a:t>
            </a:r>
          </a:p>
        </p:txBody>
      </p:sp>
      <p:sp>
        <p:nvSpPr>
          <p:cNvPr id="11" name="Footer Placeholder 10">
            <a:extLst>
              <a:ext uri="{FF2B5EF4-FFF2-40B4-BE49-F238E27FC236}">
                <a16:creationId xmlns:a16="http://schemas.microsoft.com/office/drawing/2014/main" id="{402C620F-5A12-487A-B203-30FF13EE7899}"/>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12" name="Slide Number Placeholder 11">
            <a:extLst>
              <a:ext uri="{FF2B5EF4-FFF2-40B4-BE49-F238E27FC236}">
                <a16:creationId xmlns:a16="http://schemas.microsoft.com/office/drawing/2014/main" id="{1D751D4D-F29B-4E4E-950B-C5A8D1813156}"/>
              </a:ext>
            </a:extLst>
          </p:cNvPr>
          <p:cNvSpPr>
            <a:spLocks noGrp="1"/>
          </p:cNvSpPr>
          <p:nvPr>
            <p:ph type="sldNum" sz="quarter" idx="11"/>
          </p:nvPr>
        </p:nvSpPr>
        <p:spPr/>
        <p:txBody>
          <a:bodyPr/>
          <a:lstStyle/>
          <a:p>
            <a:r>
              <a:rPr lang="en-US" dirty="0"/>
              <a:t>Page </a:t>
            </a:r>
            <a:fld id="{15EBE321-CBB1-4E91-BD14-37C8D44326FB}" type="slidenum">
              <a:rPr lang="en-US" smtClean="0"/>
              <a:pPr/>
              <a:t>29</a:t>
            </a:fld>
            <a:endParaRPr lang="en-US" dirty="0"/>
          </a:p>
        </p:txBody>
      </p:sp>
      <p:sp>
        <p:nvSpPr>
          <p:cNvPr id="4" name="Textfeld 3"/>
          <p:cNvSpPr txBox="1">
            <a:spLocks/>
          </p:cNvSpPr>
          <p:nvPr/>
        </p:nvSpPr>
        <p:spPr bwMode="gray">
          <a:xfrm>
            <a:off x="8186738" y="1846800"/>
            <a:ext cx="3599662" cy="719625"/>
          </a:xfrm>
          <a:prstGeom prst="rect">
            <a:avLst/>
          </a:prstGeom>
          <a:noFill/>
        </p:spPr>
        <p:txBody>
          <a:bodyPr wrap="square" lIns="143925" tIns="71963" rIns="71963" bIns="71963" rtlCol="0" anchor="t">
            <a:noAutofit/>
          </a:bodyPr>
          <a:lstStyle/>
          <a:p>
            <a:pPr marL="0" lvl="2">
              <a:tabLst>
                <a:tab pos="0" algn="l"/>
              </a:tabLst>
            </a:pPr>
            <a:r>
              <a:rPr lang="en-US" sz="1599" dirty="0">
                <a:solidFill>
                  <a:srgbClr val="9999A9"/>
                </a:solidFill>
                <a:ea typeface="Arial Unicode MS"/>
              </a:rPr>
              <a:t>Cras ultricies mi eu</a:t>
            </a:r>
            <a:endParaRPr lang="en-US" sz="1049" dirty="0">
              <a:solidFill>
                <a:srgbClr val="9999A9"/>
              </a:solidFill>
              <a:ea typeface="Arial Unicode MS"/>
            </a:endParaRPr>
          </a:p>
        </p:txBody>
      </p:sp>
      <p:sp>
        <p:nvSpPr>
          <p:cNvPr id="6" name="Textfeld 5"/>
          <p:cNvSpPr txBox="1"/>
          <p:nvPr/>
        </p:nvSpPr>
        <p:spPr bwMode="gray">
          <a:xfrm>
            <a:off x="410399" y="5338800"/>
            <a:ext cx="3600000" cy="828000"/>
          </a:xfrm>
          <a:prstGeom prst="rect">
            <a:avLst/>
          </a:prstGeom>
          <a:noFill/>
        </p:spPr>
        <p:txBody>
          <a:bodyPr wrap="square" lIns="71963" tIns="71963" rIns="143925" bIns="71963" rtlCol="0" anchor="t">
            <a:noAutofit/>
          </a:bodyPr>
          <a:lstStyle/>
          <a:p>
            <a:pPr algn="r">
              <a:tabLst>
                <a:tab pos="0" algn="l"/>
              </a:tabLst>
            </a:pPr>
            <a:r>
              <a:rPr lang="en-US" sz="1599" dirty="0">
                <a:solidFill>
                  <a:srgbClr val="9999A9"/>
                </a:solidFill>
                <a:ea typeface="Arial Unicode MS"/>
              </a:rPr>
              <a:t>Duis arcu tortor, suscipit eget</a:t>
            </a:r>
          </a:p>
        </p:txBody>
      </p:sp>
      <p:sp>
        <p:nvSpPr>
          <p:cNvPr id="7" name="Textfeld 6"/>
          <p:cNvSpPr txBox="1"/>
          <p:nvPr/>
        </p:nvSpPr>
        <p:spPr bwMode="gray">
          <a:xfrm>
            <a:off x="8186738" y="5338800"/>
            <a:ext cx="3599661" cy="828000"/>
          </a:xfrm>
          <a:prstGeom prst="rect">
            <a:avLst/>
          </a:prstGeom>
          <a:noFill/>
        </p:spPr>
        <p:txBody>
          <a:bodyPr wrap="square" lIns="143925" tIns="71963" rIns="71963" bIns="71963" rtlCol="0" anchor="t">
            <a:noAutofit/>
          </a:bodyPr>
          <a:lstStyle/>
          <a:p>
            <a:pPr marL="0" lvl="2">
              <a:tabLst>
                <a:tab pos="0" algn="l"/>
              </a:tabLst>
            </a:pPr>
            <a:r>
              <a:rPr lang="en-US" sz="1599" dirty="0">
                <a:solidFill>
                  <a:srgbClr val="9999A9"/>
                </a:solidFill>
                <a:ea typeface="Arial Unicode MS"/>
              </a:rPr>
              <a:t>Duis arcu tortor, suscipit eget, imperdiet nec, iaculis, ipsum</a:t>
            </a:r>
            <a:endParaRPr lang="en-US" sz="1049" dirty="0">
              <a:solidFill>
                <a:srgbClr val="9999A9"/>
              </a:solidFill>
              <a:ea typeface="Arial Unicode MS"/>
            </a:endParaRPr>
          </a:p>
        </p:txBody>
      </p:sp>
      <p:sp>
        <p:nvSpPr>
          <p:cNvPr id="52" name="Textfeld 51"/>
          <p:cNvSpPr txBox="1"/>
          <p:nvPr/>
        </p:nvSpPr>
        <p:spPr bwMode="gray">
          <a:xfrm>
            <a:off x="410399" y="1846800"/>
            <a:ext cx="3600000" cy="719625"/>
          </a:xfrm>
          <a:prstGeom prst="rect">
            <a:avLst/>
          </a:prstGeom>
          <a:noFill/>
        </p:spPr>
        <p:txBody>
          <a:bodyPr wrap="square" lIns="71963" tIns="71963" rIns="143925" bIns="71963" rtlCol="0" anchor="t">
            <a:noAutofit/>
          </a:bodyPr>
          <a:lstStyle/>
          <a:p>
            <a:pPr algn="r">
              <a:tabLst>
                <a:tab pos="0" algn="l"/>
              </a:tabLst>
            </a:pPr>
            <a:r>
              <a:rPr lang="en-US" sz="1599" dirty="0">
                <a:solidFill>
                  <a:srgbClr val="9999A9"/>
                </a:solidFill>
                <a:ea typeface="Arial Unicode MS"/>
              </a:rPr>
              <a:t>Phasellus nec sem</a:t>
            </a:r>
          </a:p>
        </p:txBody>
      </p:sp>
      <p:sp>
        <p:nvSpPr>
          <p:cNvPr id="19" name="Freeform: Shape 18">
            <a:extLst>
              <a:ext uri="{FF2B5EF4-FFF2-40B4-BE49-F238E27FC236}">
                <a16:creationId xmlns:a16="http://schemas.microsoft.com/office/drawing/2014/main" id="{37F272D2-4824-4202-878B-7E9B9BDDC7EB}"/>
              </a:ext>
            </a:extLst>
          </p:cNvPr>
          <p:cNvSpPr/>
          <p:nvPr/>
        </p:nvSpPr>
        <p:spPr bwMode="gray">
          <a:xfrm>
            <a:off x="4154568" y="1846950"/>
            <a:ext cx="3888000" cy="3888000"/>
          </a:xfrm>
          <a:custGeom>
            <a:avLst/>
            <a:gdLst>
              <a:gd name="connsiteX0" fmla="*/ 1944000 w 3888000"/>
              <a:gd name="connsiteY0" fmla="*/ 288000 h 3888000"/>
              <a:gd name="connsiteX1" fmla="*/ 288000 w 3888000"/>
              <a:gd name="connsiteY1" fmla="*/ 1944000 h 3888000"/>
              <a:gd name="connsiteX2" fmla="*/ 1944000 w 3888000"/>
              <a:gd name="connsiteY2" fmla="*/ 3600000 h 3888000"/>
              <a:gd name="connsiteX3" fmla="*/ 3600000 w 3888000"/>
              <a:gd name="connsiteY3" fmla="*/ 1944000 h 3888000"/>
              <a:gd name="connsiteX4" fmla="*/ 1944000 w 3888000"/>
              <a:gd name="connsiteY4" fmla="*/ 288000 h 3888000"/>
              <a:gd name="connsiteX5" fmla="*/ 1944000 w 3888000"/>
              <a:gd name="connsiteY5" fmla="*/ 0 h 3888000"/>
              <a:gd name="connsiteX6" fmla="*/ 3888000 w 3888000"/>
              <a:gd name="connsiteY6" fmla="*/ 1944000 h 3888000"/>
              <a:gd name="connsiteX7" fmla="*/ 1944000 w 3888000"/>
              <a:gd name="connsiteY7" fmla="*/ 3888000 h 3888000"/>
              <a:gd name="connsiteX8" fmla="*/ 0 w 3888000"/>
              <a:gd name="connsiteY8" fmla="*/ 1944000 h 3888000"/>
              <a:gd name="connsiteX9" fmla="*/ 1944000 w 3888000"/>
              <a:gd name="connsiteY9" fmla="*/ 0 h 388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88000" h="3888000">
                <a:moveTo>
                  <a:pt x="1944000" y="288000"/>
                </a:moveTo>
                <a:cubicBezTo>
                  <a:pt x="1029417" y="288000"/>
                  <a:pt x="288000" y="1029417"/>
                  <a:pt x="288000" y="1944000"/>
                </a:cubicBezTo>
                <a:cubicBezTo>
                  <a:pt x="288000" y="2858583"/>
                  <a:pt x="1029417" y="3600000"/>
                  <a:pt x="1944000" y="3600000"/>
                </a:cubicBezTo>
                <a:cubicBezTo>
                  <a:pt x="2858584" y="3600000"/>
                  <a:pt x="3600000" y="2858583"/>
                  <a:pt x="3600000" y="1944000"/>
                </a:cubicBezTo>
                <a:cubicBezTo>
                  <a:pt x="3600000" y="1029417"/>
                  <a:pt x="2858584" y="288000"/>
                  <a:pt x="1944000" y="288000"/>
                </a:cubicBezTo>
                <a:close/>
                <a:moveTo>
                  <a:pt x="1944000" y="0"/>
                </a:moveTo>
                <a:cubicBezTo>
                  <a:pt x="3017642" y="0"/>
                  <a:pt x="3888000" y="870359"/>
                  <a:pt x="3888000" y="1944000"/>
                </a:cubicBezTo>
                <a:cubicBezTo>
                  <a:pt x="3888000" y="3017641"/>
                  <a:pt x="3017642" y="3888000"/>
                  <a:pt x="1944000" y="3888000"/>
                </a:cubicBezTo>
                <a:cubicBezTo>
                  <a:pt x="870358" y="3888000"/>
                  <a:pt x="0" y="3017641"/>
                  <a:pt x="0" y="1944000"/>
                </a:cubicBezTo>
                <a:cubicBezTo>
                  <a:pt x="0" y="870359"/>
                  <a:pt x="870358" y="0"/>
                  <a:pt x="1944000" y="0"/>
                </a:cubicBezTo>
                <a:close/>
              </a:path>
            </a:pathLst>
          </a:custGeom>
          <a:gradFill>
            <a:gsLst>
              <a:gs pos="0">
                <a:srgbClr val="00FFB9"/>
              </a:gs>
              <a:gs pos="100000">
                <a:srgbClr val="00E6DC"/>
              </a:gs>
            </a:gsLst>
            <a:lin ang="0" scaled="0"/>
          </a:gradFill>
          <a:ln>
            <a:noFill/>
          </a:ln>
          <a:effectLst/>
        </p:spPr>
        <p:txBody>
          <a:bodyPr wrap="square" lIns="683644" tIns="143925" rIns="683644" bIns="143925" numCol="1" spcCol="72000" rtlCol="0" anchor="ctr">
            <a:noAutofit/>
          </a:bodyPr>
          <a:lstStyle/>
          <a:p>
            <a:pPr algn="ctr">
              <a:lnSpc>
                <a:spcPct val="110000"/>
              </a:lnSpc>
              <a:spcBef>
                <a:spcPct val="0"/>
              </a:spcBef>
            </a:pPr>
            <a:r>
              <a:rPr lang="en-US" sz="1799" b="1" dirty="0">
                <a:solidFill>
                  <a:srgbClr val="9999A9"/>
                </a:solidFill>
              </a:rPr>
              <a:t>Cras ultricies</a:t>
            </a:r>
          </a:p>
        </p:txBody>
      </p:sp>
      <p:sp>
        <p:nvSpPr>
          <p:cNvPr id="51" name="Freihandform 50"/>
          <p:cNvSpPr>
            <a:spLocks noChangeAspect="1"/>
          </p:cNvSpPr>
          <p:nvPr/>
        </p:nvSpPr>
        <p:spPr bwMode="gray">
          <a:xfrm>
            <a:off x="4010023" y="2062800"/>
            <a:ext cx="810000" cy="446933"/>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9999A9"/>
            </a:solidFill>
            <a:prstDash val="solid"/>
            <a:round/>
            <a:headEnd type="oval" w="lg" len="lg"/>
            <a:tailEnd type="none" w="lg" len="lg"/>
          </a:ln>
          <a:effectLst/>
        </p:spPr>
        <p:txBody>
          <a:bodyPr rtlCol="0" anchor="ctr"/>
          <a:lstStyle/>
          <a:p>
            <a:pPr algn="ctr"/>
            <a:endParaRPr lang="en-US" sz="1799" dirty="0">
              <a:ea typeface="Arial Unicode MS"/>
            </a:endParaRPr>
          </a:p>
        </p:txBody>
      </p:sp>
      <p:sp>
        <p:nvSpPr>
          <p:cNvPr id="53" name="Freihandform 52"/>
          <p:cNvSpPr>
            <a:spLocks noChangeAspect="1"/>
          </p:cNvSpPr>
          <p:nvPr/>
        </p:nvSpPr>
        <p:spPr bwMode="gray">
          <a:xfrm flipV="1">
            <a:off x="4010023" y="5091120"/>
            <a:ext cx="828000" cy="463680"/>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9999A9"/>
            </a:solidFill>
            <a:prstDash val="solid"/>
            <a:round/>
            <a:headEnd type="oval" w="lg" len="lg"/>
            <a:tailEnd type="none" w="lg" len="lg"/>
          </a:ln>
          <a:effectLst/>
        </p:spPr>
        <p:txBody>
          <a:bodyPr rtlCol="0" anchor="ctr"/>
          <a:lstStyle/>
          <a:p>
            <a:pPr algn="ctr"/>
            <a:endParaRPr lang="en-US" sz="1799" dirty="0">
              <a:ea typeface="Arial Unicode MS"/>
            </a:endParaRPr>
          </a:p>
        </p:txBody>
      </p:sp>
      <p:sp>
        <p:nvSpPr>
          <p:cNvPr id="54" name="Freihandform 53"/>
          <p:cNvSpPr>
            <a:spLocks noChangeAspect="1"/>
          </p:cNvSpPr>
          <p:nvPr/>
        </p:nvSpPr>
        <p:spPr bwMode="gray">
          <a:xfrm flipH="1">
            <a:off x="7371979" y="2062800"/>
            <a:ext cx="810000" cy="446886"/>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9999A9"/>
            </a:solidFill>
            <a:prstDash val="solid"/>
            <a:round/>
            <a:headEnd type="oval" w="lg" len="lg"/>
            <a:tailEnd type="none" w="lg" len="lg"/>
          </a:ln>
          <a:effectLst/>
        </p:spPr>
        <p:txBody>
          <a:bodyPr rtlCol="0" anchor="ctr"/>
          <a:lstStyle/>
          <a:p>
            <a:pPr algn="ctr"/>
            <a:endParaRPr lang="en-US" sz="1799" dirty="0">
              <a:ea typeface="Arial Unicode MS"/>
            </a:endParaRPr>
          </a:p>
        </p:txBody>
      </p:sp>
      <p:sp>
        <p:nvSpPr>
          <p:cNvPr id="55" name="Freihandform 54"/>
          <p:cNvSpPr>
            <a:spLocks noChangeAspect="1"/>
          </p:cNvSpPr>
          <p:nvPr/>
        </p:nvSpPr>
        <p:spPr bwMode="gray">
          <a:xfrm flipH="1" flipV="1">
            <a:off x="7353979" y="5091120"/>
            <a:ext cx="828000" cy="463680"/>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9999A9"/>
            </a:solidFill>
            <a:prstDash val="solid"/>
            <a:round/>
            <a:headEnd type="oval" w="lg" len="lg"/>
            <a:tailEnd type="none" w="lg" len="lg"/>
          </a:ln>
          <a:effectLst/>
        </p:spPr>
        <p:txBody>
          <a:bodyPr rtlCol="0" anchor="ctr"/>
          <a:lstStyle/>
          <a:p>
            <a:pPr algn="ctr"/>
            <a:endParaRPr lang="en-US" sz="1799" dirty="0">
              <a:ea typeface="Arial Unicode MS"/>
            </a:endParaRPr>
          </a:p>
        </p:txBody>
      </p:sp>
      <p:sp>
        <p:nvSpPr>
          <p:cNvPr id="5" name="Textfeld 4"/>
          <p:cNvSpPr txBox="1"/>
          <p:nvPr/>
        </p:nvSpPr>
        <p:spPr bwMode="gray">
          <a:xfrm>
            <a:off x="410400" y="3513062"/>
            <a:ext cx="3240000" cy="719625"/>
          </a:xfrm>
          <a:prstGeom prst="rect">
            <a:avLst/>
          </a:prstGeom>
          <a:noFill/>
        </p:spPr>
        <p:txBody>
          <a:bodyPr wrap="square" lIns="71963" tIns="71963" rIns="143925" bIns="71963" rtlCol="0" anchor="t">
            <a:noAutofit/>
          </a:bodyPr>
          <a:lstStyle/>
          <a:p>
            <a:pPr marL="0" lvl="2" algn="r">
              <a:tabLst>
                <a:tab pos="0" algn="l"/>
              </a:tabLst>
            </a:pPr>
            <a:r>
              <a:rPr lang="en-US" sz="1599" dirty="0">
                <a:solidFill>
                  <a:srgbClr val="9999A9"/>
                </a:solidFill>
                <a:ea typeface="Arial Unicode MS"/>
              </a:rPr>
              <a:t>Cras ultricies mi eu</a:t>
            </a:r>
          </a:p>
        </p:txBody>
      </p:sp>
      <p:sp>
        <p:nvSpPr>
          <p:cNvPr id="8" name="Textfeld 7"/>
          <p:cNvSpPr txBox="1"/>
          <p:nvPr/>
        </p:nvSpPr>
        <p:spPr bwMode="gray">
          <a:xfrm>
            <a:off x="8546400" y="3502800"/>
            <a:ext cx="3240000" cy="719625"/>
          </a:xfrm>
          <a:prstGeom prst="rect">
            <a:avLst/>
          </a:prstGeom>
          <a:noFill/>
        </p:spPr>
        <p:txBody>
          <a:bodyPr wrap="square" lIns="143925" tIns="71963" rIns="71963" bIns="71963" rtlCol="0" anchor="t">
            <a:noAutofit/>
          </a:bodyPr>
          <a:lstStyle/>
          <a:p>
            <a:pPr marL="0" lvl="2">
              <a:tabLst>
                <a:tab pos="0" algn="l"/>
              </a:tabLst>
            </a:pPr>
            <a:r>
              <a:rPr lang="en-US" sz="1599" dirty="0">
                <a:solidFill>
                  <a:srgbClr val="9999A9"/>
                </a:solidFill>
                <a:ea typeface="Arial Unicode MS"/>
              </a:rPr>
              <a:t>Phasellus nec sem</a:t>
            </a:r>
            <a:endParaRPr lang="en-US" sz="1049" dirty="0">
              <a:solidFill>
                <a:srgbClr val="9999A9"/>
              </a:solidFill>
              <a:ea typeface="Arial Unicode MS"/>
            </a:endParaRPr>
          </a:p>
        </p:txBody>
      </p:sp>
      <p:cxnSp>
        <p:nvCxnSpPr>
          <p:cNvPr id="56" name="Gerade Verbindung 55"/>
          <p:cNvCxnSpPr>
            <a:cxnSpLocks/>
          </p:cNvCxnSpPr>
          <p:nvPr/>
        </p:nvCxnSpPr>
        <p:spPr bwMode="gray">
          <a:xfrm flipV="1">
            <a:off x="7898400" y="3731721"/>
            <a:ext cx="648000" cy="1"/>
          </a:xfrm>
          <a:prstGeom prst="line">
            <a:avLst/>
          </a:prstGeom>
          <a:noFill/>
          <a:ln w="12700" cap="flat" cmpd="sng" algn="ctr">
            <a:solidFill>
              <a:srgbClr val="9999A9"/>
            </a:solidFill>
            <a:prstDash val="solid"/>
            <a:round/>
            <a:headEnd type="oval" w="lg" len="lg"/>
            <a:tailEnd type="none" w="lg" len="lg"/>
          </a:ln>
          <a:effectLst/>
        </p:spPr>
      </p:cxnSp>
      <p:cxnSp>
        <p:nvCxnSpPr>
          <p:cNvPr id="57" name="Gerade Verbindung 56"/>
          <p:cNvCxnSpPr/>
          <p:nvPr/>
        </p:nvCxnSpPr>
        <p:spPr bwMode="gray">
          <a:xfrm flipH="1">
            <a:off x="3650400" y="3731720"/>
            <a:ext cx="648000" cy="1"/>
          </a:xfrm>
          <a:prstGeom prst="line">
            <a:avLst/>
          </a:prstGeom>
          <a:noFill/>
          <a:ln w="12700" cap="flat" cmpd="sng" algn="ctr">
            <a:solidFill>
              <a:srgbClr val="9999A9"/>
            </a:solidFill>
            <a:prstDash val="solid"/>
            <a:round/>
            <a:headEnd type="oval" w="lg" len="lg"/>
            <a:tailEnd type="none" w="lg" len="lg"/>
          </a:ln>
          <a:effectLst/>
        </p:spPr>
      </p:cxnSp>
    </p:spTree>
    <p:extLst>
      <p:ext uri="{BB962C8B-B14F-4D97-AF65-F5344CB8AC3E}">
        <p14:creationId xmlns:p14="http://schemas.microsoft.com/office/powerpoint/2010/main" val="6635477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CB660B31-840B-4A3B-8110-09C2D60E070C}"/>
              </a:ext>
            </a:extLst>
          </p:cNvPr>
          <p:cNvSpPr>
            <a:spLocks noGrp="1"/>
          </p:cNvSpPr>
          <p:nvPr>
            <p:ph type="title"/>
          </p:nvPr>
        </p:nvSpPr>
        <p:spPr/>
        <p:txBody>
          <a:bodyPr/>
          <a:lstStyle/>
          <a:p>
            <a:r>
              <a:rPr lang="en-US" b="0" dirty="0"/>
              <a:t>How to use</a:t>
            </a:r>
            <a:br>
              <a:rPr lang="en-US" dirty="0"/>
            </a:br>
            <a:r>
              <a:rPr lang="en-US" dirty="0"/>
              <a:t>Fonts, Colors, Styles</a:t>
            </a:r>
            <a:endParaRPr lang="en-US" b="0" dirty="0"/>
          </a:p>
        </p:txBody>
      </p:sp>
      <p:sp>
        <p:nvSpPr>
          <p:cNvPr id="12" name="Content Placeholder 11">
            <a:extLst>
              <a:ext uri="{FF2B5EF4-FFF2-40B4-BE49-F238E27FC236}">
                <a16:creationId xmlns:a16="http://schemas.microsoft.com/office/drawing/2014/main" id="{22552F86-693A-4EBB-9FEC-1D3ABC8BAEA8}"/>
              </a:ext>
            </a:extLst>
          </p:cNvPr>
          <p:cNvSpPr>
            <a:spLocks noGrp="1"/>
          </p:cNvSpPr>
          <p:nvPr>
            <p:ph sz="half" idx="2"/>
          </p:nvPr>
        </p:nvSpPr>
        <p:spPr>
          <a:xfrm>
            <a:off x="7030800" y="1414800"/>
            <a:ext cx="4752000" cy="4752000"/>
          </a:xfrm>
        </p:spPr>
        <p:txBody>
          <a:bodyPr rIns="0"/>
          <a:lstStyle/>
          <a:p>
            <a:r>
              <a:rPr lang="en-US" sz="1200" dirty="0"/>
              <a:t>The Siemens business graphic collection unifies simplicity with high quality and has been created to enable Siemens employees to built on-brand graphs, tables, and diagrams that put messages in a nutshell.</a:t>
            </a:r>
          </a:p>
          <a:p>
            <a:endParaRPr lang="en-US" sz="1200" dirty="0"/>
          </a:p>
          <a:p>
            <a:r>
              <a:rPr lang="en-US" sz="1200" b="1" dirty="0"/>
              <a:t>The key design elements include:</a:t>
            </a:r>
          </a:p>
          <a:p>
            <a:pPr lvl="1"/>
            <a:r>
              <a:rPr lang="en-US" sz="1200" dirty="0"/>
              <a:t>White and Deep Blue as the primary background color for slides</a:t>
            </a:r>
          </a:p>
          <a:p>
            <a:pPr lvl="1"/>
            <a:r>
              <a:rPr lang="en-US" sz="1200" dirty="0"/>
              <a:t>Petrol, Siemens strongest brand asset is used sparingly </a:t>
            </a:r>
            <a:br>
              <a:rPr lang="en-US" sz="1200" dirty="0"/>
            </a:br>
            <a:r>
              <a:rPr lang="en-US" sz="1200" dirty="0"/>
              <a:t>within the business graphics, to call attention and to emphasize</a:t>
            </a:r>
          </a:p>
          <a:p>
            <a:pPr lvl="1"/>
            <a:r>
              <a:rPr lang="en-US" sz="1200" dirty="0"/>
              <a:t>Bold Blue, Bold Green and Bold Dynamic Petrol, as well as Soft Blue and Purple are used as main accent colors</a:t>
            </a:r>
          </a:p>
          <a:p>
            <a:pPr lvl="1"/>
            <a:r>
              <a:rPr lang="en-US" sz="1200" dirty="0"/>
              <a:t>Diagram and table backgrounds are colored in gray tones, to strengthen one look in both light and dark appearance</a:t>
            </a:r>
          </a:p>
          <a:p>
            <a:pPr lvl="1"/>
            <a:r>
              <a:rPr lang="en-US" sz="1200" dirty="0"/>
              <a:t>Color sequences based on Siemens Petrol and our secondary colors can be used to color graphics</a:t>
            </a:r>
          </a:p>
          <a:p>
            <a:pPr lvl="1"/>
            <a:r>
              <a:rPr lang="en-US" sz="1200" dirty="0"/>
              <a:t>Limited font styles (Arial Bold/Arial Regular) and font sizes </a:t>
            </a:r>
            <a:br>
              <a:rPr lang="en-US" sz="1200" dirty="0"/>
            </a:br>
            <a:r>
              <a:rPr lang="en-US" sz="1200" dirty="0"/>
              <a:t>(20pt, 18pt, 16pt, and 12pt)</a:t>
            </a:r>
          </a:p>
          <a:p>
            <a:pPr lvl="1"/>
            <a:r>
              <a:rPr lang="en-US" sz="1200" dirty="0"/>
              <a:t>No use of additional Powerpoint generated 3D effects</a:t>
            </a:r>
          </a:p>
          <a:p>
            <a:pPr lvl="1"/>
            <a:r>
              <a:rPr lang="en-US" sz="1200" dirty="0"/>
              <a:t>Aim for Level AA contrast by using color combinations shown </a:t>
            </a:r>
            <a:br>
              <a:rPr lang="en-US" sz="1200" dirty="0"/>
            </a:br>
            <a:r>
              <a:rPr lang="en-US" sz="1200" dirty="0"/>
              <a:t>in this document</a:t>
            </a:r>
          </a:p>
        </p:txBody>
      </p:sp>
      <p:sp>
        <p:nvSpPr>
          <p:cNvPr id="197" name="Fußzeilenplatzhalter 3">
            <a:extLst>
              <a:ext uri="{FF2B5EF4-FFF2-40B4-BE49-F238E27FC236}">
                <a16:creationId xmlns:a16="http://schemas.microsoft.com/office/drawing/2014/main" id="{70B6A4CB-FEFB-7D4A-A06B-B055B32F96B3}"/>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3" name="Slide Number Placeholder">
            <a:extLst>
              <a:ext uri="{FF2B5EF4-FFF2-40B4-BE49-F238E27FC236}">
                <a16:creationId xmlns:a16="http://schemas.microsoft.com/office/drawing/2014/main" id="{09E5BF8C-9C5D-459F-8B40-C7FC3423A4FB}"/>
              </a:ext>
            </a:extLst>
          </p:cNvPr>
          <p:cNvSpPr>
            <a:spLocks noGrp="1"/>
          </p:cNvSpPr>
          <p:nvPr>
            <p:ph type="sldNum" sz="quarter" idx="11"/>
          </p:nvPr>
        </p:nvSpPr>
        <p:spPr/>
        <p:txBody>
          <a:bodyPr/>
          <a:lstStyle/>
          <a:p>
            <a:r>
              <a:rPr lang="en-US" dirty="0"/>
              <a:t>Page </a:t>
            </a:r>
            <a:fld id="{15EBE321-CBB1-4E91-BD14-37C8D44326FB}" type="slidenum">
              <a:rPr lang="en-US" smtClean="0"/>
              <a:pPr/>
              <a:t>3</a:t>
            </a:fld>
            <a:endParaRPr lang="en-US" dirty="0"/>
          </a:p>
        </p:txBody>
      </p:sp>
      <p:sp>
        <p:nvSpPr>
          <p:cNvPr id="70" name="Rechteck 69">
            <a:extLst>
              <a:ext uri="{FF2B5EF4-FFF2-40B4-BE49-F238E27FC236}">
                <a16:creationId xmlns:a16="http://schemas.microsoft.com/office/drawing/2014/main" id="{40D492F2-3A04-A34D-8EE1-75E812E68972}"/>
              </a:ext>
            </a:extLst>
          </p:cNvPr>
          <p:cNvSpPr/>
          <p:nvPr/>
        </p:nvSpPr>
        <p:spPr>
          <a:xfrm>
            <a:off x="410400" y="1414800"/>
            <a:ext cx="792000" cy="720000"/>
          </a:xfrm>
          <a:prstGeom prst="rect">
            <a:avLst/>
          </a:prstGeom>
          <a:solidFill>
            <a:schemeClr val="accent6"/>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71" name="Rechteck 70">
            <a:extLst>
              <a:ext uri="{FF2B5EF4-FFF2-40B4-BE49-F238E27FC236}">
                <a16:creationId xmlns:a16="http://schemas.microsoft.com/office/drawing/2014/main" id="{F60F668C-1026-5F4E-88FC-02D2E521A47F}"/>
              </a:ext>
            </a:extLst>
          </p:cNvPr>
          <p:cNvSpPr/>
          <p:nvPr/>
        </p:nvSpPr>
        <p:spPr>
          <a:xfrm>
            <a:off x="410400" y="2134800"/>
            <a:ext cx="792000" cy="720000"/>
          </a:xfrm>
          <a:prstGeom prst="rect">
            <a:avLst/>
          </a:prstGeom>
          <a:solidFill>
            <a:schemeClr val="bg1"/>
          </a:solidFill>
          <a:ln w="6350">
            <a:solidFill>
              <a:srgbClr val="9999A9"/>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80" name="Inhaltsplatzhalter 2">
            <a:extLst>
              <a:ext uri="{FF2B5EF4-FFF2-40B4-BE49-F238E27FC236}">
                <a16:creationId xmlns:a16="http://schemas.microsoft.com/office/drawing/2014/main" id="{A24D70B5-9E0D-DC41-9DF1-9E070ADC5FBC}"/>
              </a:ext>
            </a:extLst>
          </p:cNvPr>
          <p:cNvSpPr txBox="1">
            <a:spLocks/>
          </p:cNvSpPr>
          <p:nvPr/>
        </p:nvSpPr>
        <p:spPr>
          <a:xfrm>
            <a:off x="406800" y="2854800"/>
            <a:ext cx="792000" cy="576000"/>
          </a:xfrm>
          <a:prstGeom prst="rect">
            <a:avLst/>
          </a:prstGeom>
        </p:spPr>
        <p:txBody>
          <a:bodyPr lIns="0" tIns="72000" rIns="0" bIns="0"/>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r>
              <a:rPr lang="en-US" sz="900" dirty="0"/>
              <a:t>Backgrounds or large content frames</a:t>
            </a:r>
          </a:p>
        </p:txBody>
      </p:sp>
      <p:sp>
        <p:nvSpPr>
          <p:cNvPr id="81" name="Inhaltsplatzhalter 2">
            <a:extLst>
              <a:ext uri="{FF2B5EF4-FFF2-40B4-BE49-F238E27FC236}">
                <a16:creationId xmlns:a16="http://schemas.microsoft.com/office/drawing/2014/main" id="{6E0FE2DF-6563-4147-976E-53B94AC0B01B}"/>
              </a:ext>
            </a:extLst>
          </p:cNvPr>
          <p:cNvSpPr txBox="1">
            <a:spLocks/>
          </p:cNvSpPr>
          <p:nvPr/>
        </p:nvSpPr>
        <p:spPr>
          <a:xfrm>
            <a:off x="2426400" y="2854800"/>
            <a:ext cx="936000" cy="576000"/>
          </a:xfrm>
          <a:prstGeom prst="rect">
            <a:avLst/>
          </a:prstGeom>
        </p:spPr>
        <p:txBody>
          <a:bodyPr lIns="0" tIns="72000" rIns="0" bIns="0"/>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r>
              <a:rPr lang="en-US" sz="900" dirty="0"/>
              <a:t>Primarily used accents</a:t>
            </a:r>
          </a:p>
        </p:txBody>
      </p:sp>
      <p:sp>
        <p:nvSpPr>
          <p:cNvPr id="4" name="Rechteck 3">
            <a:extLst>
              <a:ext uri="{FF2B5EF4-FFF2-40B4-BE49-F238E27FC236}">
                <a16:creationId xmlns:a16="http://schemas.microsoft.com/office/drawing/2014/main" id="{6A2B0F7D-35D7-2B4A-AC62-4EDC6A8ECBF4}"/>
              </a:ext>
            </a:extLst>
          </p:cNvPr>
          <p:cNvSpPr/>
          <p:nvPr/>
        </p:nvSpPr>
        <p:spPr>
          <a:xfrm>
            <a:off x="2426400" y="1414800"/>
            <a:ext cx="432000" cy="432000"/>
          </a:xfrm>
          <a:prstGeom prst="rect">
            <a:avLst/>
          </a:prstGeom>
          <a:gradFill flip="none" rotWithShape="1">
            <a:gsLst>
              <a:gs pos="0">
                <a:srgbClr val="00FFB9"/>
              </a:gs>
              <a:gs pos="100000">
                <a:srgbClr val="00E6DC"/>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88" name="Rechteck 87">
            <a:extLst>
              <a:ext uri="{FF2B5EF4-FFF2-40B4-BE49-F238E27FC236}">
                <a16:creationId xmlns:a16="http://schemas.microsoft.com/office/drawing/2014/main" id="{3BF0150A-562A-134A-A330-678AF321AD82}"/>
              </a:ext>
            </a:extLst>
          </p:cNvPr>
          <p:cNvSpPr/>
          <p:nvPr/>
        </p:nvSpPr>
        <p:spPr>
          <a:xfrm>
            <a:off x="2426400" y="1918800"/>
            <a:ext cx="432000" cy="432000"/>
          </a:xfrm>
          <a:prstGeom prst="rect">
            <a:avLst/>
          </a:prstGeom>
          <a:solidFill>
            <a:srgbClr val="00FFB9"/>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89" name="Rechteck 88">
            <a:extLst>
              <a:ext uri="{FF2B5EF4-FFF2-40B4-BE49-F238E27FC236}">
                <a16:creationId xmlns:a16="http://schemas.microsoft.com/office/drawing/2014/main" id="{5E8C8FCA-A2D0-BF44-8295-BCF3BB60B1DA}"/>
              </a:ext>
            </a:extLst>
          </p:cNvPr>
          <p:cNvSpPr/>
          <p:nvPr/>
        </p:nvSpPr>
        <p:spPr>
          <a:xfrm>
            <a:off x="2426400" y="2422800"/>
            <a:ext cx="432000" cy="432000"/>
          </a:xfrm>
          <a:prstGeom prst="rect">
            <a:avLst/>
          </a:prstGeom>
          <a:solidFill>
            <a:srgbClr val="00E6DC"/>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91" name="Rechteck 90">
            <a:extLst>
              <a:ext uri="{FF2B5EF4-FFF2-40B4-BE49-F238E27FC236}">
                <a16:creationId xmlns:a16="http://schemas.microsoft.com/office/drawing/2014/main" id="{BA6E85A1-4889-7B44-A010-ABCF87BAE00C}"/>
              </a:ext>
            </a:extLst>
          </p:cNvPr>
          <p:cNvSpPr/>
          <p:nvPr/>
        </p:nvSpPr>
        <p:spPr>
          <a:xfrm>
            <a:off x="2930400" y="2422800"/>
            <a:ext cx="432000" cy="432000"/>
          </a:xfrm>
          <a:prstGeom prst="rect">
            <a:avLst/>
          </a:prstGeom>
          <a:solidFill>
            <a:srgbClr val="00BEDC"/>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94" name="Rechteck 93">
            <a:extLst>
              <a:ext uri="{FF2B5EF4-FFF2-40B4-BE49-F238E27FC236}">
                <a16:creationId xmlns:a16="http://schemas.microsoft.com/office/drawing/2014/main" id="{40545F4E-6A03-214B-AD99-3881EB0A5AB5}"/>
              </a:ext>
            </a:extLst>
          </p:cNvPr>
          <p:cNvSpPr/>
          <p:nvPr/>
        </p:nvSpPr>
        <p:spPr>
          <a:xfrm>
            <a:off x="2930400" y="1918800"/>
            <a:ext cx="432000" cy="432000"/>
          </a:xfrm>
          <a:prstGeom prst="rect">
            <a:avLst/>
          </a:prstGeom>
          <a:solidFill>
            <a:srgbClr val="AA32B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grpSp>
        <p:nvGrpSpPr>
          <p:cNvPr id="5" name="Group 4">
            <a:extLst>
              <a:ext uri="{FF2B5EF4-FFF2-40B4-BE49-F238E27FC236}">
                <a16:creationId xmlns:a16="http://schemas.microsoft.com/office/drawing/2014/main" id="{92BA566B-90C1-4315-B537-76373B7D5092}"/>
              </a:ext>
            </a:extLst>
          </p:cNvPr>
          <p:cNvGrpSpPr/>
          <p:nvPr/>
        </p:nvGrpSpPr>
        <p:grpSpPr>
          <a:xfrm>
            <a:off x="3290400" y="3862800"/>
            <a:ext cx="432000" cy="1728000"/>
            <a:chOff x="3073691" y="3862800"/>
            <a:chExt cx="360000" cy="1728000"/>
          </a:xfrm>
        </p:grpSpPr>
        <p:sp>
          <p:nvSpPr>
            <p:cNvPr id="95" name="Rechteck 94">
              <a:extLst>
                <a:ext uri="{FF2B5EF4-FFF2-40B4-BE49-F238E27FC236}">
                  <a16:creationId xmlns:a16="http://schemas.microsoft.com/office/drawing/2014/main" id="{7ECAC6CD-FA48-5E4A-B9FB-55F3E2599945}"/>
                </a:ext>
              </a:extLst>
            </p:cNvPr>
            <p:cNvSpPr/>
            <p:nvPr/>
          </p:nvSpPr>
          <p:spPr>
            <a:xfrm>
              <a:off x="3073691" y="4150800"/>
              <a:ext cx="360000" cy="288000"/>
            </a:xfrm>
            <a:prstGeom prst="rect">
              <a:avLst/>
            </a:prstGeom>
            <a:solidFill>
              <a:srgbClr val="009999"/>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96" name="Rechteck 95">
              <a:extLst>
                <a:ext uri="{FF2B5EF4-FFF2-40B4-BE49-F238E27FC236}">
                  <a16:creationId xmlns:a16="http://schemas.microsoft.com/office/drawing/2014/main" id="{CCF52A4E-5CCD-D84A-83ED-005F2BCC14CF}"/>
                </a:ext>
              </a:extLst>
            </p:cNvPr>
            <p:cNvSpPr/>
            <p:nvPr/>
          </p:nvSpPr>
          <p:spPr>
            <a:xfrm>
              <a:off x="3073691" y="3862800"/>
              <a:ext cx="360000" cy="288000"/>
            </a:xfrm>
            <a:prstGeom prst="rect">
              <a:avLst/>
            </a:prstGeom>
            <a:solidFill>
              <a:srgbClr val="00646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97" name="Rechteck 96">
              <a:extLst>
                <a:ext uri="{FF2B5EF4-FFF2-40B4-BE49-F238E27FC236}">
                  <a16:creationId xmlns:a16="http://schemas.microsoft.com/office/drawing/2014/main" id="{B872F737-DCCB-F64D-B723-CDE3B86E7349}"/>
                </a:ext>
              </a:extLst>
            </p:cNvPr>
            <p:cNvSpPr/>
            <p:nvPr/>
          </p:nvSpPr>
          <p:spPr>
            <a:xfrm>
              <a:off x="3073691" y="4726800"/>
              <a:ext cx="360000" cy="288000"/>
            </a:xfrm>
            <a:prstGeom prst="rect">
              <a:avLst/>
            </a:prstGeom>
            <a:solidFill>
              <a:srgbClr val="9999A9"/>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98" name="Rechteck 97">
              <a:extLst>
                <a:ext uri="{FF2B5EF4-FFF2-40B4-BE49-F238E27FC236}">
                  <a16:creationId xmlns:a16="http://schemas.microsoft.com/office/drawing/2014/main" id="{523F1530-B761-A94D-AC97-A7F992C66E5E}"/>
                </a:ext>
              </a:extLst>
            </p:cNvPr>
            <p:cNvSpPr/>
            <p:nvPr/>
          </p:nvSpPr>
          <p:spPr>
            <a:xfrm>
              <a:off x="3073691" y="5014800"/>
              <a:ext cx="360000" cy="288000"/>
            </a:xfrm>
            <a:prstGeom prst="rect">
              <a:avLst/>
            </a:prstGeom>
            <a:solidFill>
              <a:srgbClr val="66667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00" name="Rechteck 99">
              <a:extLst>
                <a:ext uri="{FF2B5EF4-FFF2-40B4-BE49-F238E27FC236}">
                  <a16:creationId xmlns:a16="http://schemas.microsoft.com/office/drawing/2014/main" id="{6CAEE712-7C57-EC49-9A3D-33DFCAC91E7D}"/>
                </a:ext>
              </a:extLst>
            </p:cNvPr>
            <p:cNvSpPr/>
            <p:nvPr/>
          </p:nvSpPr>
          <p:spPr>
            <a:xfrm>
              <a:off x="3073691" y="4438800"/>
              <a:ext cx="360000" cy="288000"/>
            </a:xfrm>
            <a:prstGeom prst="rect">
              <a:avLst/>
            </a:prstGeom>
            <a:solidFill>
              <a:srgbClr val="00E6DC"/>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01" name="Rechteck 100">
              <a:extLst>
                <a:ext uri="{FF2B5EF4-FFF2-40B4-BE49-F238E27FC236}">
                  <a16:creationId xmlns:a16="http://schemas.microsoft.com/office/drawing/2014/main" id="{6799AE6C-61D8-8D4E-84FB-A2A783D6C7B8}"/>
                </a:ext>
              </a:extLst>
            </p:cNvPr>
            <p:cNvSpPr/>
            <p:nvPr/>
          </p:nvSpPr>
          <p:spPr>
            <a:xfrm>
              <a:off x="3073691" y="5302800"/>
              <a:ext cx="360000" cy="288000"/>
            </a:xfrm>
            <a:prstGeom prst="rect">
              <a:avLst/>
            </a:prstGeom>
            <a:solidFill>
              <a:srgbClr val="33335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grpSp>
      <p:sp>
        <p:nvSpPr>
          <p:cNvPr id="109" name="Inhaltsplatzhalter 2">
            <a:extLst>
              <a:ext uri="{FF2B5EF4-FFF2-40B4-BE49-F238E27FC236}">
                <a16:creationId xmlns:a16="http://schemas.microsoft.com/office/drawing/2014/main" id="{355160EB-EA77-1649-8195-037FDB447B30}"/>
              </a:ext>
            </a:extLst>
          </p:cNvPr>
          <p:cNvSpPr txBox="1">
            <a:spLocks/>
          </p:cNvSpPr>
          <p:nvPr/>
        </p:nvSpPr>
        <p:spPr>
          <a:xfrm>
            <a:off x="406798" y="5590800"/>
            <a:ext cx="5908277" cy="432000"/>
          </a:xfrm>
          <a:prstGeom prst="rect">
            <a:avLst/>
          </a:prstGeom>
        </p:spPr>
        <p:txBody>
          <a:bodyPr lIns="0" tIns="72000" rIns="0" bIns="0"/>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r>
              <a:rPr lang="en-US" sz="900" dirty="0"/>
              <a:t>Sequences by number of colors required (recommendation customizable);</a:t>
            </a:r>
            <a:br>
              <a:rPr lang="en-US" sz="900" dirty="0"/>
            </a:br>
            <a:r>
              <a:rPr lang="en-US" sz="900" dirty="0"/>
              <a:t>variations to support contrast on Deep Blue background welcome</a:t>
            </a:r>
          </a:p>
        </p:txBody>
      </p:sp>
      <p:sp>
        <p:nvSpPr>
          <p:cNvPr id="111" name="Rechteck 110">
            <a:extLst>
              <a:ext uri="{FF2B5EF4-FFF2-40B4-BE49-F238E27FC236}">
                <a16:creationId xmlns:a16="http://schemas.microsoft.com/office/drawing/2014/main" id="{CB95EF9B-1FE5-074C-B483-CD11C7E71C16}"/>
              </a:ext>
            </a:extLst>
          </p:cNvPr>
          <p:cNvSpPr/>
          <p:nvPr/>
        </p:nvSpPr>
        <p:spPr>
          <a:xfrm>
            <a:off x="1418400" y="1414800"/>
            <a:ext cx="792000" cy="1440000"/>
          </a:xfrm>
          <a:prstGeom prst="rect">
            <a:avLst/>
          </a:prstGeom>
          <a:solidFill>
            <a:srgbClr val="009999"/>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31" name="Inhaltsplatzhalter 2">
            <a:extLst>
              <a:ext uri="{FF2B5EF4-FFF2-40B4-BE49-F238E27FC236}">
                <a16:creationId xmlns:a16="http://schemas.microsoft.com/office/drawing/2014/main" id="{675D8B6D-D88F-1F42-BD2A-4F5165014836}"/>
              </a:ext>
            </a:extLst>
          </p:cNvPr>
          <p:cNvSpPr txBox="1">
            <a:spLocks/>
          </p:cNvSpPr>
          <p:nvPr/>
        </p:nvSpPr>
        <p:spPr>
          <a:xfrm>
            <a:off x="1418400" y="2854800"/>
            <a:ext cx="792000" cy="576000"/>
          </a:xfrm>
          <a:prstGeom prst="rect">
            <a:avLst/>
          </a:prstGeom>
        </p:spPr>
        <p:txBody>
          <a:bodyPr lIns="0" tIns="72000" rIns="0" bIns="0"/>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r>
              <a:rPr lang="en-US" sz="900" dirty="0"/>
              <a:t>Petrol</a:t>
            </a:r>
          </a:p>
        </p:txBody>
      </p:sp>
      <p:grpSp>
        <p:nvGrpSpPr>
          <p:cNvPr id="2" name="Group 1">
            <a:extLst>
              <a:ext uri="{FF2B5EF4-FFF2-40B4-BE49-F238E27FC236}">
                <a16:creationId xmlns:a16="http://schemas.microsoft.com/office/drawing/2014/main" id="{58D7BAAE-5864-4393-A918-A6AA48C27E29}"/>
              </a:ext>
            </a:extLst>
          </p:cNvPr>
          <p:cNvGrpSpPr/>
          <p:nvPr/>
        </p:nvGrpSpPr>
        <p:grpSpPr>
          <a:xfrm>
            <a:off x="2714400" y="3862800"/>
            <a:ext cx="432000" cy="1728000"/>
            <a:chOff x="2318400" y="3862800"/>
            <a:chExt cx="360000" cy="1728000"/>
          </a:xfrm>
        </p:grpSpPr>
        <p:sp>
          <p:nvSpPr>
            <p:cNvPr id="135" name="Rechteck 134">
              <a:extLst>
                <a:ext uri="{FF2B5EF4-FFF2-40B4-BE49-F238E27FC236}">
                  <a16:creationId xmlns:a16="http://schemas.microsoft.com/office/drawing/2014/main" id="{4AC33D9D-92DD-2E46-8248-6C67BF557BD9}"/>
                </a:ext>
              </a:extLst>
            </p:cNvPr>
            <p:cNvSpPr/>
            <p:nvPr/>
          </p:nvSpPr>
          <p:spPr>
            <a:xfrm>
              <a:off x="2318400" y="4150800"/>
              <a:ext cx="360000" cy="288000"/>
            </a:xfrm>
            <a:prstGeom prst="rect">
              <a:avLst/>
            </a:prstGeom>
            <a:solidFill>
              <a:srgbClr val="00AF8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36" name="Rechteck 135">
              <a:extLst>
                <a:ext uri="{FF2B5EF4-FFF2-40B4-BE49-F238E27FC236}">
                  <a16:creationId xmlns:a16="http://schemas.microsoft.com/office/drawing/2014/main" id="{AABA7DA8-0218-7147-A482-93D05AC039DF}"/>
                </a:ext>
              </a:extLst>
            </p:cNvPr>
            <p:cNvSpPr/>
            <p:nvPr/>
          </p:nvSpPr>
          <p:spPr>
            <a:xfrm>
              <a:off x="2318400" y="3862800"/>
              <a:ext cx="360000" cy="288000"/>
            </a:xfrm>
            <a:prstGeom prst="rect">
              <a:avLst/>
            </a:prstGeom>
            <a:solidFill>
              <a:srgbClr val="00646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37" name="Rechteck 136">
              <a:extLst>
                <a:ext uri="{FF2B5EF4-FFF2-40B4-BE49-F238E27FC236}">
                  <a16:creationId xmlns:a16="http://schemas.microsoft.com/office/drawing/2014/main" id="{3B344E15-2E2E-B341-890B-9AEFBF9A45C2}"/>
                </a:ext>
              </a:extLst>
            </p:cNvPr>
            <p:cNvSpPr/>
            <p:nvPr/>
          </p:nvSpPr>
          <p:spPr>
            <a:xfrm>
              <a:off x="2318400" y="4726800"/>
              <a:ext cx="360000" cy="288000"/>
            </a:xfrm>
            <a:prstGeom prst="rect">
              <a:avLst/>
            </a:prstGeom>
            <a:solidFill>
              <a:srgbClr val="9999A9"/>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38" name="Rechteck 137">
              <a:extLst>
                <a:ext uri="{FF2B5EF4-FFF2-40B4-BE49-F238E27FC236}">
                  <a16:creationId xmlns:a16="http://schemas.microsoft.com/office/drawing/2014/main" id="{D63A1A09-5F27-554E-B910-8D250E9F5362}"/>
                </a:ext>
              </a:extLst>
            </p:cNvPr>
            <p:cNvSpPr/>
            <p:nvPr/>
          </p:nvSpPr>
          <p:spPr>
            <a:xfrm>
              <a:off x="2318400" y="5014800"/>
              <a:ext cx="360000" cy="288000"/>
            </a:xfrm>
            <a:prstGeom prst="rect">
              <a:avLst/>
            </a:prstGeom>
            <a:solidFill>
              <a:srgbClr val="66667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81" name="Rechteck 180">
              <a:extLst>
                <a:ext uri="{FF2B5EF4-FFF2-40B4-BE49-F238E27FC236}">
                  <a16:creationId xmlns:a16="http://schemas.microsoft.com/office/drawing/2014/main" id="{320C63CC-48C0-D04D-82BD-8F264BA00721}"/>
                </a:ext>
              </a:extLst>
            </p:cNvPr>
            <p:cNvSpPr/>
            <p:nvPr/>
          </p:nvSpPr>
          <p:spPr>
            <a:xfrm>
              <a:off x="2318400" y="4438800"/>
              <a:ext cx="360000" cy="288000"/>
            </a:xfrm>
            <a:prstGeom prst="rect">
              <a:avLst/>
            </a:prstGeom>
            <a:solidFill>
              <a:srgbClr val="00D7A0"/>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89" name="Rechteck 188">
              <a:extLst>
                <a:ext uri="{FF2B5EF4-FFF2-40B4-BE49-F238E27FC236}">
                  <a16:creationId xmlns:a16="http://schemas.microsoft.com/office/drawing/2014/main" id="{18BA2316-A404-0A4D-8EE1-41604429F298}"/>
                </a:ext>
              </a:extLst>
            </p:cNvPr>
            <p:cNvSpPr/>
            <p:nvPr/>
          </p:nvSpPr>
          <p:spPr>
            <a:xfrm>
              <a:off x="2318400" y="5302800"/>
              <a:ext cx="360000" cy="288000"/>
            </a:xfrm>
            <a:prstGeom prst="rect">
              <a:avLst/>
            </a:prstGeom>
            <a:solidFill>
              <a:srgbClr val="33335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grpSp>
      <p:sp>
        <p:nvSpPr>
          <p:cNvPr id="72" name="TextBox 32">
            <a:extLst>
              <a:ext uri="{FF2B5EF4-FFF2-40B4-BE49-F238E27FC236}">
                <a16:creationId xmlns:a16="http://schemas.microsoft.com/office/drawing/2014/main" id="{0915EBAE-07DC-3949-B7AD-9B51A822415F}"/>
              </a:ext>
            </a:extLst>
          </p:cNvPr>
          <p:cNvSpPr txBox="1"/>
          <p:nvPr/>
        </p:nvSpPr>
        <p:spPr>
          <a:xfrm>
            <a:off x="4870800" y="1414463"/>
            <a:ext cx="1441509" cy="360000"/>
          </a:xfrm>
          <a:prstGeom prst="rect">
            <a:avLst/>
          </a:prstGeom>
          <a:noFill/>
        </p:spPr>
        <p:txBody>
          <a:bodyPr wrap="square" lIns="0" tIns="0" rIns="0" bIns="0" rtlCol="0">
            <a:noAutofit/>
          </a:bodyPr>
          <a:lstStyle/>
          <a:p>
            <a:pPr>
              <a:lnSpc>
                <a:spcPct val="110000"/>
              </a:lnSpc>
              <a:spcBef>
                <a:spcPts val="0"/>
              </a:spcBef>
            </a:pPr>
            <a:r>
              <a:rPr lang="en-US" sz="2000" b="1" dirty="0">
                <a:solidFill>
                  <a:srgbClr val="009999"/>
                </a:solidFill>
                <a:latin typeface="+mn-lt"/>
                <a:ea typeface="Arial Unicode MS" panose="020B0604020202020204" pitchFamily="34" charset="-128"/>
                <a:cs typeface="Arial Unicode MS" panose="020B0604020202020204" pitchFamily="34" charset="-128"/>
              </a:rPr>
              <a:t>Arial Bold</a:t>
            </a:r>
          </a:p>
        </p:txBody>
      </p:sp>
      <p:sp>
        <p:nvSpPr>
          <p:cNvPr id="73" name="TextBox 33">
            <a:extLst>
              <a:ext uri="{FF2B5EF4-FFF2-40B4-BE49-F238E27FC236}">
                <a16:creationId xmlns:a16="http://schemas.microsoft.com/office/drawing/2014/main" id="{435BB6AB-4F4B-E648-8CA2-3E1C8044DE3D}"/>
              </a:ext>
            </a:extLst>
          </p:cNvPr>
          <p:cNvSpPr txBox="1"/>
          <p:nvPr/>
        </p:nvSpPr>
        <p:spPr>
          <a:xfrm>
            <a:off x="4870800" y="1774800"/>
            <a:ext cx="1441509" cy="360000"/>
          </a:xfrm>
          <a:prstGeom prst="rect">
            <a:avLst/>
          </a:prstGeom>
          <a:noFill/>
        </p:spPr>
        <p:txBody>
          <a:bodyPr wrap="square" lIns="0" tIns="0" rIns="0" bIns="0" rtlCol="0">
            <a:noAutofit/>
          </a:bodyPr>
          <a:lstStyle/>
          <a:p>
            <a:pPr>
              <a:lnSpc>
                <a:spcPct val="110000"/>
              </a:lnSpc>
              <a:spcBef>
                <a:spcPts val="0"/>
              </a:spcBef>
            </a:pPr>
            <a:r>
              <a:rPr lang="en-US" dirty="0">
                <a:latin typeface="+mn-lt"/>
                <a:ea typeface="Arial Unicode MS" panose="020B0604020202020204" pitchFamily="34" charset="-128"/>
                <a:cs typeface="Arial Unicode MS" panose="020B0604020202020204" pitchFamily="34" charset="-128"/>
              </a:rPr>
              <a:t>Arial Regular</a:t>
            </a:r>
          </a:p>
        </p:txBody>
      </p:sp>
      <p:grpSp>
        <p:nvGrpSpPr>
          <p:cNvPr id="19" name="Group 18">
            <a:extLst>
              <a:ext uri="{FF2B5EF4-FFF2-40B4-BE49-F238E27FC236}">
                <a16:creationId xmlns:a16="http://schemas.microsoft.com/office/drawing/2014/main" id="{83009CFB-F233-4196-9AF8-ADD2DF0B22AC}"/>
              </a:ext>
            </a:extLst>
          </p:cNvPr>
          <p:cNvGrpSpPr/>
          <p:nvPr/>
        </p:nvGrpSpPr>
        <p:grpSpPr>
          <a:xfrm>
            <a:off x="4870799" y="2638800"/>
            <a:ext cx="1441509" cy="432000"/>
            <a:chOff x="4870800" y="2746800"/>
            <a:chExt cx="1224000" cy="432000"/>
          </a:xfrm>
        </p:grpSpPr>
        <p:cxnSp>
          <p:nvCxnSpPr>
            <p:cNvPr id="115" name="Gerade Verbindung mit Pfeil 114">
              <a:extLst>
                <a:ext uri="{FF2B5EF4-FFF2-40B4-BE49-F238E27FC236}">
                  <a16:creationId xmlns:a16="http://schemas.microsoft.com/office/drawing/2014/main" id="{E1A4B173-696F-E147-AECD-03902138404C}"/>
                </a:ext>
              </a:extLst>
            </p:cNvPr>
            <p:cNvCxnSpPr>
              <a:cxnSpLocks/>
            </p:cNvCxnSpPr>
            <p:nvPr/>
          </p:nvCxnSpPr>
          <p:spPr>
            <a:xfrm>
              <a:off x="4870800" y="3178800"/>
              <a:ext cx="1224000" cy="0"/>
            </a:xfrm>
            <a:prstGeom prst="straightConnector1">
              <a:avLst/>
            </a:prstGeom>
            <a:ln w="57150">
              <a:gradFill>
                <a:gsLst>
                  <a:gs pos="0">
                    <a:srgbClr val="00FFB9"/>
                  </a:gs>
                  <a:gs pos="100000">
                    <a:srgbClr val="00E6DC"/>
                  </a:gs>
                </a:gsLst>
                <a:lin ang="0" scaled="0"/>
              </a:gradFill>
              <a:headEnd w="lg" len="lg"/>
              <a:tailEnd type="triangle"/>
            </a:ln>
          </p:spPr>
          <p:style>
            <a:lnRef idx="1">
              <a:schemeClr val="accent1"/>
            </a:lnRef>
            <a:fillRef idx="0">
              <a:schemeClr val="accent1"/>
            </a:fillRef>
            <a:effectRef idx="0">
              <a:schemeClr val="accent1"/>
            </a:effectRef>
            <a:fontRef idx="minor">
              <a:schemeClr val="tx1"/>
            </a:fontRef>
          </p:style>
        </p:cxnSp>
        <p:cxnSp>
          <p:nvCxnSpPr>
            <p:cNvPr id="117" name="Straight Connector 44">
              <a:extLst>
                <a:ext uri="{FF2B5EF4-FFF2-40B4-BE49-F238E27FC236}">
                  <a16:creationId xmlns:a16="http://schemas.microsoft.com/office/drawing/2014/main" id="{73683AE3-996B-B548-9D3C-F5029BE45B67}"/>
                </a:ext>
              </a:extLst>
            </p:cNvPr>
            <p:cNvCxnSpPr>
              <a:cxnSpLocks/>
            </p:cNvCxnSpPr>
            <p:nvPr/>
          </p:nvCxnSpPr>
          <p:spPr bwMode="auto">
            <a:xfrm>
              <a:off x="4870800" y="2746800"/>
              <a:ext cx="1224000" cy="0"/>
            </a:xfrm>
            <a:prstGeom prst="line">
              <a:avLst/>
            </a:prstGeom>
            <a:solidFill>
              <a:schemeClr val="tx2"/>
            </a:solidFill>
            <a:ln w="12700" cap="flat" cmpd="sng" algn="ctr">
              <a:solidFill>
                <a:srgbClr val="66667E"/>
              </a:solidFill>
              <a:prstDash val="solid"/>
              <a:round/>
              <a:headEnd type="none" w="lg" len="lg"/>
              <a:tailEnd type="oval"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Gerade Verbindung 22">
              <a:extLst>
                <a:ext uri="{FF2B5EF4-FFF2-40B4-BE49-F238E27FC236}">
                  <a16:creationId xmlns:a16="http://schemas.microsoft.com/office/drawing/2014/main" id="{FB68AAE1-306C-EF42-80D8-D76A108AD48E}"/>
                </a:ext>
              </a:extLst>
            </p:cNvPr>
            <p:cNvCxnSpPr>
              <a:cxnSpLocks/>
            </p:cNvCxnSpPr>
            <p:nvPr/>
          </p:nvCxnSpPr>
          <p:spPr>
            <a:xfrm>
              <a:off x="4870800" y="2962800"/>
              <a:ext cx="1224000" cy="0"/>
            </a:xfrm>
            <a:prstGeom prst="line">
              <a:avLst/>
            </a:prstGeom>
            <a:ln w="9525">
              <a:solidFill>
                <a:schemeClr val="accent1"/>
              </a:solidFill>
              <a:prstDash val="dash"/>
              <a:headEnd w="lg" len="lg"/>
              <a:tailEnd type="none" w="lg" len="lg"/>
            </a:ln>
          </p:spPr>
          <p:style>
            <a:lnRef idx="1">
              <a:schemeClr val="accent1"/>
            </a:lnRef>
            <a:fillRef idx="0">
              <a:schemeClr val="accent1"/>
            </a:fillRef>
            <a:effectRef idx="0">
              <a:schemeClr val="accent1"/>
            </a:effectRef>
            <a:fontRef idx="minor">
              <a:schemeClr val="tx1"/>
            </a:fontRef>
          </p:style>
        </p:cxnSp>
      </p:grpSp>
      <p:sp>
        <p:nvSpPr>
          <p:cNvPr id="76" name="Freihandform 122">
            <a:extLst>
              <a:ext uri="{FF2B5EF4-FFF2-40B4-BE49-F238E27FC236}">
                <a16:creationId xmlns:a16="http://schemas.microsoft.com/office/drawing/2014/main" id="{BDAE1128-3654-41C6-AB18-7544D0E4F7A1}"/>
              </a:ext>
            </a:extLst>
          </p:cNvPr>
          <p:cNvSpPr/>
          <p:nvPr/>
        </p:nvSpPr>
        <p:spPr bwMode="gray">
          <a:xfrm>
            <a:off x="4870800" y="2386800"/>
            <a:ext cx="1800000" cy="224213"/>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 name="connsiteX0" fmla="*/ 2379451 w 2379451"/>
              <a:gd name="connsiteY0" fmla="*/ 320842 h 320842"/>
              <a:gd name="connsiteX1" fmla="*/ 2058609 w 2379451"/>
              <a:gd name="connsiteY1" fmla="*/ 0 h 320842"/>
              <a:gd name="connsiteX2" fmla="*/ 0 w 2379451"/>
              <a:gd name="connsiteY2" fmla="*/ 0 h 320842"/>
            </a:gdLst>
            <a:ahLst/>
            <a:cxnLst>
              <a:cxn ang="0">
                <a:pos x="connsiteX0" y="connsiteY0"/>
              </a:cxn>
              <a:cxn ang="0">
                <a:pos x="connsiteX1" y="connsiteY1"/>
              </a:cxn>
              <a:cxn ang="0">
                <a:pos x="connsiteX2" y="connsiteY2"/>
              </a:cxn>
            </a:cxnLst>
            <a:rect l="l" t="t" r="r" b="b"/>
            <a:pathLst>
              <a:path w="2379451" h="320842">
                <a:moveTo>
                  <a:pt x="2379451" y="320842"/>
                </a:moveTo>
                <a:lnTo>
                  <a:pt x="2058609" y="0"/>
                </a:lnTo>
                <a:lnTo>
                  <a:pt x="0" y="0"/>
                </a:lnTo>
              </a:path>
            </a:pathLst>
          </a:custGeom>
          <a:noFill/>
          <a:ln w="12700" cap="flat" cmpd="sng" algn="ctr">
            <a:solidFill>
              <a:srgbClr val="66667E"/>
            </a:solidFill>
            <a:prstDash val="solid"/>
            <a:round/>
            <a:headEnd type="none" w="med" len="med"/>
            <a:tailEnd type="none" w="med" len="med"/>
          </a:ln>
          <a:effectLst/>
        </p:spPr>
        <p:txBody>
          <a:bodyPr rtlCol="0" anchor="ctr"/>
          <a:lstStyle/>
          <a:p>
            <a:pPr algn="ctr"/>
            <a:endParaRPr lang="en-US" dirty="0">
              <a:ea typeface="Arial Unicode MS"/>
            </a:endParaRPr>
          </a:p>
        </p:txBody>
      </p:sp>
      <p:grpSp>
        <p:nvGrpSpPr>
          <p:cNvPr id="59" name="Group 58">
            <a:extLst>
              <a:ext uri="{FF2B5EF4-FFF2-40B4-BE49-F238E27FC236}">
                <a16:creationId xmlns:a16="http://schemas.microsoft.com/office/drawing/2014/main" id="{185A8573-64DC-4184-A3A9-0566F1AABAC5}"/>
              </a:ext>
            </a:extLst>
          </p:cNvPr>
          <p:cNvGrpSpPr/>
          <p:nvPr/>
        </p:nvGrpSpPr>
        <p:grpSpPr>
          <a:xfrm>
            <a:off x="986400" y="3862800"/>
            <a:ext cx="432000" cy="1728000"/>
            <a:chOff x="1958399" y="3862800"/>
            <a:chExt cx="432001" cy="1728000"/>
          </a:xfrm>
        </p:grpSpPr>
        <p:sp>
          <p:nvSpPr>
            <p:cNvPr id="62" name="Rechteck 104">
              <a:extLst>
                <a:ext uri="{FF2B5EF4-FFF2-40B4-BE49-F238E27FC236}">
                  <a16:creationId xmlns:a16="http://schemas.microsoft.com/office/drawing/2014/main" id="{F254BBEC-BCE8-4FCF-A049-98199173FA1F}"/>
                </a:ext>
              </a:extLst>
            </p:cNvPr>
            <p:cNvSpPr/>
            <p:nvPr/>
          </p:nvSpPr>
          <p:spPr>
            <a:xfrm>
              <a:off x="1958400" y="4438800"/>
              <a:ext cx="432000" cy="576000"/>
            </a:xfrm>
            <a:prstGeom prst="rect">
              <a:avLst/>
            </a:prstGeom>
            <a:solidFill>
              <a:srgbClr val="00AF8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69" name="Rechteck 106">
              <a:extLst>
                <a:ext uri="{FF2B5EF4-FFF2-40B4-BE49-F238E27FC236}">
                  <a16:creationId xmlns:a16="http://schemas.microsoft.com/office/drawing/2014/main" id="{67601CB9-7875-43A2-B01D-C78C44240828}"/>
                </a:ext>
              </a:extLst>
            </p:cNvPr>
            <p:cNvSpPr/>
            <p:nvPr/>
          </p:nvSpPr>
          <p:spPr>
            <a:xfrm>
              <a:off x="1958399" y="5014800"/>
              <a:ext cx="432000" cy="576000"/>
            </a:xfrm>
            <a:prstGeom prst="rect">
              <a:avLst/>
            </a:prstGeom>
            <a:solidFill>
              <a:srgbClr val="00FFB9"/>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74" name="Rechteck 107">
              <a:extLst>
                <a:ext uri="{FF2B5EF4-FFF2-40B4-BE49-F238E27FC236}">
                  <a16:creationId xmlns:a16="http://schemas.microsoft.com/office/drawing/2014/main" id="{3A916634-9CBF-40A9-9327-FE4D7AB31DF2}"/>
                </a:ext>
              </a:extLst>
            </p:cNvPr>
            <p:cNvSpPr/>
            <p:nvPr/>
          </p:nvSpPr>
          <p:spPr>
            <a:xfrm>
              <a:off x="1958400" y="3862800"/>
              <a:ext cx="432000" cy="576000"/>
            </a:xfrm>
            <a:prstGeom prst="rect">
              <a:avLst/>
            </a:prstGeom>
            <a:solidFill>
              <a:srgbClr val="00646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grpSp>
      <p:grpSp>
        <p:nvGrpSpPr>
          <p:cNvPr id="75" name="Group 74">
            <a:extLst>
              <a:ext uri="{FF2B5EF4-FFF2-40B4-BE49-F238E27FC236}">
                <a16:creationId xmlns:a16="http://schemas.microsoft.com/office/drawing/2014/main" id="{6B342B0E-F385-469C-A10D-E20863EC2B55}"/>
              </a:ext>
            </a:extLst>
          </p:cNvPr>
          <p:cNvGrpSpPr/>
          <p:nvPr/>
        </p:nvGrpSpPr>
        <p:grpSpPr>
          <a:xfrm>
            <a:off x="410400" y="3862800"/>
            <a:ext cx="432000" cy="1728000"/>
            <a:chOff x="1958399" y="3862800"/>
            <a:chExt cx="432001" cy="1728000"/>
          </a:xfrm>
        </p:grpSpPr>
        <p:sp>
          <p:nvSpPr>
            <p:cNvPr id="79" name="Rechteck 106">
              <a:extLst>
                <a:ext uri="{FF2B5EF4-FFF2-40B4-BE49-F238E27FC236}">
                  <a16:creationId xmlns:a16="http://schemas.microsoft.com/office/drawing/2014/main" id="{1C9BB5DC-D90D-4D27-8986-19BCF50A3A2A}"/>
                </a:ext>
              </a:extLst>
            </p:cNvPr>
            <p:cNvSpPr/>
            <p:nvPr/>
          </p:nvSpPr>
          <p:spPr>
            <a:xfrm>
              <a:off x="1958399" y="4726800"/>
              <a:ext cx="432000" cy="864000"/>
            </a:xfrm>
            <a:prstGeom prst="rect">
              <a:avLst/>
            </a:prstGeom>
            <a:solidFill>
              <a:srgbClr val="CCCCD4"/>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83" name="Rechteck 107">
              <a:extLst>
                <a:ext uri="{FF2B5EF4-FFF2-40B4-BE49-F238E27FC236}">
                  <a16:creationId xmlns:a16="http://schemas.microsoft.com/office/drawing/2014/main" id="{9D09844B-90DA-41C7-91A3-92D4289F84DD}"/>
                </a:ext>
              </a:extLst>
            </p:cNvPr>
            <p:cNvSpPr/>
            <p:nvPr/>
          </p:nvSpPr>
          <p:spPr>
            <a:xfrm>
              <a:off x="1958400" y="3862800"/>
              <a:ext cx="432000" cy="86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grpSp>
      <p:grpSp>
        <p:nvGrpSpPr>
          <p:cNvPr id="84" name="Group 83">
            <a:extLst>
              <a:ext uri="{FF2B5EF4-FFF2-40B4-BE49-F238E27FC236}">
                <a16:creationId xmlns:a16="http://schemas.microsoft.com/office/drawing/2014/main" id="{DBD6B7EC-5C7B-4867-B58B-23EB1966E8D3}"/>
              </a:ext>
            </a:extLst>
          </p:cNvPr>
          <p:cNvGrpSpPr/>
          <p:nvPr/>
        </p:nvGrpSpPr>
        <p:grpSpPr>
          <a:xfrm>
            <a:off x="1562400" y="3862800"/>
            <a:ext cx="432000" cy="1728000"/>
            <a:chOff x="1958399" y="3862800"/>
            <a:chExt cx="432001" cy="1728000"/>
          </a:xfrm>
        </p:grpSpPr>
        <p:sp>
          <p:nvSpPr>
            <p:cNvPr id="85" name="Rechteck 103">
              <a:extLst>
                <a:ext uri="{FF2B5EF4-FFF2-40B4-BE49-F238E27FC236}">
                  <a16:creationId xmlns:a16="http://schemas.microsoft.com/office/drawing/2014/main" id="{CB766E44-26EF-4783-B9F8-D536F226A6C6}"/>
                </a:ext>
              </a:extLst>
            </p:cNvPr>
            <p:cNvSpPr/>
            <p:nvPr/>
          </p:nvSpPr>
          <p:spPr>
            <a:xfrm>
              <a:off x="1958400" y="5158800"/>
              <a:ext cx="432000" cy="432000"/>
            </a:xfrm>
            <a:prstGeom prst="rect">
              <a:avLst/>
            </a:prstGeom>
            <a:solidFill>
              <a:srgbClr val="00FFB9"/>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86" name="Rechteck 104">
              <a:extLst>
                <a:ext uri="{FF2B5EF4-FFF2-40B4-BE49-F238E27FC236}">
                  <a16:creationId xmlns:a16="http://schemas.microsoft.com/office/drawing/2014/main" id="{08FF24C4-B9D2-48E0-968F-0AB42991CB1B}"/>
                </a:ext>
              </a:extLst>
            </p:cNvPr>
            <p:cNvSpPr/>
            <p:nvPr/>
          </p:nvSpPr>
          <p:spPr>
            <a:xfrm>
              <a:off x="1958400" y="4294800"/>
              <a:ext cx="432000" cy="432000"/>
            </a:xfrm>
            <a:prstGeom prst="rect">
              <a:avLst/>
            </a:prstGeom>
            <a:solidFill>
              <a:srgbClr val="00AF8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87" name="Rechteck 106">
              <a:extLst>
                <a:ext uri="{FF2B5EF4-FFF2-40B4-BE49-F238E27FC236}">
                  <a16:creationId xmlns:a16="http://schemas.microsoft.com/office/drawing/2014/main" id="{1C35CADB-A86B-4474-911E-69D090B652DD}"/>
                </a:ext>
              </a:extLst>
            </p:cNvPr>
            <p:cNvSpPr/>
            <p:nvPr/>
          </p:nvSpPr>
          <p:spPr>
            <a:xfrm>
              <a:off x="1958399" y="4726800"/>
              <a:ext cx="432000" cy="432000"/>
            </a:xfrm>
            <a:prstGeom prst="rect">
              <a:avLst/>
            </a:prstGeom>
            <a:solidFill>
              <a:srgbClr val="00D7A0"/>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90" name="Rechteck 107">
              <a:extLst>
                <a:ext uri="{FF2B5EF4-FFF2-40B4-BE49-F238E27FC236}">
                  <a16:creationId xmlns:a16="http://schemas.microsoft.com/office/drawing/2014/main" id="{7C387F90-70B6-49ED-B787-00E06E317641}"/>
                </a:ext>
              </a:extLst>
            </p:cNvPr>
            <p:cNvSpPr/>
            <p:nvPr/>
          </p:nvSpPr>
          <p:spPr>
            <a:xfrm>
              <a:off x="1958400" y="3862800"/>
              <a:ext cx="432000" cy="432000"/>
            </a:xfrm>
            <a:prstGeom prst="rect">
              <a:avLst/>
            </a:prstGeom>
            <a:solidFill>
              <a:srgbClr val="00646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grpSp>
      <p:grpSp>
        <p:nvGrpSpPr>
          <p:cNvPr id="7" name="Group 6">
            <a:extLst>
              <a:ext uri="{FF2B5EF4-FFF2-40B4-BE49-F238E27FC236}">
                <a16:creationId xmlns:a16="http://schemas.microsoft.com/office/drawing/2014/main" id="{31B611E8-A3C1-439A-86D9-FCA1A706A18C}"/>
              </a:ext>
            </a:extLst>
          </p:cNvPr>
          <p:cNvGrpSpPr/>
          <p:nvPr/>
        </p:nvGrpSpPr>
        <p:grpSpPr>
          <a:xfrm>
            <a:off x="3866400" y="3862800"/>
            <a:ext cx="432000" cy="1728000"/>
            <a:chOff x="3154400" y="3862800"/>
            <a:chExt cx="360000" cy="1728000"/>
          </a:xfrm>
        </p:grpSpPr>
        <p:sp>
          <p:nvSpPr>
            <p:cNvPr id="93" name="Rechteck 102">
              <a:extLst>
                <a:ext uri="{FF2B5EF4-FFF2-40B4-BE49-F238E27FC236}">
                  <a16:creationId xmlns:a16="http://schemas.microsoft.com/office/drawing/2014/main" id="{94B11D2C-4671-49F3-9651-E0BAFB47ED4B}"/>
                </a:ext>
              </a:extLst>
            </p:cNvPr>
            <p:cNvSpPr/>
            <p:nvPr/>
          </p:nvSpPr>
          <p:spPr>
            <a:xfrm>
              <a:off x="3154400" y="4150800"/>
              <a:ext cx="359999" cy="288000"/>
            </a:xfrm>
            <a:prstGeom prst="rect">
              <a:avLst/>
            </a:prstGeom>
            <a:solidFill>
              <a:srgbClr val="009999"/>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99" name="Rechteck 103">
              <a:extLst>
                <a:ext uri="{FF2B5EF4-FFF2-40B4-BE49-F238E27FC236}">
                  <a16:creationId xmlns:a16="http://schemas.microsoft.com/office/drawing/2014/main" id="{DEB89F53-76EC-4793-A847-BFCD8FC62ADA}"/>
                </a:ext>
              </a:extLst>
            </p:cNvPr>
            <p:cNvSpPr/>
            <p:nvPr/>
          </p:nvSpPr>
          <p:spPr>
            <a:xfrm>
              <a:off x="3154400" y="3862800"/>
              <a:ext cx="359999" cy="288000"/>
            </a:xfrm>
            <a:prstGeom prst="rect">
              <a:avLst/>
            </a:prstGeom>
            <a:solidFill>
              <a:srgbClr val="00646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02" name="Rechteck 104">
              <a:extLst>
                <a:ext uri="{FF2B5EF4-FFF2-40B4-BE49-F238E27FC236}">
                  <a16:creationId xmlns:a16="http://schemas.microsoft.com/office/drawing/2014/main" id="{AE24B9C5-6BC3-43B5-BE6B-F1C5DA785C23}"/>
                </a:ext>
              </a:extLst>
            </p:cNvPr>
            <p:cNvSpPr/>
            <p:nvPr/>
          </p:nvSpPr>
          <p:spPr>
            <a:xfrm>
              <a:off x="3154400" y="4726800"/>
              <a:ext cx="359999" cy="288000"/>
            </a:xfrm>
            <a:prstGeom prst="rect">
              <a:avLst/>
            </a:prstGeom>
            <a:solidFill>
              <a:srgbClr val="00BEDC"/>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10" name="Rechteck 105">
              <a:extLst>
                <a:ext uri="{FF2B5EF4-FFF2-40B4-BE49-F238E27FC236}">
                  <a16:creationId xmlns:a16="http://schemas.microsoft.com/office/drawing/2014/main" id="{7AA511E7-AB20-4EB9-BEFD-FDAFD2B98AA6}"/>
                </a:ext>
              </a:extLst>
            </p:cNvPr>
            <p:cNvSpPr/>
            <p:nvPr/>
          </p:nvSpPr>
          <p:spPr>
            <a:xfrm>
              <a:off x="3154400" y="5014800"/>
              <a:ext cx="359999" cy="288000"/>
            </a:xfrm>
            <a:prstGeom prst="rect">
              <a:avLst/>
            </a:prstGeom>
            <a:solidFill>
              <a:srgbClr val="0087B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12" name="Rechteck 106">
              <a:extLst>
                <a:ext uri="{FF2B5EF4-FFF2-40B4-BE49-F238E27FC236}">
                  <a16:creationId xmlns:a16="http://schemas.microsoft.com/office/drawing/2014/main" id="{B05900E1-B111-473D-A0A4-D1BEA9950178}"/>
                </a:ext>
              </a:extLst>
            </p:cNvPr>
            <p:cNvSpPr/>
            <p:nvPr/>
          </p:nvSpPr>
          <p:spPr>
            <a:xfrm>
              <a:off x="3154401" y="4438800"/>
              <a:ext cx="359999" cy="288000"/>
            </a:xfrm>
            <a:prstGeom prst="rect">
              <a:avLst/>
            </a:prstGeom>
            <a:solidFill>
              <a:srgbClr val="00E6DC"/>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13" name="Rechteck 107">
              <a:extLst>
                <a:ext uri="{FF2B5EF4-FFF2-40B4-BE49-F238E27FC236}">
                  <a16:creationId xmlns:a16="http://schemas.microsoft.com/office/drawing/2014/main" id="{705A5E76-C4CD-4F46-8605-BF151380F629}"/>
                </a:ext>
              </a:extLst>
            </p:cNvPr>
            <p:cNvSpPr/>
            <p:nvPr/>
          </p:nvSpPr>
          <p:spPr>
            <a:xfrm>
              <a:off x="3154400" y="5302800"/>
              <a:ext cx="359999" cy="288000"/>
            </a:xfrm>
            <a:prstGeom prst="rect">
              <a:avLst/>
            </a:prstGeom>
            <a:solidFill>
              <a:srgbClr val="00557C"/>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grpSp>
      <p:grpSp>
        <p:nvGrpSpPr>
          <p:cNvPr id="134" name="Group 133">
            <a:extLst>
              <a:ext uri="{FF2B5EF4-FFF2-40B4-BE49-F238E27FC236}">
                <a16:creationId xmlns:a16="http://schemas.microsoft.com/office/drawing/2014/main" id="{0E4FB426-5E67-40D2-99F6-A73A20887BFA}"/>
              </a:ext>
            </a:extLst>
          </p:cNvPr>
          <p:cNvGrpSpPr/>
          <p:nvPr/>
        </p:nvGrpSpPr>
        <p:grpSpPr>
          <a:xfrm>
            <a:off x="2138400" y="3862800"/>
            <a:ext cx="432000" cy="1728000"/>
            <a:chOff x="1184400" y="3862800"/>
            <a:chExt cx="432000" cy="1440000"/>
          </a:xfrm>
        </p:grpSpPr>
        <p:sp>
          <p:nvSpPr>
            <p:cNvPr id="139" name="Rechteck 134">
              <a:extLst>
                <a:ext uri="{FF2B5EF4-FFF2-40B4-BE49-F238E27FC236}">
                  <a16:creationId xmlns:a16="http://schemas.microsoft.com/office/drawing/2014/main" id="{C3ABD4E7-0623-4A2E-A9BE-379F86A5ABC7}"/>
                </a:ext>
              </a:extLst>
            </p:cNvPr>
            <p:cNvSpPr/>
            <p:nvPr/>
          </p:nvSpPr>
          <p:spPr>
            <a:xfrm>
              <a:off x="1184400" y="5014800"/>
              <a:ext cx="432000" cy="288000"/>
            </a:xfrm>
            <a:prstGeom prst="rect">
              <a:avLst/>
            </a:prstGeom>
            <a:solidFill>
              <a:srgbClr val="33335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41" name="Rechteck 136">
              <a:extLst>
                <a:ext uri="{FF2B5EF4-FFF2-40B4-BE49-F238E27FC236}">
                  <a16:creationId xmlns:a16="http://schemas.microsoft.com/office/drawing/2014/main" id="{77E2CF35-C96B-4964-B4A1-5E8B397D8601}"/>
                </a:ext>
              </a:extLst>
            </p:cNvPr>
            <p:cNvSpPr/>
            <p:nvPr/>
          </p:nvSpPr>
          <p:spPr>
            <a:xfrm>
              <a:off x="1184400" y="4438800"/>
              <a:ext cx="432000" cy="288000"/>
            </a:xfrm>
            <a:prstGeom prst="rect">
              <a:avLst/>
            </a:prstGeom>
            <a:solidFill>
              <a:srgbClr val="00FFB9"/>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42" name="Rechteck 137">
              <a:extLst>
                <a:ext uri="{FF2B5EF4-FFF2-40B4-BE49-F238E27FC236}">
                  <a16:creationId xmlns:a16="http://schemas.microsoft.com/office/drawing/2014/main" id="{B34CF3A1-2045-4B68-8ACB-583379387005}"/>
                </a:ext>
              </a:extLst>
            </p:cNvPr>
            <p:cNvSpPr/>
            <p:nvPr/>
          </p:nvSpPr>
          <p:spPr>
            <a:xfrm>
              <a:off x="1184400" y="4150800"/>
              <a:ext cx="432000" cy="288000"/>
            </a:xfrm>
            <a:prstGeom prst="rect">
              <a:avLst/>
            </a:prstGeom>
            <a:solidFill>
              <a:srgbClr val="00AF8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43" name="Rechteck 180">
              <a:extLst>
                <a:ext uri="{FF2B5EF4-FFF2-40B4-BE49-F238E27FC236}">
                  <a16:creationId xmlns:a16="http://schemas.microsoft.com/office/drawing/2014/main" id="{2B69D5C5-46D9-4D28-BF9F-224BF0CB6738}"/>
                </a:ext>
              </a:extLst>
            </p:cNvPr>
            <p:cNvSpPr/>
            <p:nvPr/>
          </p:nvSpPr>
          <p:spPr>
            <a:xfrm>
              <a:off x="1184400" y="4726800"/>
              <a:ext cx="432000" cy="288000"/>
            </a:xfrm>
            <a:prstGeom prst="rect">
              <a:avLst/>
            </a:prstGeom>
            <a:solidFill>
              <a:srgbClr val="9999A9"/>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44" name="Rechteck 188">
              <a:extLst>
                <a:ext uri="{FF2B5EF4-FFF2-40B4-BE49-F238E27FC236}">
                  <a16:creationId xmlns:a16="http://schemas.microsoft.com/office/drawing/2014/main" id="{289C24C8-AB2A-41FC-97CC-FD04311F0207}"/>
                </a:ext>
              </a:extLst>
            </p:cNvPr>
            <p:cNvSpPr/>
            <p:nvPr/>
          </p:nvSpPr>
          <p:spPr>
            <a:xfrm>
              <a:off x="1184400" y="3862800"/>
              <a:ext cx="432000" cy="288000"/>
            </a:xfrm>
            <a:prstGeom prst="rect">
              <a:avLst/>
            </a:prstGeom>
            <a:solidFill>
              <a:srgbClr val="00646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grpSp>
      <p:grpSp>
        <p:nvGrpSpPr>
          <p:cNvPr id="153" name="Group 152">
            <a:extLst>
              <a:ext uri="{FF2B5EF4-FFF2-40B4-BE49-F238E27FC236}">
                <a16:creationId xmlns:a16="http://schemas.microsoft.com/office/drawing/2014/main" id="{BF1D78CA-23E8-4C25-928A-FCE48C151A9C}"/>
              </a:ext>
            </a:extLst>
          </p:cNvPr>
          <p:cNvGrpSpPr/>
          <p:nvPr/>
        </p:nvGrpSpPr>
        <p:grpSpPr>
          <a:xfrm>
            <a:off x="4442400" y="3862800"/>
            <a:ext cx="432000" cy="1728000"/>
            <a:chOff x="2318400" y="3862800"/>
            <a:chExt cx="360000" cy="2016000"/>
          </a:xfrm>
        </p:grpSpPr>
        <p:sp>
          <p:nvSpPr>
            <p:cNvPr id="154" name="Rechteck 134">
              <a:extLst>
                <a:ext uri="{FF2B5EF4-FFF2-40B4-BE49-F238E27FC236}">
                  <a16:creationId xmlns:a16="http://schemas.microsoft.com/office/drawing/2014/main" id="{C84606C3-EA95-4719-9638-EFADCFFE6D4A}"/>
                </a:ext>
              </a:extLst>
            </p:cNvPr>
            <p:cNvSpPr/>
            <p:nvPr/>
          </p:nvSpPr>
          <p:spPr>
            <a:xfrm>
              <a:off x="2318400" y="4150800"/>
              <a:ext cx="360000" cy="288000"/>
            </a:xfrm>
            <a:prstGeom prst="rect">
              <a:avLst/>
            </a:prstGeom>
            <a:solidFill>
              <a:srgbClr val="00AF8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55" name="Rechteck 135">
              <a:extLst>
                <a:ext uri="{FF2B5EF4-FFF2-40B4-BE49-F238E27FC236}">
                  <a16:creationId xmlns:a16="http://schemas.microsoft.com/office/drawing/2014/main" id="{1207F49C-9495-4A44-9374-A3A8DDA38A27}"/>
                </a:ext>
              </a:extLst>
            </p:cNvPr>
            <p:cNvSpPr/>
            <p:nvPr/>
          </p:nvSpPr>
          <p:spPr>
            <a:xfrm>
              <a:off x="2318400" y="3862800"/>
              <a:ext cx="360000" cy="288000"/>
            </a:xfrm>
            <a:prstGeom prst="rect">
              <a:avLst/>
            </a:prstGeom>
            <a:solidFill>
              <a:srgbClr val="00646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56" name="Rechteck 136">
              <a:extLst>
                <a:ext uri="{FF2B5EF4-FFF2-40B4-BE49-F238E27FC236}">
                  <a16:creationId xmlns:a16="http://schemas.microsoft.com/office/drawing/2014/main" id="{8D2ECB15-6ED9-4EA4-876C-6DF248037F2F}"/>
                </a:ext>
              </a:extLst>
            </p:cNvPr>
            <p:cNvSpPr/>
            <p:nvPr/>
          </p:nvSpPr>
          <p:spPr>
            <a:xfrm>
              <a:off x="2318400" y="4726800"/>
              <a:ext cx="360000" cy="288000"/>
            </a:xfrm>
            <a:prstGeom prst="rect">
              <a:avLst/>
            </a:prstGeom>
            <a:solidFill>
              <a:srgbClr val="CCCCD4"/>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57" name="Rechteck 137">
              <a:extLst>
                <a:ext uri="{FF2B5EF4-FFF2-40B4-BE49-F238E27FC236}">
                  <a16:creationId xmlns:a16="http://schemas.microsoft.com/office/drawing/2014/main" id="{D8AAA309-21B0-4A69-BC0D-AB8D96BEA215}"/>
                </a:ext>
              </a:extLst>
            </p:cNvPr>
            <p:cNvSpPr/>
            <p:nvPr/>
          </p:nvSpPr>
          <p:spPr>
            <a:xfrm>
              <a:off x="2318400" y="5014800"/>
              <a:ext cx="360000" cy="288000"/>
            </a:xfrm>
            <a:prstGeom prst="rect">
              <a:avLst/>
            </a:prstGeom>
            <a:solidFill>
              <a:srgbClr val="9999A9"/>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58" name="Rechteck 180">
              <a:extLst>
                <a:ext uri="{FF2B5EF4-FFF2-40B4-BE49-F238E27FC236}">
                  <a16:creationId xmlns:a16="http://schemas.microsoft.com/office/drawing/2014/main" id="{4D0CFBB8-2710-4856-9420-E07D6A0B24B5}"/>
                </a:ext>
              </a:extLst>
            </p:cNvPr>
            <p:cNvSpPr/>
            <p:nvPr/>
          </p:nvSpPr>
          <p:spPr>
            <a:xfrm>
              <a:off x="2318400" y="4438800"/>
              <a:ext cx="360000" cy="288000"/>
            </a:xfrm>
            <a:prstGeom prst="rect">
              <a:avLst/>
            </a:prstGeom>
            <a:solidFill>
              <a:srgbClr val="00D7A0"/>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59" name="Rechteck 188">
              <a:extLst>
                <a:ext uri="{FF2B5EF4-FFF2-40B4-BE49-F238E27FC236}">
                  <a16:creationId xmlns:a16="http://schemas.microsoft.com/office/drawing/2014/main" id="{88AC4067-441F-4710-BDF6-A7E337D7D3E6}"/>
                </a:ext>
              </a:extLst>
            </p:cNvPr>
            <p:cNvSpPr/>
            <p:nvPr/>
          </p:nvSpPr>
          <p:spPr>
            <a:xfrm>
              <a:off x="2318400" y="5302800"/>
              <a:ext cx="360000" cy="288000"/>
            </a:xfrm>
            <a:prstGeom prst="rect">
              <a:avLst/>
            </a:prstGeom>
            <a:solidFill>
              <a:srgbClr val="66667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60" name="Rechteck 188">
              <a:extLst>
                <a:ext uri="{FF2B5EF4-FFF2-40B4-BE49-F238E27FC236}">
                  <a16:creationId xmlns:a16="http://schemas.microsoft.com/office/drawing/2014/main" id="{C20BC153-DFA7-49A8-8566-BE66EEC37700}"/>
                </a:ext>
              </a:extLst>
            </p:cNvPr>
            <p:cNvSpPr/>
            <p:nvPr/>
          </p:nvSpPr>
          <p:spPr>
            <a:xfrm>
              <a:off x="2318400" y="5590800"/>
              <a:ext cx="360000" cy="288000"/>
            </a:xfrm>
            <a:prstGeom prst="rect">
              <a:avLst/>
            </a:prstGeom>
            <a:solidFill>
              <a:srgbClr val="33335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grpSp>
      <p:grpSp>
        <p:nvGrpSpPr>
          <p:cNvPr id="163" name="Group 162">
            <a:extLst>
              <a:ext uri="{FF2B5EF4-FFF2-40B4-BE49-F238E27FC236}">
                <a16:creationId xmlns:a16="http://schemas.microsoft.com/office/drawing/2014/main" id="{0CF10F0C-B221-410D-ABB1-8ED0D6A03947}"/>
              </a:ext>
            </a:extLst>
          </p:cNvPr>
          <p:cNvGrpSpPr/>
          <p:nvPr/>
        </p:nvGrpSpPr>
        <p:grpSpPr>
          <a:xfrm>
            <a:off x="5018400" y="3862800"/>
            <a:ext cx="1293908" cy="1728000"/>
            <a:chOff x="2318400" y="3862800"/>
            <a:chExt cx="360000" cy="3168448"/>
          </a:xfrm>
        </p:grpSpPr>
        <p:sp>
          <p:nvSpPr>
            <p:cNvPr id="164" name="Rechteck 134">
              <a:extLst>
                <a:ext uri="{FF2B5EF4-FFF2-40B4-BE49-F238E27FC236}">
                  <a16:creationId xmlns:a16="http://schemas.microsoft.com/office/drawing/2014/main" id="{9595690B-DCC4-46BC-9374-1BC250BD7DD2}"/>
                </a:ext>
              </a:extLst>
            </p:cNvPr>
            <p:cNvSpPr/>
            <p:nvPr/>
          </p:nvSpPr>
          <p:spPr>
            <a:xfrm>
              <a:off x="2318400" y="4150800"/>
              <a:ext cx="360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65" name="Rechteck 135">
              <a:extLst>
                <a:ext uri="{FF2B5EF4-FFF2-40B4-BE49-F238E27FC236}">
                  <a16:creationId xmlns:a16="http://schemas.microsoft.com/office/drawing/2014/main" id="{D0384BF7-E329-43DA-9F6D-8EC3263917B6}"/>
                </a:ext>
              </a:extLst>
            </p:cNvPr>
            <p:cNvSpPr/>
            <p:nvPr/>
          </p:nvSpPr>
          <p:spPr>
            <a:xfrm>
              <a:off x="2318400" y="3862800"/>
              <a:ext cx="360000" cy="288000"/>
            </a:xfrm>
            <a:prstGeom prst="rect">
              <a:avLst/>
            </a:prstGeom>
            <a:solidFill>
              <a:srgbClr val="00646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66" name="Rechteck 136">
              <a:extLst>
                <a:ext uri="{FF2B5EF4-FFF2-40B4-BE49-F238E27FC236}">
                  <a16:creationId xmlns:a16="http://schemas.microsoft.com/office/drawing/2014/main" id="{BE39DACB-AC20-4908-AA60-ED1B08252808}"/>
                </a:ext>
              </a:extLst>
            </p:cNvPr>
            <p:cNvSpPr/>
            <p:nvPr/>
          </p:nvSpPr>
          <p:spPr>
            <a:xfrm>
              <a:off x="2318400" y="4726800"/>
              <a:ext cx="360000" cy="288000"/>
            </a:xfrm>
            <a:prstGeom prst="rect">
              <a:avLst/>
            </a:prstGeom>
            <a:solidFill>
              <a:srgbClr val="CCCCD4"/>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67" name="Rechteck 137">
              <a:extLst>
                <a:ext uri="{FF2B5EF4-FFF2-40B4-BE49-F238E27FC236}">
                  <a16:creationId xmlns:a16="http://schemas.microsoft.com/office/drawing/2014/main" id="{58CBA1E6-C6B9-44C5-A499-50DF0F407596}"/>
                </a:ext>
              </a:extLst>
            </p:cNvPr>
            <p:cNvSpPr/>
            <p:nvPr/>
          </p:nvSpPr>
          <p:spPr>
            <a:xfrm>
              <a:off x="2318400" y="5014800"/>
              <a:ext cx="360000" cy="288000"/>
            </a:xfrm>
            <a:prstGeom prst="rect">
              <a:avLst/>
            </a:prstGeom>
            <a:solidFill>
              <a:srgbClr val="9999A9"/>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68" name="Rechteck 180">
              <a:extLst>
                <a:ext uri="{FF2B5EF4-FFF2-40B4-BE49-F238E27FC236}">
                  <a16:creationId xmlns:a16="http://schemas.microsoft.com/office/drawing/2014/main" id="{AADB866A-BCEF-4C94-BA7A-CD32B217FB05}"/>
                </a:ext>
              </a:extLst>
            </p:cNvPr>
            <p:cNvSpPr/>
            <p:nvPr/>
          </p:nvSpPr>
          <p:spPr>
            <a:xfrm>
              <a:off x="2318400" y="4438800"/>
              <a:ext cx="360000" cy="288000"/>
            </a:xfrm>
            <a:prstGeom prst="rect">
              <a:avLst/>
            </a:prstGeom>
            <a:solidFill>
              <a:srgbClr val="00E6DC"/>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69" name="Rechteck 188">
              <a:extLst>
                <a:ext uri="{FF2B5EF4-FFF2-40B4-BE49-F238E27FC236}">
                  <a16:creationId xmlns:a16="http://schemas.microsoft.com/office/drawing/2014/main" id="{8C9B18D8-1828-48DB-90DF-F0311A3DCA1B}"/>
                </a:ext>
              </a:extLst>
            </p:cNvPr>
            <p:cNvSpPr/>
            <p:nvPr/>
          </p:nvSpPr>
          <p:spPr>
            <a:xfrm>
              <a:off x="2318400" y="5302800"/>
              <a:ext cx="360000" cy="288000"/>
            </a:xfrm>
            <a:prstGeom prst="rect">
              <a:avLst/>
            </a:prstGeom>
            <a:solidFill>
              <a:srgbClr val="66667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70" name="Rechteck 188">
              <a:extLst>
                <a:ext uri="{FF2B5EF4-FFF2-40B4-BE49-F238E27FC236}">
                  <a16:creationId xmlns:a16="http://schemas.microsoft.com/office/drawing/2014/main" id="{8C082D89-FAF6-40CD-862A-22691286DB59}"/>
                </a:ext>
              </a:extLst>
            </p:cNvPr>
            <p:cNvSpPr/>
            <p:nvPr/>
          </p:nvSpPr>
          <p:spPr>
            <a:xfrm>
              <a:off x="2318400" y="5590800"/>
              <a:ext cx="360000" cy="288000"/>
            </a:xfrm>
            <a:prstGeom prst="rect">
              <a:avLst/>
            </a:prstGeom>
            <a:solidFill>
              <a:srgbClr val="00557C"/>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71" name="Rechteck 188">
              <a:extLst>
                <a:ext uri="{FF2B5EF4-FFF2-40B4-BE49-F238E27FC236}">
                  <a16:creationId xmlns:a16="http://schemas.microsoft.com/office/drawing/2014/main" id="{6F98BEF1-B3F9-4438-A07F-F52017D3F698}"/>
                </a:ext>
              </a:extLst>
            </p:cNvPr>
            <p:cNvSpPr/>
            <p:nvPr/>
          </p:nvSpPr>
          <p:spPr>
            <a:xfrm>
              <a:off x="2318400" y="5878800"/>
              <a:ext cx="360000" cy="288000"/>
            </a:xfrm>
            <a:prstGeom prst="rect">
              <a:avLst/>
            </a:prstGeom>
            <a:solidFill>
              <a:srgbClr val="0087B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72" name="Rechteck 188">
              <a:extLst>
                <a:ext uri="{FF2B5EF4-FFF2-40B4-BE49-F238E27FC236}">
                  <a16:creationId xmlns:a16="http://schemas.microsoft.com/office/drawing/2014/main" id="{E5E5CB42-37FA-4EBE-802B-C0F7154881FA}"/>
                </a:ext>
              </a:extLst>
            </p:cNvPr>
            <p:cNvSpPr/>
            <p:nvPr/>
          </p:nvSpPr>
          <p:spPr>
            <a:xfrm>
              <a:off x="2318400" y="6166800"/>
              <a:ext cx="360000" cy="288000"/>
            </a:xfrm>
            <a:prstGeom prst="rect">
              <a:avLst/>
            </a:prstGeom>
            <a:solidFill>
              <a:srgbClr val="00BEDC"/>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73" name="Rechteck 188">
              <a:extLst>
                <a:ext uri="{FF2B5EF4-FFF2-40B4-BE49-F238E27FC236}">
                  <a16:creationId xmlns:a16="http://schemas.microsoft.com/office/drawing/2014/main" id="{752E366B-EBBD-4B4D-99F2-E61089D1A51E}"/>
                </a:ext>
              </a:extLst>
            </p:cNvPr>
            <p:cNvSpPr/>
            <p:nvPr/>
          </p:nvSpPr>
          <p:spPr>
            <a:xfrm>
              <a:off x="2318400" y="6454800"/>
              <a:ext cx="360000" cy="288000"/>
            </a:xfrm>
            <a:prstGeom prst="rect">
              <a:avLst/>
            </a:prstGeom>
            <a:solidFill>
              <a:srgbClr val="AA32B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74" name="Rechteck 188">
              <a:extLst>
                <a:ext uri="{FF2B5EF4-FFF2-40B4-BE49-F238E27FC236}">
                  <a16:creationId xmlns:a16="http://schemas.microsoft.com/office/drawing/2014/main" id="{87A6C95A-61FD-4B02-9EC2-D2D75F61CF74}"/>
                </a:ext>
              </a:extLst>
            </p:cNvPr>
            <p:cNvSpPr/>
            <p:nvPr/>
          </p:nvSpPr>
          <p:spPr>
            <a:xfrm>
              <a:off x="2318400" y="6743248"/>
              <a:ext cx="360000" cy="288000"/>
            </a:xfrm>
            <a:prstGeom prst="rect">
              <a:avLst/>
            </a:prstGeom>
            <a:solidFill>
              <a:srgbClr val="500078"/>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grpSp>
      <p:sp>
        <p:nvSpPr>
          <p:cNvPr id="64" name="Rechteck 63">
            <a:extLst>
              <a:ext uri="{FF2B5EF4-FFF2-40B4-BE49-F238E27FC236}">
                <a16:creationId xmlns:a16="http://schemas.microsoft.com/office/drawing/2014/main" id="{90F19203-4420-F34B-BBF1-89550523C206}"/>
              </a:ext>
            </a:extLst>
          </p:cNvPr>
          <p:cNvSpPr/>
          <p:nvPr/>
        </p:nvSpPr>
        <p:spPr>
          <a:xfrm>
            <a:off x="3578400" y="2278463"/>
            <a:ext cx="792000" cy="288000"/>
          </a:xfrm>
          <a:prstGeom prst="rect">
            <a:avLst/>
          </a:prstGeom>
          <a:solidFill>
            <a:srgbClr val="66667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65" name="Rechteck 64">
            <a:extLst>
              <a:ext uri="{FF2B5EF4-FFF2-40B4-BE49-F238E27FC236}">
                <a16:creationId xmlns:a16="http://schemas.microsoft.com/office/drawing/2014/main" id="{8D6588E2-3CCF-6F40-8552-56A2650D9774}"/>
              </a:ext>
            </a:extLst>
          </p:cNvPr>
          <p:cNvSpPr/>
          <p:nvPr/>
        </p:nvSpPr>
        <p:spPr>
          <a:xfrm>
            <a:off x="3578400" y="1990463"/>
            <a:ext cx="792000" cy="288000"/>
          </a:xfrm>
          <a:prstGeom prst="rect">
            <a:avLst/>
          </a:prstGeom>
          <a:solidFill>
            <a:srgbClr val="9999A9"/>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66" name="Rechteck 65">
            <a:extLst>
              <a:ext uri="{FF2B5EF4-FFF2-40B4-BE49-F238E27FC236}">
                <a16:creationId xmlns:a16="http://schemas.microsoft.com/office/drawing/2014/main" id="{C675AE2B-AC0E-A341-AE1A-1D43165265E2}"/>
              </a:ext>
            </a:extLst>
          </p:cNvPr>
          <p:cNvSpPr/>
          <p:nvPr/>
        </p:nvSpPr>
        <p:spPr>
          <a:xfrm>
            <a:off x="3578400" y="1702463"/>
            <a:ext cx="792000" cy="288000"/>
          </a:xfrm>
          <a:prstGeom prst="rect">
            <a:avLst/>
          </a:prstGeom>
          <a:solidFill>
            <a:srgbClr val="CCCCD4"/>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67" name="Rechteck 66">
            <a:extLst>
              <a:ext uri="{FF2B5EF4-FFF2-40B4-BE49-F238E27FC236}">
                <a16:creationId xmlns:a16="http://schemas.microsoft.com/office/drawing/2014/main" id="{F2841A97-2B64-F842-B07A-4E96EE00293C}"/>
              </a:ext>
            </a:extLst>
          </p:cNvPr>
          <p:cNvSpPr/>
          <p:nvPr/>
        </p:nvSpPr>
        <p:spPr>
          <a:xfrm>
            <a:off x="3578400" y="1414463"/>
            <a:ext cx="792000" cy="288000"/>
          </a:xfrm>
          <a:prstGeom prst="rect">
            <a:avLst/>
          </a:prstGeom>
          <a:solidFill>
            <a:srgbClr val="E5E5E9"/>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68" name="Rechteck 67">
            <a:extLst>
              <a:ext uri="{FF2B5EF4-FFF2-40B4-BE49-F238E27FC236}">
                <a16:creationId xmlns:a16="http://schemas.microsoft.com/office/drawing/2014/main" id="{A1FADF89-A662-A64E-99B2-ECF0C456AD23}"/>
              </a:ext>
            </a:extLst>
          </p:cNvPr>
          <p:cNvSpPr/>
          <p:nvPr/>
        </p:nvSpPr>
        <p:spPr>
          <a:xfrm>
            <a:off x="3578400" y="2566463"/>
            <a:ext cx="792000" cy="288000"/>
          </a:xfrm>
          <a:prstGeom prst="rect">
            <a:avLst/>
          </a:prstGeom>
          <a:solidFill>
            <a:srgbClr val="33335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79" name="Inhaltsplatzhalter 2">
            <a:extLst>
              <a:ext uri="{FF2B5EF4-FFF2-40B4-BE49-F238E27FC236}">
                <a16:creationId xmlns:a16="http://schemas.microsoft.com/office/drawing/2014/main" id="{FC04C5B2-01DB-4E34-AF1F-E42C8152CB6F}"/>
              </a:ext>
            </a:extLst>
          </p:cNvPr>
          <p:cNvSpPr txBox="1">
            <a:spLocks/>
          </p:cNvSpPr>
          <p:nvPr/>
        </p:nvSpPr>
        <p:spPr>
          <a:xfrm>
            <a:off x="3578400" y="2854800"/>
            <a:ext cx="1080000" cy="432000"/>
          </a:xfrm>
          <a:prstGeom prst="rect">
            <a:avLst/>
          </a:prstGeom>
        </p:spPr>
        <p:txBody>
          <a:bodyPr lIns="0" tIns="72000" rIns="0" bIns="0"/>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900" dirty="0"/>
              <a:t>Diagram and table </a:t>
            </a:r>
          </a:p>
          <a:p>
            <a:pPr>
              <a:lnSpc>
                <a:spcPct val="100000"/>
              </a:lnSpc>
            </a:pPr>
            <a:r>
              <a:rPr lang="en-US" sz="900" dirty="0"/>
              <a:t>backgrounds in gray</a:t>
            </a:r>
          </a:p>
        </p:txBody>
      </p:sp>
    </p:spTree>
    <p:extLst>
      <p:ext uri="{BB962C8B-B14F-4D97-AF65-F5344CB8AC3E}">
        <p14:creationId xmlns:p14="http://schemas.microsoft.com/office/powerpoint/2010/main" val="196875278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kt 25"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3" imgW="360" imgH="360" progId="">
                  <p:embed/>
                </p:oleObj>
              </mc:Choice>
              <mc:Fallback>
                <p:oleObj name="think-cell Folie" r:id="rId3" imgW="360" imgH="360" progId="">
                  <p:embed/>
                  <p:pic>
                    <p:nvPicPr>
                      <p:cNvPr id="26" name="Objekt 2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en-US" dirty="0"/>
              <a:t>Further topic overviews – with sections</a:t>
            </a:r>
          </a:p>
        </p:txBody>
      </p:sp>
      <p:cxnSp>
        <p:nvCxnSpPr>
          <p:cNvPr id="54" name="Gerade Verbindung mit Pfeil 53"/>
          <p:cNvCxnSpPr>
            <a:cxnSpLocks/>
          </p:cNvCxnSpPr>
          <p:nvPr/>
        </p:nvCxnSpPr>
        <p:spPr bwMode="auto">
          <a:xfrm>
            <a:off x="410400" y="1738800"/>
            <a:ext cx="5109788" cy="0"/>
          </a:xfrm>
          <a:prstGeom prst="straightConnector1">
            <a:avLst/>
          </a:prstGeom>
          <a:noFill/>
          <a:ln w="12700" cap="flat" cmpd="sng" algn="ctr">
            <a:solidFill>
              <a:srgbClr val="66667E"/>
            </a:solidFill>
            <a:prstDash val="solid"/>
            <a:round/>
            <a:headEnd type="none" w="lg" len="lg"/>
            <a:tailEnd type="none" w="lg" len="lg"/>
          </a:ln>
          <a:effectLst/>
        </p:spPr>
      </p:cxnSp>
      <p:cxnSp>
        <p:nvCxnSpPr>
          <p:cNvPr id="57" name="Gerade Verbindung mit Pfeil 56"/>
          <p:cNvCxnSpPr>
            <a:cxnSpLocks/>
          </p:cNvCxnSpPr>
          <p:nvPr/>
        </p:nvCxnSpPr>
        <p:spPr bwMode="auto">
          <a:xfrm flipH="1">
            <a:off x="7931619" y="2736361"/>
            <a:ext cx="3855569" cy="0"/>
          </a:xfrm>
          <a:prstGeom prst="straightConnector1">
            <a:avLst/>
          </a:prstGeom>
          <a:noFill/>
          <a:ln w="12700" cap="flat" cmpd="sng" algn="ctr">
            <a:solidFill>
              <a:srgbClr val="66667E"/>
            </a:solidFill>
            <a:prstDash val="solid"/>
            <a:round/>
            <a:headEnd type="none" w="lg" len="lg"/>
            <a:tailEnd type="none" w="lg" len="lg"/>
          </a:ln>
          <a:effectLst/>
        </p:spPr>
      </p:cxnSp>
      <p:cxnSp>
        <p:nvCxnSpPr>
          <p:cNvPr id="62" name="Gerade Verbindung mit Pfeil 61"/>
          <p:cNvCxnSpPr>
            <a:cxnSpLocks/>
          </p:cNvCxnSpPr>
          <p:nvPr/>
        </p:nvCxnSpPr>
        <p:spPr bwMode="auto">
          <a:xfrm>
            <a:off x="411163" y="3241387"/>
            <a:ext cx="3633793" cy="0"/>
          </a:xfrm>
          <a:prstGeom prst="straightConnector1">
            <a:avLst/>
          </a:prstGeom>
          <a:noFill/>
          <a:ln w="12700" cap="flat" cmpd="sng" algn="ctr">
            <a:solidFill>
              <a:srgbClr val="66667E"/>
            </a:solidFill>
            <a:prstDash val="solid"/>
            <a:round/>
            <a:headEnd type="none" w="lg" len="lg"/>
            <a:tailEnd type="none" w="lg" len="lg"/>
          </a:ln>
          <a:effectLst/>
        </p:spPr>
      </p:cxnSp>
      <p:cxnSp>
        <p:nvCxnSpPr>
          <p:cNvPr id="69" name="Gerade Verbindung mit Pfeil 68"/>
          <p:cNvCxnSpPr>
            <a:cxnSpLocks/>
          </p:cNvCxnSpPr>
          <p:nvPr/>
        </p:nvCxnSpPr>
        <p:spPr bwMode="auto">
          <a:xfrm flipH="1">
            <a:off x="8183489" y="4288174"/>
            <a:ext cx="3603699" cy="0"/>
          </a:xfrm>
          <a:prstGeom prst="straightConnector1">
            <a:avLst/>
          </a:prstGeom>
          <a:noFill/>
          <a:ln w="12700" cap="flat" cmpd="sng" algn="ctr">
            <a:solidFill>
              <a:srgbClr val="66667E"/>
            </a:solidFill>
            <a:prstDash val="solid"/>
            <a:round/>
            <a:headEnd type="none" w="lg" len="lg"/>
            <a:tailEnd type="none" w="lg" len="lg"/>
          </a:ln>
          <a:effectLst/>
        </p:spPr>
      </p:cxnSp>
      <p:cxnSp>
        <p:nvCxnSpPr>
          <p:cNvPr id="73" name="Gerade Verbindung mit Pfeil 72"/>
          <p:cNvCxnSpPr>
            <a:cxnSpLocks/>
          </p:cNvCxnSpPr>
          <p:nvPr/>
        </p:nvCxnSpPr>
        <p:spPr bwMode="auto">
          <a:xfrm flipH="1">
            <a:off x="6672275" y="5842356"/>
            <a:ext cx="5114913" cy="0"/>
          </a:xfrm>
          <a:prstGeom prst="straightConnector1">
            <a:avLst/>
          </a:prstGeom>
          <a:noFill/>
          <a:ln w="12700" cap="flat" cmpd="sng" algn="ctr">
            <a:solidFill>
              <a:srgbClr val="66667E"/>
            </a:solidFill>
            <a:prstDash val="solid"/>
            <a:round/>
            <a:headEnd type="none" w="lg" len="lg"/>
            <a:tailEnd type="none" w="lg" len="lg"/>
          </a:ln>
          <a:effectLst/>
        </p:spPr>
      </p:cxnSp>
      <p:cxnSp>
        <p:nvCxnSpPr>
          <p:cNvPr id="78" name="Gerade Verbindung mit Pfeil 77"/>
          <p:cNvCxnSpPr>
            <a:cxnSpLocks/>
          </p:cNvCxnSpPr>
          <p:nvPr/>
        </p:nvCxnSpPr>
        <p:spPr bwMode="auto">
          <a:xfrm>
            <a:off x="411163" y="4886450"/>
            <a:ext cx="3849681" cy="0"/>
          </a:xfrm>
          <a:prstGeom prst="straightConnector1">
            <a:avLst/>
          </a:prstGeom>
          <a:noFill/>
          <a:ln w="12700" cap="flat" cmpd="sng" algn="ctr">
            <a:solidFill>
              <a:srgbClr val="66667E"/>
            </a:solidFill>
            <a:prstDash val="solid"/>
            <a:round/>
            <a:headEnd type="none" w="lg" len="lg"/>
            <a:tailEnd type="none" w="lg" len="lg"/>
          </a:ln>
          <a:effectLst/>
        </p:spPr>
      </p:cxnSp>
      <p:sp>
        <p:nvSpPr>
          <p:cNvPr id="59" name="Rechteck 28"/>
          <p:cNvSpPr/>
          <p:nvPr/>
        </p:nvSpPr>
        <p:spPr bwMode="gray">
          <a:xfrm>
            <a:off x="410400" y="1738800"/>
            <a:ext cx="2518688" cy="650823"/>
          </a:xfrm>
          <a:prstGeom prst="rect">
            <a:avLst/>
          </a:prstGeom>
          <a:noFill/>
          <a:ln w="19050">
            <a:noFill/>
            <a:miter lim="800000"/>
          </a:ln>
          <a:effectLst/>
        </p:spPr>
        <p:txBody>
          <a:bodyPr wrap="square" lIns="0" tIns="71963" rIns="0" bIns="108000" numCol="1" spcCol="72000" rtlCol="0" anchor="t" anchorCtr="0">
            <a:spAutoFit/>
          </a:bodyPr>
          <a:lstStyle/>
          <a:p>
            <a:pPr>
              <a:defRPr/>
            </a:pPr>
            <a:r>
              <a:rPr lang="en-US" altLang="de-DE" sz="1599" b="1" dirty="0">
                <a:solidFill>
                  <a:schemeClr val="accent1"/>
                </a:solidFill>
                <a:ea typeface="Arial Unicode MS"/>
              </a:rPr>
              <a:t>Phasellus nec sem</a:t>
            </a:r>
          </a:p>
          <a:p>
            <a:pPr marL="0" lvl="1">
              <a:spcBef>
                <a:spcPts val="300"/>
              </a:spcBef>
              <a:buClr>
                <a:srgbClr val="3C464B"/>
              </a:buClr>
              <a:defRPr/>
            </a:pPr>
            <a:r>
              <a:rPr lang="en-US" altLang="de-DE" sz="1199" dirty="0">
                <a:solidFill>
                  <a:srgbClr val="66667E"/>
                </a:solidFill>
                <a:ea typeface="Arial Unicode MS"/>
                <a:cs typeface="Arial" pitchFamily="34" charset="0"/>
              </a:rPr>
              <a:t>At vero eos et accusam</a:t>
            </a:r>
          </a:p>
        </p:txBody>
      </p:sp>
      <p:sp>
        <p:nvSpPr>
          <p:cNvPr id="28" name="Rechteck 28">
            <a:extLst>
              <a:ext uri="{FF2B5EF4-FFF2-40B4-BE49-F238E27FC236}">
                <a16:creationId xmlns:a16="http://schemas.microsoft.com/office/drawing/2014/main" id="{050EFFBC-36C2-DE45-9AA2-035CB9F283D8}"/>
              </a:ext>
            </a:extLst>
          </p:cNvPr>
          <p:cNvSpPr/>
          <p:nvPr/>
        </p:nvSpPr>
        <p:spPr bwMode="gray">
          <a:xfrm>
            <a:off x="410400" y="3241387"/>
            <a:ext cx="2518688" cy="1079438"/>
          </a:xfrm>
          <a:prstGeom prst="rect">
            <a:avLst/>
          </a:prstGeom>
          <a:noFill/>
          <a:ln w="19050">
            <a:noFill/>
            <a:miter lim="800000"/>
          </a:ln>
          <a:effectLst/>
        </p:spPr>
        <p:txBody>
          <a:bodyPr wrap="square" lIns="0" tIns="72000" rIns="0" bIns="108000" numCol="1" spcCol="72000" rtlCol="0" anchor="t" anchorCtr="0">
            <a:spAutoFit/>
          </a:bodyPr>
          <a:lstStyle/>
          <a:p>
            <a:pPr>
              <a:defRPr/>
            </a:pPr>
            <a:r>
              <a:rPr lang="en-US" altLang="de-DE" sz="1599" b="1" dirty="0">
                <a:solidFill>
                  <a:schemeClr val="accent1"/>
                </a:solidFill>
                <a:ea typeface="Arial Unicode MS"/>
              </a:rPr>
              <a:t>Duis arcu tortor, </a:t>
            </a:r>
            <a:br>
              <a:rPr lang="en-US" altLang="de-DE" sz="1599" b="1" dirty="0">
                <a:solidFill>
                  <a:schemeClr val="accent1"/>
                </a:solidFill>
                <a:ea typeface="Arial Unicode MS"/>
              </a:rPr>
            </a:br>
            <a:r>
              <a:rPr lang="en-US" altLang="de-DE" sz="1599" b="1" dirty="0">
                <a:solidFill>
                  <a:schemeClr val="accent1"/>
                </a:solidFill>
                <a:ea typeface="Arial Unicode MS"/>
              </a:rPr>
              <a:t>suscipit eget</a:t>
            </a:r>
          </a:p>
          <a:p>
            <a:pPr marL="0" lvl="1">
              <a:spcBef>
                <a:spcPts val="300"/>
              </a:spcBef>
              <a:buClr>
                <a:srgbClr val="3C464B"/>
              </a:buClr>
              <a:defRPr/>
            </a:pPr>
            <a:r>
              <a:rPr lang="en-US" altLang="de-DE" sz="1199" dirty="0">
                <a:solidFill>
                  <a:srgbClr val="66667E"/>
                </a:solidFill>
                <a:ea typeface="Arial Unicode MS"/>
                <a:cs typeface="Arial" pitchFamily="34" charset="0"/>
              </a:rPr>
              <a:t>Duis arcu tortor, suscipit eget, imperdiet nec, imperdiet</a:t>
            </a:r>
          </a:p>
        </p:txBody>
      </p:sp>
      <p:sp>
        <p:nvSpPr>
          <p:cNvPr id="29" name="Rechteck 28">
            <a:extLst>
              <a:ext uri="{FF2B5EF4-FFF2-40B4-BE49-F238E27FC236}">
                <a16:creationId xmlns:a16="http://schemas.microsoft.com/office/drawing/2014/main" id="{1FEE4CC2-4328-934E-AEDF-6895F94B8965}"/>
              </a:ext>
            </a:extLst>
          </p:cNvPr>
          <p:cNvSpPr/>
          <p:nvPr/>
        </p:nvSpPr>
        <p:spPr bwMode="gray">
          <a:xfrm>
            <a:off x="410400" y="4886450"/>
            <a:ext cx="2518688" cy="835398"/>
          </a:xfrm>
          <a:prstGeom prst="rect">
            <a:avLst/>
          </a:prstGeom>
          <a:noFill/>
          <a:ln w="19050">
            <a:noFill/>
            <a:miter lim="800000"/>
          </a:ln>
          <a:effectLst/>
        </p:spPr>
        <p:txBody>
          <a:bodyPr wrap="square" lIns="0" tIns="72000" rIns="0" bIns="108000" numCol="1" spcCol="72000" rtlCol="0" anchor="t" anchorCtr="0">
            <a:spAutoFit/>
          </a:bodyPr>
          <a:lstStyle/>
          <a:p>
            <a:pPr>
              <a:defRPr/>
            </a:pPr>
            <a:r>
              <a:rPr lang="en-US" altLang="de-DE" sz="1599" b="1" dirty="0">
                <a:solidFill>
                  <a:schemeClr val="accent1"/>
                </a:solidFill>
                <a:ea typeface="Arial Unicode MS"/>
              </a:rPr>
              <a:t>Phasellus nec sem</a:t>
            </a:r>
          </a:p>
          <a:p>
            <a:pPr marL="0" lvl="1">
              <a:spcBef>
                <a:spcPts val="300"/>
              </a:spcBef>
              <a:buClr>
                <a:srgbClr val="3C464B"/>
              </a:buClr>
              <a:defRPr/>
            </a:pPr>
            <a:r>
              <a:rPr lang="en-US" altLang="de-DE" sz="1199" dirty="0">
                <a:solidFill>
                  <a:srgbClr val="66667E"/>
                </a:solidFill>
                <a:ea typeface="Arial Unicode MS"/>
                <a:cs typeface="Arial" pitchFamily="34" charset="0"/>
              </a:rPr>
              <a:t>Duis arcu tortor, suscipit eget</a:t>
            </a:r>
            <a:br>
              <a:rPr lang="en-US" altLang="de-DE" sz="1199" dirty="0">
                <a:solidFill>
                  <a:srgbClr val="66667E"/>
                </a:solidFill>
                <a:ea typeface="Arial Unicode MS"/>
                <a:cs typeface="Arial" pitchFamily="34" charset="0"/>
              </a:rPr>
            </a:br>
            <a:r>
              <a:rPr lang="en-US" altLang="de-DE" sz="1199" dirty="0">
                <a:solidFill>
                  <a:srgbClr val="66667E"/>
                </a:solidFill>
                <a:ea typeface="Arial Unicode MS"/>
                <a:cs typeface="Arial" pitchFamily="34" charset="0"/>
              </a:rPr>
              <a:t>At vero eos et accusam</a:t>
            </a:r>
          </a:p>
        </p:txBody>
      </p:sp>
      <p:sp>
        <p:nvSpPr>
          <p:cNvPr id="30" name="Rechteck 28">
            <a:extLst>
              <a:ext uri="{FF2B5EF4-FFF2-40B4-BE49-F238E27FC236}">
                <a16:creationId xmlns:a16="http://schemas.microsoft.com/office/drawing/2014/main" id="{C4445195-59A9-E241-AAA6-EC9046C822D2}"/>
              </a:ext>
            </a:extLst>
          </p:cNvPr>
          <p:cNvSpPr/>
          <p:nvPr/>
        </p:nvSpPr>
        <p:spPr bwMode="gray">
          <a:xfrm>
            <a:off x="9266400" y="1656923"/>
            <a:ext cx="2518688" cy="1079438"/>
          </a:xfrm>
          <a:prstGeom prst="rect">
            <a:avLst/>
          </a:prstGeom>
          <a:noFill/>
          <a:ln w="19050">
            <a:noFill/>
            <a:miter lim="800000"/>
          </a:ln>
          <a:effectLst/>
        </p:spPr>
        <p:txBody>
          <a:bodyPr wrap="square" lIns="0" tIns="72000" rIns="0" bIns="107944" numCol="1" spcCol="72000" rtlCol="0" anchor="b" anchorCtr="0">
            <a:noAutofit/>
          </a:bodyPr>
          <a:lstStyle/>
          <a:p>
            <a:pPr algn="r">
              <a:defRPr/>
            </a:pPr>
            <a:r>
              <a:rPr lang="en-US" altLang="de-DE" sz="1599" b="1" dirty="0">
                <a:solidFill>
                  <a:schemeClr val="accent1"/>
                </a:solidFill>
                <a:ea typeface="Arial Unicode MS"/>
              </a:rPr>
              <a:t>Cras ultricies mi eu</a:t>
            </a:r>
          </a:p>
          <a:p>
            <a:pPr marL="0" lvl="1" algn="r">
              <a:spcBef>
                <a:spcPts val="300"/>
              </a:spcBef>
              <a:buClr>
                <a:srgbClr val="3C464B"/>
              </a:buClr>
              <a:defRPr/>
            </a:pPr>
            <a:r>
              <a:rPr lang="en-US" altLang="de-DE" sz="1199" dirty="0">
                <a:solidFill>
                  <a:srgbClr val="66667E"/>
                </a:solidFill>
                <a:ea typeface="Arial Unicode MS"/>
                <a:cs typeface="Arial" pitchFamily="34" charset="0"/>
              </a:rPr>
              <a:t>Duis arcu tortor, suscipit eget, imperdiet nec, imperdiet </a:t>
            </a:r>
            <a:br>
              <a:rPr lang="en-US" altLang="de-DE" sz="1199" dirty="0">
                <a:solidFill>
                  <a:srgbClr val="66667E"/>
                </a:solidFill>
                <a:ea typeface="Arial Unicode MS"/>
                <a:cs typeface="Arial" pitchFamily="34" charset="0"/>
              </a:rPr>
            </a:br>
            <a:r>
              <a:rPr lang="en-US" altLang="de-DE" sz="1199" dirty="0">
                <a:solidFill>
                  <a:srgbClr val="66667E"/>
                </a:solidFill>
                <a:ea typeface="Arial Unicode MS"/>
                <a:cs typeface="Arial" pitchFamily="34" charset="0"/>
              </a:rPr>
              <a:t>iaculis, ipsum</a:t>
            </a:r>
          </a:p>
        </p:txBody>
      </p:sp>
      <p:sp>
        <p:nvSpPr>
          <p:cNvPr id="31" name="Rechteck 28">
            <a:extLst>
              <a:ext uri="{FF2B5EF4-FFF2-40B4-BE49-F238E27FC236}">
                <a16:creationId xmlns:a16="http://schemas.microsoft.com/office/drawing/2014/main" id="{7FECF5C7-7D9A-0B48-8019-2235ECECA2D1}"/>
              </a:ext>
            </a:extLst>
          </p:cNvPr>
          <p:cNvSpPr/>
          <p:nvPr/>
        </p:nvSpPr>
        <p:spPr bwMode="gray">
          <a:xfrm>
            <a:off x="9266400" y="3022145"/>
            <a:ext cx="2518688" cy="1266029"/>
          </a:xfrm>
          <a:prstGeom prst="rect">
            <a:avLst/>
          </a:prstGeom>
          <a:noFill/>
          <a:ln w="19050">
            <a:noFill/>
            <a:miter lim="800000"/>
          </a:ln>
          <a:effectLst/>
        </p:spPr>
        <p:txBody>
          <a:bodyPr wrap="square" lIns="0" tIns="72000" rIns="0" bIns="108000" numCol="1" spcCol="72000" rtlCol="0" anchor="b" anchorCtr="0">
            <a:spAutoFit/>
          </a:bodyPr>
          <a:lstStyle/>
          <a:p>
            <a:pPr algn="r">
              <a:defRPr/>
            </a:pPr>
            <a:r>
              <a:rPr lang="en-US" altLang="de-DE" sz="1599" b="1" dirty="0">
                <a:solidFill>
                  <a:schemeClr val="accent1"/>
                </a:solidFill>
                <a:ea typeface="Arial Unicode MS"/>
              </a:rPr>
              <a:t>Duis arcu tortor, </a:t>
            </a:r>
            <a:br>
              <a:rPr lang="en-US" altLang="de-DE" sz="1599" b="1" dirty="0">
                <a:solidFill>
                  <a:schemeClr val="accent1"/>
                </a:solidFill>
                <a:ea typeface="Arial Unicode MS"/>
              </a:rPr>
            </a:br>
            <a:r>
              <a:rPr lang="en-US" altLang="de-DE" sz="1599" b="1" dirty="0">
                <a:solidFill>
                  <a:schemeClr val="accent1"/>
                </a:solidFill>
                <a:ea typeface="Arial Unicode MS"/>
              </a:rPr>
              <a:t>suscipit eget</a:t>
            </a:r>
          </a:p>
          <a:p>
            <a:pPr marL="0" lvl="1" algn="r">
              <a:spcBef>
                <a:spcPts val="300"/>
              </a:spcBef>
              <a:buClr>
                <a:srgbClr val="3C464B"/>
              </a:buClr>
              <a:defRPr/>
            </a:pPr>
            <a:r>
              <a:rPr lang="en-US" altLang="de-DE" sz="1199" dirty="0">
                <a:solidFill>
                  <a:srgbClr val="66667E"/>
                </a:solidFill>
                <a:ea typeface="Arial Unicode MS"/>
                <a:cs typeface="Arial" pitchFamily="34" charset="0"/>
              </a:rPr>
              <a:t>Phasellus nec sem</a:t>
            </a:r>
            <a:br>
              <a:rPr lang="en-US" altLang="de-DE" sz="1199" dirty="0">
                <a:solidFill>
                  <a:srgbClr val="66667E"/>
                </a:solidFill>
                <a:ea typeface="Arial Unicode MS"/>
                <a:cs typeface="Arial" pitchFamily="34" charset="0"/>
              </a:rPr>
            </a:br>
            <a:r>
              <a:rPr lang="en-US" altLang="de-DE" sz="1199" dirty="0">
                <a:solidFill>
                  <a:srgbClr val="66667E"/>
                </a:solidFill>
                <a:ea typeface="Arial Unicode MS"/>
                <a:cs typeface="Arial" pitchFamily="34" charset="0"/>
              </a:rPr>
              <a:t>Maecenas nec odio</a:t>
            </a:r>
            <a:br>
              <a:rPr lang="en-US" altLang="de-DE" sz="1199" dirty="0">
                <a:solidFill>
                  <a:srgbClr val="66667E"/>
                </a:solidFill>
                <a:ea typeface="Arial Unicode MS"/>
                <a:cs typeface="Arial" pitchFamily="34" charset="0"/>
              </a:rPr>
            </a:br>
            <a:r>
              <a:rPr lang="en-US" altLang="de-DE" sz="1199" dirty="0">
                <a:solidFill>
                  <a:srgbClr val="66667E"/>
                </a:solidFill>
                <a:ea typeface="Arial Unicode MS"/>
                <a:cs typeface="Arial" pitchFamily="34" charset="0"/>
              </a:rPr>
              <a:t>Lorem ipsum</a:t>
            </a:r>
          </a:p>
        </p:txBody>
      </p:sp>
      <p:sp>
        <p:nvSpPr>
          <p:cNvPr id="32" name="Rechteck 31">
            <a:extLst>
              <a:ext uri="{FF2B5EF4-FFF2-40B4-BE49-F238E27FC236}">
                <a16:creationId xmlns:a16="http://schemas.microsoft.com/office/drawing/2014/main" id="{0DE3EB72-A609-A54A-B3DF-792D571E0CD9}"/>
              </a:ext>
            </a:extLst>
          </p:cNvPr>
          <p:cNvSpPr/>
          <p:nvPr/>
        </p:nvSpPr>
        <p:spPr bwMode="gray">
          <a:xfrm>
            <a:off x="9266400" y="5191495"/>
            <a:ext cx="2518688" cy="650861"/>
          </a:xfrm>
          <a:prstGeom prst="rect">
            <a:avLst/>
          </a:prstGeom>
          <a:noFill/>
          <a:ln w="19050">
            <a:noFill/>
            <a:miter lim="800000"/>
          </a:ln>
          <a:effectLst/>
        </p:spPr>
        <p:txBody>
          <a:bodyPr wrap="square" lIns="0" tIns="72000" rIns="0" bIns="108000" numCol="1" spcCol="72000" rtlCol="0" anchor="b" anchorCtr="0">
            <a:spAutoFit/>
          </a:bodyPr>
          <a:lstStyle/>
          <a:p>
            <a:pPr algn="r">
              <a:defRPr/>
            </a:pPr>
            <a:r>
              <a:rPr lang="en-US" altLang="de-DE" sz="1599" b="1" dirty="0">
                <a:solidFill>
                  <a:schemeClr val="accent1"/>
                </a:solidFill>
                <a:ea typeface="Arial Unicode MS"/>
              </a:rPr>
              <a:t>Cras ultricies mi eu</a:t>
            </a:r>
          </a:p>
          <a:p>
            <a:pPr marL="0" lvl="1" algn="r">
              <a:spcBef>
                <a:spcPts val="300"/>
              </a:spcBef>
              <a:buClr>
                <a:srgbClr val="3C464B"/>
              </a:buClr>
              <a:defRPr/>
            </a:pPr>
            <a:r>
              <a:rPr lang="en-US" altLang="de-DE" sz="1199" dirty="0">
                <a:solidFill>
                  <a:srgbClr val="66667E"/>
                </a:solidFill>
                <a:ea typeface="Arial Unicode MS"/>
                <a:cs typeface="Arial" pitchFamily="34" charset="0"/>
              </a:rPr>
              <a:t>At vero eos et accusam</a:t>
            </a:r>
          </a:p>
        </p:txBody>
      </p:sp>
      <p:grpSp>
        <p:nvGrpSpPr>
          <p:cNvPr id="3" name="Group 2">
            <a:extLst>
              <a:ext uri="{FF2B5EF4-FFF2-40B4-BE49-F238E27FC236}">
                <a16:creationId xmlns:a16="http://schemas.microsoft.com/office/drawing/2014/main" id="{D328F3D6-FF36-4B51-B912-E3EF7490762F}"/>
              </a:ext>
            </a:extLst>
          </p:cNvPr>
          <p:cNvGrpSpPr/>
          <p:nvPr/>
        </p:nvGrpSpPr>
        <p:grpSpPr>
          <a:xfrm>
            <a:off x="4046399" y="1738799"/>
            <a:ext cx="4104000" cy="4104000"/>
            <a:chOff x="4057537" y="1752646"/>
            <a:chExt cx="4097505" cy="4098849"/>
          </a:xfrm>
        </p:grpSpPr>
        <p:sp>
          <p:nvSpPr>
            <p:cNvPr id="65" name="Freeform 64"/>
            <p:cNvSpPr>
              <a:spLocks/>
            </p:cNvSpPr>
            <p:nvPr/>
          </p:nvSpPr>
          <p:spPr bwMode="auto">
            <a:xfrm>
              <a:off x="5038838" y="4538515"/>
              <a:ext cx="2133557" cy="1312980"/>
            </a:xfrm>
            <a:custGeom>
              <a:avLst/>
              <a:gdLst>
                <a:gd name="connsiteX0" fmla="*/ 1490207 w 2134668"/>
                <a:gd name="connsiteY0" fmla="*/ 0 h 1313664"/>
                <a:gd name="connsiteX1" fmla="*/ 2134668 w 2134668"/>
                <a:gd name="connsiteY1" fmla="*/ 1014585 h 1313664"/>
                <a:gd name="connsiteX2" fmla="*/ 1065840 w 2134668"/>
                <a:gd name="connsiteY2" fmla="*/ 1313664 h 1313664"/>
                <a:gd name="connsiteX3" fmla="*/ 0 w 2134668"/>
                <a:gd name="connsiteY3" fmla="*/ 1014585 h 1313664"/>
                <a:gd name="connsiteX4" fmla="*/ 640133 w 2134668"/>
                <a:gd name="connsiteY4" fmla="*/ 5516 h 1313664"/>
                <a:gd name="connsiteX5" fmla="*/ 726652 w 2134668"/>
                <a:gd name="connsiteY5" fmla="*/ 52477 h 1313664"/>
                <a:gd name="connsiteX6" fmla="*/ 1060088 w 2134668"/>
                <a:gd name="connsiteY6" fmla="*/ 119795 h 1313664"/>
                <a:gd name="connsiteX7" fmla="*/ 1393525 w 2134668"/>
                <a:gd name="connsiteY7" fmla="*/ 52477 h 1313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34668" h="1313664">
                  <a:moveTo>
                    <a:pt x="1490207" y="0"/>
                  </a:moveTo>
                  <a:lnTo>
                    <a:pt x="2134668" y="1014585"/>
                  </a:lnTo>
                  <a:cubicBezTo>
                    <a:pt x="1822793" y="1205514"/>
                    <a:pt x="1457125" y="1313664"/>
                    <a:pt x="1065840" y="1313664"/>
                  </a:cubicBezTo>
                  <a:cubicBezTo>
                    <a:pt x="674342" y="1313664"/>
                    <a:pt x="308673" y="1205514"/>
                    <a:pt x="0" y="1014585"/>
                  </a:cubicBezTo>
                  <a:lnTo>
                    <a:pt x="640133" y="5516"/>
                  </a:lnTo>
                  <a:lnTo>
                    <a:pt x="726652" y="52477"/>
                  </a:lnTo>
                  <a:cubicBezTo>
                    <a:pt x="829137" y="95825"/>
                    <a:pt x="941813" y="119795"/>
                    <a:pt x="1060088" y="119795"/>
                  </a:cubicBezTo>
                  <a:cubicBezTo>
                    <a:pt x="1178363" y="119795"/>
                    <a:pt x="1291040" y="95825"/>
                    <a:pt x="1393525" y="52477"/>
                  </a:cubicBezTo>
                  <a:close/>
                </a:path>
              </a:pathLst>
            </a:custGeom>
            <a:solidFill>
              <a:srgbClr val="E5E5E9"/>
            </a:solidFill>
            <a:ln w="19050">
              <a:noFill/>
              <a:miter lim="800000"/>
            </a:ln>
            <a:effectLst/>
          </p:spPr>
          <p:txBody>
            <a:bodyPr wrap="square" lIns="143925" tIns="143925" rIns="143925" bIns="71963" rtlCol="0" anchor="ctr">
              <a:noAutofit/>
            </a:bodyPr>
            <a:lstStyle/>
            <a:p>
              <a:pPr marL="0" lvl="1" algn="ctr" eaLnBrk="0" hangingPunct="0">
                <a:lnSpc>
                  <a:spcPct val="90000"/>
                </a:lnSpc>
              </a:pPr>
              <a:r>
                <a:rPr lang="en-US" sz="1200" dirty="0">
                  <a:solidFill>
                    <a:srgbClr val="333353"/>
                  </a:solidFill>
                </a:rPr>
                <a:t>Ultricies </a:t>
              </a:r>
              <a:br>
                <a:rPr lang="en-US" sz="1200" dirty="0">
                  <a:solidFill>
                    <a:srgbClr val="333353"/>
                  </a:solidFill>
                </a:rPr>
              </a:br>
              <a:r>
                <a:rPr lang="en-US" sz="1200" dirty="0">
                  <a:solidFill>
                    <a:srgbClr val="333353"/>
                  </a:solidFill>
                </a:rPr>
                <a:t>mi eu</a:t>
              </a:r>
            </a:p>
          </p:txBody>
        </p:sp>
        <p:sp>
          <p:nvSpPr>
            <p:cNvPr id="67" name="Freeform 66"/>
            <p:cNvSpPr>
              <a:spLocks/>
            </p:cNvSpPr>
            <p:nvPr/>
          </p:nvSpPr>
          <p:spPr bwMode="auto">
            <a:xfrm>
              <a:off x="4057538" y="3839087"/>
              <a:ext cx="1555413" cy="1671847"/>
            </a:xfrm>
            <a:custGeom>
              <a:avLst/>
              <a:gdLst>
                <a:gd name="connsiteX0" fmla="*/ 0 w 1556223"/>
                <a:gd name="connsiteY0" fmla="*/ 0 h 1672718"/>
                <a:gd name="connsiteX1" fmla="*/ 1187147 w 1556223"/>
                <a:gd name="connsiteY1" fmla="*/ 0 h 1672718"/>
                <a:gd name="connsiteX2" fmla="*/ 1189700 w 1556223"/>
                <a:gd name="connsiteY2" fmla="*/ 50549 h 1672718"/>
                <a:gd name="connsiteX3" fmla="*/ 1436177 w 1556223"/>
                <a:gd name="connsiteY3" fmla="*/ 568689 h 1672718"/>
                <a:gd name="connsiteX4" fmla="*/ 1556223 w 1556223"/>
                <a:gd name="connsiteY4" fmla="*/ 667736 h 1672718"/>
                <a:gd name="connsiteX5" fmla="*/ 915933 w 1556223"/>
                <a:gd name="connsiteY5" fmla="*/ 1672718 h 1672718"/>
                <a:gd name="connsiteX6" fmla="*/ 0 w 1556223"/>
                <a:gd name="connsiteY6" fmla="*/ 0 h 1672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6223" h="1672718">
                  <a:moveTo>
                    <a:pt x="0" y="0"/>
                  </a:moveTo>
                  <a:lnTo>
                    <a:pt x="1187147" y="0"/>
                  </a:lnTo>
                  <a:lnTo>
                    <a:pt x="1189700" y="50549"/>
                  </a:lnTo>
                  <a:cubicBezTo>
                    <a:pt x="1210172" y="252129"/>
                    <a:pt x="1300536" y="433048"/>
                    <a:pt x="1436177" y="568689"/>
                  </a:cubicBezTo>
                  <a:lnTo>
                    <a:pt x="1556223" y="667736"/>
                  </a:lnTo>
                  <a:lnTo>
                    <a:pt x="915933" y="1672718"/>
                  </a:lnTo>
                  <a:cubicBezTo>
                    <a:pt x="372108" y="1313418"/>
                    <a:pt x="12778" y="699698"/>
                    <a:pt x="0" y="0"/>
                  </a:cubicBezTo>
                  <a:close/>
                </a:path>
              </a:pathLst>
            </a:custGeom>
            <a:solidFill>
              <a:srgbClr val="E5E5E9"/>
            </a:solidFill>
            <a:ln w="19050">
              <a:noFill/>
              <a:miter lim="800000"/>
            </a:ln>
            <a:effectLst/>
          </p:spPr>
          <p:txBody>
            <a:bodyPr wrap="square" lIns="143925" tIns="143925" rIns="143925" bIns="359813" rtlCol="0" anchor="ctr">
              <a:noAutofit/>
            </a:bodyPr>
            <a:lstStyle/>
            <a:p>
              <a:pPr marL="0" lvl="1" algn="ctr" eaLnBrk="0" hangingPunct="0">
                <a:lnSpc>
                  <a:spcPct val="90000"/>
                </a:lnSpc>
              </a:pPr>
              <a:r>
                <a:rPr lang="en-US" sz="1200" dirty="0">
                  <a:solidFill>
                    <a:srgbClr val="333353"/>
                  </a:solidFill>
                </a:rPr>
                <a:t>Imperdiet</a:t>
              </a:r>
            </a:p>
          </p:txBody>
        </p:sp>
        <p:sp>
          <p:nvSpPr>
            <p:cNvPr id="70" name="Freeform 69"/>
            <p:cNvSpPr>
              <a:spLocks/>
            </p:cNvSpPr>
            <p:nvPr/>
          </p:nvSpPr>
          <p:spPr bwMode="auto">
            <a:xfrm>
              <a:off x="4057537" y="2093205"/>
              <a:ext cx="1555694" cy="1669155"/>
            </a:xfrm>
            <a:custGeom>
              <a:avLst/>
              <a:gdLst>
                <a:gd name="connsiteX0" fmla="*/ 916218 w 1556504"/>
                <a:gd name="connsiteY0" fmla="*/ 0 h 1670024"/>
                <a:gd name="connsiteX1" fmla="*/ 1556504 w 1556504"/>
                <a:gd name="connsiteY1" fmla="*/ 1004752 h 1670024"/>
                <a:gd name="connsiteX2" fmla="*/ 1436177 w 1556504"/>
                <a:gd name="connsiteY2" fmla="*/ 1104031 h 1670024"/>
                <a:gd name="connsiteX3" fmla="*/ 1189700 w 1556504"/>
                <a:gd name="connsiteY3" fmla="*/ 1622170 h 1670024"/>
                <a:gd name="connsiteX4" fmla="*/ 1187284 w 1556504"/>
                <a:gd name="connsiteY4" fmla="*/ 1670024 h 1670024"/>
                <a:gd name="connsiteX5" fmla="*/ 0 w 1556504"/>
                <a:gd name="connsiteY5" fmla="*/ 1670024 h 1670024"/>
                <a:gd name="connsiteX6" fmla="*/ 916218 w 1556504"/>
                <a:gd name="connsiteY6" fmla="*/ 0 h 1670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6504" h="1670024">
                  <a:moveTo>
                    <a:pt x="916218" y="0"/>
                  </a:moveTo>
                  <a:lnTo>
                    <a:pt x="1556504" y="1004752"/>
                  </a:lnTo>
                  <a:lnTo>
                    <a:pt x="1436177" y="1104031"/>
                  </a:lnTo>
                  <a:cubicBezTo>
                    <a:pt x="1300536" y="1239672"/>
                    <a:pt x="1210172" y="1420590"/>
                    <a:pt x="1189700" y="1622170"/>
                  </a:cubicBezTo>
                  <a:lnTo>
                    <a:pt x="1187284" y="1670024"/>
                  </a:lnTo>
                  <a:lnTo>
                    <a:pt x="0" y="1670024"/>
                  </a:lnTo>
                  <a:cubicBezTo>
                    <a:pt x="12756" y="973457"/>
                    <a:pt x="375354" y="362562"/>
                    <a:pt x="916218" y="0"/>
                  </a:cubicBezTo>
                  <a:close/>
                </a:path>
              </a:pathLst>
            </a:custGeom>
            <a:solidFill>
              <a:srgbClr val="E5E5E9"/>
            </a:solidFill>
            <a:ln w="19050">
              <a:noFill/>
              <a:miter lim="800000"/>
            </a:ln>
            <a:effectLst/>
          </p:spPr>
          <p:txBody>
            <a:bodyPr wrap="square" lIns="71963" tIns="647663" rIns="71963" bIns="143925" rtlCol="0" anchor="ctr">
              <a:noAutofit/>
            </a:bodyPr>
            <a:lstStyle/>
            <a:p>
              <a:pPr marL="0" lvl="1" algn="ctr" eaLnBrk="0" hangingPunct="0">
                <a:lnSpc>
                  <a:spcPct val="90000"/>
                </a:lnSpc>
              </a:pPr>
              <a:r>
                <a:rPr lang="en-US" sz="1200" dirty="0">
                  <a:solidFill>
                    <a:srgbClr val="333353"/>
                  </a:solidFill>
                </a:rPr>
                <a:t>Vero eos</a:t>
              </a:r>
            </a:p>
          </p:txBody>
        </p:sp>
        <p:sp>
          <p:nvSpPr>
            <p:cNvPr id="56" name="Freeform 55"/>
            <p:cNvSpPr>
              <a:spLocks/>
            </p:cNvSpPr>
            <p:nvPr/>
          </p:nvSpPr>
          <p:spPr bwMode="auto">
            <a:xfrm>
              <a:off x="5038838" y="1752646"/>
              <a:ext cx="2133557" cy="1318166"/>
            </a:xfrm>
            <a:custGeom>
              <a:avLst/>
              <a:gdLst>
                <a:gd name="connsiteX0" fmla="*/ 1065840 w 2134668"/>
                <a:gd name="connsiteY0" fmla="*/ 0 h 1318853"/>
                <a:gd name="connsiteX1" fmla="*/ 2134668 w 2134668"/>
                <a:gd name="connsiteY1" fmla="*/ 302218 h 1318853"/>
                <a:gd name="connsiteX2" fmla="*/ 1502196 w 2134668"/>
                <a:gd name="connsiteY2" fmla="*/ 1315591 h 1318853"/>
                <a:gd name="connsiteX3" fmla="*/ 1499768 w 2134668"/>
                <a:gd name="connsiteY3" fmla="*/ 1318853 h 1318853"/>
                <a:gd name="connsiteX4" fmla="*/ 1393525 w 2134668"/>
                <a:gd name="connsiteY4" fmla="*/ 1261186 h 1318853"/>
                <a:gd name="connsiteX5" fmla="*/ 1060088 w 2134668"/>
                <a:gd name="connsiteY5" fmla="*/ 1193868 h 1318853"/>
                <a:gd name="connsiteX6" fmla="*/ 726652 w 2134668"/>
                <a:gd name="connsiteY6" fmla="*/ 1261186 h 1318853"/>
                <a:gd name="connsiteX7" fmla="*/ 633061 w 2134668"/>
                <a:gd name="connsiteY7" fmla="*/ 1311985 h 1318853"/>
                <a:gd name="connsiteX8" fmla="*/ 631723 w 2134668"/>
                <a:gd name="connsiteY8" fmla="*/ 1310134 h 1318853"/>
                <a:gd name="connsiteX9" fmla="*/ 0 w 2134668"/>
                <a:gd name="connsiteY9" fmla="*/ 302218 h 1318853"/>
                <a:gd name="connsiteX10" fmla="*/ 1065840 w 2134668"/>
                <a:gd name="connsiteY10" fmla="*/ 0 h 1318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34668" h="1318853">
                  <a:moveTo>
                    <a:pt x="1065840" y="0"/>
                  </a:moveTo>
                  <a:cubicBezTo>
                    <a:pt x="1457125" y="0"/>
                    <a:pt x="1822793" y="111419"/>
                    <a:pt x="2134668" y="302218"/>
                  </a:cubicBezTo>
                  <a:cubicBezTo>
                    <a:pt x="1929020" y="626276"/>
                    <a:pt x="1682349" y="1059968"/>
                    <a:pt x="1502196" y="1315591"/>
                  </a:cubicBezTo>
                  <a:lnTo>
                    <a:pt x="1499768" y="1318853"/>
                  </a:lnTo>
                  <a:lnTo>
                    <a:pt x="1393525" y="1261186"/>
                  </a:lnTo>
                  <a:cubicBezTo>
                    <a:pt x="1291040" y="1217838"/>
                    <a:pt x="1178363" y="1193868"/>
                    <a:pt x="1060088" y="1193868"/>
                  </a:cubicBezTo>
                  <a:cubicBezTo>
                    <a:pt x="941813" y="1193868"/>
                    <a:pt x="829137" y="1217838"/>
                    <a:pt x="726652" y="1261186"/>
                  </a:cubicBezTo>
                  <a:lnTo>
                    <a:pt x="633061" y="1311985"/>
                  </a:lnTo>
                  <a:lnTo>
                    <a:pt x="631723" y="1310134"/>
                  </a:lnTo>
                  <a:cubicBezTo>
                    <a:pt x="455565" y="1055262"/>
                    <a:pt x="204902" y="624673"/>
                    <a:pt x="0" y="302218"/>
                  </a:cubicBezTo>
                  <a:cubicBezTo>
                    <a:pt x="308673" y="111419"/>
                    <a:pt x="674342" y="0"/>
                    <a:pt x="1065840" y="0"/>
                  </a:cubicBezTo>
                  <a:close/>
                </a:path>
              </a:pathLst>
            </a:custGeom>
            <a:solidFill>
              <a:srgbClr val="E5E5E9"/>
            </a:solidFill>
            <a:ln w="19050">
              <a:noFill/>
              <a:miter lim="800000"/>
            </a:ln>
            <a:effectLst/>
          </p:spPr>
          <p:txBody>
            <a:bodyPr wrap="square" lIns="143925" tIns="71963" rIns="143925" bIns="71963" rtlCol="0" anchor="ctr">
              <a:noAutofit/>
            </a:bodyPr>
            <a:lstStyle/>
            <a:p>
              <a:pPr marL="0" lvl="1" algn="ctr" eaLnBrk="0" hangingPunct="0">
                <a:lnSpc>
                  <a:spcPct val="90000"/>
                </a:lnSpc>
              </a:pPr>
              <a:r>
                <a:rPr lang="en-US" sz="1200" dirty="0">
                  <a:solidFill>
                    <a:srgbClr val="333353"/>
                  </a:solidFill>
                </a:rPr>
                <a:t>Duirtor</a:t>
              </a:r>
            </a:p>
          </p:txBody>
        </p:sp>
        <p:sp>
          <p:nvSpPr>
            <p:cNvPr id="60" name="Freeform 59"/>
            <p:cNvSpPr>
              <a:spLocks/>
            </p:cNvSpPr>
            <p:nvPr/>
          </p:nvSpPr>
          <p:spPr bwMode="auto">
            <a:xfrm>
              <a:off x="6592820" y="2093205"/>
              <a:ext cx="1562222" cy="1669155"/>
            </a:xfrm>
            <a:custGeom>
              <a:avLst/>
              <a:gdLst>
                <a:gd name="connsiteX0" fmla="*/ 643987 w 1563036"/>
                <a:gd name="connsiteY0" fmla="*/ 0 h 1670024"/>
                <a:gd name="connsiteX1" fmla="*/ 1563036 w 1563036"/>
                <a:gd name="connsiteY1" fmla="*/ 1670024 h 1670024"/>
                <a:gd name="connsiteX2" fmla="*/ 359915 w 1563036"/>
                <a:gd name="connsiteY2" fmla="*/ 1670024 h 1670024"/>
                <a:gd name="connsiteX3" fmla="*/ 357499 w 1563036"/>
                <a:gd name="connsiteY3" fmla="*/ 1622170 h 1670024"/>
                <a:gd name="connsiteX4" fmla="*/ 344518 w 1563036"/>
                <a:gd name="connsiteY4" fmla="*/ 1537116 h 1670024"/>
                <a:gd name="connsiteX5" fmla="*/ 299371 w 1563036"/>
                <a:gd name="connsiteY5" fmla="*/ 1391677 h 1670024"/>
                <a:gd name="connsiteX6" fmla="*/ 299976 w 1563036"/>
                <a:gd name="connsiteY6" fmla="*/ 1387433 h 1670024"/>
                <a:gd name="connsiteX7" fmla="*/ 297581 w 1563036"/>
                <a:gd name="connsiteY7" fmla="*/ 1385911 h 1670024"/>
                <a:gd name="connsiteX8" fmla="*/ 294603 w 1563036"/>
                <a:gd name="connsiteY8" fmla="*/ 1376319 h 1670024"/>
                <a:gd name="connsiteX9" fmla="*/ 111022 w 1563036"/>
                <a:gd name="connsiteY9" fmla="*/ 1104031 h 1670024"/>
                <a:gd name="connsiteX10" fmla="*/ 0 w 1563036"/>
                <a:gd name="connsiteY10" fmla="*/ 1012429 h 1670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63036" h="1670024">
                  <a:moveTo>
                    <a:pt x="643987" y="0"/>
                  </a:moveTo>
                  <a:cubicBezTo>
                    <a:pt x="1187812" y="362562"/>
                    <a:pt x="1547142" y="973457"/>
                    <a:pt x="1563036" y="1670024"/>
                  </a:cubicBezTo>
                  <a:lnTo>
                    <a:pt x="359915" y="1670024"/>
                  </a:lnTo>
                  <a:lnTo>
                    <a:pt x="357499" y="1622170"/>
                  </a:lnTo>
                  <a:cubicBezTo>
                    <a:pt x="354574" y="1593373"/>
                    <a:pt x="350223" y="1564998"/>
                    <a:pt x="344518" y="1537116"/>
                  </a:cubicBezTo>
                  <a:lnTo>
                    <a:pt x="299371" y="1391677"/>
                  </a:lnTo>
                  <a:lnTo>
                    <a:pt x="299976" y="1387433"/>
                  </a:lnTo>
                  <a:lnTo>
                    <a:pt x="297581" y="1385911"/>
                  </a:lnTo>
                  <a:lnTo>
                    <a:pt x="294603" y="1376319"/>
                  </a:lnTo>
                  <a:cubicBezTo>
                    <a:pt x="251256" y="1273834"/>
                    <a:pt x="188531" y="1181540"/>
                    <a:pt x="111022" y="1104031"/>
                  </a:cubicBezTo>
                  <a:lnTo>
                    <a:pt x="0" y="1012429"/>
                  </a:lnTo>
                  <a:close/>
                </a:path>
              </a:pathLst>
            </a:custGeom>
            <a:solidFill>
              <a:srgbClr val="E5E5E9"/>
            </a:solidFill>
            <a:ln w="19050">
              <a:noFill/>
              <a:miter lim="800000"/>
            </a:ln>
            <a:effectLst/>
          </p:spPr>
          <p:txBody>
            <a:bodyPr wrap="square" lIns="71963" tIns="647663" rIns="71963" bIns="143925" rtlCol="0" anchor="ctr">
              <a:noAutofit/>
            </a:bodyPr>
            <a:lstStyle/>
            <a:p>
              <a:pPr marL="0" lvl="1" algn="ctr" eaLnBrk="0" hangingPunct="0">
                <a:lnSpc>
                  <a:spcPct val="90000"/>
                </a:lnSpc>
              </a:pPr>
              <a:r>
                <a:rPr lang="en-US" sz="1200" dirty="0">
                  <a:solidFill>
                    <a:srgbClr val="333353"/>
                  </a:solidFill>
                </a:rPr>
                <a:t>Suscipit</a:t>
              </a:r>
              <a:br>
                <a:rPr lang="en-US" sz="1200" dirty="0">
                  <a:solidFill>
                    <a:srgbClr val="333353"/>
                  </a:solidFill>
                </a:rPr>
              </a:br>
              <a:r>
                <a:rPr lang="en-US" sz="1200" dirty="0">
                  <a:solidFill>
                    <a:srgbClr val="333353"/>
                  </a:solidFill>
                </a:rPr>
                <a:t>eget</a:t>
              </a:r>
            </a:p>
          </p:txBody>
        </p:sp>
        <p:sp>
          <p:nvSpPr>
            <p:cNvPr id="63" name="Freeform 62"/>
            <p:cNvSpPr>
              <a:spLocks/>
            </p:cNvSpPr>
            <p:nvPr/>
          </p:nvSpPr>
          <p:spPr bwMode="auto">
            <a:xfrm>
              <a:off x="6594191" y="3839087"/>
              <a:ext cx="1560851" cy="1671847"/>
            </a:xfrm>
            <a:custGeom>
              <a:avLst/>
              <a:gdLst>
                <a:gd name="connsiteX0" fmla="*/ 358680 w 1561664"/>
                <a:gd name="connsiteY0" fmla="*/ 0 h 1672718"/>
                <a:gd name="connsiteX1" fmla="*/ 1561664 w 1561664"/>
                <a:gd name="connsiteY1" fmla="*/ 0 h 1672718"/>
                <a:gd name="connsiteX2" fmla="*/ 642614 w 1561664"/>
                <a:gd name="connsiteY2" fmla="*/ 1672718 h 1672718"/>
                <a:gd name="connsiteX3" fmla="*/ 3424 w 1561664"/>
                <a:gd name="connsiteY3" fmla="*/ 664571 h 1672718"/>
                <a:gd name="connsiteX4" fmla="*/ 0 w 1561664"/>
                <a:gd name="connsiteY4" fmla="*/ 659159 h 1672718"/>
                <a:gd name="connsiteX5" fmla="*/ 109651 w 1561664"/>
                <a:gd name="connsiteY5" fmla="*/ 568689 h 1672718"/>
                <a:gd name="connsiteX6" fmla="*/ 356128 w 1561664"/>
                <a:gd name="connsiteY6" fmla="*/ 50549 h 1672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1664" h="1672718">
                  <a:moveTo>
                    <a:pt x="358680" y="0"/>
                  </a:moveTo>
                  <a:lnTo>
                    <a:pt x="1561664" y="0"/>
                  </a:lnTo>
                  <a:cubicBezTo>
                    <a:pt x="1548887" y="699698"/>
                    <a:pt x="1186440" y="1313418"/>
                    <a:pt x="642614" y="1672718"/>
                  </a:cubicBezTo>
                  <a:lnTo>
                    <a:pt x="3424" y="664571"/>
                  </a:lnTo>
                  <a:lnTo>
                    <a:pt x="0" y="659159"/>
                  </a:lnTo>
                  <a:lnTo>
                    <a:pt x="109651" y="568689"/>
                  </a:lnTo>
                  <a:cubicBezTo>
                    <a:pt x="245292" y="433048"/>
                    <a:pt x="335656" y="252129"/>
                    <a:pt x="356128" y="50549"/>
                  </a:cubicBezTo>
                  <a:close/>
                </a:path>
              </a:pathLst>
            </a:custGeom>
            <a:solidFill>
              <a:srgbClr val="E5E5E9"/>
            </a:solidFill>
            <a:ln w="19050">
              <a:noFill/>
              <a:miter lim="800000"/>
            </a:ln>
            <a:effectLst/>
          </p:spPr>
          <p:txBody>
            <a:bodyPr wrap="square" lIns="143925" tIns="143925" rIns="143925" bIns="359813" rtlCol="0" anchor="ctr" anchorCtr="0">
              <a:noAutofit/>
            </a:bodyPr>
            <a:lstStyle/>
            <a:p>
              <a:pPr marL="0" lvl="1" algn="ctr" eaLnBrk="0" hangingPunct="0">
                <a:lnSpc>
                  <a:spcPct val="90000"/>
                </a:lnSpc>
              </a:pPr>
              <a:r>
                <a:rPr lang="en-US" sz="1200" dirty="0">
                  <a:solidFill>
                    <a:srgbClr val="333353"/>
                  </a:solidFill>
                </a:rPr>
                <a:t>Accusam</a:t>
              </a:r>
            </a:p>
          </p:txBody>
        </p:sp>
        <p:sp>
          <p:nvSpPr>
            <p:cNvPr id="38" name="Freeform 48">
              <a:extLst>
                <a:ext uri="{FF2B5EF4-FFF2-40B4-BE49-F238E27FC236}">
                  <a16:creationId xmlns:a16="http://schemas.microsoft.com/office/drawing/2014/main" id="{8367C998-AA3A-4784-BFA6-1589B83189DB}"/>
                </a:ext>
              </a:extLst>
            </p:cNvPr>
            <p:cNvSpPr>
              <a:spLocks/>
            </p:cNvSpPr>
            <p:nvPr/>
          </p:nvSpPr>
          <p:spPr bwMode="auto">
            <a:xfrm>
              <a:off x="5242197" y="2945892"/>
              <a:ext cx="1712355" cy="1712355"/>
            </a:xfrm>
            <a:prstGeom prst="ellipse">
              <a:avLst/>
            </a:prstGeom>
            <a:gradFill>
              <a:gsLst>
                <a:gs pos="0">
                  <a:srgbClr val="00FFB9"/>
                </a:gs>
                <a:gs pos="100000">
                  <a:srgbClr val="00E6DC"/>
                </a:gs>
              </a:gsLst>
              <a:lin ang="0" scaled="0"/>
            </a:gradFill>
            <a:ln w="76200">
              <a:solidFill>
                <a:schemeClr val="bg1"/>
              </a:solidFill>
            </a:ln>
          </p:spPr>
          <p:txBody>
            <a:bodyPr vert="horz" wrap="square" lIns="0" tIns="0" rIns="0" bIns="0" numCol="1" anchor="ctr" anchorCtr="0" compatLnSpc="1">
              <a:prstTxWarp prst="textNoShape">
                <a:avLst/>
              </a:prstTxWarp>
            </a:bodyPr>
            <a:lstStyle/>
            <a:p>
              <a:pPr algn="ctr"/>
              <a:r>
                <a:rPr lang="en-US" sz="1799" b="1" dirty="0">
                  <a:solidFill>
                    <a:schemeClr val="tx2"/>
                  </a:solidFill>
                </a:rPr>
                <a:t>Duis suscipit eget</a:t>
              </a:r>
            </a:p>
          </p:txBody>
        </p:sp>
      </p:grpSp>
      <p:sp>
        <p:nvSpPr>
          <p:cNvPr id="10" name="Footer Placeholder 9">
            <a:extLst>
              <a:ext uri="{FF2B5EF4-FFF2-40B4-BE49-F238E27FC236}">
                <a16:creationId xmlns:a16="http://schemas.microsoft.com/office/drawing/2014/main" id="{7BBED5B9-0231-4641-8616-3E9FBB2BCA0D}"/>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11" name="Slide Number Placeholder 10">
            <a:extLst>
              <a:ext uri="{FF2B5EF4-FFF2-40B4-BE49-F238E27FC236}">
                <a16:creationId xmlns:a16="http://schemas.microsoft.com/office/drawing/2014/main" id="{3E4B6D3F-6CE8-4DBD-877C-914C0BCD7BC1}"/>
              </a:ext>
            </a:extLst>
          </p:cNvPr>
          <p:cNvSpPr>
            <a:spLocks noGrp="1"/>
          </p:cNvSpPr>
          <p:nvPr>
            <p:ph type="sldNum" sz="quarter" idx="11"/>
          </p:nvPr>
        </p:nvSpPr>
        <p:spPr/>
        <p:txBody>
          <a:bodyPr/>
          <a:lstStyle/>
          <a:p>
            <a:r>
              <a:rPr lang="en-US" dirty="0"/>
              <a:t>Page </a:t>
            </a:r>
            <a:fld id="{15EBE321-CBB1-4E91-BD14-37C8D44326FB}" type="slidenum">
              <a:rPr lang="en-US" smtClean="0"/>
              <a:pPr/>
              <a:t>30</a:t>
            </a:fld>
            <a:endParaRPr lang="en-US" dirty="0"/>
          </a:p>
        </p:txBody>
      </p:sp>
    </p:spTree>
    <p:extLst>
      <p:ext uri="{BB962C8B-B14F-4D97-AF65-F5344CB8AC3E}">
        <p14:creationId xmlns:p14="http://schemas.microsoft.com/office/powerpoint/2010/main" val="7317291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kt 25"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3" imgW="360" imgH="360" progId="">
                  <p:embed/>
                </p:oleObj>
              </mc:Choice>
              <mc:Fallback>
                <p:oleObj name="think-cell Folie" r:id="rId3" imgW="360" imgH="360" progId="">
                  <p:embed/>
                  <p:pic>
                    <p:nvPicPr>
                      <p:cNvPr id="26" name="Objekt 2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en-US" dirty="0"/>
              <a:t>Further topic overviews – with sections</a:t>
            </a:r>
          </a:p>
        </p:txBody>
      </p:sp>
      <p:sp>
        <p:nvSpPr>
          <p:cNvPr id="10" name="Footer Placeholder 9">
            <a:extLst>
              <a:ext uri="{FF2B5EF4-FFF2-40B4-BE49-F238E27FC236}">
                <a16:creationId xmlns:a16="http://schemas.microsoft.com/office/drawing/2014/main" id="{7BBED5B9-0231-4641-8616-3E9FBB2BCA0D}"/>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11" name="Slide Number Placeholder 10">
            <a:extLst>
              <a:ext uri="{FF2B5EF4-FFF2-40B4-BE49-F238E27FC236}">
                <a16:creationId xmlns:a16="http://schemas.microsoft.com/office/drawing/2014/main" id="{3E4B6D3F-6CE8-4DBD-877C-914C0BCD7BC1}"/>
              </a:ext>
            </a:extLst>
          </p:cNvPr>
          <p:cNvSpPr>
            <a:spLocks noGrp="1"/>
          </p:cNvSpPr>
          <p:nvPr>
            <p:ph type="sldNum" sz="quarter" idx="11"/>
          </p:nvPr>
        </p:nvSpPr>
        <p:spPr/>
        <p:txBody>
          <a:bodyPr/>
          <a:lstStyle/>
          <a:p>
            <a:r>
              <a:rPr lang="en-US" dirty="0"/>
              <a:t>Page </a:t>
            </a:r>
            <a:fld id="{15EBE321-CBB1-4E91-BD14-37C8D44326FB}" type="slidenum">
              <a:rPr lang="en-US" smtClean="0"/>
              <a:pPr/>
              <a:t>31</a:t>
            </a:fld>
            <a:endParaRPr lang="en-US" dirty="0"/>
          </a:p>
        </p:txBody>
      </p:sp>
      <p:cxnSp>
        <p:nvCxnSpPr>
          <p:cNvPr id="54" name="Gerade Verbindung mit Pfeil 53"/>
          <p:cNvCxnSpPr>
            <a:cxnSpLocks/>
          </p:cNvCxnSpPr>
          <p:nvPr/>
        </p:nvCxnSpPr>
        <p:spPr bwMode="auto">
          <a:xfrm>
            <a:off x="410400" y="1738800"/>
            <a:ext cx="5109788" cy="0"/>
          </a:xfrm>
          <a:prstGeom prst="straightConnector1">
            <a:avLst/>
          </a:prstGeom>
          <a:noFill/>
          <a:ln w="12700" cap="flat" cmpd="sng" algn="ctr">
            <a:solidFill>
              <a:srgbClr val="9999A9"/>
            </a:solidFill>
            <a:prstDash val="solid"/>
            <a:round/>
            <a:headEnd type="none" w="lg" len="lg"/>
            <a:tailEnd type="none" w="lg" len="lg"/>
          </a:ln>
          <a:effectLst/>
        </p:spPr>
      </p:cxnSp>
      <p:cxnSp>
        <p:nvCxnSpPr>
          <p:cNvPr id="57" name="Gerade Verbindung mit Pfeil 56"/>
          <p:cNvCxnSpPr>
            <a:cxnSpLocks/>
          </p:cNvCxnSpPr>
          <p:nvPr/>
        </p:nvCxnSpPr>
        <p:spPr bwMode="auto">
          <a:xfrm flipH="1">
            <a:off x="7931619" y="2736361"/>
            <a:ext cx="3855569" cy="0"/>
          </a:xfrm>
          <a:prstGeom prst="straightConnector1">
            <a:avLst/>
          </a:prstGeom>
          <a:noFill/>
          <a:ln w="12700" cap="flat" cmpd="sng" algn="ctr">
            <a:solidFill>
              <a:srgbClr val="9999A9"/>
            </a:solidFill>
            <a:prstDash val="solid"/>
            <a:round/>
            <a:headEnd type="none" w="lg" len="lg"/>
            <a:tailEnd type="none" w="lg" len="lg"/>
          </a:ln>
          <a:effectLst/>
        </p:spPr>
      </p:cxnSp>
      <p:cxnSp>
        <p:nvCxnSpPr>
          <p:cNvPr id="62" name="Gerade Verbindung mit Pfeil 61"/>
          <p:cNvCxnSpPr>
            <a:cxnSpLocks/>
          </p:cNvCxnSpPr>
          <p:nvPr/>
        </p:nvCxnSpPr>
        <p:spPr bwMode="auto">
          <a:xfrm>
            <a:off x="411163" y="3241387"/>
            <a:ext cx="3633793" cy="0"/>
          </a:xfrm>
          <a:prstGeom prst="straightConnector1">
            <a:avLst/>
          </a:prstGeom>
          <a:noFill/>
          <a:ln w="12700" cap="flat" cmpd="sng" algn="ctr">
            <a:solidFill>
              <a:srgbClr val="9999A9"/>
            </a:solidFill>
            <a:prstDash val="solid"/>
            <a:round/>
            <a:headEnd type="none" w="lg" len="lg"/>
            <a:tailEnd type="none" w="lg" len="lg"/>
          </a:ln>
          <a:effectLst/>
        </p:spPr>
      </p:cxnSp>
      <p:cxnSp>
        <p:nvCxnSpPr>
          <p:cNvPr id="69" name="Gerade Verbindung mit Pfeil 68"/>
          <p:cNvCxnSpPr>
            <a:cxnSpLocks/>
          </p:cNvCxnSpPr>
          <p:nvPr/>
        </p:nvCxnSpPr>
        <p:spPr bwMode="auto">
          <a:xfrm flipH="1">
            <a:off x="8183489" y="4288174"/>
            <a:ext cx="3603699" cy="0"/>
          </a:xfrm>
          <a:prstGeom prst="straightConnector1">
            <a:avLst/>
          </a:prstGeom>
          <a:noFill/>
          <a:ln w="12700" cap="flat" cmpd="sng" algn="ctr">
            <a:solidFill>
              <a:srgbClr val="9999A9"/>
            </a:solidFill>
            <a:prstDash val="solid"/>
            <a:round/>
            <a:headEnd type="none" w="lg" len="lg"/>
            <a:tailEnd type="none" w="lg" len="lg"/>
          </a:ln>
          <a:effectLst/>
        </p:spPr>
      </p:cxnSp>
      <p:cxnSp>
        <p:nvCxnSpPr>
          <p:cNvPr id="73" name="Gerade Verbindung mit Pfeil 72"/>
          <p:cNvCxnSpPr>
            <a:cxnSpLocks/>
          </p:cNvCxnSpPr>
          <p:nvPr/>
        </p:nvCxnSpPr>
        <p:spPr bwMode="auto">
          <a:xfrm flipH="1">
            <a:off x="6672275" y="5842356"/>
            <a:ext cx="5114913" cy="0"/>
          </a:xfrm>
          <a:prstGeom prst="straightConnector1">
            <a:avLst/>
          </a:prstGeom>
          <a:noFill/>
          <a:ln w="12700" cap="flat" cmpd="sng" algn="ctr">
            <a:solidFill>
              <a:srgbClr val="9999A9"/>
            </a:solidFill>
            <a:prstDash val="solid"/>
            <a:round/>
            <a:headEnd type="none" w="lg" len="lg"/>
            <a:tailEnd type="none" w="lg" len="lg"/>
          </a:ln>
          <a:effectLst/>
        </p:spPr>
      </p:cxnSp>
      <p:cxnSp>
        <p:nvCxnSpPr>
          <p:cNvPr id="78" name="Gerade Verbindung mit Pfeil 77"/>
          <p:cNvCxnSpPr>
            <a:cxnSpLocks/>
          </p:cNvCxnSpPr>
          <p:nvPr/>
        </p:nvCxnSpPr>
        <p:spPr bwMode="auto">
          <a:xfrm>
            <a:off x="411163" y="4886450"/>
            <a:ext cx="3849681" cy="0"/>
          </a:xfrm>
          <a:prstGeom prst="straightConnector1">
            <a:avLst/>
          </a:prstGeom>
          <a:noFill/>
          <a:ln w="12700" cap="flat" cmpd="sng" algn="ctr">
            <a:solidFill>
              <a:srgbClr val="9999A9"/>
            </a:solidFill>
            <a:prstDash val="solid"/>
            <a:round/>
            <a:headEnd type="none" w="lg" len="lg"/>
            <a:tailEnd type="none" w="lg" len="lg"/>
          </a:ln>
          <a:effectLst/>
        </p:spPr>
      </p:cxnSp>
      <p:sp>
        <p:nvSpPr>
          <p:cNvPr id="59" name="Rechteck 28"/>
          <p:cNvSpPr/>
          <p:nvPr/>
        </p:nvSpPr>
        <p:spPr bwMode="gray">
          <a:xfrm>
            <a:off x="410400" y="1738800"/>
            <a:ext cx="2518688" cy="650823"/>
          </a:xfrm>
          <a:prstGeom prst="rect">
            <a:avLst/>
          </a:prstGeom>
          <a:noFill/>
          <a:ln w="19050">
            <a:noFill/>
            <a:miter lim="800000"/>
          </a:ln>
          <a:effectLst/>
        </p:spPr>
        <p:txBody>
          <a:bodyPr wrap="square" lIns="0" tIns="71963" rIns="0" bIns="108000" numCol="1" spcCol="72000" rtlCol="0" anchor="t" anchorCtr="0">
            <a:spAutoFit/>
          </a:bodyPr>
          <a:lstStyle/>
          <a:p>
            <a:pPr>
              <a:defRPr/>
            </a:pPr>
            <a:r>
              <a:rPr lang="en-US" altLang="de-DE" sz="1599" b="1" dirty="0">
                <a:solidFill>
                  <a:srgbClr val="00FFB9"/>
                </a:solidFill>
                <a:ea typeface="Arial Unicode MS"/>
              </a:rPr>
              <a:t>Phasellus nec sem</a:t>
            </a:r>
          </a:p>
          <a:p>
            <a:pPr marL="0" lvl="1">
              <a:spcBef>
                <a:spcPts val="300"/>
              </a:spcBef>
              <a:buClr>
                <a:srgbClr val="3C464B"/>
              </a:buClr>
              <a:defRPr/>
            </a:pPr>
            <a:r>
              <a:rPr lang="en-US" altLang="de-DE" sz="1199" dirty="0">
                <a:solidFill>
                  <a:srgbClr val="9999A9"/>
                </a:solidFill>
                <a:ea typeface="Arial Unicode MS"/>
                <a:cs typeface="Arial" pitchFamily="34" charset="0"/>
              </a:rPr>
              <a:t>At vero eos et accusam</a:t>
            </a:r>
          </a:p>
        </p:txBody>
      </p:sp>
      <p:sp>
        <p:nvSpPr>
          <p:cNvPr id="28" name="Rechteck 28">
            <a:extLst>
              <a:ext uri="{FF2B5EF4-FFF2-40B4-BE49-F238E27FC236}">
                <a16:creationId xmlns:a16="http://schemas.microsoft.com/office/drawing/2014/main" id="{050EFFBC-36C2-DE45-9AA2-035CB9F283D8}"/>
              </a:ext>
            </a:extLst>
          </p:cNvPr>
          <p:cNvSpPr/>
          <p:nvPr/>
        </p:nvSpPr>
        <p:spPr bwMode="gray">
          <a:xfrm>
            <a:off x="410400" y="3241387"/>
            <a:ext cx="2518688" cy="1079438"/>
          </a:xfrm>
          <a:prstGeom prst="rect">
            <a:avLst/>
          </a:prstGeom>
          <a:noFill/>
          <a:ln w="19050">
            <a:noFill/>
            <a:miter lim="800000"/>
          </a:ln>
          <a:effectLst/>
        </p:spPr>
        <p:txBody>
          <a:bodyPr wrap="square" lIns="0" tIns="72000" rIns="0" bIns="108000" numCol="1" spcCol="72000" rtlCol="0" anchor="t" anchorCtr="0">
            <a:spAutoFit/>
          </a:bodyPr>
          <a:lstStyle/>
          <a:p>
            <a:pPr>
              <a:defRPr/>
            </a:pPr>
            <a:r>
              <a:rPr lang="en-US" altLang="de-DE" sz="1599" b="1" dirty="0">
                <a:solidFill>
                  <a:srgbClr val="00FFB9"/>
                </a:solidFill>
                <a:ea typeface="Arial Unicode MS"/>
              </a:rPr>
              <a:t>Duis arcu tortor, </a:t>
            </a:r>
            <a:br>
              <a:rPr lang="en-US" altLang="de-DE" sz="1599" b="1" dirty="0">
                <a:solidFill>
                  <a:srgbClr val="00FFB9"/>
                </a:solidFill>
                <a:ea typeface="Arial Unicode MS"/>
              </a:rPr>
            </a:br>
            <a:r>
              <a:rPr lang="en-US" altLang="de-DE" sz="1599" b="1" dirty="0">
                <a:solidFill>
                  <a:srgbClr val="00FFB9"/>
                </a:solidFill>
                <a:ea typeface="Arial Unicode MS"/>
              </a:rPr>
              <a:t>suscipit eget</a:t>
            </a:r>
          </a:p>
          <a:p>
            <a:pPr marL="0" lvl="1">
              <a:spcBef>
                <a:spcPts val="300"/>
              </a:spcBef>
              <a:buClr>
                <a:srgbClr val="3C464B"/>
              </a:buClr>
              <a:defRPr/>
            </a:pPr>
            <a:r>
              <a:rPr lang="en-US" altLang="de-DE" sz="1199" dirty="0">
                <a:solidFill>
                  <a:srgbClr val="9999A9"/>
                </a:solidFill>
                <a:ea typeface="Arial Unicode MS"/>
                <a:cs typeface="Arial" pitchFamily="34" charset="0"/>
              </a:rPr>
              <a:t>Duis arcu tortor, suscipit eget, imperdiet nec, imperdiet</a:t>
            </a:r>
          </a:p>
        </p:txBody>
      </p:sp>
      <p:sp>
        <p:nvSpPr>
          <p:cNvPr id="29" name="Rechteck 28">
            <a:extLst>
              <a:ext uri="{FF2B5EF4-FFF2-40B4-BE49-F238E27FC236}">
                <a16:creationId xmlns:a16="http://schemas.microsoft.com/office/drawing/2014/main" id="{1FEE4CC2-4328-934E-AEDF-6895F94B8965}"/>
              </a:ext>
            </a:extLst>
          </p:cNvPr>
          <p:cNvSpPr/>
          <p:nvPr/>
        </p:nvSpPr>
        <p:spPr bwMode="gray">
          <a:xfrm>
            <a:off x="410400" y="4886450"/>
            <a:ext cx="2518688" cy="835398"/>
          </a:xfrm>
          <a:prstGeom prst="rect">
            <a:avLst/>
          </a:prstGeom>
          <a:noFill/>
          <a:ln w="19050">
            <a:noFill/>
            <a:miter lim="800000"/>
          </a:ln>
          <a:effectLst/>
        </p:spPr>
        <p:txBody>
          <a:bodyPr wrap="square" lIns="0" tIns="72000" rIns="0" bIns="108000" numCol="1" spcCol="72000" rtlCol="0" anchor="t" anchorCtr="0">
            <a:spAutoFit/>
          </a:bodyPr>
          <a:lstStyle/>
          <a:p>
            <a:pPr>
              <a:defRPr/>
            </a:pPr>
            <a:r>
              <a:rPr lang="en-US" altLang="de-DE" sz="1599" b="1" dirty="0">
                <a:solidFill>
                  <a:srgbClr val="00FFB9"/>
                </a:solidFill>
                <a:ea typeface="Arial Unicode MS"/>
              </a:rPr>
              <a:t>Phasellus nec sem</a:t>
            </a:r>
          </a:p>
          <a:p>
            <a:pPr marL="0" lvl="1">
              <a:spcBef>
                <a:spcPts val="300"/>
              </a:spcBef>
              <a:buClr>
                <a:srgbClr val="3C464B"/>
              </a:buClr>
              <a:defRPr/>
            </a:pPr>
            <a:r>
              <a:rPr lang="en-US" altLang="de-DE" sz="1199" dirty="0">
                <a:solidFill>
                  <a:srgbClr val="9999A9"/>
                </a:solidFill>
                <a:ea typeface="Arial Unicode MS"/>
                <a:cs typeface="Arial" pitchFamily="34" charset="0"/>
              </a:rPr>
              <a:t>Duis arcu tortor, suscipit eget</a:t>
            </a:r>
            <a:br>
              <a:rPr lang="en-US" altLang="de-DE" sz="1199" dirty="0">
                <a:solidFill>
                  <a:srgbClr val="9999A9"/>
                </a:solidFill>
                <a:ea typeface="Arial Unicode MS"/>
                <a:cs typeface="Arial" pitchFamily="34" charset="0"/>
              </a:rPr>
            </a:br>
            <a:r>
              <a:rPr lang="en-US" altLang="de-DE" sz="1199" dirty="0">
                <a:solidFill>
                  <a:srgbClr val="9999A9"/>
                </a:solidFill>
                <a:ea typeface="Arial Unicode MS"/>
                <a:cs typeface="Arial" pitchFamily="34" charset="0"/>
              </a:rPr>
              <a:t>At vero eos et accusam</a:t>
            </a:r>
          </a:p>
        </p:txBody>
      </p:sp>
      <p:sp>
        <p:nvSpPr>
          <p:cNvPr id="30" name="Rechteck 28">
            <a:extLst>
              <a:ext uri="{FF2B5EF4-FFF2-40B4-BE49-F238E27FC236}">
                <a16:creationId xmlns:a16="http://schemas.microsoft.com/office/drawing/2014/main" id="{C4445195-59A9-E241-AAA6-EC9046C822D2}"/>
              </a:ext>
            </a:extLst>
          </p:cNvPr>
          <p:cNvSpPr/>
          <p:nvPr/>
        </p:nvSpPr>
        <p:spPr bwMode="gray">
          <a:xfrm>
            <a:off x="9266400" y="1656923"/>
            <a:ext cx="2518688" cy="1079438"/>
          </a:xfrm>
          <a:prstGeom prst="rect">
            <a:avLst/>
          </a:prstGeom>
          <a:noFill/>
          <a:ln w="19050">
            <a:noFill/>
            <a:miter lim="800000"/>
          </a:ln>
          <a:effectLst/>
        </p:spPr>
        <p:txBody>
          <a:bodyPr wrap="square" lIns="0" tIns="72000" rIns="0" bIns="107944" numCol="1" spcCol="72000" rtlCol="0" anchor="b" anchorCtr="0">
            <a:noAutofit/>
          </a:bodyPr>
          <a:lstStyle/>
          <a:p>
            <a:pPr algn="r">
              <a:defRPr/>
            </a:pPr>
            <a:r>
              <a:rPr lang="en-US" altLang="de-DE" sz="1599" b="1" dirty="0">
                <a:solidFill>
                  <a:srgbClr val="00FFB9"/>
                </a:solidFill>
                <a:ea typeface="Arial Unicode MS"/>
              </a:rPr>
              <a:t>Cras ultricies mi eu</a:t>
            </a:r>
          </a:p>
          <a:p>
            <a:pPr marL="0" lvl="1" algn="r">
              <a:spcBef>
                <a:spcPts val="300"/>
              </a:spcBef>
              <a:buClr>
                <a:srgbClr val="3C464B"/>
              </a:buClr>
              <a:defRPr/>
            </a:pPr>
            <a:r>
              <a:rPr lang="en-US" altLang="de-DE" sz="1199" dirty="0">
                <a:solidFill>
                  <a:srgbClr val="9999A9"/>
                </a:solidFill>
                <a:ea typeface="Arial Unicode MS"/>
                <a:cs typeface="Arial" pitchFamily="34" charset="0"/>
              </a:rPr>
              <a:t>Duis arcu tortor, suscipit eget, imperdiet nec, imperdiet </a:t>
            </a:r>
            <a:br>
              <a:rPr lang="en-US" altLang="de-DE" sz="1199" dirty="0">
                <a:solidFill>
                  <a:srgbClr val="9999A9"/>
                </a:solidFill>
                <a:ea typeface="Arial Unicode MS"/>
                <a:cs typeface="Arial" pitchFamily="34" charset="0"/>
              </a:rPr>
            </a:br>
            <a:r>
              <a:rPr lang="en-US" altLang="de-DE" sz="1199" dirty="0">
                <a:solidFill>
                  <a:srgbClr val="9999A9"/>
                </a:solidFill>
                <a:ea typeface="Arial Unicode MS"/>
                <a:cs typeface="Arial" pitchFamily="34" charset="0"/>
              </a:rPr>
              <a:t>iaculis, ipsum</a:t>
            </a:r>
          </a:p>
        </p:txBody>
      </p:sp>
      <p:sp>
        <p:nvSpPr>
          <p:cNvPr id="31" name="Rechteck 28">
            <a:extLst>
              <a:ext uri="{FF2B5EF4-FFF2-40B4-BE49-F238E27FC236}">
                <a16:creationId xmlns:a16="http://schemas.microsoft.com/office/drawing/2014/main" id="{7FECF5C7-7D9A-0B48-8019-2235ECECA2D1}"/>
              </a:ext>
            </a:extLst>
          </p:cNvPr>
          <p:cNvSpPr/>
          <p:nvPr/>
        </p:nvSpPr>
        <p:spPr bwMode="gray">
          <a:xfrm>
            <a:off x="9266400" y="3022145"/>
            <a:ext cx="2518688" cy="1266029"/>
          </a:xfrm>
          <a:prstGeom prst="rect">
            <a:avLst/>
          </a:prstGeom>
          <a:noFill/>
          <a:ln w="19050">
            <a:noFill/>
            <a:miter lim="800000"/>
          </a:ln>
          <a:effectLst/>
        </p:spPr>
        <p:txBody>
          <a:bodyPr wrap="square" lIns="0" tIns="72000" rIns="0" bIns="108000" numCol="1" spcCol="72000" rtlCol="0" anchor="b" anchorCtr="0">
            <a:spAutoFit/>
          </a:bodyPr>
          <a:lstStyle/>
          <a:p>
            <a:pPr algn="r">
              <a:defRPr/>
            </a:pPr>
            <a:r>
              <a:rPr lang="en-US" altLang="de-DE" sz="1599" b="1" dirty="0">
                <a:solidFill>
                  <a:srgbClr val="00FFB9"/>
                </a:solidFill>
                <a:ea typeface="Arial Unicode MS"/>
              </a:rPr>
              <a:t>Duis arcu tortor, </a:t>
            </a:r>
            <a:br>
              <a:rPr lang="en-US" altLang="de-DE" sz="1599" b="1" dirty="0">
                <a:solidFill>
                  <a:srgbClr val="00FFB9"/>
                </a:solidFill>
                <a:ea typeface="Arial Unicode MS"/>
              </a:rPr>
            </a:br>
            <a:r>
              <a:rPr lang="en-US" altLang="de-DE" sz="1599" b="1" dirty="0">
                <a:solidFill>
                  <a:srgbClr val="00FFB9"/>
                </a:solidFill>
                <a:ea typeface="Arial Unicode MS"/>
              </a:rPr>
              <a:t>suscipit eget</a:t>
            </a:r>
          </a:p>
          <a:p>
            <a:pPr marL="0" lvl="1" algn="r">
              <a:spcBef>
                <a:spcPts val="300"/>
              </a:spcBef>
              <a:buClr>
                <a:srgbClr val="3C464B"/>
              </a:buClr>
              <a:defRPr/>
            </a:pPr>
            <a:r>
              <a:rPr lang="en-US" altLang="de-DE" sz="1199" dirty="0">
                <a:solidFill>
                  <a:srgbClr val="9999A9"/>
                </a:solidFill>
                <a:ea typeface="Arial Unicode MS"/>
                <a:cs typeface="Arial" pitchFamily="34" charset="0"/>
              </a:rPr>
              <a:t>Phasellus nec sem</a:t>
            </a:r>
            <a:br>
              <a:rPr lang="en-US" altLang="de-DE" sz="1199" dirty="0">
                <a:solidFill>
                  <a:srgbClr val="9999A9"/>
                </a:solidFill>
                <a:ea typeface="Arial Unicode MS"/>
                <a:cs typeface="Arial" pitchFamily="34" charset="0"/>
              </a:rPr>
            </a:br>
            <a:r>
              <a:rPr lang="en-US" altLang="de-DE" sz="1199" dirty="0">
                <a:solidFill>
                  <a:srgbClr val="9999A9"/>
                </a:solidFill>
                <a:ea typeface="Arial Unicode MS"/>
                <a:cs typeface="Arial" pitchFamily="34" charset="0"/>
              </a:rPr>
              <a:t>Maecenas nec odio</a:t>
            </a:r>
            <a:br>
              <a:rPr lang="en-US" altLang="de-DE" sz="1199" dirty="0">
                <a:solidFill>
                  <a:srgbClr val="9999A9"/>
                </a:solidFill>
                <a:ea typeface="Arial Unicode MS"/>
                <a:cs typeface="Arial" pitchFamily="34" charset="0"/>
              </a:rPr>
            </a:br>
            <a:r>
              <a:rPr lang="en-US" altLang="de-DE" sz="1199" dirty="0">
                <a:solidFill>
                  <a:srgbClr val="9999A9"/>
                </a:solidFill>
                <a:ea typeface="Arial Unicode MS"/>
                <a:cs typeface="Arial" pitchFamily="34" charset="0"/>
              </a:rPr>
              <a:t>Lorem ipsum</a:t>
            </a:r>
          </a:p>
        </p:txBody>
      </p:sp>
      <p:sp>
        <p:nvSpPr>
          <p:cNvPr id="32" name="Rechteck 31">
            <a:extLst>
              <a:ext uri="{FF2B5EF4-FFF2-40B4-BE49-F238E27FC236}">
                <a16:creationId xmlns:a16="http://schemas.microsoft.com/office/drawing/2014/main" id="{0DE3EB72-A609-A54A-B3DF-792D571E0CD9}"/>
              </a:ext>
            </a:extLst>
          </p:cNvPr>
          <p:cNvSpPr/>
          <p:nvPr/>
        </p:nvSpPr>
        <p:spPr bwMode="gray">
          <a:xfrm>
            <a:off x="9266400" y="5191495"/>
            <a:ext cx="2518688" cy="650861"/>
          </a:xfrm>
          <a:prstGeom prst="rect">
            <a:avLst/>
          </a:prstGeom>
          <a:noFill/>
          <a:ln w="19050">
            <a:noFill/>
            <a:miter lim="800000"/>
          </a:ln>
          <a:effectLst/>
        </p:spPr>
        <p:txBody>
          <a:bodyPr wrap="square" lIns="0" tIns="72000" rIns="0" bIns="108000" numCol="1" spcCol="72000" rtlCol="0" anchor="b" anchorCtr="0">
            <a:spAutoFit/>
          </a:bodyPr>
          <a:lstStyle/>
          <a:p>
            <a:pPr algn="r">
              <a:defRPr/>
            </a:pPr>
            <a:r>
              <a:rPr lang="en-US" altLang="de-DE" sz="1599" b="1" dirty="0">
                <a:solidFill>
                  <a:srgbClr val="00FFB9"/>
                </a:solidFill>
                <a:ea typeface="Arial Unicode MS"/>
              </a:rPr>
              <a:t>Cras ultricies mi eu</a:t>
            </a:r>
          </a:p>
          <a:p>
            <a:pPr marL="0" lvl="1" algn="r">
              <a:spcBef>
                <a:spcPts val="300"/>
              </a:spcBef>
              <a:buClr>
                <a:srgbClr val="3C464B"/>
              </a:buClr>
              <a:defRPr/>
            </a:pPr>
            <a:r>
              <a:rPr lang="en-US" altLang="de-DE" sz="1199" dirty="0">
                <a:solidFill>
                  <a:srgbClr val="9999A9"/>
                </a:solidFill>
                <a:ea typeface="Arial Unicode MS"/>
                <a:cs typeface="Arial" pitchFamily="34" charset="0"/>
              </a:rPr>
              <a:t>At vero eos et accusam</a:t>
            </a:r>
          </a:p>
        </p:txBody>
      </p:sp>
      <p:grpSp>
        <p:nvGrpSpPr>
          <p:cNvPr id="3" name="Group 2">
            <a:extLst>
              <a:ext uri="{FF2B5EF4-FFF2-40B4-BE49-F238E27FC236}">
                <a16:creationId xmlns:a16="http://schemas.microsoft.com/office/drawing/2014/main" id="{D328F3D6-FF36-4B51-B912-E3EF7490762F}"/>
              </a:ext>
            </a:extLst>
          </p:cNvPr>
          <p:cNvGrpSpPr/>
          <p:nvPr/>
        </p:nvGrpSpPr>
        <p:grpSpPr>
          <a:xfrm>
            <a:off x="4046399" y="1738799"/>
            <a:ext cx="4104000" cy="4104000"/>
            <a:chOff x="4057537" y="1752646"/>
            <a:chExt cx="4097505" cy="4098849"/>
          </a:xfrm>
        </p:grpSpPr>
        <p:sp>
          <p:nvSpPr>
            <p:cNvPr id="65" name="Freeform 64"/>
            <p:cNvSpPr>
              <a:spLocks/>
            </p:cNvSpPr>
            <p:nvPr/>
          </p:nvSpPr>
          <p:spPr bwMode="auto">
            <a:xfrm>
              <a:off x="5038838" y="4538515"/>
              <a:ext cx="2133557" cy="1312980"/>
            </a:xfrm>
            <a:custGeom>
              <a:avLst/>
              <a:gdLst>
                <a:gd name="connsiteX0" fmla="*/ 1490207 w 2134668"/>
                <a:gd name="connsiteY0" fmla="*/ 0 h 1313664"/>
                <a:gd name="connsiteX1" fmla="*/ 2134668 w 2134668"/>
                <a:gd name="connsiteY1" fmla="*/ 1014585 h 1313664"/>
                <a:gd name="connsiteX2" fmla="*/ 1065840 w 2134668"/>
                <a:gd name="connsiteY2" fmla="*/ 1313664 h 1313664"/>
                <a:gd name="connsiteX3" fmla="*/ 0 w 2134668"/>
                <a:gd name="connsiteY3" fmla="*/ 1014585 h 1313664"/>
                <a:gd name="connsiteX4" fmla="*/ 640133 w 2134668"/>
                <a:gd name="connsiteY4" fmla="*/ 5516 h 1313664"/>
                <a:gd name="connsiteX5" fmla="*/ 726652 w 2134668"/>
                <a:gd name="connsiteY5" fmla="*/ 52477 h 1313664"/>
                <a:gd name="connsiteX6" fmla="*/ 1060088 w 2134668"/>
                <a:gd name="connsiteY6" fmla="*/ 119795 h 1313664"/>
                <a:gd name="connsiteX7" fmla="*/ 1393525 w 2134668"/>
                <a:gd name="connsiteY7" fmla="*/ 52477 h 1313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34668" h="1313664">
                  <a:moveTo>
                    <a:pt x="1490207" y="0"/>
                  </a:moveTo>
                  <a:lnTo>
                    <a:pt x="2134668" y="1014585"/>
                  </a:lnTo>
                  <a:cubicBezTo>
                    <a:pt x="1822793" y="1205514"/>
                    <a:pt x="1457125" y="1313664"/>
                    <a:pt x="1065840" y="1313664"/>
                  </a:cubicBezTo>
                  <a:cubicBezTo>
                    <a:pt x="674342" y="1313664"/>
                    <a:pt x="308673" y="1205514"/>
                    <a:pt x="0" y="1014585"/>
                  </a:cubicBezTo>
                  <a:lnTo>
                    <a:pt x="640133" y="5516"/>
                  </a:lnTo>
                  <a:lnTo>
                    <a:pt x="726652" y="52477"/>
                  </a:lnTo>
                  <a:cubicBezTo>
                    <a:pt x="829137" y="95825"/>
                    <a:pt x="941813" y="119795"/>
                    <a:pt x="1060088" y="119795"/>
                  </a:cubicBezTo>
                  <a:cubicBezTo>
                    <a:pt x="1178363" y="119795"/>
                    <a:pt x="1291040" y="95825"/>
                    <a:pt x="1393525" y="52477"/>
                  </a:cubicBezTo>
                  <a:close/>
                </a:path>
              </a:pathLst>
            </a:custGeom>
            <a:solidFill>
              <a:srgbClr val="CCCCD4"/>
            </a:solidFill>
            <a:ln w="19050">
              <a:noFill/>
              <a:miter lim="800000"/>
            </a:ln>
            <a:effectLst/>
          </p:spPr>
          <p:txBody>
            <a:bodyPr wrap="square" lIns="143925" tIns="143925" rIns="143925" bIns="71963" rtlCol="0" anchor="ctr">
              <a:noAutofit/>
            </a:bodyPr>
            <a:lstStyle/>
            <a:p>
              <a:pPr marL="0" lvl="1" algn="ctr" eaLnBrk="0" hangingPunct="0">
                <a:lnSpc>
                  <a:spcPct val="90000"/>
                </a:lnSpc>
              </a:pPr>
              <a:r>
                <a:rPr lang="en-US" sz="1200" dirty="0">
                  <a:solidFill>
                    <a:srgbClr val="000028"/>
                  </a:solidFill>
                </a:rPr>
                <a:t>Ultricies </a:t>
              </a:r>
              <a:br>
                <a:rPr lang="en-US" sz="1200" dirty="0">
                  <a:solidFill>
                    <a:srgbClr val="000028"/>
                  </a:solidFill>
                </a:rPr>
              </a:br>
              <a:r>
                <a:rPr lang="en-US" sz="1200" dirty="0">
                  <a:solidFill>
                    <a:srgbClr val="000028"/>
                  </a:solidFill>
                </a:rPr>
                <a:t>mi eu</a:t>
              </a:r>
            </a:p>
          </p:txBody>
        </p:sp>
        <p:sp>
          <p:nvSpPr>
            <p:cNvPr id="67" name="Freeform 66"/>
            <p:cNvSpPr>
              <a:spLocks/>
            </p:cNvSpPr>
            <p:nvPr/>
          </p:nvSpPr>
          <p:spPr bwMode="auto">
            <a:xfrm>
              <a:off x="4057538" y="3839087"/>
              <a:ext cx="1555413" cy="1671847"/>
            </a:xfrm>
            <a:custGeom>
              <a:avLst/>
              <a:gdLst>
                <a:gd name="connsiteX0" fmla="*/ 0 w 1556223"/>
                <a:gd name="connsiteY0" fmla="*/ 0 h 1672718"/>
                <a:gd name="connsiteX1" fmla="*/ 1187147 w 1556223"/>
                <a:gd name="connsiteY1" fmla="*/ 0 h 1672718"/>
                <a:gd name="connsiteX2" fmla="*/ 1189700 w 1556223"/>
                <a:gd name="connsiteY2" fmla="*/ 50549 h 1672718"/>
                <a:gd name="connsiteX3" fmla="*/ 1436177 w 1556223"/>
                <a:gd name="connsiteY3" fmla="*/ 568689 h 1672718"/>
                <a:gd name="connsiteX4" fmla="*/ 1556223 w 1556223"/>
                <a:gd name="connsiteY4" fmla="*/ 667736 h 1672718"/>
                <a:gd name="connsiteX5" fmla="*/ 915933 w 1556223"/>
                <a:gd name="connsiteY5" fmla="*/ 1672718 h 1672718"/>
                <a:gd name="connsiteX6" fmla="*/ 0 w 1556223"/>
                <a:gd name="connsiteY6" fmla="*/ 0 h 1672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6223" h="1672718">
                  <a:moveTo>
                    <a:pt x="0" y="0"/>
                  </a:moveTo>
                  <a:lnTo>
                    <a:pt x="1187147" y="0"/>
                  </a:lnTo>
                  <a:lnTo>
                    <a:pt x="1189700" y="50549"/>
                  </a:lnTo>
                  <a:cubicBezTo>
                    <a:pt x="1210172" y="252129"/>
                    <a:pt x="1300536" y="433048"/>
                    <a:pt x="1436177" y="568689"/>
                  </a:cubicBezTo>
                  <a:lnTo>
                    <a:pt x="1556223" y="667736"/>
                  </a:lnTo>
                  <a:lnTo>
                    <a:pt x="915933" y="1672718"/>
                  </a:lnTo>
                  <a:cubicBezTo>
                    <a:pt x="372108" y="1313418"/>
                    <a:pt x="12778" y="699698"/>
                    <a:pt x="0" y="0"/>
                  </a:cubicBezTo>
                  <a:close/>
                </a:path>
              </a:pathLst>
            </a:custGeom>
            <a:solidFill>
              <a:srgbClr val="CCCCD4"/>
            </a:solidFill>
            <a:ln w="19050">
              <a:noFill/>
              <a:miter lim="800000"/>
            </a:ln>
            <a:effectLst/>
          </p:spPr>
          <p:txBody>
            <a:bodyPr wrap="square" lIns="143925" tIns="143925" rIns="143925" bIns="359813" rtlCol="0" anchor="ctr">
              <a:noAutofit/>
            </a:bodyPr>
            <a:lstStyle/>
            <a:p>
              <a:pPr marL="0" lvl="1" algn="ctr" eaLnBrk="0" hangingPunct="0">
                <a:lnSpc>
                  <a:spcPct val="90000"/>
                </a:lnSpc>
              </a:pPr>
              <a:r>
                <a:rPr lang="en-US" sz="1200" dirty="0">
                  <a:solidFill>
                    <a:srgbClr val="000028"/>
                  </a:solidFill>
                </a:rPr>
                <a:t>Imperdiet</a:t>
              </a:r>
            </a:p>
          </p:txBody>
        </p:sp>
        <p:sp>
          <p:nvSpPr>
            <p:cNvPr id="70" name="Freeform 69"/>
            <p:cNvSpPr>
              <a:spLocks/>
            </p:cNvSpPr>
            <p:nvPr/>
          </p:nvSpPr>
          <p:spPr bwMode="auto">
            <a:xfrm>
              <a:off x="4057537" y="2093205"/>
              <a:ext cx="1555694" cy="1669155"/>
            </a:xfrm>
            <a:custGeom>
              <a:avLst/>
              <a:gdLst>
                <a:gd name="connsiteX0" fmla="*/ 916218 w 1556504"/>
                <a:gd name="connsiteY0" fmla="*/ 0 h 1670024"/>
                <a:gd name="connsiteX1" fmla="*/ 1556504 w 1556504"/>
                <a:gd name="connsiteY1" fmla="*/ 1004752 h 1670024"/>
                <a:gd name="connsiteX2" fmla="*/ 1436177 w 1556504"/>
                <a:gd name="connsiteY2" fmla="*/ 1104031 h 1670024"/>
                <a:gd name="connsiteX3" fmla="*/ 1189700 w 1556504"/>
                <a:gd name="connsiteY3" fmla="*/ 1622170 h 1670024"/>
                <a:gd name="connsiteX4" fmla="*/ 1187284 w 1556504"/>
                <a:gd name="connsiteY4" fmla="*/ 1670024 h 1670024"/>
                <a:gd name="connsiteX5" fmla="*/ 0 w 1556504"/>
                <a:gd name="connsiteY5" fmla="*/ 1670024 h 1670024"/>
                <a:gd name="connsiteX6" fmla="*/ 916218 w 1556504"/>
                <a:gd name="connsiteY6" fmla="*/ 0 h 1670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6504" h="1670024">
                  <a:moveTo>
                    <a:pt x="916218" y="0"/>
                  </a:moveTo>
                  <a:lnTo>
                    <a:pt x="1556504" y="1004752"/>
                  </a:lnTo>
                  <a:lnTo>
                    <a:pt x="1436177" y="1104031"/>
                  </a:lnTo>
                  <a:cubicBezTo>
                    <a:pt x="1300536" y="1239672"/>
                    <a:pt x="1210172" y="1420590"/>
                    <a:pt x="1189700" y="1622170"/>
                  </a:cubicBezTo>
                  <a:lnTo>
                    <a:pt x="1187284" y="1670024"/>
                  </a:lnTo>
                  <a:lnTo>
                    <a:pt x="0" y="1670024"/>
                  </a:lnTo>
                  <a:cubicBezTo>
                    <a:pt x="12756" y="973457"/>
                    <a:pt x="375354" y="362562"/>
                    <a:pt x="916218" y="0"/>
                  </a:cubicBezTo>
                  <a:close/>
                </a:path>
              </a:pathLst>
            </a:custGeom>
            <a:solidFill>
              <a:srgbClr val="CCCCD4"/>
            </a:solidFill>
            <a:ln w="19050">
              <a:noFill/>
              <a:miter lim="800000"/>
            </a:ln>
            <a:effectLst/>
          </p:spPr>
          <p:txBody>
            <a:bodyPr wrap="square" lIns="71963" tIns="647663" rIns="71963" bIns="143925" rtlCol="0" anchor="ctr">
              <a:noAutofit/>
            </a:bodyPr>
            <a:lstStyle/>
            <a:p>
              <a:pPr marL="0" lvl="1" algn="ctr" eaLnBrk="0" hangingPunct="0">
                <a:lnSpc>
                  <a:spcPct val="90000"/>
                </a:lnSpc>
              </a:pPr>
              <a:r>
                <a:rPr lang="en-US" sz="1200" dirty="0">
                  <a:solidFill>
                    <a:srgbClr val="000028"/>
                  </a:solidFill>
                </a:rPr>
                <a:t>Vero eos</a:t>
              </a:r>
            </a:p>
          </p:txBody>
        </p:sp>
        <p:sp>
          <p:nvSpPr>
            <p:cNvPr id="56" name="Freeform 55"/>
            <p:cNvSpPr>
              <a:spLocks/>
            </p:cNvSpPr>
            <p:nvPr/>
          </p:nvSpPr>
          <p:spPr bwMode="auto">
            <a:xfrm>
              <a:off x="5038838" y="1752646"/>
              <a:ext cx="2133557" cy="1318166"/>
            </a:xfrm>
            <a:custGeom>
              <a:avLst/>
              <a:gdLst>
                <a:gd name="connsiteX0" fmla="*/ 1065840 w 2134668"/>
                <a:gd name="connsiteY0" fmla="*/ 0 h 1318853"/>
                <a:gd name="connsiteX1" fmla="*/ 2134668 w 2134668"/>
                <a:gd name="connsiteY1" fmla="*/ 302218 h 1318853"/>
                <a:gd name="connsiteX2" fmla="*/ 1502196 w 2134668"/>
                <a:gd name="connsiteY2" fmla="*/ 1315591 h 1318853"/>
                <a:gd name="connsiteX3" fmla="*/ 1499768 w 2134668"/>
                <a:gd name="connsiteY3" fmla="*/ 1318853 h 1318853"/>
                <a:gd name="connsiteX4" fmla="*/ 1393525 w 2134668"/>
                <a:gd name="connsiteY4" fmla="*/ 1261186 h 1318853"/>
                <a:gd name="connsiteX5" fmla="*/ 1060088 w 2134668"/>
                <a:gd name="connsiteY5" fmla="*/ 1193868 h 1318853"/>
                <a:gd name="connsiteX6" fmla="*/ 726652 w 2134668"/>
                <a:gd name="connsiteY6" fmla="*/ 1261186 h 1318853"/>
                <a:gd name="connsiteX7" fmla="*/ 633061 w 2134668"/>
                <a:gd name="connsiteY7" fmla="*/ 1311985 h 1318853"/>
                <a:gd name="connsiteX8" fmla="*/ 631723 w 2134668"/>
                <a:gd name="connsiteY8" fmla="*/ 1310134 h 1318853"/>
                <a:gd name="connsiteX9" fmla="*/ 0 w 2134668"/>
                <a:gd name="connsiteY9" fmla="*/ 302218 h 1318853"/>
                <a:gd name="connsiteX10" fmla="*/ 1065840 w 2134668"/>
                <a:gd name="connsiteY10" fmla="*/ 0 h 1318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34668" h="1318853">
                  <a:moveTo>
                    <a:pt x="1065840" y="0"/>
                  </a:moveTo>
                  <a:cubicBezTo>
                    <a:pt x="1457125" y="0"/>
                    <a:pt x="1822793" y="111419"/>
                    <a:pt x="2134668" y="302218"/>
                  </a:cubicBezTo>
                  <a:cubicBezTo>
                    <a:pt x="1929020" y="626276"/>
                    <a:pt x="1682349" y="1059968"/>
                    <a:pt x="1502196" y="1315591"/>
                  </a:cubicBezTo>
                  <a:lnTo>
                    <a:pt x="1499768" y="1318853"/>
                  </a:lnTo>
                  <a:lnTo>
                    <a:pt x="1393525" y="1261186"/>
                  </a:lnTo>
                  <a:cubicBezTo>
                    <a:pt x="1291040" y="1217838"/>
                    <a:pt x="1178363" y="1193868"/>
                    <a:pt x="1060088" y="1193868"/>
                  </a:cubicBezTo>
                  <a:cubicBezTo>
                    <a:pt x="941813" y="1193868"/>
                    <a:pt x="829137" y="1217838"/>
                    <a:pt x="726652" y="1261186"/>
                  </a:cubicBezTo>
                  <a:lnTo>
                    <a:pt x="633061" y="1311985"/>
                  </a:lnTo>
                  <a:lnTo>
                    <a:pt x="631723" y="1310134"/>
                  </a:lnTo>
                  <a:cubicBezTo>
                    <a:pt x="455565" y="1055262"/>
                    <a:pt x="204902" y="624673"/>
                    <a:pt x="0" y="302218"/>
                  </a:cubicBezTo>
                  <a:cubicBezTo>
                    <a:pt x="308673" y="111419"/>
                    <a:pt x="674342" y="0"/>
                    <a:pt x="1065840" y="0"/>
                  </a:cubicBezTo>
                  <a:close/>
                </a:path>
              </a:pathLst>
            </a:custGeom>
            <a:solidFill>
              <a:srgbClr val="CCCCD4"/>
            </a:solidFill>
            <a:ln w="19050">
              <a:noFill/>
              <a:miter lim="800000"/>
            </a:ln>
            <a:effectLst/>
          </p:spPr>
          <p:txBody>
            <a:bodyPr wrap="square" lIns="143925" tIns="71963" rIns="143925" bIns="71963" rtlCol="0" anchor="ctr">
              <a:noAutofit/>
            </a:bodyPr>
            <a:lstStyle/>
            <a:p>
              <a:pPr marL="0" lvl="1" algn="ctr" eaLnBrk="0" hangingPunct="0">
                <a:lnSpc>
                  <a:spcPct val="90000"/>
                </a:lnSpc>
              </a:pPr>
              <a:r>
                <a:rPr lang="en-US" sz="1200" dirty="0">
                  <a:solidFill>
                    <a:srgbClr val="000028"/>
                  </a:solidFill>
                </a:rPr>
                <a:t>Duirtor</a:t>
              </a:r>
            </a:p>
          </p:txBody>
        </p:sp>
        <p:sp>
          <p:nvSpPr>
            <p:cNvPr id="60" name="Freeform 59"/>
            <p:cNvSpPr>
              <a:spLocks/>
            </p:cNvSpPr>
            <p:nvPr/>
          </p:nvSpPr>
          <p:spPr bwMode="auto">
            <a:xfrm>
              <a:off x="6592820" y="2093205"/>
              <a:ext cx="1562222" cy="1669155"/>
            </a:xfrm>
            <a:custGeom>
              <a:avLst/>
              <a:gdLst>
                <a:gd name="connsiteX0" fmla="*/ 643987 w 1563036"/>
                <a:gd name="connsiteY0" fmla="*/ 0 h 1670024"/>
                <a:gd name="connsiteX1" fmla="*/ 1563036 w 1563036"/>
                <a:gd name="connsiteY1" fmla="*/ 1670024 h 1670024"/>
                <a:gd name="connsiteX2" fmla="*/ 359915 w 1563036"/>
                <a:gd name="connsiteY2" fmla="*/ 1670024 h 1670024"/>
                <a:gd name="connsiteX3" fmla="*/ 357499 w 1563036"/>
                <a:gd name="connsiteY3" fmla="*/ 1622170 h 1670024"/>
                <a:gd name="connsiteX4" fmla="*/ 344518 w 1563036"/>
                <a:gd name="connsiteY4" fmla="*/ 1537116 h 1670024"/>
                <a:gd name="connsiteX5" fmla="*/ 299371 w 1563036"/>
                <a:gd name="connsiteY5" fmla="*/ 1391677 h 1670024"/>
                <a:gd name="connsiteX6" fmla="*/ 299976 w 1563036"/>
                <a:gd name="connsiteY6" fmla="*/ 1387433 h 1670024"/>
                <a:gd name="connsiteX7" fmla="*/ 297581 w 1563036"/>
                <a:gd name="connsiteY7" fmla="*/ 1385911 h 1670024"/>
                <a:gd name="connsiteX8" fmla="*/ 294603 w 1563036"/>
                <a:gd name="connsiteY8" fmla="*/ 1376319 h 1670024"/>
                <a:gd name="connsiteX9" fmla="*/ 111022 w 1563036"/>
                <a:gd name="connsiteY9" fmla="*/ 1104031 h 1670024"/>
                <a:gd name="connsiteX10" fmla="*/ 0 w 1563036"/>
                <a:gd name="connsiteY10" fmla="*/ 1012429 h 1670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63036" h="1670024">
                  <a:moveTo>
                    <a:pt x="643987" y="0"/>
                  </a:moveTo>
                  <a:cubicBezTo>
                    <a:pt x="1187812" y="362562"/>
                    <a:pt x="1547142" y="973457"/>
                    <a:pt x="1563036" y="1670024"/>
                  </a:cubicBezTo>
                  <a:lnTo>
                    <a:pt x="359915" y="1670024"/>
                  </a:lnTo>
                  <a:lnTo>
                    <a:pt x="357499" y="1622170"/>
                  </a:lnTo>
                  <a:cubicBezTo>
                    <a:pt x="354574" y="1593373"/>
                    <a:pt x="350223" y="1564998"/>
                    <a:pt x="344518" y="1537116"/>
                  </a:cubicBezTo>
                  <a:lnTo>
                    <a:pt x="299371" y="1391677"/>
                  </a:lnTo>
                  <a:lnTo>
                    <a:pt x="299976" y="1387433"/>
                  </a:lnTo>
                  <a:lnTo>
                    <a:pt x="297581" y="1385911"/>
                  </a:lnTo>
                  <a:lnTo>
                    <a:pt x="294603" y="1376319"/>
                  </a:lnTo>
                  <a:cubicBezTo>
                    <a:pt x="251256" y="1273834"/>
                    <a:pt x="188531" y="1181540"/>
                    <a:pt x="111022" y="1104031"/>
                  </a:cubicBezTo>
                  <a:lnTo>
                    <a:pt x="0" y="1012429"/>
                  </a:lnTo>
                  <a:close/>
                </a:path>
              </a:pathLst>
            </a:custGeom>
            <a:solidFill>
              <a:srgbClr val="CCCCD4"/>
            </a:solidFill>
            <a:ln w="19050">
              <a:noFill/>
              <a:miter lim="800000"/>
            </a:ln>
            <a:effectLst/>
          </p:spPr>
          <p:txBody>
            <a:bodyPr wrap="square" lIns="71963" tIns="647663" rIns="71963" bIns="143925" rtlCol="0" anchor="ctr">
              <a:noAutofit/>
            </a:bodyPr>
            <a:lstStyle/>
            <a:p>
              <a:pPr marL="0" lvl="1" algn="ctr" eaLnBrk="0" hangingPunct="0">
                <a:lnSpc>
                  <a:spcPct val="90000"/>
                </a:lnSpc>
              </a:pPr>
              <a:r>
                <a:rPr lang="en-US" sz="1200" dirty="0">
                  <a:solidFill>
                    <a:srgbClr val="000028"/>
                  </a:solidFill>
                </a:rPr>
                <a:t>Suscipit</a:t>
              </a:r>
              <a:br>
                <a:rPr lang="en-US" sz="1200" dirty="0">
                  <a:solidFill>
                    <a:srgbClr val="000028"/>
                  </a:solidFill>
                </a:rPr>
              </a:br>
              <a:r>
                <a:rPr lang="en-US" sz="1200" dirty="0">
                  <a:solidFill>
                    <a:srgbClr val="000028"/>
                  </a:solidFill>
                </a:rPr>
                <a:t>eget</a:t>
              </a:r>
            </a:p>
          </p:txBody>
        </p:sp>
        <p:sp>
          <p:nvSpPr>
            <p:cNvPr id="63" name="Freeform 62"/>
            <p:cNvSpPr>
              <a:spLocks/>
            </p:cNvSpPr>
            <p:nvPr/>
          </p:nvSpPr>
          <p:spPr bwMode="auto">
            <a:xfrm>
              <a:off x="6594191" y="3839087"/>
              <a:ext cx="1560851" cy="1671847"/>
            </a:xfrm>
            <a:custGeom>
              <a:avLst/>
              <a:gdLst>
                <a:gd name="connsiteX0" fmla="*/ 358680 w 1561664"/>
                <a:gd name="connsiteY0" fmla="*/ 0 h 1672718"/>
                <a:gd name="connsiteX1" fmla="*/ 1561664 w 1561664"/>
                <a:gd name="connsiteY1" fmla="*/ 0 h 1672718"/>
                <a:gd name="connsiteX2" fmla="*/ 642614 w 1561664"/>
                <a:gd name="connsiteY2" fmla="*/ 1672718 h 1672718"/>
                <a:gd name="connsiteX3" fmla="*/ 3424 w 1561664"/>
                <a:gd name="connsiteY3" fmla="*/ 664571 h 1672718"/>
                <a:gd name="connsiteX4" fmla="*/ 0 w 1561664"/>
                <a:gd name="connsiteY4" fmla="*/ 659159 h 1672718"/>
                <a:gd name="connsiteX5" fmla="*/ 109651 w 1561664"/>
                <a:gd name="connsiteY5" fmla="*/ 568689 h 1672718"/>
                <a:gd name="connsiteX6" fmla="*/ 356128 w 1561664"/>
                <a:gd name="connsiteY6" fmla="*/ 50549 h 1672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1664" h="1672718">
                  <a:moveTo>
                    <a:pt x="358680" y="0"/>
                  </a:moveTo>
                  <a:lnTo>
                    <a:pt x="1561664" y="0"/>
                  </a:lnTo>
                  <a:cubicBezTo>
                    <a:pt x="1548887" y="699698"/>
                    <a:pt x="1186440" y="1313418"/>
                    <a:pt x="642614" y="1672718"/>
                  </a:cubicBezTo>
                  <a:lnTo>
                    <a:pt x="3424" y="664571"/>
                  </a:lnTo>
                  <a:lnTo>
                    <a:pt x="0" y="659159"/>
                  </a:lnTo>
                  <a:lnTo>
                    <a:pt x="109651" y="568689"/>
                  </a:lnTo>
                  <a:cubicBezTo>
                    <a:pt x="245292" y="433048"/>
                    <a:pt x="335656" y="252129"/>
                    <a:pt x="356128" y="50549"/>
                  </a:cubicBezTo>
                  <a:close/>
                </a:path>
              </a:pathLst>
            </a:custGeom>
            <a:solidFill>
              <a:srgbClr val="CCCCD4"/>
            </a:solidFill>
            <a:ln w="19050">
              <a:noFill/>
              <a:miter lim="800000"/>
            </a:ln>
            <a:effectLst/>
          </p:spPr>
          <p:txBody>
            <a:bodyPr wrap="square" lIns="143925" tIns="143925" rIns="143925" bIns="359813" rtlCol="0" anchor="ctr" anchorCtr="0">
              <a:noAutofit/>
            </a:bodyPr>
            <a:lstStyle/>
            <a:p>
              <a:pPr marL="0" lvl="1" algn="ctr" eaLnBrk="0" hangingPunct="0">
                <a:lnSpc>
                  <a:spcPct val="90000"/>
                </a:lnSpc>
              </a:pPr>
              <a:r>
                <a:rPr lang="en-US" sz="1200" dirty="0">
                  <a:solidFill>
                    <a:srgbClr val="000028"/>
                  </a:solidFill>
                </a:rPr>
                <a:t>Accusam</a:t>
              </a:r>
            </a:p>
          </p:txBody>
        </p:sp>
        <p:sp>
          <p:nvSpPr>
            <p:cNvPr id="38" name="Freeform 48">
              <a:extLst>
                <a:ext uri="{FF2B5EF4-FFF2-40B4-BE49-F238E27FC236}">
                  <a16:creationId xmlns:a16="http://schemas.microsoft.com/office/drawing/2014/main" id="{8367C998-AA3A-4784-BFA6-1589B83189DB}"/>
                </a:ext>
              </a:extLst>
            </p:cNvPr>
            <p:cNvSpPr>
              <a:spLocks/>
            </p:cNvSpPr>
            <p:nvPr/>
          </p:nvSpPr>
          <p:spPr bwMode="auto">
            <a:xfrm>
              <a:off x="5242197" y="2945892"/>
              <a:ext cx="1712355" cy="1712355"/>
            </a:xfrm>
            <a:prstGeom prst="ellipse">
              <a:avLst/>
            </a:prstGeom>
            <a:gradFill>
              <a:gsLst>
                <a:gs pos="0">
                  <a:srgbClr val="00FFB9"/>
                </a:gs>
                <a:gs pos="100000">
                  <a:srgbClr val="00E6DC"/>
                </a:gs>
              </a:gsLst>
              <a:lin ang="0" scaled="0"/>
            </a:gradFill>
            <a:ln w="76200">
              <a:solidFill>
                <a:schemeClr val="bg2"/>
              </a:solidFill>
            </a:ln>
          </p:spPr>
          <p:txBody>
            <a:bodyPr vert="horz" wrap="square" lIns="0" tIns="0" rIns="0" bIns="0" numCol="1" anchor="ctr" anchorCtr="0" compatLnSpc="1">
              <a:prstTxWarp prst="textNoShape">
                <a:avLst/>
              </a:prstTxWarp>
            </a:bodyPr>
            <a:lstStyle/>
            <a:p>
              <a:pPr algn="ctr"/>
              <a:r>
                <a:rPr lang="en-US" sz="1799" b="1" dirty="0">
                  <a:solidFill>
                    <a:schemeClr val="bg1"/>
                  </a:solidFill>
                </a:rPr>
                <a:t>Duis suscipit eget</a:t>
              </a:r>
            </a:p>
          </p:txBody>
        </p:sp>
      </p:grpSp>
    </p:spTree>
    <p:extLst>
      <p:ext uri="{BB962C8B-B14F-4D97-AF65-F5344CB8AC3E}">
        <p14:creationId xmlns:p14="http://schemas.microsoft.com/office/powerpoint/2010/main" val="373235004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2432593" y="2009866"/>
            <a:ext cx="7594328" cy="3555741"/>
            <a:chOff x="2386519" y="2003367"/>
            <a:chExt cx="7598283" cy="3557593"/>
          </a:xfrm>
        </p:grpSpPr>
        <p:sp>
          <p:nvSpPr>
            <p:cNvPr id="91" name="Freeform 90">
              <a:extLst>
                <a:ext uri="{FF2B5EF4-FFF2-40B4-BE49-F238E27FC236}">
                  <a16:creationId xmlns:a16="http://schemas.microsoft.com/office/drawing/2014/main" id="{B48CE4E9-F7A6-224D-8AC6-13AD1AC2DEEA}"/>
                </a:ext>
              </a:extLst>
            </p:cNvPr>
            <p:cNvSpPr/>
            <p:nvPr/>
          </p:nvSpPr>
          <p:spPr bwMode="auto">
            <a:xfrm>
              <a:off x="5759787" y="4265999"/>
              <a:ext cx="385831" cy="1220402"/>
            </a:xfrm>
            <a:custGeom>
              <a:avLst/>
              <a:gdLst>
                <a:gd name="connsiteX0" fmla="*/ 494414 w 494414"/>
                <a:gd name="connsiteY0" fmla="*/ 0 h 1313121"/>
                <a:gd name="connsiteX1" fmla="*/ 494414 w 494414"/>
                <a:gd name="connsiteY1" fmla="*/ 882502 h 1313121"/>
                <a:gd name="connsiteX2" fmla="*/ 63795 w 494414"/>
                <a:gd name="connsiteY2" fmla="*/ 1313121 h 1313121"/>
                <a:gd name="connsiteX3" fmla="*/ 0 w 494414"/>
                <a:gd name="connsiteY3" fmla="*/ 1313121 h 1313121"/>
                <a:gd name="connsiteX0" fmla="*/ 494414 w 494414"/>
                <a:gd name="connsiteY0" fmla="*/ 0 h 1220402"/>
                <a:gd name="connsiteX1" fmla="*/ 494414 w 494414"/>
                <a:gd name="connsiteY1" fmla="*/ 789783 h 1220402"/>
                <a:gd name="connsiteX2" fmla="*/ 63795 w 494414"/>
                <a:gd name="connsiteY2" fmla="*/ 1220402 h 1220402"/>
                <a:gd name="connsiteX3" fmla="*/ 0 w 494414"/>
                <a:gd name="connsiteY3" fmla="*/ 1220402 h 1220402"/>
              </a:gdLst>
              <a:ahLst/>
              <a:cxnLst>
                <a:cxn ang="0">
                  <a:pos x="connsiteX0" y="connsiteY0"/>
                </a:cxn>
                <a:cxn ang="0">
                  <a:pos x="connsiteX1" y="connsiteY1"/>
                </a:cxn>
                <a:cxn ang="0">
                  <a:pos x="connsiteX2" y="connsiteY2"/>
                </a:cxn>
                <a:cxn ang="0">
                  <a:pos x="connsiteX3" y="connsiteY3"/>
                </a:cxn>
              </a:cxnLst>
              <a:rect l="l" t="t" r="r" b="b"/>
              <a:pathLst>
                <a:path w="494414" h="1220402">
                  <a:moveTo>
                    <a:pt x="494414" y="0"/>
                  </a:moveTo>
                  <a:lnTo>
                    <a:pt x="494414" y="789783"/>
                  </a:lnTo>
                  <a:lnTo>
                    <a:pt x="63795" y="1220402"/>
                  </a:lnTo>
                  <a:lnTo>
                    <a:pt x="0" y="1220402"/>
                  </a:lnTo>
                </a:path>
              </a:pathLst>
            </a:custGeom>
            <a:noFill/>
            <a:ln w="12700">
              <a:solidFill>
                <a:srgbClr val="66667E"/>
              </a:solidFill>
              <a:prstDash val="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92" name="Freeform 91">
              <a:extLst>
                <a:ext uri="{FF2B5EF4-FFF2-40B4-BE49-F238E27FC236}">
                  <a16:creationId xmlns:a16="http://schemas.microsoft.com/office/drawing/2014/main" id="{E57611D8-2C80-2649-BA1F-36B8511DE547}"/>
                </a:ext>
              </a:extLst>
            </p:cNvPr>
            <p:cNvSpPr/>
            <p:nvPr/>
          </p:nvSpPr>
          <p:spPr bwMode="auto">
            <a:xfrm>
              <a:off x="2386519" y="2003367"/>
              <a:ext cx="1778924" cy="673331"/>
            </a:xfrm>
            <a:custGeom>
              <a:avLst/>
              <a:gdLst>
                <a:gd name="connsiteX0" fmla="*/ 0 w 1778924"/>
                <a:gd name="connsiteY0" fmla="*/ 0 h 673331"/>
                <a:gd name="connsiteX1" fmla="*/ 1105593 w 1778924"/>
                <a:gd name="connsiteY1" fmla="*/ 0 h 673331"/>
                <a:gd name="connsiteX2" fmla="*/ 1778924 w 1778924"/>
                <a:gd name="connsiteY2" fmla="*/ 673331 h 673331"/>
              </a:gdLst>
              <a:ahLst/>
              <a:cxnLst>
                <a:cxn ang="0">
                  <a:pos x="connsiteX0" y="connsiteY0"/>
                </a:cxn>
                <a:cxn ang="0">
                  <a:pos x="connsiteX1" y="connsiteY1"/>
                </a:cxn>
                <a:cxn ang="0">
                  <a:pos x="connsiteX2" y="connsiteY2"/>
                </a:cxn>
              </a:cxnLst>
              <a:rect l="l" t="t" r="r" b="b"/>
              <a:pathLst>
                <a:path w="1778924" h="673331">
                  <a:moveTo>
                    <a:pt x="0" y="0"/>
                  </a:moveTo>
                  <a:lnTo>
                    <a:pt x="1105593" y="0"/>
                  </a:lnTo>
                  <a:lnTo>
                    <a:pt x="1778924" y="673331"/>
                  </a:lnTo>
                </a:path>
              </a:pathLst>
            </a:custGeom>
            <a:noFill/>
            <a:ln w="12700">
              <a:solidFill>
                <a:srgbClr val="66667E"/>
              </a:solidFill>
              <a:prstDash val="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01" name="Freeform 100">
              <a:extLst>
                <a:ext uri="{FF2B5EF4-FFF2-40B4-BE49-F238E27FC236}">
                  <a16:creationId xmlns:a16="http://schemas.microsoft.com/office/drawing/2014/main" id="{7B8AA2AA-95AA-CD4C-8CE2-30421C8FDD8B}"/>
                </a:ext>
              </a:extLst>
            </p:cNvPr>
            <p:cNvSpPr/>
            <p:nvPr/>
          </p:nvSpPr>
          <p:spPr bwMode="auto">
            <a:xfrm>
              <a:off x="3722844" y="4680203"/>
              <a:ext cx="703585" cy="263769"/>
            </a:xfrm>
            <a:custGeom>
              <a:avLst/>
              <a:gdLst>
                <a:gd name="connsiteX0" fmla="*/ 756138 w 756138"/>
                <a:gd name="connsiteY0" fmla="*/ 263769 h 263769"/>
                <a:gd name="connsiteX1" fmla="*/ 492369 w 756138"/>
                <a:gd name="connsiteY1" fmla="*/ 0 h 263769"/>
                <a:gd name="connsiteX2" fmla="*/ 0 w 756138"/>
                <a:gd name="connsiteY2" fmla="*/ 0 h 263769"/>
              </a:gdLst>
              <a:ahLst/>
              <a:cxnLst>
                <a:cxn ang="0">
                  <a:pos x="connsiteX0" y="connsiteY0"/>
                </a:cxn>
                <a:cxn ang="0">
                  <a:pos x="connsiteX1" y="connsiteY1"/>
                </a:cxn>
                <a:cxn ang="0">
                  <a:pos x="connsiteX2" y="connsiteY2"/>
                </a:cxn>
              </a:cxnLst>
              <a:rect l="l" t="t" r="r" b="b"/>
              <a:pathLst>
                <a:path w="756138" h="263769">
                  <a:moveTo>
                    <a:pt x="756138" y="263769"/>
                  </a:moveTo>
                  <a:lnTo>
                    <a:pt x="492369" y="0"/>
                  </a:lnTo>
                  <a:lnTo>
                    <a:pt x="0" y="0"/>
                  </a:lnTo>
                </a:path>
              </a:pathLst>
            </a:custGeom>
            <a:noFill/>
            <a:ln w="12700">
              <a:solidFill>
                <a:srgbClr val="66667E"/>
              </a:solidFill>
              <a:prstDash val="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05" name="Freeform 104">
              <a:extLst>
                <a:ext uri="{FF2B5EF4-FFF2-40B4-BE49-F238E27FC236}">
                  <a16:creationId xmlns:a16="http://schemas.microsoft.com/office/drawing/2014/main" id="{0C508DCE-E5DB-5C4E-9887-6A280EB588E5}"/>
                </a:ext>
              </a:extLst>
            </p:cNvPr>
            <p:cNvSpPr/>
            <p:nvPr/>
          </p:nvSpPr>
          <p:spPr bwMode="auto">
            <a:xfrm>
              <a:off x="6189227" y="2046767"/>
              <a:ext cx="404037" cy="1180214"/>
            </a:xfrm>
            <a:custGeom>
              <a:avLst/>
              <a:gdLst>
                <a:gd name="connsiteX0" fmla="*/ 404037 w 404037"/>
                <a:gd name="connsiteY0" fmla="*/ 0 h 1180214"/>
                <a:gd name="connsiteX1" fmla="*/ 0 w 404037"/>
                <a:gd name="connsiteY1" fmla="*/ 404037 h 1180214"/>
                <a:gd name="connsiteX2" fmla="*/ 0 w 404037"/>
                <a:gd name="connsiteY2" fmla="*/ 1180214 h 1180214"/>
              </a:gdLst>
              <a:ahLst/>
              <a:cxnLst>
                <a:cxn ang="0">
                  <a:pos x="connsiteX0" y="connsiteY0"/>
                </a:cxn>
                <a:cxn ang="0">
                  <a:pos x="connsiteX1" y="connsiteY1"/>
                </a:cxn>
                <a:cxn ang="0">
                  <a:pos x="connsiteX2" y="connsiteY2"/>
                </a:cxn>
              </a:cxnLst>
              <a:rect l="l" t="t" r="r" b="b"/>
              <a:pathLst>
                <a:path w="404037" h="1180214">
                  <a:moveTo>
                    <a:pt x="404037" y="0"/>
                  </a:moveTo>
                  <a:lnTo>
                    <a:pt x="0" y="404037"/>
                  </a:lnTo>
                  <a:lnTo>
                    <a:pt x="0" y="1180214"/>
                  </a:lnTo>
                </a:path>
              </a:pathLst>
            </a:custGeom>
            <a:noFill/>
            <a:ln w="12700">
              <a:solidFill>
                <a:srgbClr val="66667E"/>
              </a:solidFill>
              <a:prstDash val="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06" name="Freeform 105">
              <a:extLst>
                <a:ext uri="{FF2B5EF4-FFF2-40B4-BE49-F238E27FC236}">
                  <a16:creationId xmlns:a16="http://schemas.microsoft.com/office/drawing/2014/main" id="{EB49FC04-983C-B64D-A0E2-D20C22693243}"/>
                </a:ext>
              </a:extLst>
            </p:cNvPr>
            <p:cNvSpPr/>
            <p:nvPr/>
          </p:nvSpPr>
          <p:spPr bwMode="auto">
            <a:xfrm>
              <a:off x="8165804" y="2004237"/>
              <a:ext cx="1594884" cy="680484"/>
            </a:xfrm>
            <a:custGeom>
              <a:avLst/>
              <a:gdLst>
                <a:gd name="connsiteX0" fmla="*/ 1594884 w 1594884"/>
                <a:gd name="connsiteY0" fmla="*/ 0 h 680484"/>
                <a:gd name="connsiteX1" fmla="*/ 680484 w 1594884"/>
                <a:gd name="connsiteY1" fmla="*/ 0 h 680484"/>
                <a:gd name="connsiteX2" fmla="*/ 0 w 1594884"/>
                <a:gd name="connsiteY2" fmla="*/ 680484 h 680484"/>
              </a:gdLst>
              <a:ahLst/>
              <a:cxnLst>
                <a:cxn ang="0">
                  <a:pos x="connsiteX0" y="connsiteY0"/>
                </a:cxn>
                <a:cxn ang="0">
                  <a:pos x="connsiteX1" y="connsiteY1"/>
                </a:cxn>
                <a:cxn ang="0">
                  <a:pos x="connsiteX2" y="connsiteY2"/>
                </a:cxn>
              </a:cxnLst>
              <a:rect l="l" t="t" r="r" b="b"/>
              <a:pathLst>
                <a:path w="1594884" h="680484">
                  <a:moveTo>
                    <a:pt x="1594884" y="0"/>
                  </a:moveTo>
                  <a:lnTo>
                    <a:pt x="680484" y="0"/>
                  </a:lnTo>
                  <a:lnTo>
                    <a:pt x="0" y="680484"/>
                  </a:lnTo>
                </a:path>
              </a:pathLst>
            </a:custGeom>
            <a:noFill/>
            <a:ln w="12700">
              <a:solidFill>
                <a:srgbClr val="66667E"/>
              </a:solidFill>
              <a:prstDash val="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09" name="Freeform 108">
              <a:extLst>
                <a:ext uri="{FF2B5EF4-FFF2-40B4-BE49-F238E27FC236}">
                  <a16:creationId xmlns:a16="http://schemas.microsoft.com/office/drawing/2014/main" id="{4164B919-B97D-9348-9195-9163899DD6C1}"/>
                </a:ext>
              </a:extLst>
            </p:cNvPr>
            <p:cNvSpPr/>
            <p:nvPr/>
          </p:nvSpPr>
          <p:spPr bwMode="auto">
            <a:xfrm>
              <a:off x="7206827" y="3235761"/>
              <a:ext cx="846666" cy="345440"/>
            </a:xfrm>
            <a:custGeom>
              <a:avLst/>
              <a:gdLst>
                <a:gd name="connsiteX0" fmla="*/ 0 w 846666"/>
                <a:gd name="connsiteY0" fmla="*/ 345440 h 345440"/>
                <a:gd name="connsiteX1" fmla="*/ 345440 w 846666"/>
                <a:gd name="connsiteY1" fmla="*/ 0 h 345440"/>
                <a:gd name="connsiteX2" fmla="*/ 846666 w 846666"/>
                <a:gd name="connsiteY2" fmla="*/ 0 h 345440"/>
              </a:gdLst>
              <a:ahLst/>
              <a:cxnLst>
                <a:cxn ang="0">
                  <a:pos x="connsiteX0" y="connsiteY0"/>
                </a:cxn>
                <a:cxn ang="0">
                  <a:pos x="connsiteX1" y="connsiteY1"/>
                </a:cxn>
                <a:cxn ang="0">
                  <a:pos x="connsiteX2" y="connsiteY2"/>
                </a:cxn>
              </a:cxnLst>
              <a:rect l="l" t="t" r="r" b="b"/>
              <a:pathLst>
                <a:path w="846666" h="345440">
                  <a:moveTo>
                    <a:pt x="0" y="345440"/>
                  </a:moveTo>
                  <a:lnTo>
                    <a:pt x="345440" y="0"/>
                  </a:lnTo>
                  <a:lnTo>
                    <a:pt x="846666" y="0"/>
                  </a:lnTo>
                </a:path>
              </a:pathLst>
            </a:custGeom>
            <a:noFill/>
            <a:ln w="12700">
              <a:solidFill>
                <a:srgbClr val="66667E"/>
              </a:solidFill>
              <a:prstDash val="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10" name="Freeform 109">
              <a:extLst>
                <a:ext uri="{FF2B5EF4-FFF2-40B4-BE49-F238E27FC236}">
                  <a16:creationId xmlns:a16="http://schemas.microsoft.com/office/drawing/2014/main" id="{BE57460B-EC6B-6B4A-B784-012C9748F74F}"/>
                </a:ext>
              </a:extLst>
            </p:cNvPr>
            <p:cNvSpPr/>
            <p:nvPr/>
          </p:nvSpPr>
          <p:spPr bwMode="auto">
            <a:xfrm>
              <a:off x="7403253" y="3970795"/>
              <a:ext cx="2580640" cy="684106"/>
            </a:xfrm>
            <a:custGeom>
              <a:avLst/>
              <a:gdLst>
                <a:gd name="connsiteX0" fmla="*/ 0 w 2580640"/>
                <a:gd name="connsiteY0" fmla="*/ 0 h 684106"/>
                <a:gd name="connsiteX1" fmla="*/ 392853 w 2580640"/>
                <a:gd name="connsiteY1" fmla="*/ 392853 h 684106"/>
                <a:gd name="connsiteX2" fmla="*/ 1435947 w 2580640"/>
                <a:gd name="connsiteY2" fmla="*/ 392853 h 684106"/>
                <a:gd name="connsiteX3" fmla="*/ 1727200 w 2580640"/>
                <a:gd name="connsiteY3" fmla="*/ 684106 h 684106"/>
                <a:gd name="connsiteX4" fmla="*/ 1788160 w 2580640"/>
                <a:gd name="connsiteY4" fmla="*/ 684106 h 684106"/>
                <a:gd name="connsiteX5" fmla="*/ 2580640 w 2580640"/>
                <a:gd name="connsiteY5" fmla="*/ 684106 h 684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80640" h="684106">
                  <a:moveTo>
                    <a:pt x="0" y="0"/>
                  </a:moveTo>
                  <a:lnTo>
                    <a:pt x="392853" y="392853"/>
                  </a:lnTo>
                  <a:lnTo>
                    <a:pt x="1435947" y="392853"/>
                  </a:lnTo>
                  <a:lnTo>
                    <a:pt x="1727200" y="684106"/>
                  </a:lnTo>
                  <a:lnTo>
                    <a:pt x="1788160" y="684106"/>
                  </a:lnTo>
                  <a:lnTo>
                    <a:pt x="2580640" y="684106"/>
                  </a:lnTo>
                </a:path>
              </a:pathLst>
            </a:custGeom>
            <a:noFill/>
            <a:ln w="12700">
              <a:solidFill>
                <a:srgbClr val="66667E"/>
              </a:solidFill>
              <a:prstDash val="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11" name="Freeform 110">
              <a:extLst>
                <a:ext uri="{FF2B5EF4-FFF2-40B4-BE49-F238E27FC236}">
                  <a16:creationId xmlns:a16="http://schemas.microsoft.com/office/drawing/2014/main" id="{BED39416-99F2-FD4B-B409-B6CEEC5B7A14}"/>
                </a:ext>
              </a:extLst>
            </p:cNvPr>
            <p:cNvSpPr/>
            <p:nvPr/>
          </p:nvSpPr>
          <p:spPr bwMode="auto">
            <a:xfrm>
              <a:off x="8297939" y="4882816"/>
              <a:ext cx="1686863" cy="678144"/>
            </a:xfrm>
            <a:custGeom>
              <a:avLst/>
              <a:gdLst>
                <a:gd name="connsiteX0" fmla="*/ 0 w 1693333"/>
                <a:gd name="connsiteY0" fmla="*/ 0 h 684107"/>
                <a:gd name="connsiteX1" fmla="*/ 684107 w 1693333"/>
                <a:gd name="connsiteY1" fmla="*/ 684107 h 684107"/>
                <a:gd name="connsiteX2" fmla="*/ 745067 w 1693333"/>
                <a:gd name="connsiteY2" fmla="*/ 684107 h 684107"/>
                <a:gd name="connsiteX3" fmla="*/ 1693333 w 1693333"/>
                <a:gd name="connsiteY3" fmla="*/ 684107 h 684107"/>
              </a:gdLst>
              <a:ahLst/>
              <a:cxnLst>
                <a:cxn ang="0">
                  <a:pos x="connsiteX0" y="connsiteY0"/>
                </a:cxn>
                <a:cxn ang="0">
                  <a:pos x="connsiteX1" y="connsiteY1"/>
                </a:cxn>
                <a:cxn ang="0">
                  <a:pos x="connsiteX2" y="connsiteY2"/>
                </a:cxn>
                <a:cxn ang="0">
                  <a:pos x="connsiteX3" y="connsiteY3"/>
                </a:cxn>
              </a:cxnLst>
              <a:rect l="l" t="t" r="r" b="b"/>
              <a:pathLst>
                <a:path w="1693333" h="684107">
                  <a:moveTo>
                    <a:pt x="0" y="0"/>
                  </a:moveTo>
                  <a:lnTo>
                    <a:pt x="684107" y="684107"/>
                  </a:lnTo>
                  <a:lnTo>
                    <a:pt x="745067" y="684107"/>
                  </a:lnTo>
                  <a:lnTo>
                    <a:pt x="1693333" y="684107"/>
                  </a:lnTo>
                </a:path>
              </a:pathLst>
            </a:custGeom>
            <a:noFill/>
            <a:ln w="12700">
              <a:solidFill>
                <a:srgbClr val="66667E"/>
              </a:solidFill>
              <a:prstDash val="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cxnSp>
          <p:nvCxnSpPr>
            <p:cNvPr id="7" name="Straight Connector 6"/>
            <p:cNvCxnSpPr/>
            <p:nvPr/>
          </p:nvCxnSpPr>
          <p:spPr bwMode="auto">
            <a:xfrm>
              <a:off x="6750827" y="4261722"/>
              <a:ext cx="0" cy="580146"/>
            </a:xfrm>
            <a:prstGeom prst="line">
              <a:avLst/>
            </a:prstGeom>
            <a:solidFill>
              <a:schemeClr val="tx2"/>
            </a:solidFill>
            <a:ln w="12700" cap="flat" cmpd="sng" algn="ctr">
              <a:solidFill>
                <a:srgbClr val="66667E"/>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6" name="Straight Connector 135"/>
            <p:cNvCxnSpPr/>
            <p:nvPr/>
          </p:nvCxnSpPr>
          <p:spPr bwMode="auto">
            <a:xfrm>
              <a:off x="5551963" y="2674527"/>
              <a:ext cx="0" cy="580146"/>
            </a:xfrm>
            <a:prstGeom prst="line">
              <a:avLst/>
            </a:prstGeom>
            <a:solidFill>
              <a:schemeClr val="tx2"/>
            </a:solidFill>
            <a:ln w="12700" cap="flat" cmpd="sng" algn="ctr">
              <a:solidFill>
                <a:srgbClr val="66667E"/>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aphicFrame>
        <p:nvGraphicFramePr>
          <p:cNvPr id="28" name="Objekt 27"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4" imgW="360" imgH="360" progId="">
                  <p:embed/>
                </p:oleObj>
              </mc:Choice>
              <mc:Fallback>
                <p:oleObj name="think-cell Folie" r:id="rId4" imgW="360" imgH="360" progId="">
                  <p:embed/>
                  <p:pic>
                    <p:nvPicPr>
                      <p:cNvPr id="28" name="Objekt 2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a:extLst>
            <a:ext uri="{91240B29-F687-4F45-9708-019B960494DF}">
              <a14:hiddenLine xmlns:a14="http://schemas.microsoft.com/office/drawing/2010/main" w="9525">
                <a:solidFill>
                  <a:srgbClr val="000000"/>
                </a:solidFill>
                <a:round/>
                <a:headEnd/>
                <a:tailEnd/>
              </a14:hiddenLine>
            </a:ext>
          </a:extLst>
        </p:spPr>
        <p:txBody>
          <a:bodyPr/>
          <a:lstStyle/>
          <a:p>
            <a:r>
              <a:rPr lang="en-US" dirty="0"/>
              <a:t>Mindmap – network </a:t>
            </a:r>
          </a:p>
        </p:txBody>
      </p:sp>
      <p:grpSp>
        <p:nvGrpSpPr>
          <p:cNvPr id="12" name="Group 11">
            <a:extLst>
              <a:ext uri="{FF2B5EF4-FFF2-40B4-BE49-F238E27FC236}">
                <a16:creationId xmlns:a16="http://schemas.microsoft.com/office/drawing/2014/main" id="{8E23945C-0D2A-4930-909B-B617E6185242}"/>
              </a:ext>
            </a:extLst>
          </p:cNvPr>
          <p:cNvGrpSpPr/>
          <p:nvPr/>
        </p:nvGrpSpPr>
        <p:grpSpPr>
          <a:xfrm>
            <a:off x="2432593" y="1828619"/>
            <a:ext cx="7654347" cy="3917515"/>
            <a:chOff x="2432593" y="1828619"/>
            <a:chExt cx="7654347" cy="3917515"/>
          </a:xfrm>
        </p:grpSpPr>
        <p:sp>
          <p:nvSpPr>
            <p:cNvPr id="85" name="Freeform 84">
              <a:extLst>
                <a:ext uri="{FF2B5EF4-FFF2-40B4-BE49-F238E27FC236}">
                  <a16:creationId xmlns:a16="http://schemas.microsoft.com/office/drawing/2014/main" id="{95D6550B-D2C5-0B4E-9DF8-82442D20D9F3}"/>
                </a:ext>
              </a:extLst>
            </p:cNvPr>
            <p:cNvSpPr/>
            <p:nvPr/>
          </p:nvSpPr>
          <p:spPr bwMode="auto">
            <a:xfrm>
              <a:off x="7203002" y="3794000"/>
              <a:ext cx="368646" cy="176014"/>
            </a:xfrm>
            <a:custGeom>
              <a:avLst/>
              <a:gdLst>
                <a:gd name="connsiteX0" fmla="*/ 0 w 467360"/>
                <a:gd name="connsiteY0" fmla="*/ 176106 h 176106"/>
                <a:gd name="connsiteX1" fmla="*/ 176106 w 467360"/>
                <a:gd name="connsiteY1" fmla="*/ 0 h 176106"/>
                <a:gd name="connsiteX2" fmla="*/ 467360 w 467360"/>
                <a:gd name="connsiteY2" fmla="*/ 0 h 176106"/>
                <a:gd name="connsiteX0" fmla="*/ 0 w 368838"/>
                <a:gd name="connsiteY0" fmla="*/ 176106 h 176106"/>
                <a:gd name="connsiteX1" fmla="*/ 176106 w 368838"/>
                <a:gd name="connsiteY1" fmla="*/ 0 h 176106"/>
                <a:gd name="connsiteX2" fmla="*/ 368838 w 368838"/>
                <a:gd name="connsiteY2" fmla="*/ 0 h 176106"/>
              </a:gdLst>
              <a:ahLst/>
              <a:cxnLst>
                <a:cxn ang="0">
                  <a:pos x="connsiteX0" y="connsiteY0"/>
                </a:cxn>
                <a:cxn ang="0">
                  <a:pos x="connsiteX1" y="connsiteY1"/>
                </a:cxn>
                <a:cxn ang="0">
                  <a:pos x="connsiteX2" y="connsiteY2"/>
                </a:cxn>
              </a:cxnLst>
              <a:rect l="l" t="t" r="r" b="b"/>
              <a:pathLst>
                <a:path w="368838" h="176106">
                  <a:moveTo>
                    <a:pt x="0" y="176106"/>
                  </a:moveTo>
                  <a:lnTo>
                    <a:pt x="176106" y="0"/>
                  </a:lnTo>
                  <a:lnTo>
                    <a:pt x="368838" y="0"/>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89" name="Freeform 88">
              <a:extLst>
                <a:ext uri="{FF2B5EF4-FFF2-40B4-BE49-F238E27FC236}">
                  <a16:creationId xmlns:a16="http://schemas.microsoft.com/office/drawing/2014/main" id="{9AAAA994-E175-2449-9C0D-A2DEF38FF5AC}"/>
                </a:ext>
              </a:extLst>
            </p:cNvPr>
            <p:cNvSpPr/>
            <p:nvPr/>
          </p:nvSpPr>
          <p:spPr bwMode="auto">
            <a:xfrm>
              <a:off x="6405239" y="4267045"/>
              <a:ext cx="451648" cy="1479089"/>
            </a:xfrm>
            <a:custGeom>
              <a:avLst/>
              <a:gdLst>
                <a:gd name="connsiteX0" fmla="*/ 0 w 451883"/>
                <a:gd name="connsiteY0" fmla="*/ 0 h 1562986"/>
                <a:gd name="connsiteX1" fmla="*/ 0 w 451883"/>
                <a:gd name="connsiteY1" fmla="*/ 1111103 h 1562986"/>
                <a:gd name="connsiteX2" fmla="*/ 451883 w 451883"/>
                <a:gd name="connsiteY2" fmla="*/ 1562986 h 1562986"/>
                <a:gd name="connsiteX0" fmla="*/ 0 w 451883"/>
                <a:gd name="connsiteY0" fmla="*/ 0 h 1479859"/>
                <a:gd name="connsiteX1" fmla="*/ 0 w 451883"/>
                <a:gd name="connsiteY1" fmla="*/ 1027976 h 1479859"/>
                <a:gd name="connsiteX2" fmla="*/ 451883 w 451883"/>
                <a:gd name="connsiteY2" fmla="*/ 1479859 h 1479859"/>
              </a:gdLst>
              <a:ahLst/>
              <a:cxnLst>
                <a:cxn ang="0">
                  <a:pos x="connsiteX0" y="connsiteY0"/>
                </a:cxn>
                <a:cxn ang="0">
                  <a:pos x="connsiteX1" y="connsiteY1"/>
                </a:cxn>
                <a:cxn ang="0">
                  <a:pos x="connsiteX2" y="connsiteY2"/>
                </a:cxn>
              </a:cxnLst>
              <a:rect l="l" t="t" r="r" b="b"/>
              <a:pathLst>
                <a:path w="451883" h="1479859">
                  <a:moveTo>
                    <a:pt x="0" y="0"/>
                  </a:moveTo>
                  <a:lnTo>
                    <a:pt x="0" y="1027976"/>
                  </a:lnTo>
                  <a:lnTo>
                    <a:pt x="451883" y="1479859"/>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94" name="Freeform 93">
              <a:extLst>
                <a:ext uri="{FF2B5EF4-FFF2-40B4-BE49-F238E27FC236}">
                  <a16:creationId xmlns:a16="http://schemas.microsoft.com/office/drawing/2014/main" id="{EFD4F5FE-6E57-D94B-8341-A75767A8D51E}"/>
                </a:ext>
              </a:extLst>
            </p:cNvPr>
            <p:cNvSpPr/>
            <p:nvPr/>
          </p:nvSpPr>
          <p:spPr bwMode="auto">
            <a:xfrm>
              <a:off x="2432593" y="2350530"/>
              <a:ext cx="2907600" cy="1176978"/>
            </a:xfrm>
            <a:custGeom>
              <a:avLst/>
              <a:gdLst>
                <a:gd name="connsiteX0" fmla="*/ 0 w 3018817"/>
                <a:gd name="connsiteY0" fmla="*/ 0 h 1215957"/>
                <a:gd name="connsiteX1" fmla="*/ 797668 w 3018817"/>
                <a:gd name="connsiteY1" fmla="*/ 0 h 1215957"/>
                <a:gd name="connsiteX2" fmla="*/ 1128408 w 3018817"/>
                <a:gd name="connsiteY2" fmla="*/ 330740 h 1215957"/>
                <a:gd name="connsiteX3" fmla="*/ 1170562 w 3018817"/>
                <a:gd name="connsiteY3" fmla="*/ 330740 h 1215957"/>
                <a:gd name="connsiteX4" fmla="*/ 2062264 w 3018817"/>
                <a:gd name="connsiteY4" fmla="*/ 330740 h 1215957"/>
                <a:gd name="connsiteX5" fmla="*/ 2947481 w 3018817"/>
                <a:gd name="connsiteY5" fmla="*/ 1215957 h 1215957"/>
                <a:gd name="connsiteX6" fmla="*/ 3018817 w 3018817"/>
                <a:gd name="connsiteY6" fmla="*/ 1215957 h 1215957"/>
                <a:gd name="connsiteX0" fmla="*/ 0 w 2947481"/>
                <a:gd name="connsiteY0" fmla="*/ 0 h 1215957"/>
                <a:gd name="connsiteX1" fmla="*/ 797668 w 2947481"/>
                <a:gd name="connsiteY1" fmla="*/ 0 h 1215957"/>
                <a:gd name="connsiteX2" fmla="*/ 1128408 w 2947481"/>
                <a:gd name="connsiteY2" fmla="*/ 330740 h 1215957"/>
                <a:gd name="connsiteX3" fmla="*/ 1170562 w 2947481"/>
                <a:gd name="connsiteY3" fmla="*/ 330740 h 1215957"/>
                <a:gd name="connsiteX4" fmla="*/ 2062264 w 2947481"/>
                <a:gd name="connsiteY4" fmla="*/ 330740 h 1215957"/>
                <a:gd name="connsiteX5" fmla="*/ 2947481 w 2947481"/>
                <a:gd name="connsiteY5" fmla="*/ 1215957 h 1215957"/>
                <a:gd name="connsiteX6" fmla="*/ 2940995 w 2947481"/>
                <a:gd name="connsiteY6" fmla="*/ 1215957 h 1215957"/>
                <a:gd name="connsiteX0" fmla="*/ 0 w 3084893"/>
                <a:gd name="connsiteY0" fmla="*/ 0 h 1267112"/>
                <a:gd name="connsiteX1" fmla="*/ 797668 w 3084893"/>
                <a:gd name="connsiteY1" fmla="*/ 0 h 1267112"/>
                <a:gd name="connsiteX2" fmla="*/ 1128408 w 3084893"/>
                <a:gd name="connsiteY2" fmla="*/ 330740 h 1267112"/>
                <a:gd name="connsiteX3" fmla="*/ 1170562 w 3084893"/>
                <a:gd name="connsiteY3" fmla="*/ 330740 h 1267112"/>
                <a:gd name="connsiteX4" fmla="*/ 2062264 w 3084893"/>
                <a:gd name="connsiteY4" fmla="*/ 330740 h 1267112"/>
                <a:gd name="connsiteX5" fmla="*/ 2947481 w 3084893"/>
                <a:gd name="connsiteY5" fmla="*/ 1215957 h 1267112"/>
                <a:gd name="connsiteX6" fmla="*/ 3084869 w 3084893"/>
                <a:gd name="connsiteY6" fmla="*/ 1267112 h 1267112"/>
                <a:gd name="connsiteX0" fmla="*/ 0 w 2947481"/>
                <a:gd name="connsiteY0" fmla="*/ 0 h 1215957"/>
                <a:gd name="connsiteX1" fmla="*/ 797668 w 2947481"/>
                <a:gd name="connsiteY1" fmla="*/ 0 h 1215957"/>
                <a:gd name="connsiteX2" fmla="*/ 1128408 w 2947481"/>
                <a:gd name="connsiteY2" fmla="*/ 330740 h 1215957"/>
                <a:gd name="connsiteX3" fmla="*/ 1170562 w 2947481"/>
                <a:gd name="connsiteY3" fmla="*/ 330740 h 1215957"/>
                <a:gd name="connsiteX4" fmla="*/ 2062264 w 2947481"/>
                <a:gd name="connsiteY4" fmla="*/ 330740 h 1215957"/>
                <a:gd name="connsiteX5" fmla="*/ 2947481 w 2947481"/>
                <a:gd name="connsiteY5" fmla="*/ 1215957 h 1215957"/>
                <a:gd name="connsiteX0" fmla="*/ 0 w 2909115"/>
                <a:gd name="connsiteY0" fmla="*/ 0 h 1177591"/>
                <a:gd name="connsiteX1" fmla="*/ 797668 w 2909115"/>
                <a:gd name="connsiteY1" fmla="*/ 0 h 1177591"/>
                <a:gd name="connsiteX2" fmla="*/ 1128408 w 2909115"/>
                <a:gd name="connsiteY2" fmla="*/ 330740 h 1177591"/>
                <a:gd name="connsiteX3" fmla="*/ 1170562 w 2909115"/>
                <a:gd name="connsiteY3" fmla="*/ 330740 h 1177591"/>
                <a:gd name="connsiteX4" fmla="*/ 2062264 w 2909115"/>
                <a:gd name="connsiteY4" fmla="*/ 330740 h 1177591"/>
                <a:gd name="connsiteX5" fmla="*/ 2909115 w 2909115"/>
                <a:gd name="connsiteY5" fmla="*/ 1177591 h 1177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09115" h="1177591">
                  <a:moveTo>
                    <a:pt x="0" y="0"/>
                  </a:moveTo>
                  <a:lnTo>
                    <a:pt x="797668" y="0"/>
                  </a:lnTo>
                  <a:lnTo>
                    <a:pt x="1128408" y="330740"/>
                  </a:lnTo>
                  <a:lnTo>
                    <a:pt x="1170562" y="330740"/>
                  </a:lnTo>
                  <a:lnTo>
                    <a:pt x="2062264" y="330740"/>
                  </a:lnTo>
                  <a:lnTo>
                    <a:pt x="2909115" y="1177591"/>
                  </a:lnTo>
                </a:path>
              </a:pathLst>
            </a:custGeom>
            <a:noFill/>
            <a:ln w="22225">
              <a:solidFill>
                <a:schemeClr val="accent2"/>
              </a:solidFill>
            </a:ln>
            <a:effec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95" name="Freeform 94">
              <a:extLst>
                <a:ext uri="{FF2B5EF4-FFF2-40B4-BE49-F238E27FC236}">
                  <a16:creationId xmlns:a16="http://schemas.microsoft.com/office/drawing/2014/main" id="{6FF7DB83-5F85-F04E-8DB2-ED696764F1C7}"/>
                </a:ext>
              </a:extLst>
            </p:cNvPr>
            <p:cNvSpPr/>
            <p:nvPr/>
          </p:nvSpPr>
          <p:spPr bwMode="auto">
            <a:xfrm>
              <a:off x="2432593" y="2897333"/>
              <a:ext cx="2567297" cy="697906"/>
            </a:xfrm>
            <a:custGeom>
              <a:avLst/>
              <a:gdLst>
                <a:gd name="connsiteX0" fmla="*/ 0 w 2568634"/>
                <a:gd name="connsiteY0" fmla="*/ 0 h 698269"/>
                <a:gd name="connsiteX1" fmla="*/ 822960 w 2568634"/>
                <a:gd name="connsiteY1" fmla="*/ 0 h 698269"/>
                <a:gd name="connsiteX2" fmla="*/ 1138843 w 2568634"/>
                <a:gd name="connsiteY2" fmla="*/ 315883 h 698269"/>
                <a:gd name="connsiteX3" fmla="*/ 2186248 w 2568634"/>
                <a:gd name="connsiteY3" fmla="*/ 315883 h 698269"/>
                <a:gd name="connsiteX4" fmla="*/ 2568634 w 2568634"/>
                <a:gd name="connsiteY4" fmla="*/ 698269 h 698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8634" h="698269">
                  <a:moveTo>
                    <a:pt x="0" y="0"/>
                  </a:moveTo>
                  <a:lnTo>
                    <a:pt x="822960" y="0"/>
                  </a:lnTo>
                  <a:lnTo>
                    <a:pt x="1138843" y="315883"/>
                  </a:lnTo>
                  <a:lnTo>
                    <a:pt x="2186248" y="315883"/>
                  </a:lnTo>
                  <a:lnTo>
                    <a:pt x="2568634" y="698269"/>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96" name="Freeform 95">
              <a:extLst>
                <a:ext uri="{FF2B5EF4-FFF2-40B4-BE49-F238E27FC236}">
                  <a16:creationId xmlns:a16="http://schemas.microsoft.com/office/drawing/2014/main" id="{E1B2F581-5399-4C40-BF86-05E4D9487BB4}"/>
                </a:ext>
              </a:extLst>
            </p:cNvPr>
            <p:cNvSpPr/>
            <p:nvPr/>
          </p:nvSpPr>
          <p:spPr bwMode="auto">
            <a:xfrm>
              <a:off x="2449900" y="3597842"/>
              <a:ext cx="2882160" cy="386298"/>
            </a:xfrm>
            <a:custGeom>
              <a:avLst/>
              <a:gdLst>
                <a:gd name="connsiteX0" fmla="*/ 0 w 3129699"/>
                <a:gd name="connsiteY0" fmla="*/ 386499 h 386499"/>
                <a:gd name="connsiteX1" fmla="*/ 829559 w 3129699"/>
                <a:gd name="connsiteY1" fmla="*/ 386499 h 386499"/>
                <a:gd name="connsiteX2" fmla="*/ 1216058 w 3129699"/>
                <a:gd name="connsiteY2" fmla="*/ 0 h 386499"/>
                <a:gd name="connsiteX3" fmla="*/ 3129699 w 3129699"/>
                <a:gd name="connsiteY3" fmla="*/ 0 h 386499"/>
                <a:gd name="connsiteX0" fmla="*/ 0 w 2877120"/>
                <a:gd name="connsiteY0" fmla="*/ 386499 h 386499"/>
                <a:gd name="connsiteX1" fmla="*/ 829559 w 2877120"/>
                <a:gd name="connsiteY1" fmla="*/ 386499 h 386499"/>
                <a:gd name="connsiteX2" fmla="*/ 1216058 w 2877120"/>
                <a:gd name="connsiteY2" fmla="*/ 0 h 386499"/>
                <a:gd name="connsiteX3" fmla="*/ 2877120 w 2877120"/>
                <a:gd name="connsiteY3" fmla="*/ 0 h 386499"/>
              </a:gdLst>
              <a:ahLst/>
              <a:cxnLst>
                <a:cxn ang="0">
                  <a:pos x="connsiteX0" y="connsiteY0"/>
                </a:cxn>
                <a:cxn ang="0">
                  <a:pos x="connsiteX1" y="connsiteY1"/>
                </a:cxn>
                <a:cxn ang="0">
                  <a:pos x="connsiteX2" y="connsiteY2"/>
                </a:cxn>
                <a:cxn ang="0">
                  <a:pos x="connsiteX3" y="connsiteY3"/>
                </a:cxn>
              </a:cxnLst>
              <a:rect l="l" t="t" r="r" b="b"/>
              <a:pathLst>
                <a:path w="2877120" h="386499">
                  <a:moveTo>
                    <a:pt x="0" y="386499"/>
                  </a:moveTo>
                  <a:lnTo>
                    <a:pt x="829559" y="386499"/>
                  </a:lnTo>
                  <a:lnTo>
                    <a:pt x="1216058" y="0"/>
                  </a:lnTo>
                  <a:lnTo>
                    <a:pt x="2877120" y="0"/>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97" name="Freeform 96">
              <a:extLst>
                <a:ext uri="{FF2B5EF4-FFF2-40B4-BE49-F238E27FC236}">
                  <a16:creationId xmlns:a16="http://schemas.microsoft.com/office/drawing/2014/main" id="{37B6C0DF-9FC8-4342-BB6F-14397AF3DA7A}"/>
                </a:ext>
              </a:extLst>
            </p:cNvPr>
            <p:cNvSpPr/>
            <p:nvPr/>
          </p:nvSpPr>
          <p:spPr bwMode="auto">
            <a:xfrm>
              <a:off x="3005791" y="3635434"/>
              <a:ext cx="452251" cy="179016"/>
            </a:xfrm>
            <a:custGeom>
              <a:avLst/>
              <a:gdLst>
                <a:gd name="connsiteX0" fmla="*/ 0 w 452487"/>
                <a:gd name="connsiteY0" fmla="*/ 0 h 179109"/>
                <a:gd name="connsiteX1" fmla="*/ 273378 w 452487"/>
                <a:gd name="connsiteY1" fmla="*/ 0 h 179109"/>
                <a:gd name="connsiteX2" fmla="*/ 452487 w 452487"/>
                <a:gd name="connsiteY2" fmla="*/ 179109 h 179109"/>
              </a:gdLst>
              <a:ahLst/>
              <a:cxnLst>
                <a:cxn ang="0">
                  <a:pos x="connsiteX0" y="connsiteY0"/>
                </a:cxn>
                <a:cxn ang="0">
                  <a:pos x="connsiteX1" y="connsiteY1"/>
                </a:cxn>
                <a:cxn ang="0">
                  <a:pos x="connsiteX2" y="connsiteY2"/>
                </a:cxn>
              </a:cxnLst>
              <a:rect l="l" t="t" r="r" b="b"/>
              <a:pathLst>
                <a:path w="452487" h="179109">
                  <a:moveTo>
                    <a:pt x="0" y="0"/>
                  </a:moveTo>
                  <a:lnTo>
                    <a:pt x="273378" y="0"/>
                  </a:lnTo>
                  <a:lnTo>
                    <a:pt x="452487" y="179109"/>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98" name="Freeform 97">
              <a:extLst>
                <a:ext uri="{FF2B5EF4-FFF2-40B4-BE49-F238E27FC236}">
                  <a16:creationId xmlns:a16="http://schemas.microsoft.com/office/drawing/2014/main" id="{09DECEF8-223B-BC4B-84FD-C761173E06AB}"/>
                </a:ext>
              </a:extLst>
            </p:cNvPr>
            <p:cNvSpPr/>
            <p:nvPr/>
          </p:nvSpPr>
          <p:spPr bwMode="auto">
            <a:xfrm>
              <a:off x="4799721" y="3597232"/>
              <a:ext cx="482349" cy="208172"/>
            </a:xfrm>
            <a:custGeom>
              <a:avLst/>
              <a:gdLst>
                <a:gd name="connsiteX0" fmla="*/ 0 w 482600"/>
                <a:gd name="connsiteY0" fmla="*/ 208280 h 208280"/>
                <a:gd name="connsiteX1" fmla="*/ 259080 w 482600"/>
                <a:gd name="connsiteY1" fmla="*/ 203200 h 208280"/>
                <a:gd name="connsiteX2" fmla="*/ 482600 w 482600"/>
                <a:gd name="connsiteY2" fmla="*/ 0 h 208280"/>
              </a:gdLst>
              <a:ahLst/>
              <a:cxnLst>
                <a:cxn ang="0">
                  <a:pos x="connsiteX0" y="connsiteY0"/>
                </a:cxn>
                <a:cxn ang="0">
                  <a:pos x="connsiteX1" y="connsiteY1"/>
                </a:cxn>
                <a:cxn ang="0">
                  <a:pos x="connsiteX2" y="connsiteY2"/>
                </a:cxn>
              </a:cxnLst>
              <a:rect l="l" t="t" r="r" b="b"/>
              <a:pathLst>
                <a:path w="482600" h="208280">
                  <a:moveTo>
                    <a:pt x="0" y="208280"/>
                  </a:moveTo>
                  <a:lnTo>
                    <a:pt x="259080" y="203200"/>
                  </a:lnTo>
                  <a:lnTo>
                    <a:pt x="482600" y="0"/>
                  </a:lnTo>
                </a:path>
              </a:pathLst>
            </a:custGeom>
            <a:noFill/>
            <a:ln w="22225">
              <a:solidFill>
                <a:schemeClr val="accent2"/>
              </a:solidFill>
              <a:prstDash val="solid"/>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99" name="Freeform 98">
              <a:extLst>
                <a:ext uri="{FF2B5EF4-FFF2-40B4-BE49-F238E27FC236}">
                  <a16:creationId xmlns:a16="http://schemas.microsoft.com/office/drawing/2014/main" id="{9E5FF257-D650-C642-9BF9-E91B70D9FA1D}"/>
                </a:ext>
              </a:extLst>
            </p:cNvPr>
            <p:cNvSpPr/>
            <p:nvPr/>
          </p:nvSpPr>
          <p:spPr bwMode="auto">
            <a:xfrm>
              <a:off x="2443828" y="3972956"/>
              <a:ext cx="3010872" cy="416343"/>
            </a:xfrm>
            <a:custGeom>
              <a:avLst/>
              <a:gdLst>
                <a:gd name="connsiteX0" fmla="*/ 3012440 w 3012440"/>
                <a:gd name="connsiteY0" fmla="*/ 0 h 416560"/>
                <a:gd name="connsiteX1" fmla="*/ 1203960 w 3012440"/>
                <a:gd name="connsiteY1" fmla="*/ 0 h 416560"/>
                <a:gd name="connsiteX2" fmla="*/ 787400 w 3012440"/>
                <a:gd name="connsiteY2" fmla="*/ 416560 h 416560"/>
                <a:gd name="connsiteX3" fmla="*/ 731520 w 3012440"/>
                <a:gd name="connsiteY3" fmla="*/ 416560 h 416560"/>
                <a:gd name="connsiteX4" fmla="*/ 0 w 3012440"/>
                <a:gd name="connsiteY4" fmla="*/ 416560 h 416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2440" h="416560">
                  <a:moveTo>
                    <a:pt x="3012440" y="0"/>
                  </a:moveTo>
                  <a:lnTo>
                    <a:pt x="1203960" y="0"/>
                  </a:lnTo>
                  <a:lnTo>
                    <a:pt x="787400" y="416560"/>
                  </a:lnTo>
                  <a:lnTo>
                    <a:pt x="731520" y="416560"/>
                  </a:lnTo>
                  <a:lnTo>
                    <a:pt x="0" y="416560"/>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00" name="Freeform 99">
              <a:extLst>
                <a:ext uri="{FF2B5EF4-FFF2-40B4-BE49-F238E27FC236}">
                  <a16:creationId xmlns:a16="http://schemas.microsoft.com/office/drawing/2014/main" id="{5799BE6B-F6E3-DB4A-8A14-AD3372176FF1}"/>
                </a:ext>
              </a:extLst>
            </p:cNvPr>
            <p:cNvSpPr/>
            <p:nvPr/>
          </p:nvSpPr>
          <p:spPr bwMode="auto">
            <a:xfrm>
              <a:off x="3096659" y="4067473"/>
              <a:ext cx="2258447" cy="1080891"/>
            </a:xfrm>
            <a:custGeom>
              <a:avLst/>
              <a:gdLst>
                <a:gd name="connsiteX0" fmla="*/ 2259623 w 2259623"/>
                <a:gd name="connsiteY0" fmla="*/ 0 h 1081454"/>
                <a:gd name="connsiteX1" fmla="*/ 1178169 w 2259623"/>
                <a:gd name="connsiteY1" fmla="*/ 1081454 h 1081454"/>
                <a:gd name="connsiteX2" fmla="*/ 0 w 2259623"/>
                <a:gd name="connsiteY2" fmla="*/ 1081454 h 1081454"/>
              </a:gdLst>
              <a:ahLst/>
              <a:cxnLst>
                <a:cxn ang="0">
                  <a:pos x="connsiteX0" y="connsiteY0"/>
                </a:cxn>
                <a:cxn ang="0">
                  <a:pos x="connsiteX1" y="connsiteY1"/>
                </a:cxn>
                <a:cxn ang="0">
                  <a:pos x="connsiteX2" y="connsiteY2"/>
                </a:cxn>
              </a:cxnLst>
              <a:rect l="l" t="t" r="r" b="b"/>
              <a:pathLst>
                <a:path w="2259623" h="1081454">
                  <a:moveTo>
                    <a:pt x="2259623" y="0"/>
                  </a:moveTo>
                  <a:lnTo>
                    <a:pt x="1178169" y="1081454"/>
                  </a:lnTo>
                  <a:lnTo>
                    <a:pt x="0" y="1081454"/>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02" name="Freeform 101">
              <a:extLst>
                <a:ext uri="{FF2B5EF4-FFF2-40B4-BE49-F238E27FC236}">
                  <a16:creationId xmlns:a16="http://schemas.microsoft.com/office/drawing/2014/main" id="{5FAE60FF-2D77-8F48-AC43-65095D29B5C2}"/>
                </a:ext>
              </a:extLst>
            </p:cNvPr>
            <p:cNvSpPr/>
            <p:nvPr/>
          </p:nvSpPr>
          <p:spPr bwMode="auto">
            <a:xfrm>
              <a:off x="2527374" y="5148364"/>
              <a:ext cx="1275340" cy="411266"/>
            </a:xfrm>
            <a:custGeom>
              <a:avLst/>
              <a:gdLst>
                <a:gd name="connsiteX0" fmla="*/ 0 w 1276004"/>
                <a:gd name="connsiteY0" fmla="*/ 411480 h 411480"/>
                <a:gd name="connsiteX1" fmla="*/ 864524 w 1276004"/>
                <a:gd name="connsiteY1" fmla="*/ 411480 h 411480"/>
                <a:gd name="connsiteX2" fmla="*/ 1276004 w 1276004"/>
                <a:gd name="connsiteY2" fmla="*/ 0 h 411480"/>
              </a:gdLst>
              <a:ahLst/>
              <a:cxnLst>
                <a:cxn ang="0">
                  <a:pos x="connsiteX0" y="connsiteY0"/>
                </a:cxn>
                <a:cxn ang="0">
                  <a:pos x="connsiteX1" y="connsiteY1"/>
                </a:cxn>
                <a:cxn ang="0">
                  <a:pos x="connsiteX2" y="connsiteY2"/>
                </a:cxn>
              </a:cxnLst>
              <a:rect l="l" t="t" r="r" b="b"/>
              <a:pathLst>
                <a:path w="1276004" h="411480">
                  <a:moveTo>
                    <a:pt x="0" y="411480"/>
                  </a:moveTo>
                  <a:lnTo>
                    <a:pt x="864524" y="411480"/>
                  </a:lnTo>
                  <a:lnTo>
                    <a:pt x="1276004" y="0"/>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03" name="Freeform 102">
              <a:extLst>
                <a:ext uri="{FF2B5EF4-FFF2-40B4-BE49-F238E27FC236}">
                  <a16:creationId xmlns:a16="http://schemas.microsoft.com/office/drawing/2014/main" id="{E38276D7-DBEB-FA43-BC8B-6373A0D89216}"/>
                </a:ext>
              </a:extLst>
            </p:cNvPr>
            <p:cNvSpPr/>
            <p:nvPr/>
          </p:nvSpPr>
          <p:spPr bwMode="auto">
            <a:xfrm>
              <a:off x="5534245" y="1828619"/>
              <a:ext cx="480656" cy="1388970"/>
            </a:xfrm>
            <a:custGeom>
              <a:avLst/>
              <a:gdLst>
                <a:gd name="connsiteX0" fmla="*/ 0 w 480906"/>
                <a:gd name="connsiteY0" fmla="*/ 0 h 1466426"/>
                <a:gd name="connsiteX1" fmla="*/ 480906 w 480906"/>
                <a:gd name="connsiteY1" fmla="*/ 480906 h 1466426"/>
                <a:gd name="connsiteX2" fmla="*/ 480906 w 480906"/>
                <a:gd name="connsiteY2" fmla="*/ 1466426 h 1466426"/>
                <a:gd name="connsiteX0" fmla="*/ 0 w 480906"/>
                <a:gd name="connsiteY0" fmla="*/ 0 h 1389693"/>
                <a:gd name="connsiteX1" fmla="*/ 480906 w 480906"/>
                <a:gd name="connsiteY1" fmla="*/ 480906 h 1389693"/>
                <a:gd name="connsiteX2" fmla="*/ 480906 w 480906"/>
                <a:gd name="connsiteY2" fmla="*/ 1389693 h 1389693"/>
              </a:gdLst>
              <a:ahLst/>
              <a:cxnLst>
                <a:cxn ang="0">
                  <a:pos x="connsiteX0" y="connsiteY0"/>
                </a:cxn>
                <a:cxn ang="0">
                  <a:pos x="connsiteX1" y="connsiteY1"/>
                </a:cxn>
                <a:cxn ang="0">
                  <a:pos x="connsiteX2" y="connsiteY2"/>
                </a:cxn>
              </a:cxnLst>
              <a:rect l="l" t="t" r="r" b="b"/>
              <a:pathLst>
                <a:path w="480906" h="1389693">
                  <a:moveTo>
                    <a:pt x="0" y="0"/>
                  </a:moveTo>
                  <a:lnTo>
                    <a:pt x="480906" y="480906"/>
                  </a:lnTo>
                  <a:lnTo>
                    <a:pt x="480906" y="1389693"/>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04" name="Freeform 103">
              <a:extLst>
                <a:ext uri="{FF2B5EF4-FFF2-40B4-BE49-F238E27FC236}">
                  <a16:creationId xmlns:a16="http://schemas.microsoft.com/office/drawing/2014/main" id="{F66F149C-6338-BF41-8404-CCDEE35C024C}"/>
                </a:ext>
              </a:extLst>
            </p:cNvPr>
            <p:cNvSpPr/>
            <p:nvPr/>
          </p:nvSpPr>
          <p:spPr bwMode="auto">
            <a:xfrm>
              <a:off x="5429904" y="4188013"/>
              <a:ext cx="398513" cy="658876"/>
            </a:xfrm>
            <a:custGeom>
              <a:avLst/>
              <a:gdLst>
                <a:gd name="connsiteX0" fmla="*/ 398721 w 398721"/>
                <a:gd name="connsiteY0" fmla="*/ 0 h 659219"/>
                <a:gd name="connsiteX1" fmla="*/ 0 w 398721"/>
                <a:gd name="connsiteY1" fmla="*/ 398721 h 659219"/>
                <a:gd name="connsiteX2" fmla="*/ 0 w 398721"/>
                <a:gd name="connsiteY2" fmla="*/ 659219 h 659219"/>
              </a:gdLst>
              <a:ahLst/>
              <a:cxnLst>
                <a:cxn ang="0">
                  <a:pos x="connsiteX0" y="connsiteY0"/>
                </a:cxn>
                <a:cxn ang="0">
                  <a:pos x="connsiteX1" y="connsiteY1"/>
                </a:cxn>
                <a:cxn ang="0">
                  <a:pos x="connsiteX2" y="connsiteY2"/>
                </a:cxn>
              </a:cxnLst>
              <a:rect l="l" t="t" r="r" b="b"/>
              <a:pathLst>
                <a:path w="398721" h="659219">
                  <a:moveTo>
                    <a:pt x="398721" y="0"/>
                  </a:moveTo>
                  <a:lnTo>
                    <a:pt x="0" y="398721"/>
                  </a:lnTo>
                  <a:lnTo>
                    <a:pt x="0" y="659219"/>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07" name="Freeform 106">
              <a:extLst>
                <a:ext uri="{FF2B5EF4-FFF2-40B4-BE49-F238E27FC236}">
                  <a16:creationId xmlns:a16="http://schemas.microsoft.com/office/drawing/2014/main" id="{3EA5E0E4-ACBE-9042-B5D4-697663728D87}"/>
                </a:ext>
              </a:extLst>
            </p:cNvPr>
            <p:cNvSpPr/>
            <p:nvPr/>
          </p:nvSpPr>
          <p:spPr bwMode="auto">
            <a:xfrm>
              <a:off x="8817874" y="2339103"/>
              <a:ext cx="1227422" cy="345379"/>
            </a:xfrm>
            <a:custGeom>
              <a:avLst/>
              <a:gdLst>
                <a:gd name="connsiteX0" fmla="*/ 0 w 2998381"/>
                <a:gd name="connsiteY0" fmla="*/ 1254642 h 1254642"/>
                <a:gd name="connsiteX1" fmla="*/ 909083 w 2998381"/>
                <a:gd name="connsiteY1" fmla="*/ 345559 h 1254642"/>
                <a:gd name="connsiteX2" fmla="*/ 1770320 w 2998381"/>
                <a:gd name="connsiteY2" fmla="*/ 345559 h 1254642"/>
                <a:gd name="connsiteX3" fmla="*/ 2115879 w 2998381"/>
                <a:gd name="connsiteY3" fmla="*/ 0 h 1254642"/>
                <a:gd name="connsiteX4" fmla="*/ 2174358 w 2998381"/>
                <a:gd name="connsiteY4" fmla="*/ 0 h 1254642"/>
                <a:gd name="connsiteX5" fmla="*/ 2998381 w 2998381"/>
                <a:gd name="connsiteY5" fmla="*/ 0 h 1254642"/>
                <a:gd name="connsiteX0" fmla="*/ 0 w 2089298"/>
                <a:gd name="connsiteY0" fmla="*/ 345559 h 345559"/>
                <a:gd name="connsiteX1" fmla="*/ 861237 w 2089298"/>
                <a:gd name="connsiteY1" fmla="*/ 345559 h 345559"/>
                <a:gd name="connsiteX2" fmla="*/ 1206796 w 2089298"/>
                <a:gd name="connsiteY2" fmla="*/ 0 h 345559"/>
                <a:gd name="connsiteX3" fmla="*/ 1265275 w 2089298"/>
                <a:gd name="connsiteY3" fmla="*/ 0 h 345559"/>
                <a:gd name="connsiteX4" fmla="*/ 2089298 w 2089298"/>
                <a:gd name="connsiteY4" fmla="*/ 0 h 345559"/>
                <a:gd name="connsiteX0" fmla="*/ 0 w 1228061"/>
                <a:gd name="connsiteY0" fmla="*/ 345559 h 345559"/>
                <a:gd name="connsiteX1" fmla="*/ 345559 w 1228061"/>
                <a:gd name="connsiteY1" fmla="*/ 0 h 345559"/>
                <a:gd name="connsiteX2" fmla="*/ 404038 w 1228061"/>
                <a:gd name="connsiteY2" fmla="*/ 0 h 345559"/>
                <a:gd name="connsiteX3" fmla="*/ 1228061 w 1228061"/>
                <a:gd name="connsiteY3" fmla="*/ 0 h 345559"/>
              </a:gdLst>
              <a:ahLst/>
              <a:cxnLst>
                <a:cxn ang="0">
                  <a:pos x="connsiteX0" y="connsiteY0"/>
                </a:cxn>
                <a:cxn ang="0">
                  <a:pos x="connsiteX1" y="connsiteY1"/>
                </a:cxn>
                <a:cxn ang="0">
                  <a:pos x="connsiteX2" y="connsiteY2"/>
                </a:cxn>
                <a:cxn ang="0">
                  <a:pos x="connsiteX3" y="connsiteY3"/>
                </a:cxn>
              </a:cxnLst>
              <a:rect l="l" t="t" r="r" b="b"/>
              <a:pathLst>
                <a:path w="1228061" h="345559">
                  <a:moveTo>
                    <a:pt x="0" y="345559"/>
                  </a:moveTo>
                  <a:lnTo>
                    <a:pt x="345559" y="0"/>
                  </a:lnTo>
                  <a:lnTo>
                    <a:pt x="404038" y="0"/>
                  </a:lnTo>
                  <a:lnTo>
                    <a:pt x="1228061" y="0"/>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08" name="Freeform 107">
              <a:extLst>
                <a:ext uri="{FF2B5EF4-FFF2-40B4-BE49-F238E27FC236}">
                  <a16:creationId xmlns:a16="http://schemas.microsoft.com/office/drawing/2014/main" id="{EFE7DB5A-A804-974C-B6B2-81FA65F77EBB}"/>
                </a:ext>
              </a:extLst>
            </p:cNvPr>
            <p:cNvSpPr/>
            <p:nvPr/>
          </p:nvSpPr>
          <p:spPr bwMode="auto">
            <a:xfrm>
              <a:off x="6955702" y="2686552"/>
              <a:ext cx="2479034" cy="886281"/>
            </a:xfrm>
            <a:custGeom>
              <a:avLst/>
              <a:gdLst>
                <a:gd name="connsiteX0" fmla="*/ 0 w 2435225"/>
                <a:gd name="connsiteY0" fmla="*/ 873125 h 873125"/>
                <a:gd name="connsiteX1" fmla="*/ 873125 w 2435225"/>
                <a:gd name="connsiteY1" fmla="*/ 0 h 873125"/>
                <a:gd name="connsiteX2" fmla="*/ 908050 w 2435225"/>
                <a:gd name="connsiteY2" fmla="*/ 0 h 873125"/>
                <a:gd name="connsiteX3" fmla="*/ 2435225 w 2435225"/>
                <a:gd name="connsiteY3" fmla="*/ 0 h 873125"/>
              </a:gdLst>
              <a:ahLst/>
              <a:cxnLst>
                <a:cxn ang="0">
                  <a:pos x="connsiteX0" y="connsiteY0"/>
                </a:cxn>
                <a:cxn ang="0">
                  <a:pos x="connsiteX1" y="connsiteY1"/>
                </a:cxn>
                <a:cxn ang="0">
                  <a:pos x="connsiteX2" y="connsiteY2"/>
                </a:cxn>
                <a:cxn ang="0">
                  <a:pos x="connsiteX3" y="connsiteY3"/>
                </a:cxn>
              </a:cxnLst>
              <a:rect l="l" t="t" r="r" b="b"/>
              <a:pathLst>
                <a:path w="2435225" h="873125">
                  <a:moveTo>
                    <a:pt x="0" y="873125"/>
                  </a:moveTo>
                  <a:lnTo>
                    <a:pt x="873125" y="0"/>
                  </a:lnTo>
                  <a:lnTo>
                    <a:pt x="908050" y="0"/>
                  </a:lnTo>
                  <a:lnTo>
                    <a:pt x="2435225" y="0"/>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13" name="Freeform 112">
              <a:extLst>
                <a:ext uri="{FF2B5EF4-FFF2-40B4-BE49-F238E27FC236}">
                  <a16:creationId xmlns:a16="http://schemas.microsoft.com/office/drawing/2014/main" id="{65BF948E-DE2E-6549-8F51-95F7E068E6FD}"/>
                </a:ext>
              </a:extLst>
            </p:cNvPr>
            <p:cNvSpPr/>
            <p:nvPr/>
          </p:nvSpPr>
          <p:spPr bwMode="auto">
            <a:xfrm>
              <a:off x="6972829" y="3202759"/>
              <a:ext cx="3114111" cy="406188"/>
            </a:xfrm>
            <a:custGeom>
              <a:avLst/>
              <a:gdLst>
                <a:gd name="connsiteX0" fmla="*/ 3115733 w 3115733"/>
                <a:gd name="connsiteY0" fmla="*/ 0 h 406400"/>
                <a:gd name="connsiteX1" fmla="*/ 2370667 w 3115733"/>
                <a:gd name="connsiteY1" fmla="*/ 6773 h 406400"/>
                <a:gd name="connsiteX2" fmla="*/ 1971040 w 3115733"/>
                <a:gd name="connsiteY2" fmla="*/ 406400 h 406400"/>
                <a:gd name="connsiteX3" fmla="*/ 0 w 3115733"/>
                <a:gd name="connsiteY3" fmla="*/ 406400 h 406400"/>
              </a:gdLst>
              <a:ahLst/>
              <a:cxnLst>
                <a:cxn ang="0">
                  <a:pos x="connsiteX0" y="connsiteY0"/>
                </a:cxn>
                <a:cxn ang="0">
                  <a:pos x="connsiteX1" y="connsiteY1"/>
                </a:cxn>
                <a:cxn ang="0">
                  <a:pos x="connsiteX2" y="connsiteY2"/>
                </a:cxn>
                <a:cxn ang="0">
                  <a:pos x="connsiteX3" y="connsiteY3"/>
                </a:cxn>
              </a:cxnLst>
              <a:rect l="l" t="t" r="r" b="b"/>
              <a:pathLst>
                <a:path w="3115733" h="406400">
                  <a:moveTo>
                    <a:pt x="3115733" y="0"/>
                  </a:moveTo>
                  <a:lnTo>
                    <a:pt x="2370667" y="6773"/>
                  </a:lnTo>
                  <a:lnTo>
                    <a:pt x="1971040" y="406400"/>
                  </a:lnTo>
                  <a:lnTo>
                    <a:pt x="0" y="406400"/>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14" name="Freeform 113">
              <a:extLst>
                <a:ext uri="{FF2B5EF4-FFF2-40B4-BE49-F238E27FC236}">
                  <a16:creationId xmlns:a16="http://schemas.microsoft.com/office/drawing/2014/main" id="{7BCC7EE0-892E-DF49-9A4B-217E9EE1B81E}"/>
                </a:ext>
              </a:extLst>
            </p:cNvPr>
            <p:cNvSpPr/>
            <p:nvPr/>
          </p:nvSpPr>
          <p:spPr bwMode="auto">
            <a:xfrm>
              <a:off x="6986369" y="3582951"/>
              <a:ext cx="2911017" cy="385879"/>
            </a:xfrm>
            <a:custGeom>
              <a:avLst/>
              <a:gdLst>
                <a:gd name="connsiteX0" fmla="*/ 0 w 2912533"/>
                <a:gd name="connsiteY0" fmla="*/ 386080 h 386080"/>
                <a:gd name="connsiteX1" fmla="*/ 1774613 w 2912533"/>
                <a:gd name="connsiteY1" fmla="*/ 386080 h 386080"/>
                <a:gd name="connsiteX2" fmla="*/ 2160693 w 2912533"/>
                <a:gd name="connsiteY2" fmla="*/ 0 h 386080"/>
                <a:gd name="connsiteX3" fmla="*/ 2912533 w 2912533"/>
                <a:gd name="connsiteY3" fmla="*/ 0 h 386080"/>
              </a:gdLst>
              <a:ahLst/>
              <a:cxnLst>
                <a:cxn ang="0">
                  <a:pos x="connsiteX0" y="connsiteY0"/>
                </a:cxn>
                <a:cxn ang="0">
                  <a:pos x="connsiteX1" y="connsiteY1"/>
                </a:cxn>
                <a:cxn ang="0">
                  <a:pos x="connsiteX2" y="connsiteY2"/>
                </a:cxn>
                <a:cxn ang="0">
                  <a:pos x="connsiteX3" y="connsiteY3"/>
                </a:cxn>
              </a:cxnLst>
              <a:rect l="l" t="t" r="r" b="b"/>
              <a:pathLst>
                <a:path w="2912533" h="386080">
                  <a:moveTo>
                    <a:pt x="0" y="386080"/>
                  </a:moveTo>
                  <a:lnTo>
                    <a:pt x="1774613" y="386080"/>
                  </a:lnTo>
                  <a:lnTo>
                    <a:pt x="2160693" y="0"/>
                  </a:lnTo>
                  <a:lnTo>
                    <a:pt x="2912533" y="0"/>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15" name="Freeform 114">
              <a:extLst>
                <a:ext uri="{FF2B5EF4-FFF2-40B4-BE49-F238E27FC236}">
                  <a16:creationId xmlns:a16="http://schemas.microsoft.com/office/drawing/2014/main" id="{1082A796-98B0-C142-8865-722BD17399EA}"/>
                </a:ext>
              </a:extLst>
            </p:cNvPr>
            <p:cNvSpPr/>
            <p:nvPr/>
          </p:nvSpPr>
          <p:spPr bwMode="auto">
            <a:xfrm>
              <a:off x="8976692" y="3744306"/>
              <a:ext cx="494196" cy="230173"/>
            </a:xfrm>
            <a:custGeom>
              <a:avLst/>
              <a:gdLst>
                <a:gd name="connsiteX0" fmla="*/ 0 w 494453"/>
                <a:gd name="connsiteY0" fmla="*/ 0 h 230293"/>
                <a:gd name="connsiteX1" fmla="*/ 230293 w 494453"/>
                <a:gd name="connsiteY1" fmla="*/ 230293 h 230293"/>
                <a:gd name="connsiteX2" fmla="*/ 494453 w 494453"/>
                <a:gd name="connsiteY2" fmla="*/ 230293 h 230293"/>
              </a:gdLst>
              <a:ahLst/>
              <a:cxnLst>
                <a:cxn ang="0">
                  <a:pos x="connsiteX0" y="connsiteY0"/>
                </a:cxn>
                <a:cxn ang="0">
                  <a:pos x="connsiteX1" y="connsiteY1"/>
                </a:cxn>
                <a:cxn ang="0">
                  <a:pos x="connsiteX2" y="connsiteY2"/>
                </a:cxn>
              </a:cxnLst>
              <a:rect l="l" t="t" r="r" b="b"/>
              <a:pathLst>
                <a:path w="494453" h="230293">
                  <a:moveTo>
                    <a:pt x="0" y="0"/>
                  </a:moveTo>
                  <a:lnTo>
                    <a:pt x="230293" y="230293"/>
                  </a:lnTo>
                  <a:lnTo>
                    <a:pt x="494453" y="230293"/>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16" name="Freeform 115">
              <a:extLst>
                <a:ext uri="{FF2B5EF4-FFF2-40B4-BE49-F238E27FC236}">
                  <a16:creationId xmlns:a16="http://schemas.microsoft.com/office/drawing/2014/main" id="{9DF52815-81FC-004F-A518-64615D4B411E}"/>
                </a:ext>
              </a:extLst>
            </p:cNvPr>
            <p:cNvSpPr/>
            <p:nvPr/>
          </p:nvSpPr>
          <p:spPr bwMode="auto">
            <a:xfrm>
              <a:off x="7039041" y="3963142"/>
              <a:ext cx="2992254" cy="1265954"/>
            </a:xfrm>
            <a:custGeom>
              <a:avLst/>
              <a:gdLst>
                <a:gd name="connsiteX0" fmla="*/ 0 w 2993813"/>
                <a:gd name="connsiteY0" fmla="*/ 0 h 1266613"/>
                <a:gd name="connsiteX1" fmla="*/ 927946 w 2993813"/>
                <a:gd name="connsiteY1" fmla="*/ 927946 h 1266613"/>
                <a:gd name="connsiteX2" fmla="*/ 1754293 w 2993813"/>
                <a:gd name="connsiteY2" fmla="*/ 927946 h 1266613"/>
                <a:gd name="connsiteX3" fmla="*/ 2092960 w 2993813"/>
                <a:gd name="connsiteY3" fmla="*/ 1266613 h 1266613"/>
                <a:gd name="connsiteX4" fmla="*/ 2993813 w 2993813"/>
                <a:gd name="connsiteY4" fmla="*/ 1266613 h 1266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3813" h="1266613">
                  <a:moveTo>
                    <a:pt x="0" y="0"/>
                  </a:moveTo>
                  <a:lnTo>
                    <a:pt x="927946" y="927946"/>
                  </a:lnTo>
                  <a:lnTo>
                    <a:pt x="1754293" y="927946"/>
                  </a:lnTo>
                  <a:lnTo>
                    <a:pt x="2092960" y="1266613"/>
                  </a:lnTo>
                  <a:lnTo>
                    <a:pt x="2993813" y="1266613"/>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18" name="Freeform 117">
              <a:extLst>
                <a:ext uri="{FF2B5EF4-FFF2-40B4-BE49-F238E27FC236}">
                  <a16:creationId xmlns:a16="http://schemas.microsoft.com/office/drawing/2014/main" id="{E79E1BFC-673E-DD41-A556-A5F659A73A44}"/>
                </a:ext>
              </a:extLst>
            </p:cNvPr>
            <p:cNvSpPr/>
            <p:nvPr/>
          </p:nvSpPr>
          <p:spPr bwMode="auto">
            <a:xfrm>
              <a:off x="6618708" y="2680676"/>
              <a:ext cx="197202" cy="552166"/>
            </a:xfrm>
            <a:custGeom>
              <a:avLst/>
              <a:gdLst>
                <a:gd name="connsiteX0" fmla="*/ 0 w 181069"/>
                <a:gd name="connsiteY0" fmla="*/ 506994 h 506994"/>
                <a:gd name="connsiteX1" fmla="*/ 181069 w 181069"/>
                <a:gd name="connsiteY1" fmla="*/ 325925 h 506994"/>
                <a:gd name="connsiteX2" fmla="*/ 181069 w 181069"/>
                <a:gd name="connsiteY2" fmla="*/ 0 h 506994"/>
              </a:gdLst>
              <a:ahLst/>
              <a:cxnLst>
                <a:cxn ang="0">
                  <a:pos x="connsiteX0" y="connsiteY0"/>
                </a:cxn>
                <a:cxn ang="0">
                  <a:pos x="connsiteX1" y="connsiteY1"/>
                </a:cxn>
                <a:cxn ang="0">
                  <a:pos x="connsiteX2" y="connsiteY2"/>
                </a:cxn>
              </a:cxnLst>
              <a:rect l="l" t="t" r="r" b="b"/>
              <a:pathLst>
                <a:path w="181069" h="506994">
                  <a:moveTo>
                    <a:pt x="0" y="506994"/>
                  </a:moveTo>
                  <a:lnTo>
                    <a:pt x="181069" y="325925"/>
                  </a:lnTo>
                  <a:lnTo>
                    <a:pt x="181069" y="0"/>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17" name="Freeform 116">
              <a:extLst>
                <a:ext uri="{FF2B5EF4-FFF2-40B4-BE49-F238E27FC236}">
                  <a16:creationId xmlns:a16="http://schemas.microsoft.com/office/drawing/2014/main" id="{6F68C82C-7BC2-6D4E-9FFE-CA31FC4F155D}"/>
                </a:ext>
              </a:extLst>
            </p:cNvPr>
            <p:cNvSpPr/>
            <p:nvPr/>
          </p:nvSpPr>
          <p:spPr bwMode="auto">
            <a:xfrm>
              <a:off x="8942843" y="4875034"/>
              <a:ext cx="480657" cy="155705"/>
            </a:xfrm>
            <a:custGeom>
              <a:avLst/>
              <a:gdLst>
                <a:gd name="connsiteX0" fmla="*/ 0 w 480907"/>
                <a:gd name="connsiteY0" fmla="*/ 155786 h 155786"/>
                <a:gd name="connsiteX1" fmla="*/ 155786 w 480907"/>
                <a:gd name="connsiteY1" fmla="*/ 0 h 155786"/>
                <a:gd name="connsiteX2" fmla="*/ 480907 w 480907"/>
                <a:gd name="connsiteY2" fmla="*/ 0 h 155786"/>
              </a:gdLst>
              <a:ahLst/>
              <a:cxnLst>
                <a:cxn ang="0">
                  <a:pos x="connsiteX0" y="connsiteY0"/>
                </a:cxn>
                <a:cxn ang="0">
                  <a:pos x="connsiteX1" y="connsiteY1"/>
                </a:cxn>
                <a:cxn ang="0">
                  <a:pos x="connsiteX2" y="connsiteY2"/>
                </a:cxn>
              </a:cxnLst>
              <a:rect l="l" t="t" r="r" b="b"/>
              <a:pathLst>
                <a:path w="480907" h="155786">
                  <a:moveTo>
                    <a:pt x="0" y="155786"/>
                  </a:moveTo>
                  <a:lnTo>
                    <a:pt x="155786" y="0"/>
                  </a:lnTo>
                  <a:lnTo>
                    <a:pt x="480907" y="0"/>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grpSp>
      <p:sp>
        <p:nvSpPr>
          <p:cNvPr id="122" name="Rectangle 121">
            <a:extLst>
              <a:ext uri="{FF2B5EF4-FFF2-40B4-BE49-F238E27FC236}">
                <a16:creationId xmlns:a16="http://schemas.microsoft.com/office/drawing/2014/main" id="{BB3EEB47-0FAA-E148-BD7F-E4C0D85750C1}"/>
              </a:ext>
            </a:extLst>
          </p:cNvPr>
          <p:cNvSpPr/>
          <p:nvPr/>
        </p:nvSpPr>
        <p:spPr bwMode="auto">
          <a:xfrm>
            <a:off x="5327335" y="3211399"/>
            <a:ext cx="1666439" cy="1075301"/>
          </a:xfrm>
          <a:prstGeom prst="rect">
            <a:avLst/>
          </a:prstGeom>
          <a:solidFill>
            <a:srgbClr val="66667E"/>
          </a:solidFill>
          <a:ln>
            <a:noFill/>
          </a:ln>
          <a:effectLst/>
        </p:spPr>
        <p:txBody>
          <a:bodyPr wrap="square" lIns="107944" tIns="53972" rIns="107944" bIns="53972" numCol="1" spcCol="72000" rtlCol="0" anchor="ctr">
            <a:noAutofit/>
          </a:bodyPr>
          <a:lstStyle/>
          <a:p>
            <a:pPr algn="ctr">
              <a:lnSpc>
                <a:spcPct val="110000"/>
              </a:lnSpc>
              <a:spcBef>
                <a:spcPct val="0"/>
              </a:spcBef>
            </a:pPr>
            <a:r>
              <a:rPr lang="en-US" sz="1799" b="1" dirty="0">
                <a:solidFill>
                  <a:schemeClr val="bg1"/>
                </a:solidFill>
              </a:rPr>
              <a:t>Lorem </a:t>
            </a:r>
            <a:br>
              <a:rPr lang="en-US" sz="1799" b="1" dirty="0">
                <a:solidFill>
                  <a:schemeClr val="bg1"/>
                </a:solidFill>
              </a:rPr>
            </a:br>
            <a:r>
              <a:rPr lang="en-US" sz="1799" b="1" dirty="0">
                <a:solidFill>
                  <a:schemeClr val="bg1"/>
                </a:solidFill>
              </a:rPr>
              <a:t>ipsum</a:t>
            </a:r>
          </a:p>
        </p:txBody>
      </p:sp>
      <p:grpSp>
        <p:nvGrpSpPr>
          <p:cNvPr id="4" name="Group 3"/>
          <p:cNvGrpSpPr/>
          <p:nvPr/>
        </p:nvGrpSpPr>
        <p:grpSpPr>
          <a:xfrm>
            <a:off x="410399" y="1704628"/>
            <a:ext cx="11376789" cy="4172342"/>
            <a:chOff x="363272" y="1697970"/>
            <a:chExt cx="11382714" cy="4174515"/>
          </a:xfrm>
        </p:grpSpPr>
        <p:sp>
          <p:nvSpPr>
            <p:cNvPr id="69" name="Textfeld 68"/>
            <p:cNvSpPr txBox="1"/>
            <p:nvPr/>
          </p:nvSpPr>
          <p:spPr bwMode="gray">
            <a:xfrm>
              <a:off x="10003186" y="2186697"/>
              <a:ext cx="1736445" cy="293721"/>
            </a:xfrm>
            <a:prstGeom prst="rect">
              <a:avLst/>
            </a:prstGeom>
            <a:noFill/>
          </p:spPr>
          <p:txBody>
            <a:bodyPr wrap="square" lIns="107944" tIns="53972" rIns="107944" bIns="53972" rtlCol="0" anchor="ctr">
              <a:spAutoFit/>
            </a:bodyPr>
            <a:lstStyle/>
            <a:p>
              <a:pPr>
                <a:tabLst>
                  <a:tab pos="0" algn="l"/>
                </a:tabLst>
              </a:pPr>
              <a:r>
                <a:rPr lang="en-US" sz="1199" dirty="0"/>
                <a:t>Lorem ipsum</a:t>
              </a:r>
              <a:endParaRPr lang="en-US" sz="1199" dirty="0">
                <a:ea typeface="Arial Unicode MS"/>
              </a:endParaRPr>
            </a:p>
          </p:txBody>
        </p:sp>
        <p:sp>
          <p:nvSpPr>
            <p:cNvPr id="71" name="Textfeld 70"/>
            <p:cNvSpPr txBox="1"/>
            <p:nvPr/>
          </p:nvSpPr>
          <p:spPr bwMode="gray">
            <a:xfrm>
              <a:off x="9855200" y="3427373"/>
              <a:ext cx="1890786" cy="293721"/>
            </a:xfrm>
            <a:prstGeom prst="rect">
              <a:avLst/>
            </a:prstGeom>
            <a:noFill/>
          </p:spPr>
          <p:txBody>
            <a:bodyPr wrap="square" lIns="107944" tIns="53972" rIns="107944" bIns="53972" rtlCol="0" anchor="ctr">
              <a:spAutoFit/>
            </a:bodyPr>
            <a:lstStyle/>
            <a:p>
              <a:pPr>
                <a:tabLst>
                  <a:tab pos="0" algn="l"/>
                </a:tabLst>
              </a:pPr>
              <a:r>
                <a:rPr lang="en-US" sz="1199" dirty="0"/>
                <a:t>Lorem ipsum dolor</a:t>
              </a:r>
              <a:endParaRPr lang="en-US" sz="1199" dirty="0">
                <a:ea typeface="Arial Unicode MS"/>
              </a:endParaRPr>
            </a:p>
          </p:txBody>
        </p:sp>
        <p:sp>
          <p:nvSpPr>
            <p:cNvPr id="73" name="Textfeld 72"/>
            <p:cNvSpPr txBox="1"/>
            <p:nvPr/>
          </p:nvSpPr>
          <p:spPr bwMode="gray">
            <a:xfrm>
              <a:off x="9984803" y="4509284"/>
              <a:ext cx="1761183" cy="293721"/>
            </a:xfrm>
            <a:prstGeom prst="rect">
              <a:avLst/>
            </a:prstGeom>
            <a:noFill/>
          </p:spPr>
          <p:txBody>
            <a:bodyPr wrap="square" lIns="107944" tIns="53972" rIns="107944" bIns="53972" rtlCol="0" anchor="ctr">
              <a:spAutoFit/>
            </a:bodyPr>
            <a:lstStyle/>
            <a:p>
              <a:pPr>
                <a:tabLst>
                  <a:tab pos="0" algn="l"/>
                </a:tabLst>
              </a:pPr>
              <a:r>
                <a:rPr lang="en-US" sz="1199" dirty="0">
                  <a:solidFill>
                    <a:srgbClr val="66667E"/>
                  </a:solidFill>
                </a:rPr>
                <a:t>Lorem ipsum dolor</a:t>
              </a:r>
              <a:endParaRPr lang="en-US" sz="1199" dirty="0">
                <a:solidFill>
                  <a:srgbClr val="66667E"/>
                </a:solidFill>
                <a:ea typeface="Arial Unicode MS"/>
              </a:endParaRPr>
            </a:p>
          </p:txBody>
        </p:sp>
        <p:sp>
          <p:nvSpPr>
            <p:cNvPr id="74" name="Textfeld 73"/>
            <p:cNvSpPr txBox="1"/>
            <p:nvPr/>
          </p:nvSpPr>
          <p:spPr bwMode="gray">
            <a:xfrm>
              <a:off x="9381067" y="4724455"/>
              <a:ext cx="2358564" cy="293721"/>
            </a:xfrm>
            <a:prstGeom prst="rect">
              <a:avLst/>
            </a:prstGeom>
            <a:noFill/>
          </p:spPr>
          <p:txBody>
            <a:bodyPr wrap="square" lIns="107944" tIns="53972" rIns="107944" bIns="53972" rtlCol="0" anchor="ctr">
              <a:spAutoFit/>
            </a:bodyPr>
            <a:lstStyle/>
            <a:p>
              <a:pPr>
                <a:tabLst>
                  <a:tab pos="0" algn="l"/>
                </a:tabLst>
              </a:pPr>
              <a:r>
                <a:rPr lang="en-US" sz="1199" dirty="0"/>
                <a:t>Lorem ipsum dolor amet</a:t>
              </a:r>
              <a:endParaRPr lang="en-US" sz="1199" dirty="0">
                <a:ea typeface="Arial Unicode MS"/>
              </a:endParaRPr>
            </a:p>
          </p:txBody>
        </p:sp>
        <p:sp>
          <p:nvSpPr>
            <p:cNvPr id="75" name="Textfeld 74"/>
            <p:cNvSpPr txBox="1"/>
            <p:nvPr/>
          </p:nvSpPr>
          <p:spPr bwMode="gray">
            <a:xfrm>
              <a:off x="9988919" y="5417629"/>
              <a:ext cx="1757067" cy="293721"/>
            </a:xfrm>
            <a:prstGeom prst="rect">
              <a:avLst/>
            </a:prstGeom>
            <a:noFill/>
          </p:spPr>
          <p:txBody>
            <a:bodyPr wrap="square" lIns="107944" tIns="53972" rIns="107944" bIns="53972" rtlCol="0" anchor="ctr">
              <a:spAutoFit/>
            </a:bodyPr>
            <a:lstStyle/>
            <a:p>
              <a:pPr>
                <a:tabLst>
                  <a:tab pos="0" algn="l"/>
                </a:tabLst>
              </a:pPr>
              <a:r>
                <a:rPr lang="en-US" sz="1199" dirty="0">
                  <a:solidFill>
                    <a:srgbClr val="66667E"/>
                  </a:solidFill>
                </a:rPr>
                <a:t>Lorem ipsum</a:t>
              </a:r>
              <a:endParaRPr lang="en-US" sz="1199" dirty="0">
                <a:solidFill>
                  <a:srgbClr val="66667E"/>
                </a:solidFill>
                <a:ea typeface="Arial Unicode MS"/>
              </a:endParaRPr>
            </a:p>
          </p:txBody>
        </p:sp>
        <p:sp>
          <p:nvSpPr>
            <p:cNvPr id="119" name="Textfeld 118"/>
            <p:cNvSpPr txBox="1"/>
            <p:nvPr/>
          </p:nvSpPr>
          <p:spPr bwMode="gray">
            <a:xfrm>
              <a:off x="9392309" y="2534898"/>
              <a:ext cx="2347322" cy="293721"/>
            </a:xfrm>
            <a:prstGeom prst="rect">
              <a:avLst/>
            </a:prstGeom>
            <a:noFill/>
          </p:spPr>
          <p:txBody>
            <a:bodyPr wrap="square" lIns="107944" tIns="53972" rIns="107944" bIns="53972" rtlCol="0" anchor="ctr">
              <a:spAutoFit/>
            </a:bodyPr>
            <a:lstStyle/>
            <a:p>
              <a:pPr>
                <a:defRPr/>
              </a:pPr>
              <a:r>
                <a:rPr lang="en-US" sz="1199" dirty="0"/>
                <a:t>Lorem ipsum dolor</a:t>
              </a:r>
              <a:endParaRPr lang="en-US" sz="1199" dirty="0">
                <a:ea typeface="Arial Unicode MS"/>
              </a:endParaRPr>
            </a:p>
          </p:txBody>
        </p:sp>
        <p:sp>
          <p:nvSpPr>
            <p:cNvPr id="120" name="Textfeld 119"/>
            <p:cNvSpPr txBox="1"/>
            <p:nvPr/>
          </p:nvSpPr>
          <p:spPr bwMode="gray">
            <a:xfrm>
              <a:off x="8050468" y="3086473"/>
              <a:ext cx="652524" cy="293721"/>
            </a:xfrm>
            <a:prstGeom prst="rect">
              <a:avLst/>
            </a:prstGeom>
            <a:noFill/>
          </p:spPr>
          <p:txBody>
            <a:bodyPr wrap="none" lIns="107944" tIns="53972" rIns="107944" bIns="53972" rtlCol="0" anchor="ctr">
              <a:spAutoFit/>
            </a:bodyPr>
            <a:lstStyle/>
            <a:p>
              <a:pPr>
                <a:tabLst>
                  <a:tab pos="0" algn="l"/>
                </a:tabLst>
              </a:pPr>
              <a:r>
                <a:rPr lang="en-US" sz="1199" dirty="0">
                  <a:solidFill>
                    <a:srgbClr val="66667E"/>
                  </a:solidFill>
                </a:rPr>
                <a:t>Lorem</a:t>
              </a:r>
              <a:endParaRPr lang="en-US" sz="1199" dirty="0">
                <a:solidFill>
                  <a:srgbClr val="66667E"/>
                </a:solidFill>
                <a:ea typeface="Arial Unicode MS"/>
              </a:endParaRPr>
            </a:p>
          </p:txBody>
        </p:sp>
        <p:sp>
          <p:nvSpPr>
            <p:cNvPr id="121" name="Textfeld 120"/>
            <p:cNvSpPr txBox="1"/>
            <p:nvPr/>
          </p:nvSpPr>
          <p:spPr bwMode="gray">
            <a:xfrm>
              <a:off x="9988919" y="5077413"/>
              <a:ext cx="1757067" cy="293721"/>
            </a:xfrm>
            <a:prstGeom prst="rect">
              <a:avLst/>
            </a:prstGeom>
            <a:noFill/>
          </p:spPr>
          <p:txBody>
            <a:bodyPr wrap="square" lIns="107944" tIns="53972" rIns="107944" bIns="53972" rtlCol="0" anchor="ctr">
              <a:spAutoFit/>
            </a:bodyPr>
            <a:lstStyle/>
            <a:p>
              <a:pPr>
                <a:tabLst>
                  <a:tab pos="0" algn="l"/>
                </a:tabLst>
              </a:pPr>
              <a:r>
                <a:rPr lang="en-US" sz="1199" dirty="0">
                  <a:ea typeface="Arial Unicode MS"/>
                </a:rPr>
                <a:t>Lorem ipsum dolor</a:t>
              </a:r>
            </a:p>
          </p:txBody>
        </p:sp>
        <p:sp>
          <p:nvSpPr>
            <p:cNvPr id="123" name="Textfeld 122"/>
            <p:cNvSpPr txBox="1"/>
            <p:nvPr/>
          </p:nvSpPr>
          <p:spPr bwMode="gray">
            <a:xfrm>
              <a:off x="9428480" y="3825651"/>
              <a:ext cx="2311151" cy="478387"/>
            </a:xfrm>
            <a:prstGeom prst="rect">
              <a:avLst/>
            </a:prstGeom>
            <a:noFill/>
          </p:spPr>
          <p:txBody>
            <a:bodyPr wrap="square" lIns="107944" tIns="53972" rIns="107944" bIns="53972" rtlCol="0" anchor="ctr">
              <a:spAutoFit/>
            </a:bodyPr>
            <a:lstStyle/>
            <a:p>
              <a:pPr>
                <a:tabLst>
                  <a:tab pos="0" algn="l"/>
                </a:tabLst>
              </a:pPr>
              <a:r>
                <a:rPr lang="en-US" sz="1199" dirty="0"/>
                <a:t>Lorem ipsum dolor sit amet, consectetur</a:t>
              </a:r>
              <a:endParaRPr lang="en-US" sz="1199" dirty="0">
                <a:ea typeface="Arial Unicode MS"/>
              </a:endParaRPr>
            </a:p>
          </p:txBody>
        </p:sp>
        <p:sp>
          <p:nvSpPr>
            <p:cNvPr id="130" name="Textfeld 129"/>
            <p:cNvSpPr txBox="1"/>
            <p:nvPr/>
          </p:nvSpPr>
          <p:spPr bwMode="gray">
            <a:xfrm>
              <a:off x="7528251" y="3638429"/>
              <a:ext cx="1104571" cy="293721"/>
            </a:xfrm>
            <a:prstGeom prst="rect">
              <a:avLst/>
            </a:prstGeom>
            <a:noFill/>
          </p:spPr>
          <p:txBody>
            <a:bodyPr wrap="none" lIns="107944" tIns="53972" rIns="107944" bIns="53972" rtlCol="0" anchor="ctr">
              <a:spAutoFit/>
            </a:bodyPr>
            <a:lstStyle/>
            <a:p>
              <a:pPr>
                <a:tabLst>
                  <a:tab pos="0" algn="l"/>
                </a:tabLst>
              </a:pPr>
              <a:r>
                <a:rPr lang="en-US" sz="1199" dirty="0">
                  <a:ea typeface="Arial Unicode MS"/>
                </a:rPr>
                <a:t>Lorem ipsum</a:t>
              </a:r>
            </a:p>
          </p:txBody>
        </p:sp>
        <p:sp>
          <p:nvSpPr>
            <p:cNvPr id="135" name="Textfeld 134"/>
            <p:cNvSpPr txBox="1"/>
            <p:nvPr/>
          </p:nvSpPr>
          <p:spPr bwMode="gray">
            <a:xfrm>
              <a:off x="6354827" y="4857256"/>
              <a:ext cx="1104571" cy="293721"/>
            </a:xfrm>
            <a:prstGeom prst="rect">
              <a:avLst/>
            </a:prstGeom>
            <a:noFill/>
          </p:spPr>
          <p:txBody>
            <a:bodyPr wrap="none" lIns="107944" tIns="53972" rIns="107944" bIns="53972" rtlCol="0" anchor="ctr">
              <a:spAutoFit/>
            </a:bodyPr>
            <a:lstStyle/>
            <a:p>
              <a:pPr>
                <a:tabLst>
                  <a:tab pos="0" algn="l"/>
                </a:tabLst>
              </a:pPr>
              <a:r>
                <a:rPr lang="en-US" sz="1199" dirty="0">
                  <a:solidFill>
                    <a:srgbClr val="66667E"/>
                  </a:solidFill>
                  <a:ea typeface="Arial Unicode MS"/>
                </a:rPr>
                <a:t>Lorem ipsum</a:t>
              </a:r>
            </a:p>
          </p:txBody>
        </p:sp>
        <p:sp>
          <p:nvSpPr>
            <p:cNvPr id="141" name="Textfeld 140"/>
            <p:cNvSpPr txBox="1"/>
            <p:nvPr/>
          </p:nvSpPr>
          <p:spPr bwMode="gray">
            <a:xfrm flipH="1">
              <a:off x="364036" y="4218693"/>
              <a:ext cx="2018335" cy="293721"/>
            </a:xfrm>
            <a:prstGeom prst="rect">
              <a:avLst/>
            </a:prstGeom>
            <a:noFill/>
          </p:spPr>
          <p:txBody>
            <a:bodyPr wrap="square" lIns="107944" tIns="53972" rIns="107944" bIns="53972" rtlCol="0" anchor="ctr">
              <a:spAutoFit/>
            </a:bodyPr>
            <a:lstStyle/>
            <a:p>
              <a:pPr algn="r">
                <a:tabLst>
                  <a:tab pos="0" algn="l"/>
                </a:tabLst>
              </a:pPr>
              <a:r>
                <a:rPr lang="en-US" sz="1199" dirty="0"/>
                <a:t>Lorem ipsum dolor</a:t>
              </a:r>
              <a:endParaRPr lang="en-US" sz="1199" dirty="0">
                <a:ea typeface="Arial Unicode MS"/>
              </a:endParaRPr>
            </a:p>
          </p:txBody>
        </p:sp>
        <p:sp>
          <p:nvSpPr>
            <p:cNvPr id="145" name="Textfeld 144"/>
            <p:cNvSpPr txBox="1"/>
            <p:nvPr/>
          </p:nvSpPr>
          <p:spPr bwMode="gray">
            <a:xfrm flipH="1">
              <a:off x="364036" y="1868715"/>
              <a:ext cx="2018336" cy="293721"/>
            </a:xfrm>
            <a:prstGeom prst="rect">
              <a:avLst/>
            </a:prstGeom>
            <a:noFill/>
          </p:spPr>
          <p:txBody>
            <a:bodyPr wrap="square" lIns="107944" tIns="53972" rIns="107944" bIns="53972" rtlCol="0" anchor="ctr">
              <a:spAutoFit/>
            </a:bodyPr>
            <a:lstStyle/>
            <a:p>
              <a:pPr algn="r">
                <a:defRPr/>
              </a:pPr>
              <a:r>
                <a:rPr lang="en-US" sz="1199" dirty="0">
                  <a:solidFill>
                    <a:srgbClr val="66667E"/>
                  </a:solidFill>
                </a:rPr>
                <a:t>Lorem ipsum dolor</a:t>
              </a:r>
              <a:endParaRPr lang="en-US" sz="1199" dirty="0">
                <a:solidFill>
                  <a:srgbClr val="66667E"/>
                </a:solidFill>
                <a:ea typeface="Arial Unicode MS"/>
              </a:endParaRPr>
            </a:p>
          </p:txBody>
        </p:sp>
        <p:sp>
          <p:nvSpPr>
            <p:cNvPr id="165" name="Textfeld 164"/>
            <p:cNvSpPr txBox="1"/>
            <p:nvPr/>
          </p:nvSpPr>
          <p:spPr bwMode="gray">
            <a:xfrm flipH="1">
              <a:off x="1941985" y="4991476"/>
              <a:ext cx="1104569" cy="293721"/>
            </a:xfrm>
            <a:prstGeom prst="rect">
              <a:avLst/>
            </a:prstGeom>
            <a:noFill/>
          </p:spPr>
          <p:txBody>
            <a:bodyPr wrap="none" lIns="107944" tIns="53972" rIns="107944" bIns="53972" rtlCol="0" anchor="ctr">
              <a:spAutoFit/>
            </a:bodyPr>
            <a:lstStyle/>
            <a:p>
              <a:pPr algn="r">
                <a:tabLst>
                  <a:tab pos="0" algn="l"/>
                </a:tabLst>
              </a:pPr>
              <a:r>
                <a:rPr lang="en-US" sz="1199" dirty="0">
                  <a:ea typeface="Arial Unicode MS"/>
                </a:rPr>
                <a:t>Lorem ipsum</a:t>
              </a:r>
            </a:p>
          </p:txBody>
        </p:sp>
        <p:sp>
          <p:nvSpPr>
            <p:cNvPr id="166" name="Textfeld 165"/>
            <p:cNvSpPr txBox="1"/>
            <p:nvPr/>
          </p:nvSpPr>
          <p:spPr bwMode="gray">
            <a:xfrm flipH="1">
              <a:off x="1854987" y="4535798"/>
              <a:ext cx="1872408" cy="293721"/>
            </a:xfrm>
            <a:prstGeom prst="rect">
              <a:avLst/>
            </a:prstGeom>
            <a:noFill/>
          </p:spPr>
          <p:txBody>
            <a:bodyPr wrap="none" lIns="107944" tIns="53972" rIns="107944" bIns="53972" rtlCol="0" anchor="ctr">
              <a:spAutoFit/>
            </a:bodyPr>
            <a:lstStyle/>
            <a:p>
              <a:pPr algn="r">
                <a:tabLst>
                  <a:tab pos="0" algn="l"/>
                </a:tabLst>
              </a:pPr>
              <a:r>
                <a:rPr lang="en-US" sz="1199" dirty="0">
                  <a:solidFill>
                    <a:srgbClr val="66667E"/>
                  </a:solidFill>
                </a:rPr>
                <a:t>Lorem ipsum dolor amet</a:t>
              </a:r>
              <a:endParaRPr lang="en-US" sz="1199" dirty="0">
                <a:solidFill>
                  <a:srgbClr val="66667E"/>
                </a:solidFill>
                <a:ea typeface="Arial Unicode MS"/>
              </a:endParaRPr>
            </a:p>
          </p:txBody>
        </p:sp>
        <p:sp>
          <p:nvSpPr>
            <p:cNvPr id="169" name="Textfeld 168"/>
            <p:cNvSpPr txBox="1"/>
            <p:nvPr/>
          </p:nvSpPr>
          <p:spPr bwMode="gray">
            <a:xfrm flipH="1">
              <a:off x="363272" y="3484383"/>
              <a:ext cx="2596743" cy="293721"/>
            </a:xfrm>
            <a:prstGeom prst="rect">
              <a:avLst/>
            </a:prstGeom>
            <a:noFill/>
          </p:spPr>
          <p:txBody>
            <a:bodyPr wrap="square" lIns="107944" tIns="53972" rIns="107944" bIns="53972" rtlCol="0" anchor="ctr">
              <a:spAutoFit/>
            </a:bodyPr>
            <a:lstStyle/>
            <a:p>
              <a:pPr algn="r">
                <a:tabLst>
                  <a:tab pos="0" algn="l"/>
                </a:tabLst>
              </a:pPr>
              <a:r>
                <a:rPr lang="en-US" sz="1199" dirty="0"/>
                <a:t>Lorem ipsum dolor amet</a:t>
              </a:r>
              <a:endParaRPr lang="en-US" sz="1199" dirty="0">
                <a:ea typeface="Arial Unicode MS"/>
              </a:endParaRPr>
            </a:p>
          </p:txBody>
        </p:sp>
        <p:sp>
          <p:nvSpPr>
            <p:cNvPr id="172" name="Textfeld 171"/>
            <p:cNvSpPr txBox="1"/>
            <p:nvPr/>
          </p:nvSpPr>
          <p:spPr bwMode="gray">
            <a:xfrm flipH="1">
              <a:off x="3652687" y="3657339"/>
              <a:ext cx="1104569" cy="293721"/>
            </a:xfrm>
            <a:prstGeom prst="rect">
              <a:avLst/>
            </a:prstGeom>
            <a:noFill/>
          </p:spPr>
          <p:txBody>
            <a:bodyPr wrap="none" lIns="107944" tIns="53972" rIns="107944" bIns="53972" rtlCol="0" anchor="ctr">
              <a:spAutoFit/>
            </a:bodyPr>
            <a:lstStyle/>
            <a:p>
              <a:pPr algn="r">
                <a:tabLst>
                  <a:tab pos="0" algn="l"/>
                </a:tabLst>
              </a:pPr>
              <a:r>
                <a:rPr lang="en-US" sz="1199" dirty="0">
                  <a:ea typeface="Arial Unicode MS"/>
                </a:rPr>
                <a:t>Lorem ipsum</a:t>
              </a:r>
            </a:p>
          </p:txBody>
        </p:sp>
        <p:sp>
          <p:nvSpPr>
            <p:cNvPr id="208" name="Textfeld 207"/>
            <p:cNvSpPr txBox="1"/>
            <p:nvPr/>
          </p:nvSpPr>
          <p:spPr bwMode="gray">
            <a:xfrm>
              <a:off x="4651200" y="5342673"/>
              <a:ext cx="1104571" cy="293721"/>
            </a:xfrm>
            <a:prstGeom prst="rect">
              <a:avLst/>
            </a:prstGeom>
            <a:noFill/>
          </p:spPr>
          <p:txBody>
            <a:bodyPr wrap="none" lIns="107944" tIns="53972" rIns="107944" bIns="53972" rtlCol="0" anchor="ctr">
              <a:spAutoFit/>
            </a:bodyPr>
            <a:lstStyle/>
            <a:p>
              <a:pPr>
                <a:tabLst>
                  <a:tab pos="0" algn="l"/>
                </a:tabLst>
              </a:pPr>
              <a:r>
                <a:rPr lang="en-US" sz="1199" dirty="0">
                  <a:solidFill>
                    <a:srgbClr val="66667E"/>
                  </a:solidFill>
                  <a:ea typeface="Arial Unicode MS"/>
                </a:rPr>
                <a:t>Lorem ipsum</a:t>
              </a:r>
            </a:p>
          </p:txBody>
        </p:sp>
        <p:sp>
          <p:nvSpPr>
            <p:cNvPr id="209" name="Textfeld 208"/>
            <p:cNvSpPr txBox="1"/>
            <p:nvPr/>
          </p:nvSpPr>
          <p:spPr bwMode="gray">
            <a:xfrm>
              <a:off x="4760890" y="4857256"/>
              <a:ext cx="1104571" cy="293721"/>
            </a:xfrm>
            <a:prstGeom prst="rect">
              <a:avLst/>
            </a:prstGeom>
            <a:noFill/>
          </p:spPr>
          <p:txBody>
            <a:bodyPr wrap="none" lIns="107944" tIns="53972" rIns="107944" bIns="53972" rtlCol="0" anchor="ctr">
              <a:spAutoFit/>
            </a:bodyPr>
            <a:lstStyle/>
            <a:p>
              <a:pPr>
                <a:tabLst>
                  <a:tab pos="0" algn="l"/>
                </a:tabLst>
              </a:pPr>
              <a:r>
                <a:rPr lang="en-US" sz="1199" dirty="0">
                  <a:ea typeface="Arial Unicode MS"/>
                </a:rPr>
                <a:t>Lorem ipsum</a:t>
              </a:r>
            </a:p>
          </p:txBody>
        </p:sp>
        <p:sp>
          <p:nvSpPr>
            <p:cNvPr id="212" name="Textfeld 211"/>
            <p:cNvSpPr txBox="1"/>
            <p:nvPr/>
          </p:nvSpPr>
          <p:spPr bwMode="gray">
            <a:xfrm>
              <a:off x="4522241" y="2347918"/>
              <a:ext cx="1104571" cy="293721"/>
            </a:xfrm>
            <a:prstGeom prst="rect">
              <a:avLst/>
            </a:prstGeom>
            <a:noFill/>
          </p:spPr>
          <p:txBody>
            <a:bodyPr wrap="none" lIns="107944" tIns="53972" rIns="107944" bIns="53972" rtlCol="0" anchor="ctr">
              <a:spAutoFit/>
            </a:bodyPr>
            <a:lstStyle/>
            <a:p>
              <a:pPr>
                <a:tabLst>
                  <a:tab pos="0" algn="l"/>
                </a:tabLst>
              </a:pPr>
              <a:r>
                <a:rPr lang="en-US" sz="1199" dirty="0">
                  <a:solidFill>
                    <a:srgbClr val="66667E"/>
                  </a:solidFill>
                  <a:ea typeface="Arial Unicode MS"/>
                </a:rPr>
                <a:t>Lorem ipsum</a:t>
              </a:r>
            </a:p>
          </p:txBody>
        </p:sp>
        <p:sp>
          <p:nvSpPr>
            <p:cNvPr id="227" name="Textfeld 226"/>
            <p:cNvSpPr txBox="1"/>
            <p:nvPr/>
          </p:nvSpPr>
          <p:spPr bwMode="gray">
            <a:xfrm>
              <a:off x="6593264" y="1897151"/>
              <a:ext cx="1487688" cy="293721"/>
            </a:xfrm>
            <a:prstGeom prst="rect">
              <a:avLst/>
            </a:prstGeom>
            <a:noFill/>
          </p:spPr>
          <p:txBody>
            <a:bodyPr wrap="none" lIns="107944" tIns="53972" rIns="107944" bIns="53972" rtlCol="0" anchor="ctr">
              <a:spAutoFit/>
            </a:bodyPr>
            <a:lstStyle/>
            <a:p>
              <a:pPr>
                <a:tabLst>
                  <a:tab pos="0" algn="l"/>
                </a:tabLst>
              </a:pPr>
              <a:r>
                <a:rPr lang="en-US" sz="1199" dirty="0">
                  <a:solidFill>
                    <a:srgbClr val="66667E"/>
                  </a:solidFill>
                  <a:ea typeface="Arial Unicode MS"/>
                </a:rPr>
                <a:t>Lorem ipsum dolor</a:t>
              </a:r>
            </a:p>
          </p:txBody>
        </p:sp>
        <p:sp>
          <p:nvSpPr>
            <p:cNvPr id="228" name="Textfeld 227"/>
            <p:cNvSpPr txBox="1"/>
            <p:nvPr/>
          </p:nvSpPr>
          <p:spPr bwMode="gray">
            <a:xfrm>
              <a:off x="6378113" y="2372649"/>
              <a:ext cx="1104571" cy="293721"/>
            </a:xfrm>
            <a:prstGeom prst="rect">
              <a:avLst/>
            </a:prstGeom>
            <a:noFill/>
          </p:spPr>
          <p:txBody>
            <a:bodyPr wrap="none" lIns="107944" tIns="53972" rIns="107944" bIns="53972" rtlCol="0" anchor="ctr">
              <a:spAutoFit/>
            </a:bodyPr>
            <a:lstStyle/>
            <a:p>
              <a:pPr>
                <a:tabLst>
                  <a:tab pos="0" algn="l"/>
                </a:tabLst>
              </a:pPr>
              <a:r>
                <a:rPr lang="en-US" sz="1199" dirty="0"/>
                <a:t>Lorem ipsum</a:t>
              </a:r>
              <a:endParaRPr lang="en-US" sz="1199" dirty="0">
                <a:ea typeface="Arial Unicode MS"/>
              </a:endParaRPr>
            </a:p>
          </p:txBody>
        </p:sp>
        <p:sp>
          <p:nvSpPr>
            <p:cNvPr id="132" name="Textfeld 206">
              <a:extLst>
                <a:ext uri="{FF2B5EF4-FFF2-40B4-BE49-F238E27FC236}">
                  <a16:creationId xmlns:a16="http://schemas.microsoft.com/office/drawing/2014/main" id="{8D817A67-E528-B148-BA29-22CC4556BC87}"/>
                </a:ext>
              </a:extLst>
            </p:cNvPr>
            <p:cNvSpPr txBox="1"/>
            <p:nvPr/>
          </p:nvSpPr>
          <p:spPr bwMode="gray">
            <a:xfrm>
              <a:off x="10044853" y="3050792"/>
              <a:ext cx="1694778" cy="293721"/>
            </a:xfrm>
            <a:prstGeom prst="rect">
              <a:avLst/>
            </a:prstGeom>
            <a:noFill/>
          </p:spPr>
          <p:txBody>
            <a:bodyPr wrap="square" lIns="107944" tIns="53972" rIns="107944" bIns="53972" rtlCol="0" anchor="ctr">
              <a:spAutoFit/>
            </a:bodyPr>
            <a:lstStyle/>
            <a:p>
              <a:pPr>
                <a:tabLst>
                  <a:tab pos="0" algn="l"/>
                </a:tabLst>
              </a:pPr>
              <a:r>
                <a:rPr lang="en-US" sz="1199" dirty="0"/>
                <a:t>Lorem ipsum</a:t>
              </a:r>
              <a:endParaRPr lang="en-US" sz="1199" dirty="0">
                <a:ea typeface="Arial Unicode MS"/>
              </a:endParaRPr>
            </a:p>
          </p:txBody>
        </p:sp>
        <p:sp>
          <p:nvSpPr>
            <p:cNvPr id="124" name="Textfeld 144">
              <a:extLst>
                <a:ext uri="{FF2B5EF4-FFF2-40B4-BE49-F238E27FC236}">
                  <a16:creationId xmlns:a16="http://schemas.microsoft.com/office/drawing/2014/main" id="{3D9B8A3E-D239-D34E-8C74-A69F9A219B8B}"/>
                </a:ext>
              </a:extLst>
            </p:cNvPr>
            <p:cNvSpPr txBox="1"/>
            <p:nvPr/>
          </p:nvSpPr>
          <p:spPr bwMode="gray">
            <a:xfrm flipH="1">
              <a:off x="364036" y="2194076"/>
              <a:ext cx="2018336" cy="293721"/>
            </a:xfrm>
            <a:prstGeom prst="rect">
              <a:avLst/>
            </a:prstGeom>
            <a:noFill/>
          </p:spPr>
          <p:txBody>
            <a:bodyPr wrap="square" lIns="107944" tIns="53972" rIns="107944" bIns="53972" rtlCol="0" anchor="ctr">
              <a:spAutoFit/>
            </a:bodyPr>
            <a:lstStyle/>
            <a:p>
              <a:pPr algn="r">
                <a:defRPr/>
              </a:pPr>
              <a:r>
                <a:rPr lang="en-US" sz="1199" dirty="0"/>
                <a:t>Lorem ipsum</a:t>
              </a:r>
              <a:endParaRPr lang="en-US" sz="1199" dirty="0">
                <a:ea typeface="Arial Unicode MS"/>
              </a:endParaRPr>
            </a:p>
          </p:txBody>
        </p:sp>
        <p:sp>
          <p:nvSpPr>
            <p:cNvPr id="128" name="Textfeld 144">
              <a:extLst>
                <a:ext uri="{FF2B5EF4-FFF2-40B4-BE49-F238E27FC236}">
                  <a16:creationId xmlns:a16="http://schemas.microsoft.com/office/drawing/2014/main" id="{2D83A281-1BEE-1845-AE11-DD73766C5D03}"/>
                </a:ext>
              </a:extLst>
            </p:cNvPr>
            <p:cNvSpPr txBox="1"/>
            <p:nvPr/>
          </p:nvSpPr>
          <p:spPr bwMode="gray">
            <a:xfrm flipH="1">
              <a:off x="364036" y="2750194"/>
              <a:ext cx="2018336" cy="478387"/>
            </a:xfrm>
            <a:prstGeom prst="rect">
              <a:avLst/>
            </a:prstGeom>
            <a:noFill/>
          </p:spPr>
          <p:txBody>
            <a:bodyPr wrap="square" lIns="107944" tIns="53972" rIns="107944" bIns="53972" rtlCol="0" anchor="ctr">
              <a:spAutoFit/>
            </a:bodyPr>
            <a:lstStyle/>
            <a:p>
              <a:pPr algn="r">
                <a:tabLst>
                  <a:tab pos="0" algn="l"/>
                </a:tabLst>
              </a:pPr>
              <a:r>
                <a:rPr lang="en-US" sz="1199" dirty="0"/>
                <a:t>Lorem ipsum dolor sit amet, consectetur</a:t>
              </a:r>
              <a:endParaRPr lang="en-US" sz="1199" dirty="0">
                <a:ea typeface="Arial Unicode MS"/>
              </a:endParaRPr>
            </a:p>
          </p:txBody>
        </p:sp>
        <p:sp>
          <p:nvSpPr>
            <p:cNvPr id="131" name="Textfeld 168">
              <a:extLst>
                <a:ext uri="{FF2B5EF4-FFF2-40B4-BE49-F238E27FC236}">
                  <a16:creationId xmlns:a16="http://schemas.microsoft.com/office/drawing/2014/main" id="{E260F5E4-F30D-6546-BB5D-B48C0D967966}"/>
                </a:ext>
              </a:extLst>
            </p:cNvPr>
            <p:cNvSpPr txBox="1"/>
            <p:nvPr/>
          </p:nvSpPr>
          <p:spPr bwMode="gray">
            <a:xfrm flipH="1">
              <a:off x="364036" y="3824265"/>
              <a:ext cx="2018336" cy="293721"/>
            </a:xfrm>
            <a:prstGeom prst="rect">
              <a:avLst/>
            </a:prstGeom>
            <a:noFill/>
          </p:spPr>
          <p:txBody>
            <a:bodyPr wrap="square" lIns="107944" tIns="53972" rIns="107944" bIns="53972" rtlCol="0" anchor="ctr">
              <a:spAutoFit/>
            </a:bodyPr>
            <a:lstStyle/>
            <a:p>
              <a:pPr algn="r">
                <a:tabLst>
                  <a:tab pos="0" algn="l"/>
                </a:tabLst>
              </a:pPr>
              <a:r>
                <a:rPr lang="en-US" sz="1199" dirty="0"/>
                <a:t>Lorem ipsum</a:t>
              </a:r>
              <a:endParaRPr lang="en-US" sz="1199" dirty="0">
                <a:ea typeface="Arial Unicode MS"/>
              </a:endParaRPr>
            </a:p>
          </p:txBody>
        </p:sp>
        <p:sp>
          <p:nvSpPr>
            <p:cNvPr id="76" name="Textfeld 139"/>
            <p:cNvSpPr txBox="1"/>
            <p:nvPr/>
          </p:nvSpPr>
          <p:spPr bwMode="gray">
            <a:xfrm flipH="1">
              <a:off x="364035" y="5424210"/>
              <a:ext cx="2124527" cy="293721"/>
            </a:xfrm>
            <a:prstGeom prst="rect">
              <a:avLst/>
            </a:prstGeom>
            <a:noFill/>
            <a:ln w="22225">
              <a:noFill/>
            </a:ln>
          </p:spPr>
          <p:txBody>
            <a:bodyPr wrap="square" lIns="107944" tIns="53972" rIns="107944" bIns="53972" rtlCol="0" anchor="ctr">
              <a:spAutoFit/>
            </a:bodyPr>
            <a:lstStyle/>
            <a:p>
              <a:pPr algn="r">
                <a:tabLst>
                  <a:tab pos="0" algn="l"/>
                </a:tabLst>
              </a:pPr>
              <a:r>
                <a:rPr lang="en-US" sz="1199" dirty="0">
                  <a:ea typeface="Arial Unicode MS"/>
                </a:rPr>
                <a:t>Lorem ipsum dolor</a:t>
              </a:r>
            </a:p>
          </p:txBody>
        </p:sp>
        <p:sp>
          <p:nvSpPr>
            <p:cNvPr id="125" name="Textfeld 139"/>
            <p:cNvSpPr txBox="1"/>
            <p:nvPr/>
          </p:nvSpPr>
          <p:spPr bwMode="gray">
            <a:xfrm flipH="1">
              <a:off x="6773242" y="5578764"/>
              <a:ext cx="1189851" cy="293721"/>
            </a:xfrm>
            <a:prstGeom prst="rect">
              <a:avLst/>
            </a:prstGeom>
            <a:noFill/>
            <a:ln w="22225">
              <a:noFill/>
            </a:ln>
          </p:spPr>
          <p:txBody>
            <a:bodyPr wrap="square" lIns="107944" tIns="53972" rIns="107944" bIns="53972" rtlCol="0" anchor="ctr">
              <a:spAutoFit/>
            </a:bodyPr>
            <a:lstStyle/>
            <a:p>
              <a:pPr>
                <a:tabLst>
                  <a:tab pos="0" algn="l"/>
                </a:tabLst>
              </a:pPr>
              <a:r>
                <a:rPr lang="en-US" sz="1199" dirty="0">
                  <a:ea typeface="Arial Unicode MS"/>
                </a:rPr>
                <a:t>Lorem ipsum</a:t>
              </a:r>
            </a:p>
          </p:txBody>
        </p:sp>
        <p:sp>
          <p:nvSpPr>
            <p:cNvPr id="129" name="Textfeld 139"/>
            <p:cNvSpPr txBox="1"/>
            <p:nvPr/>
          </p:nvSpPr>
          <p:spPr bwMode="gray">
            <a:xfrm flipH="1">
              <a:off x="4346622" y="1697970"/>
              <a:ext cx="1189851" cy="293721"/>
            </a:xfrm>
            <a:prstGeom prst="rect">
              <a:avLst/>
            </a:prstGeom>
            <a:noFill/>
            <a:ln w="22225">
              <a:noFill/>
            </a:ln>
          </p:spPr>
          <p:txBody>
            <a:bodyPr wrap="square" lIns="107944" tIns="53972" rIns="107944" bIns="53972" rtlCol="0" anchor="ctr">
              <a:spAutoFit/>
            </a:bodyPr>
            <a:lstStyle/>
            <a:p>
              <a:pPr>
                <a:tabLst>
                  <a:tab pos="0" algn="l"/>
                </a:tabLst>
              </a:pPr>
              <a:r>
                <a:rPr lang="en-US" sz="1199" dirty="0">
                  <a:ea typeface="Arial Unicode MS"/>
                </a:rPr>
                <a:t>Lorem ipsum</a:t>
              </a:r>
            </a:p>
          </p:txBody>
        </p:sp>
        <p:sp>
          <p:nvSpPr>
            <p:cNvPr id="134" name="Textfeld 139"/>
            <p:cNvSpPr txBox="1"/>
            <p:nvPr/>
          </p:nvSpPr>
          <p:spPr bwMode="gray">
            <a:xfrm flipH="1">
              <a:off x="9770976" y="1858392"/>
              <a:ext cx="1975010" cy="293721"/>
            </a:xfrm>
            <a:prstGeom prst="rect">
              <a:avLst/>
            </a:prstGeom>
            <a:noFill/>
            <a:ln w="22225">
              <a:noFill/>
              <a:prstDash val="dash"/>
            </a:ln>
          </p:spPr>
          <p:txBody>
            <a:bodyPr wrap="square" lIns="107944" tIns="53972" rIns="107944" bIns="53972" rtlCol="0" anchor="ctr">
              <a:spAutoFit/>
            </a:bodyPr>
            <a:lstStyle/>
            <a:p>
              <a:pPr>
                <a:tabLst>
                  <a:tab pos="0" algn="l"/>
                </a:tabLst>
              </a:pPr>
              <a:r>
                <a:rPr lang="en-US" sz="1199" dirty="0">
                  <a:solidFill>
                    <a:srgbClr val="66667E"/>
                  </a:solidFill>
                  <a:ea typeface="Arial Unicode MS"/>
                </a:rPr>
                <a:t>Lorem ipsum</a:t>
              </a:r>
            </a:p>
          </p:txBody>
        </p:sp>
      </p:grpSp>
      <p:sp>
        <p:nvSpPr>
          <p:cNvPr id="13" name="Footer Placeholder 12">
            <a:extLst>
              <a:ext uri="{FF2B5EF4-FFF2-40B4-BE49-F238E27FC236}">
                <a16:creationId xmlns:a16="http://schemas.microsoft.com/office/drawing/2014/main" id="{175F0DA2-57D6-4D8B-B05F-23CB84E4CE50}"/>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14" name="Slide Number Placeholder 13">
            <a:extLst>
              <a:ext uri="{FF2B5EF4-FFF2-40B4-BE49-F238E27FC236}">
                <a16:creationId xmlns:a16="http://schemas.microsoft.com/office/drawing/2014/main" id="{212FA594-EE9E-4144-9570-583854790218}"/>
              </a:ext>
            </a:extLst>
          </p:cNvPr>
          <p:cNvSpPr>
            <a:spLocks noGrp="1"/>
          </p:cNvSpPr>
          <p:nvPr>
            <p:ph type="sldNum" sz="quarter" idx="11"/>
          </p:nvPr>
        </p:nvSpPr>
        <p:spPr/>
        <p:txBody>
          <a:bodyPr/>
          <a:lstStyle/>
          <a:p>
            <a:r>
              <a:rPr lang="en-US" dirty="0"/>
              <a:t>Page </a:t>
            </a:r>
            <a:fld id="{15EBE321-CBB1-4E91-BD14-37C8D44326FB}" type="slidenum">
              <a:rPr lang="en-US" smtClean="0"/>
              <a:pPr/>
              <a:t>32</a:t>
            </a:fld>
            <a:endParaRPr lang="en-US" dirty="0"/>
          </a:p>
        </p:txBody>
      </p:sp>
    </p:spTree>
    <p:extLst>
      <p:ext uri="{BB962C8B-B14F-4D97-AF65-F5344CB8AC3E}">
        <p14:creationId xmlns:p14="http://schemas.microsoft.com/office/powerpoint/2010/main" val="157332167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2432593" y="2009866"/>
            <a:ext cx="7594328" cy="3555741"/>
            <a:chOff x="2386519" y="2003367"/>
            <a:chExt cx="7598283" cy="3557593"/>
          </a:xfrm>
        </p:grpSpPr>
        <p:sp>
          <p:nvSpPr>
            <p:cNvPr id="91" name="Freeform 90">
              <a:extLst>
                <a:ext uri="{FF2B5EF4-FFF2-40B4-BE49-F238E27FC236}">
                  <a16:creationId xmlns:a16="http://schemas.microsoft.com/office/drawing/2014/main" id="{B48CE4E9-F7A6-224D-8AC6-13AD1AC2DEEA}"/>
                </a:ext>
              </a:extLst>
            </p:cNvPr>
            <p:cNvSpPr/>
            <p:nvPr/>
          </p:nvSpPr>
          <p:spPr bwMode="auto">
            <a:xfrm>
              <a:off x="5759787" y="4265999"/>
              <a:ext cx="385831" cy="1220402"/>
            </a:xfrm>
            <a:custGeom>
              <a:avLst/>
              <a:gdLst>
                <a:gd name="connsiteX0" fmla="*/ 494414 w 494414"/>
                <a:gd name="connsiteY0" fmla="*/ 0 h 1313121"/>
                <a:gd name="connsiteX1" fmla="*/ 494414 w 494414"/>
                <a:gd name="connsiteY1" fmla="*/ 882502 h 1313121"/>
                <a:gd name="connsiteX2" fmla="*/ 63795 w 494414"/>
                <a:gd name="connsiteY2" fmla="*/ 1313121 h 1313121"/>
                <a:gd name="connsiteX3" fmla="*/ 0 w 494414"/>
                <a:gd name="connsiteY3" fmla="*/ 1313121 h 1313121"/>
                <a:gd name="connsiteX0" fmla="*/ 494414 w 494414"/>
                <a:gd name="connsiteY0" fmla="*/ 0 h 1220402"/>
                <a:gd name="connsiteX1" fmla="*/ 494414 w 494414"/>
                <a:gd name="connsiteY1" fmla="*/ 789783 h 1220402"/>
                <a:gd name="connsiteX2" fmla="*/ 63795 w 494414"/>
                <a:gd name="connsiteY2" fmla="*/ 1220402 h 1220402"/>
                <a:gd name="connsiteX3" fmla="*/ 0 w 494414"/>
                <a:gd name="connsiteY3" fmla="*/ 1220402 h 1220402"/>
              </a:gdLst>
              <a:ahLst/>
              <a:cxnLst>
                <a:cxn ang="0">
                  <a:pos x="connsiteX0" y="connsiteY0"/>
                </a:cxn>
                <a:cxn ang="0">
                  <a:pos x="connsiteX1" y="connsiteY1"/>
                </a:cxn>
                <a:cxn ang="0">
                  <a:pos x="connsiteX2" y="connsiteY2"/>
                </a:cxn>
                <a:cxn ang="0">
                  <a:pos x="connsiteX3" y="connsiteY3"/>
                </a:cxn>
              </a:cxnLst>
              <a:rect l="l" t="t" r="r" b="b"/>
              <a:pathLst>
                <a:path w="494414" h="1220402">
                  <a:moveTo>
                    <a:pt x="494414" y="0"/>
                  </a:moveTo>
                  <a:lnTo>
                    <a:pt x="494414" y="789783"/>
                  </a:lnTo>
                  <a:lnTo>
                    <a:pt x="63795" y="1220402"/>
                  </a:lnTo>
                  <a:lnTo>
                    <a:pt x="0" y="1220402"/>
                  </a:lnTo>
                </a:path>
              </a:pathLst>
            </a:custGeom>
            <a:noFill/>
            <a:ln w="12700">
              <a:solidFill>
                <a:srgbClr val="9999A9"/>
              </a:solidFill>
              <a:prstDash val="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92" name="Freeform 91">
              <a:extLst>
                <a:ext uri="{FF2B5EF4-FFF2-40B4-BE49-F238E27FC236}">
                  <a16:creationId xmlns:a16="http://schemas.microsoft.com/office/drawing/2014/main" id="{E57611D8-2C80-2649-BA1F-36B8511DE547}"/>
                </a:ext>
              </a:extLst>
            </p:cNvPr>
            <p:cNvSpPr/>
            <p:nvPr/>
          </p:nvSpPr>
          <p:spPr bwMode="auto">
            <a:xfrm>
              <a:off x="2386519" y="2003367"/>
              <a:ext cx="1778924" cy="673331"/>
            </a:xfrm>
            <a:custGeom>
              <a:avLst/>
              <a:gdLst>
                <a:gd name="connsiteX0" fmla="*/ 0 w 1778924"/>
                <a:gd name="connsiteY0" fmla="*/ 0 h 673331"/>
                <a:gd name="connsiteX1" fmla="*/ 1105593 w 1778924"/>
                <a:gd name="connsiteY1" fmla="*/ 0 h 673331"/>
                <a:gd name="connsiteX2" fmla="*/ 1778924 w 1778924"/>
                <a:gd name="connsiteY2" fmla="*/ 673331 h 673331"/>
              </a:gdLst>
              <a:ahLst/>
              <a:cxnLst>
                <a:cxn ang="0">
                  <a:pos x="connsiteX0" y="connsiteY0"/>
                </a:cxn>
                <a:cxn ang="0">
                  <a:pos x="connsiteX1" y="connsiteY1"/>
                </a:cxn>
                <a:cxn ang="0">
                  <a:pos x="connsiteX2" y="connsiteY2"/>
                </a:cxn>
              </a:cxnLst>
              <a:rect l="l" t="t" r="r" b="b"/>
              <a:pathLst>
                <a:path w="1778924" h="673331">
                  <a:moveTo>
                    <a:pt x="0" y="0"/>
                  </a:moveTo>
                  <a:lnTo>
                    <a:pt x="1105593" y="0"/>
                  </a:lnTo>
                  <a:lnTo>
                    <a:pt x="1778924" y="673331"/>
                  </a:lnTo>
                </a:path>
              </a:pathLst>
            </a:custGeom>
            <a:noFill/>
            <a:ln w="12700">
              <a:solidFill>
                <a:srgbClr val="9999A9"/>
              </a:solidFill>
              <a:prstDash val="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01" name="Freeform 100">
              <a:extLst>
                <a:ext uri="{FF2B5EF4-FFF2-40B4-BE49-F238E27FC236}">
                  <a16:creationId xmlns:a16="http://schemas.microsoft.com/office/drawing/2014/main" id="{7B8AA2AA-95AA-CD4C-8CE2-30421C8FDD8B}"/>
                </a:ext>
              </a:extLst>
            </p:cNvPr>
            <p:cNvSpPr/>
            <p:nvPr/>
          </p:nvSpPr>
          <p:spPr bwMode="auto">
            <a:xfrm>
              <a:off x="3722844" y="4680203"/>
              <a:ext cx="703585" cy="263769"/>
            </a:xfrm>
            <a:custGeom>
              <a:avLst/>
              <a:gdLst>
                <a:gd name="connsiteX0" fmla="*/ 756138 w 756138"/>
                <a:gd name="connsiteY0" fmla="*/ 263769 h 263769"/>
                <a:gd name="connsiteX1" fmla="*/ 492369 w 756138"/>
                <a:gd name="connsiteY1" fmla="*/ 0 h 263769"/>
                <a:gd name="connsiteX2" fmla="*/ 0 w 756138"/>
                <a:gd name="connsiteY2" fmla="*/ 0 h 263769"/>
              </a:gdLst>
              <a:ahLst/>
              <a:cxnLst>
                <a:cxn ang="0">
                  <a:pos x="connsiteX0" y="connsiteY0"/>
                </a:cxn>
                <a:cxn ang="0">
                  <a:pos x="connsiteX1" y="connsiteY1"/>
                </a:cxn>
                <a:cxn ang="0">
                  <a:pos x="connsiteX2" y="connsiteY2"/>
                </a:cxn>
              </a:cxnLst>
              <a:rect l="l" t="t" r="r" b="b"/>
              <a:pathLst>
                <a:path w="756138" h="263769">
                  <a:moveTo>
                    <a:pt x="756138" y="263769"/>
                  </a:moveTo>
                  <a:lnTo>
                    <a:pt x="492369" y="0"/>
                  </a:lnTo>
                  <a:lnTo>
                    <a:pt x="0" y="0"/>
                  </a:lnTo>
                </a:path>
              </a:pathLst>
            </a:custGeom>
            <a:noFill/>
            <a:ln w="12700">
              <a:solidFill>
                <a:srgbClr val="9999A9"/>
              </a:solidFill>
              <a:prstDash val="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05" name="Freeform 104">
              <a:extLst>
                <a:ext uri="{FF2B5EF4-FFF2-40B4-BE49-F238E27FC236}">
                  <a16:creationId xmlns:a16="http://schemas.microsoft.com/office/drawing/2014/main" id="{0C508DCE-E5DB-5C4E-9887-6A280EB588E5}"/>
                </a:ext>
              </a:extLst>
            </p:cNvPr>
            <p:cNvSpPr/>
            <p:nvPr/>
          </p:nvSpPr>
          <p:spPr bwMode="auto">
            <a:xfrm>
              <a:off x="6189227" y="2046767"/>
              <a:ext cx="404037" cy="1180214"/>
            </a:xfrm>
            <a:custGeom>
              <a:avLst/>
              <a:gdLst>
                <a:gd name="connsiteX0" fmla="*/ 404037 w 404037"/>
                <a:gd name="connsiteY0" fmla="*/ 0 h 1180214"/>
                <a:gd name="connsiteX1" fmla="*/ 0 w 404037"/>
                <a:gd name="connsiteY1" fmla="*/ 404037 h 1180214"/>
                <a:gd name="connsiteX2" fmla="*/ 0 w 404037"/>
                <a:gd name="connsiteY2" fmla="*/ 1180214 h 1180214"/>
              </a:gdLst>
              <a:ahLst/>
              <a:cxnLst>
                <a:cxn ang="0">
                  <a:pos x="connsiteX0" y="connsiteY0"/>
                </a:cxn>
                <a:cxn ang="0">
                  <a:pos x="connsiteX1" y="connsiteY1"/>
                </a:cxn>
                <a:cxn ang="0">
                  <a:pos x="connsiteX2" y="connsiteY2"/>
                </a:cxn>
              </a:cxnLst>
              <a:rect l="l" t="t" r="r" b="b"/>
              <a:pathLst>
                <a:path w="404037" h="1180214">
                  <a:moveTo>
                    <a:pt x="404037" y="0"/>
                  </a:moveTo>
                  <a:lnTo>
                    <a:pt x="0" y="404037"/>
                  </a:lnTo>
                  <a:lnTo>
                    <a:pt x="0" y="1180214"/>
                  </a:lnTo>
                </a:path>
              </a:pathLst>
            </a:custGeom>
            <a:noFill/>
            <a:ln w="12700">
              <a:solidFill>
                <a:srgbClr val="9999A9"/>
              </a:solidFill>
              <a:prstDash val="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06" name="Freeform 105">
              <a:extLst>
                <a:ext uri="{FF2B5EF4-FFF2-40B4-BE49-F238E27FC236}">
                  <a16:creationId xmlns:a16="http://schemas.microsoft.com/office/drawing/2014/main" id="{EB49FC04-983C-B64D-A0E2-D20C22693243}"/>
                </a:ext>
              </a:extLst>
            </p:cNvPr>
            <p:cNvSpPr/>
            <p:nvPr/>
          </p:nvSpPr>
          <p:spPr bwMode="auto">
            <a:xfrm>
              <a:off x="8165804" y="2004237"/>
              <a:ext cx="1594884" cy="680484"/>
            </a:xfrm>
            <a:custGeom>
              <a:avLst/>
              <a:gdLst>
                <a:gd name="connsiteX0" fmla="*/ 1594884 w 1594884"/>
                <a:gd name="connsiteY0" fmla="*/ 0 h 680484"/>
                <a:gd name="connsiteX1" fmla="*/ 680484 w 1594884"/>
                <a:gd name="connsiteY1" fmla="*/ 0 h 680484"/>
                <a:gd name="connsiteX2" fmla="*/ 0 w 1594884"/>
                <a:gd name="connsiteY2" fmla="*/ 680484 h 680484"/>
              </a:gdLst>
              <a:ahLst/>
              <a:cxnLst>
                <a:cxn ang="0">
                  <a:pos x="connsiteX0" y="connsiteY0"/>
                </a:cxn>
                <a:cxn ang="0">
                  <a:pos x="connsiteX1" y="connsiteY1"/>
                </a:cxn>
                <a:cxn ang="0">
                  <a:pos x="connsiteX2" y="connsiteY2"/>
                </a:cxn>
              </a:cxnLst>
              <a:rect l="l" t="t" r="r" b="b"/>
              <a:pathLst>
                <a:path w="1594884" h="680484">
                  <a:moveTo>
                    <a:pt x="1594884" y="0"/>
                  </a:moveTo>
                  <a:lnTo>
                    <a:pt x="680484" y="0"/>
                  </a:lnTo>
                  <a:lnTo>
                    <a:pt x="0" y="680484"/>
                  </a:lnTo>
                </a:path>
              </a:pathLst>
            </a:custGeom>
            <a:noFill/>
            <a:ln w="12700">
              <a:solidFill>
                <a:srgbClr val="9999A9"/>
              </a:solidFill>
              <a:prstDash val="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09" name="Freeform 108">
              <a:extLst>
                <a:ext uri="{FF2B5EF4-FFF2-40B4-BE49-F238E27FC236}">
                  <a16:creationId xmlns:a16="http://schemas.microsoft.com/office/drawing/2014/main" id="{4164B919-B97D-9348-9195-9163899DD6C1}"/>
                </a:ext>
              </a:extLst>
            </p:cNvPr>
            <p:cNvSpPr/>
            <p:nvPr/>
          </p:nvSpPr>
          <p:spPr bwMode="auto">
            <a:xfrm>
              <a:off x="7206827" y="3235761"/>
              <a:ext cx="846666" cy="345440"/>
            </a:xfrm>
            <a:custGeom>
              <a:avLst/>
              <a:gdLst>
                <a:gd name="connsiteX0" fmla="*/ 0 w 846666"/>
                <a:gd name="connsiteY0" fmla="*/ 345440 h 345440"/>
                <a:gd name="connsiteX1" fmla="*/ 345440 w 846666"/>
                <a:gd name="connsiteY1" fmla="*/ 0 h 345440"/>
                <a:gd name="connsiteX2" fmla="*/ 846666 w 846666"/>
                <a:gd name="connsiteY2" fmla="*/ 0 h 345440"/>
              </a:gdLst>
              <a:ahLst/>
              <a:cxnLst>
                <a:cxn ang="0">
                  <a:pos x="connsiteX0" y="connsiteY0"/>
                </a:cxn>
                <a:cxn ang="0">
                  <a:pos x="connsiteX1" y="connsiteY1"/>
                </a:cxn>
                <a:cxn ang="0">
                  <a:pos x="connsiteX2" y="connsiteY2"/>
                </a:cxn>
              </a:cxnLst>
              <a:rect l="l" t="t" r="r" b="b"/>
              <a:pathLst>
                <a:path w="846666" h="345440">
                  <a:moveTo>
                    <a:pt x="0" y="345440"/>
                  </a:moveTo>
                  <a:lnTo>
                    <a:pt x="345440" y="0"/>
                  </a:lnTo>
                  <a:lnTo>
                    <a:pt x="846666" y="0"/>
                  </a:lnTo>
                </a:path>
              </a:pathLst>
            </a:custGeom>
            <a:noFill/>
            <a:ln w="12700">
              <a:solidFill>
                <a:srgbClr val="9999A9"/>
              </a:solidFill>
              <a:prstDash val="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10" name="Freeform 109">
              <a:extLst>
                <a:ext uri="{FF2B5EF4-FFF2-40B4-BE49-F238E27FC236}">
                  <a16:creationId xmlns:a16="http://schemas.microsoft.com/office/drawing/2014/main" id="{BE57460B-EC6B-6B4A-B784-012C9748F74F}"/>
                </a:ext>
              </a:extLst>
            </p:cNvPr>
            <p:cNvSpPr/>
            <p:nvPr/>
          </p:nvSpPr>
          <p:spPr bwMode="auto">
            <a:xfrm>
              <a:off x="7403253" y="3970795"/>
              <a:ext cx="2580640" cy="684106"/>
            </a:xfrm>
            <a:custGeom>
              <a:avLst/>
              <a:gdLst>
                <a:gd name="connsiteX0" fmla="*/ 0 w 2580640"/>
                <a:gd name="connsiteY0" fmla="*/ 0 h 684106"/>
                <a:gd name="connsiteX1" fmla="*/ 392853 w 2580640"/>
                <a:gd name="connsiteY1" fmla="*/ 392853 h 684106"/>
                <a:gd name="connsiteX2" fmla="*/ 1435947 w 2580640"/>
                <a:gd name="connsiteY2" fmla="*/ 392853 h 684106"/>
                <a:gd name="connsiteX3" fmla="*/ 1727200 w 2580640"/>
                <a:gd name="connsiteY3" fmla="*/ 684106 h 684106"/>
                <a:gd name="connsiteX4" fmla="*/ 1788160 w 2580640"/>
                <a:gd name="connsiteY4" fmla="*/ 684106 h 684106"/>
                <a:gd name="connsiteX5" fmla="*/ 2580640 w 2580640"/>
                <a:gd name="connsiteY5" fmla="*/ 684106 h 684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80640" h="684106">
                  <a:moveTo>
                    <a:pt x="0" y="0"/>
                  </a:moveTo>
                  <a:lnTo>
                    <a:pt x="392853" y="392853"/>
                  </a:lnTo>
                  <a:lnTo>
                    <a:pt x="1435947" y="392853"/>
                  </a:lnTo>
                  <a:lnTo>
                    <a:pt x="1727200" y="684106"/>
                  </a:lnTo>
                  <a:lnTo>
                    <a:pt x="1788160" y="684106"/>
                  </a:lnTo>
                  <a:lnTo>
                    <a:pt x="2580640" y="684106"/>
                  </a:lnTo>
                </a:path>
              </a:pathLst>
            </a:custGeom>
            <a:noFill/>
            <a:ln w="12700">
              <a:solidFill>
                <a:srgbClr val="9999A9"/>
              </a:solidFill>
              <a:prstDash val="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11" name="Freeform 110">
              <a:extLst>
                <a:ext uri="{FF2B5EF4-FFF2-40B4-BE49-F238E27FC236}">
                  <a16:creationId xmlns:a16="http://schemas.microsoft.com/office/drawing/2014/main" id="{BED39416-99F2-FD4B-B409-B6CEEC5B7A14}"/>
                </a:ext>
              </a:extLst>
            </p:cNvPr>
            <p:cNvSpPr/>
            <p:nvPr/>
          </p:nvSpPr>
          <p:spPr bwMode="auto">
            <a:xfrm>
              <a:off x="8297939" y="4882816"/>
              <a:ext cx="1686863" cy="678144"/>
            </a:xfrm>
            <a:custGeom>
              <a:avLst/>
              <a:gdLst>
                <a:gd name="connsiteX0" fmla="*/ 0 w 1693333"/>
                <a:gd name="connsiteY0" fmla="*/ 0 h 684107"/>
                <a:gd name="connsiteX1" fmla="*/ 684107 w 1693333"/>
                <a:gd name="connsiteY1" fmla="*/ 684107 h 684107"/>
                <a:gd name="connsiteX2" fmla="*/ 745067 w 1693333"/>
                <a:gd name="connsiteY2" fmla="*/ 684107 h 684107"/>
                <a:gd name="connsiteX3" fmla="*/ 1693333 w 1693333"/>
                <a:gd name="connsiteY3" fmla="*/ 684107 h 684107"/>
              </a:gdLst>
              <a:ahLst/>
              <a:cxnLst>
                <a:cxn ang="0">
                  <a:pos x="connsiteX0" y="connsiteY0"/>
                </a:cxn>
                <a:cxn ang="0">
                  <a:pos x="connsiteX1" y="connsiteY1"/>
                </a:cxn>
                <a:cxn ang="0">
                  <a:pos x="connsiteX2" y="connsiteY2"/>
                </a:cxn>
                <a:cxn ang="0">
                  <a:pos x="connsiteX3" y="connsiteY3"/>
                </a:cxn>
              </a:cxnLst>
              <a:rect l="l" t="t" r="r" b="b"/>
              <a:pathLst>
                <a:path w="1693333" h="684107">
                  <a:moveTo>
                    <a:pt x="0" y="0"/>
                  </a:moveTo>
                  <a:lnTo>
                    <a:pt x="684107" y="684107"/>
                  </a:lnTo>
                  <a:lnTo>
                    <a:pt x="745067" y="684107"/>
                  </a:lnTo>
                  <a:lnTo>
                    <a:pt x="1693333" y="684107"/>
                  </a:lnTo>
                </a:path>
              </a:pathLst>
            </a:custGeom>
            <a:noFill/>
            <a:ln w="12700">
              <a:solidFill>
                <a:srgbClr val="9999A9"/>
              </a:solidFill>
              <a:prstDash val="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cxnSp>
          <p:nvCxnSpPr>
            <p:cNvPr id="7" name="Straight Connector 6"/>
            <p:cNvCxnSpPr/>
            <p:nvPr/>
          </p:nvCxnSpPr>
          <p:spPr bwMode="auto">
            <a:xfrm>
              <a:off x="6750827" y="4261722"/>
              <a:ext cx="0" cy="580146"/>
            </a:xfrm>
            <a:prstGeom prst="line">
              <a:avLst/>
            </a:prstGeom>
            <a:solidFill>
              <a:schemeClr val="tx2"/>
            </a:solidFill>
            <a:ln w="12700" cap="flat" cmpd="sng" algn="ctr">
              <a:solidFill>
                <a:srgbClr val="9999A9"/>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6" name="Straight Connector 135"/>
            <p:cNvCxnSpPr/>
            <p:nvPr/>
          </p:nvCxnSpPr>
          <p:spPr bwMode="auto">
            <a:xfrm>
              <a:off x="5551963" y="2674527"/>
              <a:ext cx="0" cy="580146"/>
            </a:xfrm>
            <a:prstGeom prst="line">
              <a:avLst/>
            </a:prstGeom>
            <a:solidFill>
              <a:schemeClr val="tx2"/>
            </a:solidFill>
            <a:ln w="12700" cap="flat" cmpd="sng" algn="ctr">
              <a:solidFill>
                <a:srgbClr val="9999A9"/>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aphicFrame>
        <p:nvGraphicFramePr>
          <p:cNvPr id="28" name="Objekt 27"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4" imgW="360" imgH="360" progId="">
                  <p:embed/>
                </p:oleObj>
              </mc:Choice>
              <mc:Fallback>
                <p:oleObj name="think-cell Folie" r:id="rId4" imgW="360" imgH="360" progId="">
                  <p:embed/>
                  <p:pic>
                    <p:nvPicPr>
                      <p:cNvPr id="28" name="Objekt 2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a:extLst>
            <a:ext uri="{91240B29-F687-4F45-9708-019B960494DF}">
              <a14:hiddenLine xmlns:a14="http://schemas.microsoft.com/office/drawing/2010/main" w="9525">
                <a:solidFill>
                  <a:srgbClr val="000000"/>
                </a:solidFill>
                <a:round/>
                <a:headEnd/>
                <a:tailEnd/>
              </a14:hiddenLine>
            </a:ext>
          </a:extLst>
        </p:spPr>
        <p:txBody>
          <a:bodyPr/>
          <a:lstStyle/>
          <a:p>
            <a:r>
              <a:rPr lang="en-US" dirty="0"/>
              <a:t>Mindmap – network </a:t>
            </a:r>
          </a:p>
        </p:txBody>
      </p:sp>
      <p:sp>
        <p:nvSpPr>
          <p:cNvPr id="13" name="Footer Placeholder 12">
            <a:extLst>
              <a:ext uri="{FF2B5EF4-FFF2-40B4-BE49-F238E27FC236}">
                <a16:creationId xmlns:a16="http://schemas.microsoft.com/office/drawing/2014/main" id="{175F0DA2-57D6-4D8B-B05F-23CB84E4CE50}"/>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14" name="Slide Number Placeholder 13">
            <a:extLst>
              <a:ext uri="{FF2B5EF4-FFF2-40B4-BE49-F238E27FC236}">
                <a16:creationId xmlns:a16="http://schemas.microsoft.com/office/drawing/2014/main" id="{212FA594-EE9E-4144-9570-583854790218}"/>
              </a:ext>
            </a:extLst>
          </p:cNvPr>
          <p:cNvSpPr>
            <a:spLocks noGrp="1"/>
          </p:cNvSpPr>
          <p:nvPr>
            <p:ph type="sldNum" sz="quarter" idx="11"/>
          </p:nvPr>
        </p:nvSpPr>
        <p:spPr/>
        <p:txBody>
          <a:bodyPr/>
          <a:lstStyle/>
          <a:p>
            <a:r>
              <a:rPr lang="en-US" dirty="0"/>
              <a:t>Page </a:t>
            </a:r>
            <a:fld id="{15EBE321-CBB1-4E91-BD14-37C8D44326FB}" type="slidenum">
              <a:rPr lang="en-US" smtClean="0"/>
              <a:pPr/>
              <a:t>33</a:t>
            </a:fld>
            <a:endParaRPr lang="en-US" dirty="0"/>
          </a:p>
        </p:txBody>
      </p:sp>
      <p:grpSp>
        <p:nvGrpSpPr>
          <p:cNvPr id="12" name="Group 11">
            <a:extLst>
              <a:ext uri="{FF2B5EF4-FFF2-40B4-BE49-F238E27FC236}">
                <a16:creationId xmlns:a16="http://schemas.microsoft.com/office/drawing/2014/main" id="{8E23945C-0D2A-4930-909B-B617E6185242}"/>
              </a:ext>
            </a:extLst>
          </p:cNvPr>
          <p:cNvGrpSpPr/>
          <p:nvPr/>
        </p:nvGrpSpPr>
        <p:grpSpPr>
          <a:xfrm>
            <a:off x="2432593" y="1828619"/>
            <a:ext cx="7654347" cy="3917515"/>
            <a:chOff x="2432593" y="1828619"/>
            <a:chExt cx="7654347" cy="3917515"/>
          </a:xfrm>
        </p:grpSpPr>
        <p:sp>
          <p:nvSpPr>
            <p:cNvPr id="85" name="Freeform 84">
              <a:extLst>
                <a:ext uri="{FF2B5EF4-FFF2-40B4-BE49-F238E27FC236}">
                  <a16:creationId xmlns:a16="http://schemas.microsoft.com/office/drawing/2014/main" id="{95D6550B-D2C5-0B4E-9DF8-82442D20D9F3}"/>
                </a:ext>
              </a:extLst>
            </p:cNvPr>
            <p:cNvSpPr/>
            <p:nvPr/>
          </p:nvSpPr>
          <p:spPr bwMode="auto">
            <a:xfrm>
              <a:off x="7203002" y="3794000"/>
              <a:ext cx="368646" cy="176014"/>
            </a:xfrm>
            <a:custGeom>
              <a:avLst/>
              <a:gdLst>
                <a:gd name="connsiteX0" fmla="*/ 0 w 467360"/>
                <a:gd name="connsiteY0" fmla="*/ 176106 h 176106"/>
                <a:gd name="connsiteX1" fmla="*/ 176106 w 467360"/>
                <a:gd name="connsiteY1" fmla="*/ 0 h 176106"/>
                <a:gd name="connsiteX2" fmla="*/ 467360 w 467360"/>
                <a:gd name="connsiteY2" fmla="*/ 0 h 176106"/>
                <a:gd name="connsiteX0" fmla="*/ 0 w 368838"/>
                <a:gd name="connsiteY0" fmla="*/ 176106 h 176106"/>
                <a:gd name="connsiteX1" fmla="*/ 176106 w 368838"/>
                <a:gd name="connsiteY1" fmla="*/ 0 h 176106"/>
                <a:gd name="connsiteX2" fmla="*/ 368838 w 368838"/>
                <a:gd name="connsiteY2" fmla="*/ 0 h 176106"/>
              </a:gdLst>
              <a:ahLst/>
              <a:cxnLst>
                <a:cxn ang="0">
                  <a:pos x="connsiteX0" y="connsiteY0"/>
                </a:cxn>
                <a:cxn ang="0">
                  <a:pos x="connsiteX1" y="connsiteY1"/>
                </a:cxn>
                <a:cxn ang="0">
                  <a:pos x="connsiteX2" y="connsiteY2"/>
                </a:cxn>
              </a:cxnLst>
              <a:rect l="l" t="t" r="r" b="b"/>
              <a:pathLst>
                <a:path w="368838" h="176106">
                  <a:moveTo>
                    <a:pt x="0" y="176106"/>
                  </a:moveTo>
                  <a:lnTo>
                    <a:pt x="176106" y="0"/>
                  </a:lnTo>
                  <a:lnTo>
                    <a:pt x="368838" y="0"/>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89" name="Freeform 88">
              <a:extLst>
                <a:ext uri="{FF2B5EF4-FFF2-40B4-BE49-F238E27FC236}">
                  <a16:creationId xmlns:a16="http://schemas.microsoft.com/office/drawing/2014/main" id="{9AAAA994-E175-2449-9C0D-A2DEF38FF5AC}"/>
                </a:ext>
              </a:extLst>
            </p:cNvPr>
            <p:cNvSpPr/>
            <p:nvPr/>
          </p:nvSpPr>
          <p:spPr bwMode="auto">
            <a:xfrm>
              <a:off x="6405239" y="4267045"/>
              <a:ext cx="451648" cy="1479089"/>
            </a:xfrm>
            <a:custGeom>
              <a:avLst/>
              <a:gdLst>
                <a:gd name="connsiteX0" fmla="*/ 0 w 451883"/>
                <a:gd name="connsiteY0" fmla="*/ 0 h 1562986"/>
                <a:gd name="connsiteX1" fmla="*/ 0 w 451883"/>
                <a:gd name="connsiteY1" fmla="*/ 1111103 h 1562986"/>
                <a:gd name="connsiteX2" fmla="*/ 451883 w 451883"/>
                <a:gd name="connsiteY2" fmla="*/ 1562986 h 1562986"/>
                <a:gd name="connsiteX0" fmla="*/ 0 w 451883"/>
                <a:gd name="connsiteY0" fmla="*/ 0 h 1479859"/>
                <a:gd name="connsiteX1" fmla="*/ 0 w 451883"/>
                <a:gd name="connsiteY1" fmla="*/ 1027976 h 1479859"/>
                <a:gd name="connsiteX2" fmla="*/ 451883 w 451883"/>
                <a:gd name="connsiteY2" fmla="*/ 1479859 h 1479859"/>
              </a:gdLst>
              <a:ahLst/>
              <a:cxnLst>
                <a:cxn ang="0">
                  <a:pos x="connsiteX0" y="connsiteY0"/>
                </a:cxn>
                <a:cxn ang="0">
                  <a:pos x="connsiteX1" y="connsiteY1"/>
                </a:cxn>
                <a:cxn ang="0">
                  <a:pos x="connsiteX2" y="connsiteY2"/>
                </a:cxn>
              </a:cxnLst>
              <a:rect l="l" t="t" r="r" b="b"/>
              <a:pathLst>
                <a:path w="451883" h="1479859">
                  <a:moveTo>
                    <a:pt x="0" y="0"/>
                  </a:moveTo>
                  <a:lnTo>
                    <a:pt x="0" y="1027976"/>
                  </a:lnTo>
                  <a:lnTo>
                    <a:pt x="451883" y="1479859"/>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94" name="Freeform 93">
              <a:extLst>
                <a:ext uri="{FF2B5EF4-FFF2-40B4-BE49-F238E27FC236}">
                  <a16:creationId xmlns:a16="http://schemas.microsoft.com/office/drawing/2014/main" id="{EFD4F5FE-6E57-D94B-8341-A75767A8D51E}"/>
                </a:ext>
              </a:extLst>
            </p:cNvPr>
            <p:cNvSpPr/>
            <p:nvPr/>
          </p:nvSpPr>
          <p:spPr bwMode="auto">
            <a:xfrm>
              <a:off x="2432593" y="2350530"/>
              <a:ext cx="2907600" cy="1176978"/>
            </a:xfrm>
            <a:custGeom>
              <a:avLst/>
              <a:gdLst>
                <a:gd name="connsiteX0" fmla="*/ 0 w 3018817"/>
                <a:gd name="connsiteY0" fmla="*/ 0 h 1215957"/>
                <a:gd name="connsiteX1" fmla="*/ 797668 w 3018817"/>
                <a:gd name="connsiteY1" fmla="*/ 0 h 1215957"/>
                <a:gd name="connsiteX2" fmla="*/ 1128408 w 3018817"/>
                <a:gd name="connsiteY2" fmla="*/ 330740 h 1215957"/>
                <a:gd name="connsiteX3" fmla="*/ 1170562 w 3018817"/>
                <a:gd name="connsiteY3" fmla="*/ 330740 h 1215957"/>
                <a:gd name="connsiteX4" fmla="*/ 2062264 w 3018817"/>
                <a:gd name="connsiteY4" fmla="*/ 330740 h 1215957"/>
                <a:gd name="connsiteX5" fmla="*/ 2947481 w 3018817"/>
                <a:gd name="connsiteY5" fmla="*/ 1215957 h 1215957"/>
                <a:gd name="connsiteX6" fmla="*/ 3018817 w 3018817"/>
                <a:gd name="connsiteY6" fmla="*/ 1215957 h 1215957"/>
                <a:gd name="connsiteX0" fmla="*/ 0 w 2947481"/>
                <a:gd name="connsiteY0" fmla="*/ 0 h 1215957"/>
                <a:gd name="connsiteX1" fmla="*/ 797668 w 2947481"/>
                <a:gd name="connsiteY1" fmla="*/ 0 h 1215957"/>
                <a:gd name="connsiteX2" fmla="*/ 1128408 w 2947481"/>
                <a:gd name="connsiteY2" fmla="*/ 330740 h 1215957"/>
                <a:gd name="connsiteX3" fmla="*/ 1170562 w 2947481"/>
                <a:gd name="connsiteY3" fmla="*/ 330740 h 1215957"/>
                <a:gd name="connsiteX4" fmla="*/ 2062264 w 2947481"/>
                <a:gd name="connsiteY4" fmla="*/ 330740 h 1215957"/>
                <a:gd name="connsiteX5" fmla="*/ 2947481 w 2947481"/>
                <a:gd name="connsiteY5" fmla="*/ 1215957 h 1215957"/>
                <a:gd name="connsiteX6" fmla="*/ 2940995 w 2947481"/>
                <a:gd name="connsiteY6" fmla="*/ 1215957 h 1215957"/>
                <a:gd name="connsiteX0" fmla="*/ 0 w 3084893"/>
                <a:gd name="connsiteY0" fmla="*/ 0 h 1267112"/>
                <a:gd name="connsiteX1" fmla="*/ 797668 w 3084893"/>
                <a:gd name="connsiteY1" fmla="*/ 0 h 1267112"/>
                <a:gd name="connsiteX2" fmla="*/ 1128408 w 3084893"/>
                <a:gd name="connsiteY2" fmla="*/ 330740 h 1267112"/>
                <a:gd name="connsiteX3" fmla="*/ 1170562 w 3084893"/>
                <a:gd name="connsiteY3" fmla="*/ 330740 h 1267112"/>
                <a:gd name="connsiteX4" fmla="*/ 2062264 w 3084893"/>
                <a:gd name="connsiteY4" fmla="*/ 330740 h 1267112"/>
                <a:gd name="connsiteX5" fmla="*/ 2947481 w 3084893"/>
                <a:gd name="connsiteY5" fmla="*/ 1215957 h 1267112"/>
                <a:gd name="connsiteX6" fmla="*/ 3084869 w 3084893"/>
                <a:gd name="connsiteY6" fmla="*/ 1267112 h 1267112"/>
                <a:gd name="connsiteX0" fmla="*/ 0 w 2947481"/>
                <a:gd name="connsiteY0" fmla="*/ 0 h 1215957"/>
                <a:gd name="connsiteX1" fmla="*/ 797668 w 2947481"/>
                <a:gd name="connsiteY1" fmla="*/ 0 h 1215957"/>
                <a:gd name="connsiteX2" fmla="*/ 1128408 w 2947481"/>
                <a:gd name="connsiteY2" fmla="*/ 330740 h 1215957"/>
                <a:gd name="connsiteX3" fmla="*/ 1170562 w 2947481"/>
                <a:gd name="connsiteY3" fmla="*/ 330740 h 1215957"/>
                <a:gd name="connsiteX4" fmla="*/ 2062264 w 2947481"/>
                <a:gd name="connsiteY4" fmla="*/ 330740 h 1215957"/>
                <a:gd name="connsiteX5" fmla="*/ 2947481 w 2947481"/>
                <a:gd name="connsiteY5" fmla="*/ 1215957 h 1215957"/>
                <a:gd name="connsiteX0" fmla="*/ 0 w 2909115"/>
                <a:gd name="connsiteY0" fmla="*/ 0 h 1177591"/>
                <a:gd name="connsiteX1" fmla="*/ 797668 w 2909115"/>
                <a:gd name="connsiteY1" fmla="*/ 0 h 1177591"/>
                <a:gd name="connsiteX2" fmla="*/ 1128408 w 2909115"/>
                <a:gd name="connsiteY2" fmla="*/ 330740 h 1177591"/>
                <a:gd name="connsiteX3" fmla="*/ 1170562 w 2909115"/>
                <a:gd name="connsiteY3" fmla="*/ 330740 h 1177591"/>
                <a:gd name="connsiteX4" fmla="*/ 2062264 w 2909115"/>
                <a:gd name="connsiteY4" fmla="*/ 330740 h 1177591"/>
                <a:gd name="connsiteX5" fmla="*/ 2909115 w 2909115"/>
                <a:gd name="connsiteY5" fmla="*/ 1177591 h 1177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09115" h="1177591">
                  <a:moveTo>
                    <a:pt x="0" y="0"/>
                  </a:moveTo>
                  <a:lnTo>
                    <a:pt x="797668" y="0"/>
                  </a:lnTo>
                  <a:lnTo>
                    <a:pt x="1128408" y="330740"/>
                  </a:lnTo>
                  <a:lnTo>
                    <a:pt x="1170562" y="330740"/>
                  </a:lnTo>
                  <a:lnTo>
                    <a:pt x="2062264" y="330740"/>
                  </a:lnTo>
                  <a:lnTo>
                    <a:pt x="2909115" y="1177591"/>
                  </a:lnTo>
                </a:path>
              </a:pathLst>
            </a:custGeom>
            <a:noFill/>
            <a:ln w="22225">
              <a:solidFill>
                <a:schemeClr val="accent2"/>
              </a:solidFill>
            </a:ln>
            <a:effec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95" name="Freeform 94">
              <a:extLst>
                <a:ext uri="{FF2B5EF4-FFF2-40B4-BE49-F238E27FC236}">
                  <a16:creationId xmlns:a16="http://schemas.microsoft.com/office/drawing/2014/main" id="{6FF7DB83-5F85-F04E-8DB2-ED696764F1C7}"/>
                </a:ext>
              </a:extLst>
            </p:cNvPr>
            <p:cNvSpPr/>
            <p:nvPr/>
          </p:nvSpPr>
          <p:spPr bwMode="auto">
            <a:xfrm>
              <a:off x="2432593" y="2897333"/>
              <a:ext cx="2567297" cy="697906"/>
            </a:xfrm>
            <a:custGeom>
              <a:avLst/>
              <a:gdLst>
                <a:gd name="connsiteX0" fmla="*/ 0 w 2568634"/>
                <a:gd name="connsiteY0" fmla="*/ 0 h 698269"/>
                <a:gd name="connsiteX1" fmla="*/ 822960 w 2568634"/>
                <a:gd name="connsiteY1" fmla="*/ 0 h 698269"/>
                <a:gd name="connsiteX2" fmla="*/ 1138843 w 2568634"/>
                <a:gd name="connsiteY2" fmla="*/ 315883 h 698269"/>
                <a:gd name="connsiteX3" fmla="*/ 2186248 w 2568634"/>
                <a:gd name="connsiteY3" fmla="*/ 315883 h 698269"/>
                <a:gd name="connsiteX4" fmla="*/ 2568634 w 2568634"/>
                <a:gd name="connsiteY4" fmla="*/ 698269 h 698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8634" h="698269">
                  <a:moveTo>
                    <a:pt x="0" y="0"/>
                  </a:moveTo>
                  <a:lnTo>
                    <a:pt x="822960" y="0"/>
                  </a:lnTo>
                  <a:lnTo>
                    <a:pt x="1138843" y="315883"/>
                  </a:lnTo>
                  <a:lnTo>
                    <a:pt x="2186248" y="315883"/>
                  </a:lnTo>
                  <a:lnTo>
                    <a:pt x="2568634" y="698269"/>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96" name="Freeform 95">
              <a:extLst>
                <a:ext uri="{FF2B5EF4-FFF2-40B4-BE49-F238E27FC236}">
                  <a16:creationId xmlns:a16="http://schemas.microsoft.com/office/drawing/2014/main" id="{E1B2F581-5399-4C40-BF86-05E4D9487BB4}"/>
                </a:ext>
              </a:extLst>
            </p:cNvPr>
            <p:cNvSpPr/>
            <p:nvPr/>
          </p:nvSpPr>
          <p:spPr bwMode="auto">
            <a:xfrm>
              <a:off x="2449900" y="3597842"/>
              <a:ext cx="2882160" cy="386298"/>
            </a:xfrm>
            <a:custGeom>
              <a:avLst/>
              <a:gdLst>
                <a:gd name="connsiteX0" fmla="*/ 0 w 3129699"/>
                <a:gd name="connsiteY0" fmla="*/ 386499 h 386499"/>
                <a:gd name="connsiteX1" fmla="*/ 829559 w 3129699"/>
                <a:gd name="connsiteY1" fmla="*/ 386499 h 386499"/>
                <a:gd name="connsiteX2" fmla="*/ 1216058 w 3129699"/>
                <a:gd name="connsiteY2" fmla="*/ 0 h 386499"/>
                <a:gd name="connsiteX3" fmla="*/ 3129699 w 3129699"/>
                <a:gd name="connsiteY3" fmla="*/ 0 h 386499"/>
                <a:gd name="connsiteX0" fmla="*/ 0 w 2877120"/>
                <a:gd name="connsiteY0" fmla="*/ 386499 h 386499"/>
                <a:gd name="connsiteX1" fmla="*/ 829559 w 2877120"/>
                <a:gd name="connsiteY1" fmla="*/ 386499 h 386499"/>
                <a:gd name="connsiteX2" fmla="*/ 1216058 w 2877120"/>
                <a:gd name="connsiteY2" fmla="*/ 0 h 386499"/>
                <a:gd name="connsiteX3" fmla="*/ 2877120 w 2877120"/>
                <a:gd name="connsiteY3" fmla="*/ 0 h 386499"/>
              </a:gdLst>
              <a:ahLst/>
              <a:cxnLst>
                <a:cxn ang="0">
                  <a:pos x="connsiteX0" y="connsiteY0"/>
                </a:cxn>
                <a:cxn ang="0">
                  <a:pos x="connsiteX1" y="connsiteY1"/>
                </a:cxn>
                <a:cxn ang="0">
                  <a:pos x="connsiteX2" y="connsiteY2"/>
                </a:cxn>
                <a:cxn ang="0">
                  <a:pos x="connsiteX3" y="connsiteY3"/>
                </a:cxn>
              </a:cxnLst>
              <a:rect l="l" t="t" r="r" b="b"/>
              <a:pathLst>
                <a:path w="2877120" h="386499">
                  <a:moveTo>
                    <a:pt x="0" y="386499"/>
                  </a:moveTo>
                  <a:lnTo>
                    <a:pt x="829559" y="386499"/>
                  </a:lnTo>
                  <a:lnTo>
                    <a:pt x="1216058" y="0"/>
                  </a:lnTo>
                  <a:lnTo>
                    <a:pt x="2877120" y="0"/>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97" name="Freeform 96">
              <a:extLst>
                <a:ext uri="{FF2B5EF4-FFF2-40B4-BE49-F238E27FC236}">
                  <a16:creationId xmlns:a16="http://schemas.microsoft.com/office/drawing/2014/main" id="{37B6C0DF-9FC8-4342-BB6F-14397AF3DA7A}"/>
                </a:ext>
              </a:extLst>
            </p:cNvPr>
            <p:cNvSpPr/>
            <p:nvPr/>
          </p:nvSpPr>
          <p:spPr bwMode="auto">
            <a:xfrm>
              <a:off x="3005791" y="3635434"/>
              <a:ext cx="452251" cy="179016"/>
            </a:xfrm>
            <a:custGeom>
              <a:avLst/>
              <a:gdLst>
                <a:gd name="connsiteX0" fmla="*/ 0 w 452487"/>
                <a:gd name="connsiteY0" fmla="*/ 0 h 179109"/>
                <a:gd name="connsiteX1" fmla="*/ 273378 w 452487"/>
                <a:gd name="connsiteY1" fmla="*/ 0 h 179109"/>
                <a:gd name="connsiteX2" fmla="*/ 452487 w 452487"/>
                <a:gd name="connsiteY2" fmla="*/ 179109 h 179109"/>
              </a:gdLst>
              <a:ahLst/>
              <a:cxnLst>
                <a:cxn ang="0">
                  <a:pos x="connsiteX0" y="connsiteY0"/>
                </a:cxn>
                <a:cxn ang="0">
                  <a:pos x="connsiteX1" y="connsiteY1"/>
                </a:cxn>
                <a:cxn ang="0">
                  <a:pos x="connsiteX2" y="connsiteY2"/>
                </a:cxn>
              </a:cxnLst>
              <a:rect l="l" t="t" r="r" b="b"/>
              <a:pathLst>
                <a:path w="452487" h="179109">
                  <a:moveTo>
                    <a:pt x="0" y="0"/>
                  </a:moveTo>
                  <a:lnTo>
                    <a:pt x="273378" y="0"/>
                  </a:lnTo>
                  <a:lnTo>
                    <a:pt x="452487" y="179109"/>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98" name="Freeform 97">
              <a:extLst>
                <a:ext uri="{FF2B5EF4-FFF2-40B4-BE49-F238E27FC236}">
                  <a16:creationId xmlns:a16="http://schemas.microsoft.com/office/drawing/2014/main" id="{09DECEF8-223B-BC4B-84FD-C761173E06AB}"/>
                </a:ext>
              </a:extLst>
            </p:cNvPr>
            <p:cNvSpPr/>
            <p:nvPr/>
          </p:nvSpPr>
          <p:spPr bwMode="auto">
            <a:xfrm>
              <a:off x="4799721" y="3597232"/>
              <a:ext cx="482349" cy="208172"/>
            </a:xfrm>
            <a:custGeom>
              <a:avLst/>
              <a:gdLst>
                <a:gd name="connsiteX0" fmla="*/ 0 w 482600"/>
                <a:gd name="connsiteY0" fmla="*/ 208280 h 208280"/>
                <a:gd name="connsiteX1" fmla="*/ 259080 w 482600"/>
                <a:gd name="connsiteY1" fmla="*/ 203200 h 208280"/>
                <a:gd name="connsiteX2" fmla="*/ 482600 w 482600"/>
                <a:gd name="connsiteY2" fmla="*/ 0 h 208280"/>
              </a:gdLst>
              <a:ahLst/>
              <a:cxnLst>
                <a:cxn ang="0">
                  <a:pos x="connsiteX0" y="connsiteY0"/>
                </a:cxn>
                <a:cxn ang="0">
                  <a:pos x="connsiteX1" y="connsiteY1"/>
                </a:cxn>
                <a:cxn ang="0">
                  <a:pos x="connsiteX2" y="connsiteY2"/>
                </a:cxn>
              </a:cxnLst>
              <a:rect l="l" t="t" r="r" b="b"/>
              <a:pathLst>
                <a:path w="482600" h="208280">
                  <a:moveTo>
                    <a:pt x="0" y="208280"/>
                  </a:moveTo>
                  <a:lnTo>
                    <a:pt x="259080" y="203200"/>
                  </a:lnTo>
                  <a:lnTo>
                    <a:pt x="482600" y="0"/>
                  </a:lnTo>
                </a:path>
              </a:pathLst>
            </a:custGeom>
            <a:noFill/>
            <a:ln w="22225">
              <a:solidFill>
                <a:schemeClr val="accent2"/>
              </a:solidFill>
              <a:prstDash val="solid"/>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99" name="Freeform 98">
              <a:extLst>
                <a:ext uri="{FF2B5EF4-FFF2-40B4-BE49-F238E27FC236}">
                  <a16:creationId xmlns:a16="http://schemas.microsoft.com/office/drawing/2014/main" id="{9E5FF257-D650-C642-9BF9-E91B70D9FA1D}"/>
                </a:ext>
              </a:extLst>
            </p:cNvPr>
            <p:cNvSpPr/>
            <p:nvPr/>
          </p:nvSpPr>
          <p:spPr bwMode="auto">
            <a:xfrm>
              <a:off x="2443828" y="3972956"/>
              <a:ext cx="3010872" cy="416343"/>
            </a:xfrm>
            <a:custGeom>
              <a:avLst/>
              <a:gdLst>
                <a:gd name="connsiteX0" fmla="*/ 3012440 w 3012440"/>
                <a:gd name="connsiteY0" fmla="*/ 0 h 416560"/>
                <a:gd name="connsiteX1" fmla="*/ 1203960 w 3012440"/>
                <a:gd name="connsiteY1" fmla="*/ 0 h 416560"/>
                <a:gd name="connsiteX2" fmla="*/ 787400 w 3012440"/>
                <a:gd name="connsiteY2" fmla="*/ 416560 h 416560"/>
                <a:gd name="connsiteX3" fmla="*/ 731520 w 3012440"/>
                <a:gd name="connsiteY3" fmla="*/ 416560 h 416560"/>
                <a:gd name="connsiteX4" fmla="*/ 0 w 3012440"/>
                <a:gd name="connsiteY4" fmla="*/ 416560 h 416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2440" h="416560">
                  <a:moveTo>
                    <a:pt x="3012440" y="0"/>
                  </a:moveTo>
                  <a:lnTo>
                    <a:pt x="1203960" y="0"/>
                  </a:lnTo>
                  <a:lnTo>
                    <a:pt x="787400" y="416560"/>
                  </a:lnTo>
                  <a:lnTo>
                    <a:pt x="731520" y="416560"/>
                  </a:lnTo>
                  <a:lnTo>
                    <a:pt x="0" y="416560"/>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00" name="Freeform 99">
              <a:extLst>
                <a:ext uri="{FF2B5EF4-FFF2-40B4-BE49-F238E27FC236}">
                  <a16:creationId xmlns:a16="http://schemas.microsoft.com/office/drawing/2014/main" id="{5799BE6B-F6E3-DB4A-8A14-AD3372176FF1}"/>
                </a:ext>
              </a:extLst>
            </p:cNvPr>
            <p:cNvSpPr/>
            <p:nvPr/>
          </p:nvSpPr>
          <p:spPr bwMode="auto">
            <a:xfrm>
              <a:off x="3096659" y="4067473"/>
              <a:ext cx="2258447" cy="1080891"/>
            </a:xfrm>
            <a:custGeom>
              <a:avLst/>
              <a:gdLst>
                <a:gd name="connsiteX0" fmla="*/ 2259623 w 2259623"/>
                <a:gd name="connsiteY0" fmla="*/ 0 h 1081454"/>
                <a:gd name="connsiteX1" fmla="*/ 1178169 w 2259623"/>
                <a:gd name="connsiteY1" fmla="*/ 1081454 h 1081454"/>
                <a:gd name="connsiteX2" fmla="*/ 0 w 2259623"/>
                <a:gd name="connsiteY2" fmla="*/ 1081454 h 1081454"/>
              </a:gdLst>
              <a:ahLst/>
              <a:cxnLst>
                <a:cxn ang="0">
                  <a:pos x="connsiteX0" y="connsiteY0"/>
                </a:cxn>
                <a:cxn ang="0">
                  <a:pos x="connsiteX1" y="connsiteY1"/>
                </a:cxn>
                <a:cxn ang="0">
                  <a:pos x="connsiteX2" y="connsiteY2"/>
                </a:cxn>
              </a:cxnLst>
              <a:rect l="l" t="t" r="r" b="b"/>
              <a:pathLst>
                <a:path w="2259623" h="1081454">
                  <a:moveTo>
                    <a:pt x="2259623" y="0"/>
                  </a:moveTo>
                  <a:lnTo>
                    <a:pt x="1178169" y="1081454"/>
                  </a:lnTo>
                  <a:lnTo>
                    <a:pt x="0" y="1081454"/>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02" name="Freeform 101">
              <a:extLst>
                <a:ext uri="{FF2B5EF4-FFF2-40B4-BE49-F238E27FC236}">
                  <a16:creationId xmlns:a16="http://schemas.microsoft.com/office/drawing/2014/main" id="{5FAE60FF-2D77-8F48-AC43-65095D29B5C2}"/>
                </a:ext>
              </a:extLst>
            </p:cNvPr>
            <p:cNvSpPr/>
            <p:nvPr/>
          </p:nvSpPr>
          <p:spPr bwMode="auto">
            <a:xfrm>
              <a:off x="2527374" y="5148364"/>
              <a:ext cx="1275340" cy="411266"/>
            </a:xfrm>
            <a:custGeom>
              <a:avLst/>
              <a:gdLst>
                <a:gd name="connsiteX0" fmla="*/ 0 w 1276004"/>
                <a:gd name="connsiteY0" fmla="*/ 411480 h 411480"/>
                <a:gd name="connsiteX1" fmla="*/ 864524 w 1276004"/>
                <a:gd name="connsiteY1" fmla="*/ 411480 h 411480"/>
                <a:gd name="connsiteX2" fmla="*/ 1276004 w 1276004"/>
                <a:gd name="connsiteY2" fmla="*/ 0 h 411480"/>
              </a:gdLst>
              <a:ahLst/>
              <a:cxnLst>
                <a:cxn ang="0">
                  <a:pos x="connsiteX0" y="connsiteY0"/>
                </a:cxn>
                <a:cxn ang="0">
                  <a:pos x="connsiteX1" y="connsiteY1"/>
                </a:cxn>
                <a:cxn ang="0">
                  <a:pos x="connsiteX2" y="connsiteY2"/>
                </a:cxn>
              </a:cxnLst>
              <a:rect l="l" t="t" r="r" b="b"/>
              <a:pathLst>
                <a:path w="1276004" h="411480">
                  <a:moveTo>
                    <a:pt x="0" y="411480"/>
                  </a:moveTo>
                  <a:lnTo>
                    <a:pt x="864524" y="411480"/>
                  </a:lnTo>
                  <a:lnTo>
                    <a:pt x="1276004" y="0"/>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03" name="Freeform 102">
              <a:extLst>
                <a:ext uri="{FF2B5EF4-FFF2-40B4-BE49-F238E27FC236}">
                  <a16:creationId xmlns:a16="http://schemas.microsoft.com/office/drawing/2014/main" id="{E38276D7-DBEB-FA43-BC8B-6373A0D89216}"/>
                </a:ext>
              </a:extLst>
            </p:cNvPr>
            <p:cNvSpPr/>
            <p:nvPr/>
          </p:nvSpPr>
          <p:spPr bwMode="auto">
            <a:xfrm>
              <a:off x="5534245" y="1828619"/>
              <a:ext cx="480656" cy="1388970"/>
            </a:xfrm>
            <a:custGeom>
              <a:avLst/>
              <a:gdLst>
                <a:gd name="connsiteX0" fmla="*/ 0 w 480906"/>
                <a:gd name="connsiteY0" fmla="*/ 0 h 1466426"/>
                <a:gd name="connsiteX1" fmla="*/ 480906 w 480906"/>
                <a:gd name="connsiteY1" fmla="*/ 480906 h 1466426"/>
                <a:gd name="connsiteX2" fmla="*/ 480906 w 480906"/>
                <a:gd name="connsiteY2" fmla="*/ 1466426 h 1466426"/>
                <a:gd name="connsiteX0" fmla="*/ 0 w 480906"/>
                <a:gd name="connsiteY0" fmla="*/ 0 h 1389693"/>
                <a:gd name="connsiteX1" fmla="*/ 480906 w 480906"/>
                <a:gd name="connsiteY1" fmla="*/ 480906 h 1389693"/>
                <a:gd name="connsiteX2" fmla="*/ 480906 w 480906"/>
                <a:gd name="connsiteY2" fmla="*/ 1389693 h 1389693"/>
              </a:gdLst>
              <a:ahLst/>
              <a:cxnLst>
                <a:cxn ang="0">
                  <a:pos x="connsiteX0" y="connsiteY0"/>
                </a:cxn>
                <a:cxn ang="0">
                  <a:pos x="connsiteX1" y="connsiteY1"/>
                </a:cxn>
                <a:cxn ang="0">
                  <a:pos x="connsiteX2" y="connsiteY2"/>
                </a:cxn>
              </a:cxnLst>
              <a:rect l="l" t="t" r="r" b="b"/>
              <a:pathLst>
                <a:path w="480906" h="1389693">
                  <a:moveTo>
                    <a:pt x="0" y="0"/>
                  </a:moveTo>
                  <a:lnTo>
                    <a:pt x="480906" y="480906"/>
                  </a:lnTo>
                  <a:lnTo>
                    <a:pt x="480906" y="1389693"/>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04" name="Freeform 103">
              <a:extLst>
                <a:ext uri="{FF2B5EF4-FFF2-40B4-BE49-F238E27FC236}">
                  <a16:creationId xmlns:a16="http://schemas.microsoft.com/office/drawing/2014/main" id="{F66F149C-6338-BF41-8404-CCDEE35C024C}"/>
                </a:ext>
              </a:extLst>
            </p:cNvPr>
            <p:cNvSpPr/>
            <p:nvPr/>
          </p:nvSpPr>
          <p:spPr bwMode="auto">
            <a:xfrm>
              <a:off x="5429904" y="4188013"/>
              <a:ext cx="398513" cy="658876"/>
            </a:xfrm>
            <a:custGeom>
              <a:avLst/>
              <a:gdLst>
                <a:gd name="connsiteX0" fmla="*/ 398721 w 398721"/>
                <a:gd name="connsiteY0" fmla="*/ 0 h 659219"/>
                <a:gd name="connsiteX1" fmla="*/ 0 w 398721"/>
                <a:gd name="connsiteY1" fmla="*/ 398721 h 659219"/>
                <a:gd name="connsiteX2" fmla="*/ 0 w 398721"/>
                <a:gd name="connsiteY2" fmla="*/ 659219 h 659219"/>
              </a:gdLst>
              <a:ahLst/>
              <a:cxnLst>
                <a:cxn ang="0">
                  <a:pos x="connsiteX0" y="connsiteY0"/>
                </a:cxn>
                <a:cxn ang="0">
                  <a:pos x="connsiteX1" y="connsiteY1"/>
                </a:cxn>
                <a:cxn ang="0">
                  <a:pos x="connsiteX2" y="connsiteY2"/>
                </a:cxn>
              </a:cxnLst>
              <a:rect l="l" t="t" r="r" b="b"/>
              <a:pathLst>
                <a:path w="398721" h="659219">
                  <a:moveTo>
                    <a:pt x="398721" y="0"/>
                  </a:moveTo>
                  <a:lnTo>
                    <a:pt x="0" y="398721"/>
                  </a:lnTo>
                  <a:lnTo>
                    <a:pt x="0" y="659219"/>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07" name="Freeform 106">
              <a:extLst>
                <a:ext uri="{FF2B5EF4-FFF2-40B4-BE49-F238E27FC236}">
                  <a16:creationId xmlns:a16="http://schemas.microsoft.com/office/drawing/2014/main" id="{3EA5E0E4-ACBE-9042-B5D4-697663728D87}"/>
                </a:ext>
              </a:extLst>
            </p:cNvPr>
            <p:cNvSpPr/>
            <p:nvPr/>
          </p:nvSpPr>
          <p:spPr bwMode="auto">
            <a:xfrm>
              <a:off x="8817874" y="2339103"/>
              <a:ext cx="1227422" cy="345379"/>
            </a:xfrm>
            <a:custGeom>
              <a:avLst/>
              <a:gdLst>
                <a:gd name="connsiteX0" fmla="*/ 0 w 2998381"/>
                <a:gd name="connsiteY0" fmla="*/ 1254642 h 1254642"/>
                <a:gd name="connsiteX1" fmla="*/ 909083 w 2998381"/>
                <a:gd name="connsiteY1" fmla="*/ 345559 h 1254642"/>
                <a:gd name="connsiteX2" fmla="*/ 1770320 w 2998381"/>
                <a:gd name="connsiteY2" fmla="*/ 345559 h 1254642"/>
                <a:gd name="connsiteX3" fmla="*/ 2115879 w 2998381"/>
                <a:gd name="connsiteY3" fmla="*/ 0 h 1254642"/>
                <a:gd name="connsiteX4" fmla="*/ 2174358 w 2998381"/>
                <a:gd name="connsiteY4" fmla="*/ 0 h 1254642"/>
                <a:gd name="connsiteX5" fmla="*/ 2998381 w 2998381"/>
                <a:gd name="connsiteY5" fmla="*/ 0 h 1254642"/>
                <a:gd name="connsiteX0" fmla="*/ 0 w 2089298"/>
                <a:gd name="connsiteY0" fmla="*/ 345559 h 345559"/>
                <a:gd name="connsiteX1" fmla="*/ 861237 w 2089298"/>
                <a:gd name="connsiteY1" fmla="*/ 345559 h 345559"/>
                <a:gd name="connsiteX2" fmla="*/ 1206796 w 2089298"/>
                <a:gd name="connsiteY2" fmla="*/ 0 h 345559"/>
                <a:gd name="connsiteX3" fmla="*/ 1265275 w 2089298"/>
                <a:gd name="connsiteY3" fmla="*/ 0 h 345559"/>
                <a:gd name="connsiteX4" fmla="*/ 2089298 w 2089298"/>
                <a:gd name="connsiteY4" fmla="*/ 0 h 345559"/>
                <a:gd name="connsiteX0" fmla="*/ 0 w 1228061"/>
                <a:gd name="connsiteY0" fmla="*/ 345559 h 345559"/>
                <a:gd name="connsiteX1" fmla="*/ 345559 w 1228061"/>
                <a:gd name="connsiteY1" fmla="*/ 0 h 345559"/>
                <a:gd name="connsiteX2" fmla="*/ 404038 w 1228061"/>
                <a:gd name="connsiteY2" fmla="*/ 0 h 345559"/>
                <a:gd name="connsiteX3" fmla="*/ 1228061 w 1228061"/>
                <a:gd name="connsiteY3" fmla="*/ 0 h 345559"/>
              </a:gdLst>
              <a:ahLst/>
              <a:cxnLst>
                <a:cxn ang="0">
                  <a:pos x="connsiteX0" y="connsiteY0"/>
                </a:cxn>
                <a:cxn ang="0">
                  <a:pos x="connsiteX1" y="connsiteY1"/>
                </a:cxn>
                <a:cxn ang="0">
                  <a:pos x="connsiteX2" y="connsiteY2"/>
                </a:cxn>
                <a:cxn ang="0">
                  <a:pos x="connsiteX3" y="connsiteY3"/>
                </a:cxn>
              </a:cxnLst>
              <a:rect l="l" t="t" r="r" b="b"/>
              <a:pathLst>
                <a:path w="1228061" h="345559">
                  <a:moveTo>
                    <a:pt x="0" y="345559"/>
                  </a:moveTo>
                  <a:lnTo>
                    <a:pt x="345559" y="0"/>
                  </a:lnTo>
                  <a:lnTo>
                    <a:pt x="404038" y="0"/>
                  </a:lnTo>
                  <a:lnTo>
                    <a:pt x="1228061" y="0"/>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08" name="Freeform 107">
              <a:extLst>
                <a:ext uri="{FF2B5EF4-FFF2-40B4-BE49-F238E27FC236}">
                  <a16:creationId xmlns:a16="http://schemas.microsoft.com/office/drawing/2014/main" id="{EFE7DB5A-A804-974C-B6B2-81FA65F77EBB}"/>
                </a:ext>
              </a:extLst>
            </p:cNvPr>
            <p:cNvSpPr/>
            <p:nvPr/>
          </p:nvSpPr>
          <p:spPr bwMode="auto">
            <a:xfrm>
              <a:off x="6955702" y="2686552"/>
              <a:ext cx="2479034" cy="886281"/>
            </a:xfrm>
            <a:custGeom>
              <a:avLst/>
              <a:gdLst>
                <a:gd name="connsiteX0" fmla="*/ 0 w 2435225"/>
                <a:gd name="connsiteY0" fmla="*/ 873125 h 873125"/>
                <a:gd name="connsiteX1" fmla="*/ 873125 w 2435225"/>
                <a:gd name="connsiteY1" fmla="*/ 0 h 873125"/>
                <a:gd name="connsiteX2" fmla="*/ 908050 w 2435225"/>
                <a:gd name="connsiteY2" fmla="*/ 0 h 873125"/>
                <a:gd name="connsiteX3" fmla="*/ 2435225 w 2435225"/>
                <a:gd name="connsiteY3" fmla="*/ 0 h 873125"/>
              </a:gdLst>
              <a:ahLst/>
              <a:cxnLst>
                <a:cxn ang="0">
                  <a:pos x="connsiteX0" y="connsiteY0"/>
                </a:cxn>
                <a:cxn ang="0">
                  <a:pos x="connsiteX1" y="connsiteY1"/>
                </a:cxn>
                <a:cxn ang="0">
                  <a:pos x="connsiteX2" y="connsiteY2"/>
                </a:cxn>
                <a:cxn ang="0">
                  <a:pos x="connsiteX3" y="connsiteY3"/>
                </a:cxn>
              </a:cxnLst>
              <a:rect l="l" t="t" r="r" b="b"/>
              <a:pathLst>
                <a:path w="2435225" h="873125">
                  <a:moveTo>
                    <a:pt x="0" y="873125"/>
                  </a:moveTo>
                  <a:lnTo>
                    <a:pt x="873125" y="0"/>
                  </a:lnTo>
                  <a:lnTo>
                    <a:pt x="908050" y="0"/>
                  </a:lnTo>
                  <a:lnTo>
                    <a:pt x="2435225" y="0"/>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13" name="Freeform 112">
              <a:extLst>
                <a:ext uri="{FF2B5EF4-FFF2-40B4-BE49-F238E27FC236}">
                  <a16:creationId xmlns:a16="http://schemas.microsoft.com/office/drawing/2014/main" id="{65BF948E-DE2E-6549-8F51-95F7E068E6FD}"/>
                </a:ext>
              </a:extLst>
            </p:cNvPr>
            <p:cNvSpPr/>
            <p:nvPr/>
          </p:nvSpPr>
          <p:spPr bwMode="auto">
            <a:xfrm>
              <a:off x="6972829" y="3202759"/>
              <a:ext cx="3114111" cy="406188"/>
            </a:xfrm>
            <a:custGeom>
              <a:avLst/>
              <a:gdLst>
                <a:gd name="connsiteX0" fmla="*/ 3115733 w 3115733"/>
                <a:gd name="connsiteY0" fmla="*/ 0 h 406400"/>
                <a:gd name="connsiteX1" fmla="*/ 2370667 w 3115733"/>
                <a:gd name="connsiteY1" fmla="*/ 6773 h 406400"/>
                <a:gd name="connsiteX2" fmla="*/ 1971040 w 3115733"/>
                <a:gd name="connsiteY2" fmla="*/ 406400 h 406400"/>
                <a:gd name="connsiteX3" fmla="*/ 0 w 3115733"/>
                <a:gd name="connsiteY3" fmla="*/ 406400 h 406400"/>
              </a:gdLst>
              <a:ahLst/>
              <a:cxnLst>
                <a:cxn ang="0">
                  <a:pos x="connsiteX0" y="connsiteY0"/>
                </a:cxn>
                <a:cxn ang="0">
                  <a:pos x="connsiteX1" y="connsiteY1"/>
                </a:cxn>
                <a:cxn ang="0">
                  <a:pos x="connsiteX2" y="connsiteY2"/>
                </a:cxn>
                <a:cxn ang="0">
                  <a:pos x="connsiteX3" y="connsiteY3"/>
                </a:cxn>
              </a:cxnLst>
              <a:rect l="l" t="t" r="r" b="b"/>
              <a:pathLst>
                <a:path w="3115733" h="406400">
                  <a:moveTo>
                    <a:pt x="3115733" y="0"/>
                  </a:moveTo>
                  <a:lnTo>
                    <a:pt x="2370667" y="6773"/>
                  </a:lnTo>
                  <a:lnTo>
                    <a:pt x="1971040" y="406400"/>
                  </a:lnTo>
                  <a:lnTo>
                    <a:pt x="0" y="406400"/>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14" name="Freeform 113">
              <a:extLst>
                <a:ext uri="{FF2B5EF4-FFF2-40B4-BE49-F238E27FC236}">
                  <a16:creationId xmlns:a16="http://schemas.microsoft.com/office/drawing/2014/main" id="{7BCC7EE0-892E-DF49-9A4B-217E9EE1B81E}"/>
                </a:ext>
              </a:extLst>
            </p:cNvPr>
            <p:cNvSpPr/>
            <p:nvPr/>
          </p:nvSpPr>
          <p:spPr bwMode="auto">
            <a:xfrm>
              <a:off x="6986369" y="3582951"/>
              <a:ext cx="2911017" cy="385879"/>
            </a:xfrm>
            <a:custGeom>
              <a:avLst/>
              <a:gdLst>
                <a:gd name="connsiteX0" fmla="*/ 0 w 2912533"/>
                <a:gd name="connsiteY0" fmla="*/ 386080 h 386080"/>
                <a:gd name="connsiteX1" fmla="*/ 1774613 w 2912533"/>
                <a:gd name="connsiteY1" fmla="*/ 386080 h 386080"/>
                <a:gd name="connsiteX2" fmla="*/ 2160693 w 2912533"/>
                <a:gd name="connsiteY2" fmla="*/ 0 h 386080"/>
                <a:gd name="connsiteX3" fmla="*/ 2912533 w 2912533"/>
                <a:gd name="connsiteY3" fmla="*/ 0 h 386080"/>
              </a:gdLst>
              <a:ahLst/>
              <a:cxnLst>
                <a:cxn ang="0">
                  <a:pos x="connsiteX0" y="connsiteY0"/>
                </a:cxn>
                <a:cxn ang="0">
                  <a:pos x="connsiteX1" y="connsiteY1"/>
                </a:cxn>
                <a:cxn ang="0">
                  <a:pos x="connsiteX2" y="connsiteY2"/>
                </a:cxn>
                <a:cxn ang="0">
                  <a:pos x="connsiteX3" y="connsiteY3"/>
                </a:cxn>
              </a:cxnLst>
              <a:rect l="l" t="t" r="r" b="b"/>
              <a:pathLst>
                <a:path w="2912533" h="386080">
                  <a:moveTo>
                    <a:pt x="0" y="386080"/>
                  </a:moveTo>
                  <a:lnTo>
                    <a:pt x="1774613" y="386080"/>
                  </a:lnTo>
                  <a:lnTo>
                    <a:pt x="2160693" y="0"/>
                  </a:lnTo>
                  <a:lnTo>
                    <a:pt x="2912533" y="0"/>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15" name="Freeform 114">
              <a:extLst>
                <a:ext uri="{FF2B5EF4-FFF2-40B4-BE49-F238E27FC236}">
                  <a16:creationId xmlns:a16="http://schemas.microsoft.com/office/drawing/2014/main" id="{1082A796-98B0-C142-8865-722BD17399EA}"/>
                </a:ext>
              </a:extLst>
            </p:cNvPr>
            <p:cNvSpPr/>
            <p:nvPr/>
          </p:nvSpPr>
          <p:spPr bwMode="auto">
            <a:xfrm>
              <a:off x="8976692" y="3744306"/>
              <a:ext cx="494196" cy="230173"/>
            </a:xfrm>
            <a:custGeom>
              <a:avLst/>
              <a:gdLst>
                <a:gd name="connsiteX0" fmla="*/ 0 w 494453"/>
                <a:gd name="connsiteY0" fmla="*/ 0 h 230293"/>
                <a:gd name="connsiteX1" fmla="*/ 230293 w 494453"/>
                <a:gd name="connsiteY1" fmla="*/ 230293 h 230293"/>
                <a:gd name="connsiteX2" fmla="*/ 494453 w 494453"/>
                <a:gd name="connsiteY2" fmla="*/ 230293 h 230293"/>
              </a:gdLst>
              <a:ahLst/>
              <a:cxnLst>
                <a:cxn ang="0">
                  <a:pos x="connsiteX0" y="connsiteY0"/>
                </a:cxn>
                <a:cxn ang="0">
                  <a:pos x="connsiteX1" y="connsiteY1"/>
                </a:cxn>
                <a:cxn ang="0">
                  <a:pos x="connsiteX2" y="connsiteY2"/>
                </a:cxn>
              </a:cxnLst>
              <a:rect l="l" t="t" r="r" b="b"/>
              <a:pathLst>
                <a:path w="494453" h="230293">
                  <a:moveTo>
                    <a:pt x="0" y="0"/>
                  </a:moveTo>
                  <a:lnTo>
                    <a:pt x="230293" y="230293"/>
                  </a:lnTo>
                  <a:lnTo>
                    <a:pt x="494453" y="230293"/>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16" name="Freeform 115">
              <a:extLst>
                <a:ext uri="{FF2B5EF4-FFF2-40B4-BE49-F238E27FC236}">
                  <a16:creationId xmlns:a16="http://schemas.microsoft.com/office/drawing/2014/main" id="{9DF52815-81FC-004F-A518-64615D4B411E}"/>
                </a:ext>
              </a:extLst>
            </p:cNvPr>
            <p:cNvSpPr/>
            <p:nvPr/>
          </p:nvSpPr>
          <p:spPr bwMode="auto">
            <a:xfrm>
              <a:off x="7039041" y="3963142"/>
              <a:ext cx="2992254" cy="1265954"/>
            </a:xfrm>
            <a:custGeom>
              <a:avLst/>
              <a:gdLst>
                <a:gd name="connsiteX0" fmla="*/ 0 w 2993813"/>
                <a:gd name="connsiteY0" fmla="*/ 0 h 1266613"/>
                <a:gd name="connsiteX1" fmla="*/ 927946 w 2993813"/>
                <a:gd name="connsiteY1" fmla="*/ 927946 h 1266613"/>
                <a:gd name="connsiteX2" fmla="*/ 1754293 w 2993813"/>
                <a:gd name="connsiteY2" fmla="*/ 927946 h 1266613"/>
                <a:gd name="connsiteX3" fmla="*/ 2092960 w 2993813"/>
                <a:gd name="connsiteY3" fmla="*/ 1266613 h 1266613"/>
                <a:gd name="connsiteX4" fmla="*/ 2993813 w 2993813"/>
                <a:gd name="connsiteY4" fmla="*/ 1266613 h 1266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3813" h="1266613">
                  <a:moveTo>
                    <a:pt x="0" y="0"/>
                  </a:moveTo>
                  <a:lnTo>
                    <a:pt x="927946" y="927946"/>
                  </a:lnTo>
                  <a:lnTo>
                    <a:pt x="1754293" y="927946"/>
                  </a:lnTo>
                  <a:lnTo>
                    <a:pt x="2092960" y="1266613"/>
                  </a:lnTo>
                  <a:lnTo>
                    <a:pt x="2993813" y="1266613"/>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18" name="Freeform 117">
              <a:extLst>
                <a:ext uri="{FF2B5EF4-FFF2-40B4-BE49-F238E27FC236}">
                  <a16:creationId xmlns:a16="http://schemas.microsoft.com/office/drawing/2014/main" id="{E79E1BFC-673E-DD41-A556-A5F659A73A44}"/>
                </a:ext>
              </a:extLst>
            </p:cNvPr>
            <p:cNvSpPr/>
            <p:nvPr/>
          </p:nvSpPr>
          <p:spPr bwMode="auto">
            <a:xfrm>
              <a:off x="6618708" y="2680676"/>
              <a:ext cx="197202" cy="552166"/>
            </a:xfrm>
            <a:custGeom>
              <a:avLst/>
              <a:gdLst>
                <a:gd name="connsiteX0" fmla="*/ 0 w 181069"/>
                <a:gd name="connsiteY0" fmla="*/ 506994 h 506994"/>
                <a:gd name="connsiteX1" fmla="*/ 181069 w 181069"/>
                <a:gd name="connsiteY1" fmla="*/ 325925 h 506994"/>
                <a:gd name="connsiteX2" fmla="*/ 181069 w 181069"/>
                <a:gd name="connsiteY2" fmla="*/ 0 h 506994"/>
              </a:gdLst>
              <a:ahLst/>
              <a:cxnLst>
                <a:cxn ang="0">
                  <a:pos x="connsiteX0" y="connsiteY0"/>
                </a:cxn>
                <a:cxn ang="0">
                  <a:pos x="connsiteX1" y="connsiteY1"/>
                </a:cxn>
                <a:cxn ang="0">
                  <a:pos x="connsiteX2" y="connsiteY2"/>
                </a:cxn>
              </a:cxnLst>
              <a:rect l="l" t="t" r="r" b="b"/>
              <a:pathLst>
                <a:path w="181069" h="506994">
                  <a:moveTo>
                    <a:pt x="0" y="506994"/>
                  </a:moveTo>
                  <a:lnTo>
                    <a:pt x="181069" y="325925"/>
                  </a:lnTo>
                  <a:lnTo>
                    <a:pt x="181069" y="0"/>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17" name="Freeform 116">
              <a:extLst>
                <a:ext uri="{FF2B5EF4-FFF2-40B4-BE49-F238E27FC236}">
                  <a16:creationId xmlns:a16="http://schemas.microsoft.com/office/drawing/2014/main" id="{6F68C82C-7BC2-6D4E-9FFE-CA31FC4F155D}"/>
                </a:ext>
              </a:extLst>
            </p:cNvPr>
            <p:cNvSpPr/>
            <p:nvPr/>
          </p:nvSpPr>
          <p:spPr bwMode="auto">
            <a:xfrm>
              <a:off x="8942843" y="4875034"/>
              <a:ext cx="480657" cy="155705"/>
            </a:xfrm>
            <a:custGeom>
              <a:avLst/>
              <a:gdLst>
                <a:gd name="connsiteX0" fmla="*/ 0 w 480907"/>
                <a:gd name="connsiteY0" fmla="*/ 155786 h 155786"/>
                <a:gd name="connsiteX1" fmla="*/ 155786 w 480907"/>
                <a:gd name="connsiteY1" fmla="*/ 0 h 155786"/>
                <a:gd name="connsiteX2" fmla="*/ 480907 w 480907"/>
                <a:gd name="connsiteY2" fmla="*/ 0 h 155786"/>
              </a:gdLst>
              <a:ahLst/>
              <a:cxnLst>
                <a:cxn ang="0">
                  <a:pos x="connsiteX0" y="connsiteY0"/>
                </a:cxn>
                <a:cxn ang="0">
                  <a:pos x="connsiteX1" y="connsiteY1"/>
                </a:cxn>
                <a:cxn ang="0">
                  <a:pos x="connsiteX2" y="connsiteY2"/>
                </a:cxn>
              </a:cxnLst>
              <a:rect l="l" t="t" r="r" b="b"/>
              <a:pathLst>
                <a:path w="480907" h="155786">
                  <a:moveTo>
                    <a:pt x="0" y="155786"/>
                  </a:moveTo>
                  <a:lnTo>
                    <a:pt x="155786" y="0"/>
                  </a:lnTo>
                  <a:lnTo>
                    <a:pt x="480907" y="0"/>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grpSp>
      <p:sp>
        <p:nvSpPr>
          <p:cNvPr id="122" name="Rectangle 121">
            <a:extLst>
              <a:ext uri="{FF2B5EF4-FFF2-40B4-BE49-F238E27FC236}">
                <a16:creationId xmlns:a16="http://schemas.microsoft.com/office/drawing/2014/main" id="{BB3EEB47-0FAA-E148-BD7F-E4C0D85750C1}"/>
              </a:ext>
            </a:extLst>
          </p:cNvPr>
          <p:cNvSpPr/>
          <p:nvPr/>
        </p:nvSpPr>
        <p:spPr bwMode="auto">
          <a:xfrm>
            <a:off x="5327335" y="3211399"/>
            <a:ext cx="1666439" cy="1075301"/>
          </a:xfrm>
          <a:prstGeom prst="rect">
            <a:avLst/>
          </a:prstGeom>
          <a:solidFill>
            <a:srgbClr val="9999A9"/>
          </a:solidFill>
          <a:ln>
            <a:noFill/>
          </a:ln>
          <a:effectLst/>
        </p:spPr>
        <p:txBody>
          <a:bodyPr wrap="square" lIns="107944" tIns="53972" rIns="107944" bIns="53972" numCol="1" spcCol="72000" rtlCol="0" anchor="ctr">
            <a:noAutofit/>
          </a:bodyPr>
          <a:lstStyle/>
          <a:p>
            <a:pPr algn="ctr">
              <a:lnSpc>
                <a:spcPct val="110000"/>
              </a:lnSpc>
              <a:spcBef>
                <a:spcPct val="0"/>
              </a:spcBef>
            </a:pPr>
            <a:r>
              <a:rPr lang="en-US" sz="1799" b="1" dirty="0">
                <a:solidFill>
                  <a:schemeClr val="bg2"/>
                </a:solidFill>
              </a:rPr>
              <a:t>Lorem </a:t>
            </a:r>
            <a:br>
              <a:rPr lang="en-US" sz="1799" b="1" dirty="0">
                <a:solidFill>
                  <a:schemeClr val="bg2"/>
                </a:solidFill>
              </a:rPr>
            </a:br>
            <a:r>
              <a:rPr lang="en-US" sz="1799" b="1" dirty="0">
                <a:solidFill>
                  <a:schemeClr val="bg2"/>
                </a:solidFill>
              </a:rPr>
              <a:t>ipsum</a:t>
            </a:r>
          </a:p>
        </p:txBody>
      </p:sp>
      <p:grpSp>
        <p:nvGrpSpPr>
          <p:cNvPr id="4" name="Group 3"/>
          <p:cNvGrpSpPr/>
          <p:nvPr/>
        </p:nvGrpSpPr>
        <p:grpSpPr>
          <a:xfrm>
            <a:off x="410399" y="1704628"/>
            <a:ext cx="11376789" cy="4172342"/>
            <a:chOff x="363272" y="1697970"/>
            <a:chExt cx="11382714" cy="4174515"/>
          </a:xfrm>
        </p:grpSpPr>
        <p:sp>
          <p:nvSpPr>
            <p:cNvPr id="69" name="Textfeld 68"/>
            <p:cNvSpPr txBox="1"/>
            <p:nvPr/>
          </p:nvSpPr>
          <p:spPr bwMode="gray">
            <a:xfrm>
              <a:off x="10003186" y="2186697"/>
              <a:ext cx="1736445" cy="293721"/>
            </a:xfrm>
            <a:prstGeom prst="rect">
              <a:avLst/>
            </a:prstGeom>
            <a:noFill/>
          </p:spPr>
          <p:txBody>
            <a:bodyPr wrap="square" lIns="107944" tIns="53972" rIns="107944" bIns="53972" rtlCol="0" anchor="ctr">
              <a:spAutoFit/>
            </a:bodyPr>
            <a:lstStyle/>
            <a:p>
              <a:pPr>
                <a:tabLst>
                  <a:tab pos="0" algn="l"/>
                </a:tabLst>
              </a:pPr>
              <a:r>
                <a:rPr lang="en-US" sz="1199" dirty="0"/>
                <a:t>Lorem ipsum</a:t>
              </a:r>
              <a:endParaRPr lang="en-US" sz="1199" dirty="0">
                <a:ea typeface="Arial Unicode MS"/>
              </a:endParaRPr>
            </a:p>
          </p:txBody>
        </p:sp>
        <p:sp>
          <p:nvSpPr>
            <p:cNvPr id="71" name="Textfeld 70"/>
            <p:cNvSpPr txBox="1"/>
            <p:nvPr/>
          </p:nvSpPr>
          <p:spPr bwMode="gray">
            <a:xfrm>
              <a:off x="9855200" y="3427373"/>
              <a:ext cx="1890786" cy="293721"/>
            </a:xfrm>
            <a:prstGeom prst="rect">
              <a:avLst/>
            </a:prstGeom>
            <a:noFill/>
          </p:spPr>
          <p:txBody>
            <a:bodyPr wrap="square" lIns="107944" tIns="53972" rIns="107944" bIns="53972" rtlCol="0" anchor="ctr">
              <a:spAutoFit/>
            </a:bodyPr>
            <a:lstStyle/>
            <a:p>
              <a:pPr>
                <a:tabLst>
                  <a:tab pos="0" algn="l"/>
                </a:tabLst>
              </a:pPr>
              <a:r>
                <a:rPr lang="en-US" sz="1199" dirty="0"/>
                <a:t>Lorem ipsum dolor</a:t>
              </a:r>
              <a:endParaRPr lang="en-US" sz="1199" dirty="0">
                <a:ea typeface="Arial Unicode MS"/>
              </a:endParaRPr>
            </a:p>
          </p:txBody>
        </p:sp>
        <p:sp>
          <p:nvSpPr>
            <p:cNvPr id="73" name="Textfeld 72"/>
            <p:cNvSpPr txBox="1"/>
            <p:nvPr/>
          </p:nvSpPr>
          <p:spPr bwMode="gray">
            <a:xfrm>
              <a:off x="9984803" y="4509284"/>
              <a:ext cx="1761183" cy="293721"/>
            </a:xfrm>
            <a:prstGeom prst="rect">
              <a:avLst/>
            </a:prstGeom>
            <a:noFill/>
          </p:spPr>
          <p:txBody>
            <a:bodyPr wrap="square" lIns="107944" tIns="53972" rIns="107944" bIns="53972" rtlCol="0" anchor="ctr">
              <a:spAutoFit/>
            </a:bodyPr>
            <a:lstStyle/>
            <a:p>
              <a:pPr>
                <a:tabLst>
                  <a:tab pos="0" algn="l"/>
                </a:tabLst>
              </a:pPr>
              <a:r>
                <a:rPr lang="en-US" sz="1199" dirty="0">
                  <a:solidFill>
                    <a:srgbClr val="9999A9"/>
                  </a:solidFill>
                </a:rPr>
                <a:t>Lorem ipsum dolor</a:t>
              </a:r>
              <a:endParaRPr lang="en-US" sz="1199" dirty="0">
                <a:solidFill>
                  <a:srgbClr val="9999A9"/>
                </a:solidFill>
                <a:ea typeface="Arial Unicode MS"/>
              </a:endParaRPr>
            </a:p>
          </p:txBody>
        </p:sp>
        <p:sp>
          <p:nvSpPr>
            <p:cNvPr id="74" name="Textfeld 73"/>
            <p:cNvSpPr txBox="1"/>
            <p:nvPr/>
          </p:nvSpPr>
          <p:spPr bwMode="gray">
            <a:xfrm>
              <a:off x="9381067" y="4724455"/>
              <a:ext cx="2358564" cy="293721"/>
            </a:xfrm>
            <a:prstGeom prst="rect">
              <a:avLst/>
            </a:prstGeom>
            <a:noFill/>
          </p:spPr>
          <p:txBody>
            <a:bodyPr wrap="square" lIns="107944" tIns="53972" rIns="107944" bIns="53972" rtlCol="0" anchor="ctr">
              <a:spAutoFit/>
            </a:bodyPr>
            <a:lstStyle/>
            <a:p>
              <a:pPr>
                <a:tabLst>
                  <a:tab pos="0" algn="l"/>
                </a:tabLst>
              </a:pPr>
              <a:r>
                <a:rPr lang="en-US" sz="1199" dirty="0"/>
                <a:t>Lorem ipsum dolor amet</a:t>
              </a:r>
              <a:endParaRPr lang="en-US" sz="1199" dirty="0">
                <a:ea typeface="Arial Unicode MS"/>
              </a:endParaRPr>
            </a:p>
          </p:txBody>
        </p:sp>
        <p:sp>
          <p:nvSpPr>
            <p:cNvPr id="75" name="Textfeld 74"/>
            <p:cNvSpPr txBox="1"/>
            <p:nvPr/>
          </p:nvSpPr>
          <p:spPr bwMode="gray">
            <a:xfrm>
              <a:off x="9988919" y="5417629"/>
              <a:ext cx="1757067" cy="293721"/>
            </a:xfrm>
            <a:prstGeom prst="rect">
              <a:avLst/>
            </a:prstGeom>
            <a:noFill/>
          </p:spPr>
          <p:txBody>
            <a:bodyPr wrap="square" lIns="107944" tIns="53972" rIns="107944" bIns="53972" rtlCol="0" anchor="ctr">
              <a:spAutoFit/>
            </a:bodyPr>
            <a:lstStyle/>
            <a:p>
              <a:pPr>
                <a:tabLst>
                  <a:tab pos="0" algn="l"/>
                </a:tabLst>
              </a:pPr>
              <a:r>
                <a:rPr lang="en-US" sz="1199" dirty="0">
                  <a:solidFill>
                    <a:srgbClr val="9999A9"/>
                  </a:solidFill>
                </a:rPr>
                <a:t>Lorem ipsum</a:t>
              </a:r>
              <a:endParaRPr lang="en-US" sz="1199" dirty="0">
                <a:solidFill>
                  <a:srgbClr val="9999A9"/>
                </a:solidFill>
                <a:ea typeface="Arial Unicode MS"/>
              </a:endParaRPr>
            </a:p>
          </p:txBody>
        </p:sp>
        <p:sp>
          <p:nvSpPr>
            <p:cNvPr id="119" name="Textfeld 118"/>
            <p:cNvSpPr txBox="1"/>
            <p:nvPr/>
          </p:nvSpPr>
          <p:spPr bwMode="gray">
            <a:xfrm>
              <a:off x="9392309" y="2534898"/>
              <a:ext cx="2347322" cy="293721"/>
            </a:xfrm>
            <a:prstGeom prst="rect">
              <a:avLst/>
            </a:prstGeom>
            <a:noFill/>
          </p:spPr>
          <p:txBody>
            <a:bodyPr wrap="square" lIns="107944" tIns="53972" rIns="107944" bIns="53972" rtlCol="0" anchor="ctr">
              <a:spAutoFit/>
            </a:bodyPr>
            <a:lstStyle/>
            <a:p>
              <a:pPr>
                <a:defRPr/>
              </a:pPr>
              <a:r>
                <a:rPr lang="en-US" sz="1199" dirty="0"/>
                <a:t>Lorem ipsum dolor</a:t>
              </a:r>
              <a:endParaRPr lang="en-US" sz="1199" dirty="0">
                <a:ea typeface="Arial Unicode MS"/>
              </a:endParaRPr>
            </a:p>
          </p:txBody>
        </p:sp>
        <p:sp>
          <p:nvSpPr>
            <p:cNvPr id="120" name="Textfeld 119"/>
            <p:cNvSpPr txBox="1"/>
            <p:nvPr/>
          </p:nvSpPr>
          <p:spPr bwMode="gray">
            <a:xfrm>
              <a:off x="8050468" y="3086473"/>
              <a:ext cx="652524" cy="293721"/>
            </a:xfrm>
            <a:prstGeom prst="rect">
              <a:avLst/>
            </a:prstGeom>
            <a:noFill/>
          </p:spPr>
          <p:txBody>
            <a:bodyPr wrap="none" lIns="107944" tIns="53972" rIns="107944" bIns="53972" rtlCol="0" anchor="ctr">
              <a:spAutoFit/>
            </a:bodyPr>
            <a:lstStyle/>
            <a:p>
              <a:pPr>
                <a:tabLst>
                  <a:tab pos="0" algn="l"/>
                </a:tabLst>
              </a:pPr>
              <a:r>
                <a:rPr lang="en-US" sz="1199" dirty="0">
                  <a:solidFill>
                    <a:srgbClr val="9999A9"/>
                  </a:solidFill>
                </a:rPr>
                <a:t>Lorem</a:t>
              </a:r>
              <a:endParaRPr lang="en-US" sz="1199" dirty="0">
                <a:solidFill>
                  <a:srgbClr val="9999A9"/>
                </a:solidFill>
                <a:ea typeface="Arial Unicode MS"/>
              </a:endParaRPr>
            </a:p>
          </p:txBody>
        </p:sp>
        <p:sp>
          <p:nvSpPr>
            <p:cNvPr id="121" name="Textfeld 120"/>
            <p:cNvSpPr txBox="1"/>
            <p:nvPr/>
          </p:nvSpPr>
          <p:spPr bwMode="gray">
            <a:xfrm>
              <a:off x="9988919" y="5077413"/>
              <a:ext cx="1757067" cy="293721"/>
            </a:xfrm>
            <a:prstGeom prst="rect">
              <a:avLst/>
            </a:prstGeom>
            <a:noFill/>
          </p:spPr>
          <p:txBody>
            <a:bodyPr wrap="square" lIns="107944" tIns="53972" rIns="107944" bIns="53972" rtlCol="0" anchor="ctr">
              <a:spAutoFit/>
            </a:bodyPr>
            <a:lstStyle/>
            <a:p>
              <a:pPr>
                <a:tabLst>
                  <a:tab pos="0" algn="l"/>
                </a:tabLst>
              </a:pPr>
              <a:r>
                <a:rPr lang="en-US" sz="1199" dirty="0">
                  <a:ea typeface="Arial Unicode MS"/>
                </a:rPr>
                <a:t>Lorem ipsum dolor</a:t>
              </a:r>
            </a:p>
          </p:txBody>
        </p:sp>
        <p:sp>
          <p:nvSpPr>
            <p:cNvPr id="123" name="Textfeld 122"/>
            <p:cNvSpPr txBox="1"/>
            <p:nvPr/>
          </p:nvSpPr>
          <p:spPr bwMode="gray">
            <a:xfrm>
              <a:off x="9428480" y="3825651"/>
              <a:ext cx="2311151" cy="478387"/>
            </a:xfrm>
            <a:prstGeom prst="rect">
              <a:avLst/>
            </a:prstGeom>
            <a:noFill/>
          </p:spPr>
          <p:txBody>
            <a:bodyPr wrap="square" lIns="107944" tIns="53972" rIns="107944" bIns="53972" rtlCol="0" anchor="ctr">
              <a:spAutoFit/>
            </a:bodyPr>
            <a:lstStyle/>
            <a:p>
              <a:pPr>
                <a:tabLst>
                  <a:tab pos="0" algn="l"/>
                </a:tabLst>
              </a:pPr>
              <a:r>
                <a:rPr lang="en-US" sz="1199" dirty="0"/>
                <a:t>Lorem ipsum dolor sit amet, consectetur</a:t>
              </a:r>
              <a:endParaRPr lang="en-US" sz="1199" dirty="0">
                <a:ea typeface="Arial Unicode MS"/>
              </a:endParaRPr>
            </a:p>
          </p:txBody>
        </p:sp>
        <p:sp>
          <p:nvSpPr>
            <p:cNvPr id="130" name="Textfeld 129"/>
            <p:cNvSpPr txBox="1"/>
            <p:nvPr/>
          </p:nvSpPr>
          <p:spPr bwMode="gray">
            <a:xfrm>
              <a:off x="7528251" y="3638429"/>
              <a:ext cx="1104571" cy="293721"/>
            </a:xfrm>
            <a:prstGeom prst="rect">
              <a:avLst/>
            </a:prstGeom>
            <a:noFill/>
          </p:spPr>
          <p:txBody>
            <a:bodyPr wrap="none" lIns="107944" tIns="53972" rIns="107944" bIns="53972" rtlCol="0" anchor="ctr">
              <a:spAutoFit/>
            </a:bodyPr>
            <a:lstStyle/>
            <a:p>
              <a:pPr>
                <a:tabLst>
                  <a:tab pos="0" algn="l"/>
                </a:tabLst>
              </a:pPr>
              <a:r>
                <a:rPr lang="en-US" sz="1199" dirty="0">
                  <a:ea typeface="Arial Unicode MS"/>
                </a:rPr>
                <a:t>Lorem ipsum</a:t>
              </a:r>
            </a:p>
          </p:txBody>
        </p:sp>
        <p:sp>
          <p:nvSpPr>
            <p:cNvPr id="135" name="Textfeld 134"/>
            <p:cNvSpPr txBox="1"/>
            <p:nvPr/>
          </p:nvSpPr>
          <p:spPr bwMode="gray">
            <a:xfrm>
              <a:off x="6354827" y="4857256"/>
              <a:ext cx="1104571" cy="293721"/>
            </a:xfrm>
            <a:prstGeom prst="rect">
              <a:avLst/>
            </a:prstGeom>
            <a:noFill/>
          </p:spPr>
          <p:txBody>
            <a:bodyPr wrap="none" lIns="107944" tIns="53972" rIns="107944" bIns="53972" rtlCol="0" anchor="ctr">
              <a:spAutoFit/>
            </a:bodyPr>
            <a:lstStyle/>
            <a:p>
              <a:pPr>
                <a:tabLst>
                  <a:tab pos="0" algn="l"/>
                </a:tabLst>
              </a:pPr>
              <a:r>
                <a:rPr lang="en-US" sz="1199" dirty="0">
                  <a:solidFill>
                    <a:srgbClr val="9999A9"/>
                  </a:solidFill>
                  <a:ea typeface="Arial Unicode MS"/>
                </a:rPr>
                <a:t>Lorem ipsum</a:t>
              </a:r>
            </a:p>
          </p:txBody>
        </p:sp>
        <p:sp>
          <p:nvSpPr>
            <p:cNvPr id="141" name="Textfeld 140"/>
            <p:cNvSpPr txBox="1"/>
            <p:nvPr/>
          </p:nvSpPr>
          <p:spPr bwMode="gray">
            <a:xfrm flipH="1">
              <a:off x="364036" y="4218693"/>
              <a:ext cx="2018335" cy="293721"/>
            </a:xfrm>
            <a:prstGeom prst="rect">
              <a:avLst/>
            </a:prstGeom>
            <a:noFill/>
          </p:spPr>
          <p:txBody>
            <a:bodyPr wrap="square" lIns="107944" tIns="53972" rIns="107944" bIns="53972" rtlCol="0" anchor="ctr">
              <a:spAutoFit/>
            </a:bodyPr>
            <a:lstStyle/>
            <a:p>
              <a:pPr algn="r">
                <a:tabLst>
                  <a:tab pos="0" algn="l"/>
                </a:tabLst>
              </a:pPr>
              <a:r>
                <a:rPr lang="en-US" sz="1199" dirty="0"/>
                <a:t>Lorem ipsum dolor</a:t>
              </a:r>
              <a:endParaRPr lang="en-US" sz="1199" dirty="0">
                <a:ea typeface="Arial Unicode MS"/>
              </a:endParaRPr>
            </a:p>
          </p:txBody>
        </p:sp>
        <p:sp>
          <p:nvSpPr>
            <p:cNvPr id="145" name="Textfeld 144"/>
            <p:cNvSpPr txBox="1"/>
            <p:nvPr/>
          </p:nvSpPr>
          <p:spPr bwMode="gray">
            <a:xfrm flipH="1">
              <a:off x="364036" y="1868715"/>
              <a:ext cx="2018336" cy="293721"/>
            </a:xfrm>
            <a:prstGeom prst="rect">
              <a:avLst/>
            </a:prstGeom>
            <a:noFill/>
          </p:spPr>
          <p:txBody>
            <a:bodyPr wrap="square" lIns="107944" tIns="53972" rIns="107944" bIns="53972" rtlCol="0" anchor="ctr">
              <a:spAutoFit/>
            </a:bodyPr>
            <a:lstStyle/>
            <a:p>
              <a:pPr algn="r">
                <a:defRPr/>
              </a:pPr>
              <a:r>
                <a:rPr lang="en-US" sz="1199" dirty="0">
                  <a:solidFill>
                    <a:srgbClr val="9999A9"/>
                  </a:solidFill>
                </a:rPr>
                <a:t>Lorem ipsum dolor</a:t>
              </a:r>
              <a:endParaRPr lang="en-US" sz="1199" dirty="0">
                <a:solidFill>
                  <a:srgbClr val="9999A9"/>
                </a:solidFill>
                <a:ea typeface="Arial Unicode MS"/>
              </a:endParaRPr>
            </a:p>
          </p:txBody>
        </p:sp>
        <p:sp>
          <p:nvSpPr>
            <p:cNvPr id="165" name="Textfeld 164"/>
            <p:cNvSpPr txBox="1"/>
            <p:nvPr/>
          </p:nvSpPr>
          <p:spPr bwMode="gray">
            <a:xfrm flipH="1">
              <a:off x="1941985" y="4991476"/>
              <a:ext cx="1104569" cy="293721"/>
            </a:xfrm>
            <a:prstGeom prst="rect">
              <a:avLst/>
            </a:prstGeom>
            <a:noFill/>
          </p:spPr>
          <p:txBody>
            <a:bodyPr wrap="none" lIns="107944" tIns="53972" rIns="107944" bIns="53972" rtlCol="0" anchor="ctr">
              <a:spAutoFit/>
            </a:bodyPr>
            <a:lstStyle/>
            <a:p>
              <a:pPr algn="r">
                <a:tabLst>
                  <a:tab pos="0" algn="l"/>
                </a:tabLst>
              </a:pPr>
              <a:r>
                <a:rPr lang="en-US" sz="1199" dirty="0">
                  <a:ea typeface="Arial Unicode MS"/>
                </a:rPr>
                <a:t>Lorem ipsum</a:t>
              </a:r>
            </a:p>
          </p:txBody>
        </p:sp>
        <p:sp>
          <p:nvSpPr>
            <p:cNvPr id="166" name="Textfeld 165"/>
            <p:cNvSpPr txBox="1"/>
            <p:nvPr/>
          </p:nvSpPr>
          <p:spPr bwMode="gray">
            <a:xfrm flipH="1">
              <a:off x="1854987" y="4535798"/>
              <a:ext cx="1872408" cy="293721"/>
            </a:xfrm>
            <a:prstGeom prst="rect">
              <a:avLst/>
            </a:prstGeom>
            <a:noFill/>
          </p:spPr>
          <p:txBody>
            <a:bodyPr wrap="none" lIns="107944" tIns="53972" rIns="107944" bIns="53972" rtlCol="0" anchor="ctr">
              <a:spAutoFit/>
            </a:bodyPr>
            <a:lstStyle/>
            <a:p>
              <a:pPr algn="r">
                <a:tabLst>
                  <a:tab pos="0" algn="l"/>
                </a:tabLst>
              </a:pPr>
              <a:r>
                <a:rPr lang="en-US" sz="1199" dirty="0">
                  <a:solidFill>
                    <a:srgbClr val="9999A9"/>
                  </a:solidFill>
                </a:rPr>
                <a:t>Lorem ipsum dolor amet</a:t>
              </a:r>
              <a:endParaRPr lang="en-US" sz="1199" dirty="0">
                <a:solidFill>
                  <a:srgbClr val="9999A9"/>
                </a:solidFill>
                <a:ea typeface="Arial Unicode MS"/>
              </a:endParaRPr>
            </a:p>
          </p:txBody>
        </p:sp>
        <p:sp>
          <p:nvSpPr>
            <p:cNvPr id="169" name="Textfeld 168"/>
            <p:cNvSpPr txBox="1"/>
            <p:nvPr/>
          </p:nvSpPr>
          <p:spPr bwMode="gray">
            <a:xfrm flipH="1">
              <a:off x="363272" y="3484383"/>
              <a:ext cx="2596743" cy="293721"/>
            </a:xfrm>
            <a:prstGeom prst="rect">
              <a:avLst/>
            </a:prstGeom>
            <a:noFill/>
          </p:spPr>
          <p:txBody>
            <a:bodyPr wrap="square" lIns="107944" tIns="53972" rIns="107944" bIns="53972" rtlCol="0" anchor="ctr">
              <a:spAutoFit/>
            </a:bodyPr>
            <a:lstStyle/>
            <a:p>
              <a:pPr algn="r">
                <a:tabLst>
                  <a:tab pos="0" algn="l"/>
                </a:tabLst>
              </a:pPr>
              <a:r>
                <a:rPr lang="en-US" sz="1199" dirty="0"/>
                <a:t>Lorem ipsum dolor amet</a:t>
              </a:r>
              <a:endParaRPr lang="en-US" sz="1199" dirty="0">
                <a:ea typeface="Arial Unicode MS"/>
              </a:endParaRPr>
            </a:p>
          </p:txBody>
        </p:sp>
        <p:sp>
          <p:nvSpPr>
            <p:cNvPr id="172" name="Textfeld 171"/>
            <p:cNvSpPr txBox="1"/>
            <p:nvPr/>
          </p:nvSpPr>
          <p:spPr bwMode="gray">
            <a:xfrm flipH="1">
              <a:off x="3652687" y="3657339"/>
              <a:ext cx="1104569" cy="293721"/>
            </a:xfrm>
            <a:prstGeom prst="rect">
              <a:avLst/>
            </a:prstGeom>
            <a:noFill/>
          </p:spPr>
          <p:txBody>
            <a:bodyPr wrap="none" lIns="107944" tIns="53972" rIns="107944" bIns="53972" rtlCol="0" anchor="ctr">
              <a:spAutoFit/>
            </a:bodyPr>
            <a:lstStyle/>
            <a:p>
              <a:pPr algn="r">
                <a:tabLst>
                  <a:tab pos="0" algn="l"/>
                </a:tabLst>
              </a:pPr>
              <a:r>
                <a:rPr lang="en-US" sz="1199" dirty="0">
                  <a:ea typeface="Arial Unicode MS"/>
                </a:rPr>
                <a:t>Lorem ipsum</a:t>
              </a:r>
            </a:p>
          </p:txBody>
        </p:sp>
        <p:sp>
          <p:nvSpPr>
            <p:cNvPr id="208" name="Textfeld 207"/>
            <p:cNvSpPr txBox="1"/>
            <p:nvPr/>
          </p:nvSpPr>
          <p:spPr bwMode="gray">
            <a:xfrm>
              <a:off x="4651200" y="5342673"/>
              <a:ext cx="1104571" cy="293721"/>
            </a:xfrm>
            <a:prstGeom prst="rect">
              <a:avLst/>
            </a:prstGeom>
            <a:noFill/>
          </p:spPr>
          <p:txBody>
            <a:bodyPr wrap="none" lIns="107944" tIns="53972" rIns="107944" bIns="53972" rtlCol="0" anchor="ctr">
              <a:spAutoFit/>
            </a:bodyPr>
            <a:lstStyle/>
            <a:p>
              <a:pPr>
                <a:tabLst>
                  <a:tab pos="0" algn="l"/>
                </a:tabLst>
              </a:pPr>
              <a:r>
                <a:rPr lang="en-US" sz="1199" dirty="0">
                  <a:solidFill>
                    <a:srgbClr val="9999A9"/>
                  </a:solidFill>
                  <a:ea typeface="Arial Unicode MS"/>
                </a:rPr>
                <a:t>Lorem ipsum</a:t>
              </a:r>
            </a:p>
          </p:txBody>
        </p:sp>
        <p:sp>
          <p:nvSpPr>
            <p:cNvPr id="209" name="Textfeld 208"/>
            <p:cNvSpPr txBox="1"/>
            <p:nvPr/>
          </p:nvSpPr>
          <p:spPr bwMode="gray">
            <a:xfrm>
              <a:off x="4760890" y="4857256"/>
              <a:ext cx="1104571" cy="293721"/>
            </a:xfrm>
            <a:prstGeom prst="rect">
              <a:avLst/>
            </a:prstGeom>
            <a:noFill/>
          </p:spPr>
          <p:txBody>
            <a:bodyPr wrap="none" lIns="107944" tIns="53972" rIns="107944" bIns="53972" rtlCol="0" anchor="ctr">
              <a:spAutoFit/>
            </a:bodyPr>
            <a:lstStyle/>
            <a:p>
              <a:pPr>
                <a:tabLst>
                  <a:tab pos="0" algn="l"/>
                </a:tabLst>
              </a:pPr>
              <a:r>
                <a:rPr lang="en-US" sz="1199" dirty="0">
                  <a:ea typeface="Arial Unicode MS"/>
                </a:rPr>
                <a:t>Lorem ipsum</a:t>
              </a:r>
            </a:p>
          </p:txBody>
        </p:sp>
        <p:sp>
          <p:nvSpPr>
            <p:cNvPr id="212" name="Textfeld 211"/>
            <p:cNvSpPr txBox="1"/>
            <p:nvPr/>
          </p:nvSpPr>
          <p:spPr bwMode="gray">
            <a:xfrm>
              <a:off x="4522241" y="2347918"/>
              <a:ext cx="1104571" cy="293721"/>
            </a:xfrm>
            <a:prstGeom prst="rect">
              <a:avLst/>
            </a:prstGeom>
            <a:noFill/>
          </p:spPr>
          <p:txBody>
            <a:bodyPr wrap="none" lIns="107944" tIns="53972" rIns="107944" bIns="53972" rtlCol="0" anchor="ctr">
              <a:spAutoFit/>
            </a:bodyPr>
            <a:lstStyle/>
            <a:p>
              <a:pPr>
                <a:tabLst>
                  <a:tab pos="0" algn="l"/>
                </a:tabLst>
              </a:pPr>
              <a:r>
                <a:rPr lang="en-US" sz="1199" dirty="0">
                  <a:solidFill>
                    <a:srgbClr val="9999A9"/>
                  </a:solidFill>
                  <a:ea typeface="Arial Unicode MS"/>
                </a:rPr>
                <a:t>Lorem ipsum</a:t>
              </a:r>
            </a:p>
          </p:txBody>
        </p:sp>
        <p:sp>
          <p:nvSpPr>
            <p:cNvPr id="227" name="Textfeld 226"/>
            <p:cNvSpPr txBox="1"/>
            <p:nvPr/>
          </p:nvSpPr>
          <p:spPr bwMode="gray">
            <a:xfrm>
              <a:off x="6593264" y="1897151"/>
              <a:ext cx="1487688" cy="293721"/>
            </a:xfrm>
            <a:prstGeom prst="rect">
              <a:avLst/>
            </a:prstGeom>
            <a:noFill/>
          </p:spPr>
          <p:txBody>
            <a:bodyPr wrap="none" lIns="107944" tIns="53972" rIns="107944" bIns="53972" rtlCol="0" anchor="ctr">
              <a:spAutoFit/>
            </a:bodyPr>
            <a:lstStyle/>
            <a:p>
              <a:pPr>
                <a:tabLst>
                  <a:tab pos="0" algn="l"/>
                </a:tabLst>
              </a:pPr>
              <a:r>
                <a:rPr lang="en-US" sz="1199" dirty="0">
                  <a:solidFill>
                    <a:srgbClr val="9999A9"/>
                  </a:solidFill>
                  <a:ea typeface="Arial Unicode MS"/>
                </a:rPr>
                <a:t>Lorem ipsum dolor</a:t>
              </a:r>
            </a:p>
          </p:txBody>
        </p:sp>
        <p:sp>
          <p:nvSpPr>
            <p:cNvPr id="228" name="Textfeld 227"/>
            <p:cNvSpPr txBox="1"/>
            <p:nvPr/>
          </p:nvSpPr>
          <p:spPr bwMode="gray">
            <a:xfrm>
              <a:off x="6378113" y="2372649"/>
              <a:ext cx="1104571" cy="293721"/>
            </a:xfrm>
            <a:prstGeom prst="rect">
              <a:avLst/>
            </a:prstGeom>
            <a:noFill/>
          </p:spPr>
          <p:txBody>
            <a:bodyPr wrap="none" lIns="107944" tIns="53972" rIns="107944" bIns="53972" rtlCol="0" anchor="ctr">
              <a:spAutoFit/>
            </a:bodyPr>
            <a:lstStyle/>
            <a:p>
              <a:pPr>
                <a:tabLst>
                  <a:tab pos="0" algn="l"/>
                </a:tabLst>
              </a:pPr>
              <a:r>
                <a:rPr lang="en-US" sz="1199" dirty="0"/>
                <a:t>Lorem ipsum</a:t>
              </a:r>
              <a:endParaRPr lang="en-US" sz="1199" dirty="0">
                <a:ea typeface="Arial Unicode MS"/>
              </a:endParaRPr>
            </a:p>
          </p:txBody>
        </p:sp>
        <p:sp>
          <p:nvSpPr>
            <p:cNvPr id="132" name="Textfeld 206">
              <a:extLst>
                <a:ext uri="{FF2B5EF4-FFF2-40B4-BE49-F238E27FC236}">
                  <a16:creationId xmlns:a16="http://schemas.microsoft.com/office/drawing/2014/main" id="{8D817A67-E528-B148-BA29-22CC4556BC87}"/>
                </a:ext>
              </a:extLst>
            </p:cNvPr>
            <p:cNvSpPr txBox="1"/>
            <p:nvPr/>
          </p:nvSpPr>
          <p:spPr bwMode="gray">
            <a:xfrm>
              <a:off x="10044853" y="3050792"/>
              <a:ext cx="1694778" cy="293721"/>
            </a:xfrm>
            <a:prstGeom prst="rect">
              <a:avLst/>
            </a:prstGeom>
            <a:noFill/>
          </p:spPr>
          <p:txBody>
            <a:bodyPr wrap="square" lIns="107944" tIns="53972" rIns="107944" bIns="53972" rtlCol="0" anchor="ctr">
              <a:spAutoFit/>
            </a:bodyPr>
            <a:lstStyle/>
            <a:p>
              <a:pPr>
                <a:tabLst>
                  <a:tab pos="0" algn="l"/>
                </a:tabLst>
              </a:pPr>
              <a:r>
                <a:rPr lang="en-US" sz="1199" dirty="0"/>
                <a:t>Lorem ipsum</a:t>
              </a:r>
              <a:endParaRPr lang="en-US" sz="1199" dirty="0">
                <a:ea typeface="Arial Unicode MS"/>
              </a:endParaRPr>
            </a:p>
          </p:txBody>
        </p:sp>
        <p:sp>
          <p:nvSpPr>
            <p:cNvPr id="124" name="Textfeld 144">
              <a:extLst>
                <a:ext uri="{FF2B5EF4-FFF2-40B4-BE49-F238E27FC236}">
                  <a16:creationId xmlns:a16="http://schemas.microsoft.com/office/drawing/2014/main" id="{3D9B8A3E-D239-D34E-8C74-A69F9A219B8B}"/>
                </a:ext>
              </a:extLst>
            </p:cNvPr>
            <p:cNvSpPr txBox="1"/>
            <p:nvPr/>
          </p:nvSpPr>
          <p:spPr bwMode="gray">
            <a:xfrm flipH="1">
              <a:off x="364036" y="2194076"/>
              <a:ext cx="2018336" cy="293721"/>
            </a:xfrm>
            <a:prstGeom prst="rect">
              <a:avLst/>
            </a:prstGeom>
            <a:noFill/>
          </p:spPr>
          <p:txBody>
            <a:bodyPr wrap="square" lIns="107944" tIns="53972" rIns="107944" bIns="53972" rtlCol="0" anchor="ctr">
              <a:spAutoFit/>
            </a:bodyPr>
            <a:lstStyle/>
            <a:p>
              <a:pPr algn="r">
                <a:defRPr/>
              </a:pPr>
              <a:r>
                <a:rPr lang="en-US" sz="1199" dirty="0"/>
                <a:t>Lorem ipsum</a:t>
              </a:r>
              <a:endParaRPr lang="en-US" sz="1199" dirty="0">
                <a:ea typeface="Arial Unicode MS"/>
              </a:endParaRPr>
            </a:p>
          </p:txBody>
        </p:sp>
        <p:sp>
          <p:nvSpPr>
            <p:cNvPr id="128" name="Textfeld 144">
              <a:extLst>
                <a:ext uri="{FF2B5EF4-FFF2-40B4-BE49-F238E27FC236}">
                  <a16:creationId xmlns:a16="http://schemas.microsoft.com/office/drawing/2014/main" id="{2D83A281-1BEE-1845-AE11-DD73766C5D03}"/>
                </a:ext>
              </a:extLst>
            </p:cNvPr>
            <p:cNvSpPr txBox="1"/>
            <p:nvPr/>
          </p:nvSpPr>
          <p:spPr bwMode="gray">
            <a:xfrm flipH="1">
              <a:off x="364036" y="2750194"/>
              <a:ext cx="2018336" cy="478387"/>
            </a:xfrm>
            <a:prstGeom prst="rect">
              <a:avLst/>
            </a:prstGeom>
            <a:noFill/>
          </p:spPr>
          <p:txBody>
            <a:bodyPr wrap="square" lIns="107944" tIns="53972" rIns="107944" bIns="53972" rtlCol="0" anchor="ctr">
              <a:spAutoFit/>
            </a:bodyPr>
            <a:lstStyle/>
            <a:p>
              <a:pPr algn="r">
                <a:tabLst>
                  <a:tab pos="0" algn="l"/>
                </a:tabLst>
              </a:pPr>
              <a:r>
                <a:rPr lang="en-US" sz="1199" dirty="0"/>
                <a:t>Lorem ipsum dolor sit amet, consectetur</a:t>
              </a:r>
              <a:endParaRPr lang="en-US" sz="1199" dirty="0">
                <a:ea typeface="Arial Unicode MS"/>
              </a:endParaRPr>
            </a:p>
          </p:txBody>
        </p:sp>
        <p:sp>
          <p:nvSpPr>
            <p:cNvPr id="131" name="Textfeld 168">
              <a:extLst>
                <a:ext uri="{FF2B5EF4-FFF2-40B4-BE49-F238E27FC236}">
                  <a16:creationId xmlns:a16="http://schemas.microsoft.com/office/drawing/2014/main" id="{E260F5E4-F30D-6546-BB5D-B48C0D967966}"/>
                </a:ext>
              </a:extLst>
            </p:cNvPr>
            <p:cNvSpPr txBox="1"/>
            <p:nvPr/>
          </p:nvSpPr>
          <p:spPr bwMode="gray">
            <a:xfrm flipH="1">
              <a:off x="364036" y="3824265"/>
              <a:ext cx="2018336" cy="293721"/>
            </a:xfrm>
            <a:prstGeom prst="rect">
              <a:avLst/>
            </a:prstGeom>
            <a:noFill/>
          </p:spPr>
          <p:txBody>
            <a:bodyPr wrap="square" lIns="107944" tIns="53972" rIns="107944" bIns="53972" rtlCol="0" anchor="ctr">
              <a:spAutoFit/>
            </a:bodyPr>
            <a:lstStyle/>
            <a:p>
              <a:pPr algn="r">
                <a:tabLst>
                  <a:tab pos="0" algn="l"/>
                </a:tabLst>
              </a:pPr>
              <a:r>
                <a:rPr lang="en-US" sz="1199" dirty="0"/>
                <a:t>Lorem ipsum</a:t>
              </a:r>
              <a:endParaRPr lang="en-US" sz="1199" dirty="0">
                <a:ea typeface="Arial Unicode MS"/>
              </a:endParaRPr>
            </a:p>
          </p:txBody>
        </p:sp>
        <p:sp>
          <p:nvSpPr>
            <p:cNvPr id="76" name="Textfeld 139"/>
            <p:cNvSpPr txBox="1"/>
            <p:nvPr/>
          </p:nvSpPr>
          <p:spPr bwMode="gray">
            <a:xfrm flipH="1">
              <a:off x="364035" y="5424210"/>
              <a:ext cx="2124527" cy="293721"/>
            </a:xfrm>
            <a:prstGeom prst="rect">
              <a:avLst/>
            </a:prstGeom>
            <a:noFill/>
            <a:ln w="22225">
              <a:noFill/>
            </a:ln>
          </p:spPr>
          <p:txBody>
            <a:bodyPr wrap="square" lIns="107944" tIns="53972" rIns="107944" bIns="53972" rtlCol="0" anchor="ctr">
              <a:spAutoFit/>
            </a:bodyPr>
            <a:lstStyle/>
            <a:p>
              <a:pPr algn="r">
                <a:tabLst>
                  <a:tab pos="0" algn="l"/>
                </a:tabLst>
              </a:pPr>
              <a:r>
                <a:rPr lang="en-US" sz="1199" dirty="0">
                  <a:ea typeface="Arial Unicode MS"/>
                </a:rPr>
                <a:t>Lorem ipsum dolor</a:t>
              </a:r>
            </a:p>
          </p:txBody>
        </p:sp>
        <p:sp>
          <p:nvSpPr>
            <p:cNvPr id="125" name="Textfeld 139"/>
            <p:cNvSpPr txBox="1"/>
            <p:nvPr/>
          </p:nvSpPr>
          <p:spPr bwMode="gray">
            <a:xfrm flipH="1">
              <a:off x="6773242" y="5578764"/>
              <a:ext cx="1189851" cy="293721"/>
            </a:xfrm>
            <a:prstGeom prst="rect">
              <a:avLst/>
            </a:prstGeom>
            <a:noFill/>
            <a:ln w="22225">
              <a:noFill/>
            </a:ln>
          </p:spPr>
          <p:txBody>
            <a:bodyPr wrap="square" lIns="107944" tIns="53972" rIns="107944" bIns="53972" rtlCol="0" anchor="ctr">
              <a:spAutoFit/>
            </a:bodyPr>
            <a:lstStyle/>
            <a:p>
              <a:pPr>
                <a:tabLst>
                  <a:tab pos="0" algn="l"/>
                </a:tabLst>
              </a:pPr>
              <a:r>
                <a:rPr lang="en-US" sz="1199" dirty="0">
                  <a:ea typeface="Arial Unicode MS"/>
                </a:rPr>
                <a:t>Lorem ipsum</a:t>
              </a:r>
            </a:p>
          </p:txBody>
        </p:sp>
        <p:sp>
          <p:nvSpPr>
            <p:cNvPr id="129" name="Textfeld 139"/>
            <p:cNvSpPr txBox="1"/>
            <p:nvPr/>
          </p:nvSpPr>
          <p:spPr bwMode="gray">
            <a:xfrm flipH="1">
              <a:off x="4346622" y="1697970"/>
              <a:ext cx="1189851" cy="293721"/>
            </a:xfrm>
            <a:prstGeom prst="rect">
              <a:avLst/>
            </a:prstGeom>
            <a:noFill/>
            <a:ln w="22225">
              <a:noFill/>
            </a:ln>
          </p:spPr>
          <p:txBody>
            <a:bodyPr wrap="square" lIns="107944" tIns="53972" rIns="107944" bIns="53972" rtlCol="0" anchor="ctr">
              <a:spAutoFit/>
            </a:bodyPr>
            <a:lstStyle/>
            <a:p>
              <a:pPr>
                <a:tabLst>
                  <a:tab pos="0" algn="l"/>
                </a:tabLst>
              </a:pPr>
              <a:r>
                <a:rPr lang="en-US" sz="1199" dirty="0">
                  <a:ea typeface="Arial Unicode MS"/>
                </a:rPr>
                <a:t>Lorem ipsum</a:t>
              </a:r>
            </a:p>
          </p:txBody>
        </p:sp>
        <p:sp>
          <p:nvSpPr>
            <p:cNvPr id="134" name="Textfeld 139"/>
            <p:cNvSpPr txBox="1"/>
            <p:nvPr/>
          </p:nvSpPr>
          <p:spPr bwMode="gray">
            <a:xfrm flipH="1">
              <a:off x="9770976" y="1858392"/>
              <a:ext cx="1975010" cy="293721"/>
            </a:xfrm>
            <a:prstGeom prst="rect">
              <a:avLst/>
            </a:prstGeom>
            <a:noFill/>
            <a:ln w="22225">
              <a:noFill/>
              <a:prstDash val="dash"/>
            </a:ln>
          </p:spPr>
          <p:txBody>
            <a:bodyPr wrap="square" lIns="107944" tIns="53972" rIns="107944" bIns="53972" rtlCol="0" anchor="ctr">
              <a:spAutoFit/>
            </a:bodyPr>
            <a:lstStyle/>
            <a:p>
              <a:pPr>
                <a:tabLst>
                  <a:tab pos="0" algn="l"/>
                </a:tabLst>
              </a:pPr>
              <a:r>
                <a:rPr lang="en-US" sz="1199" dirty="0">
                  <a:solidFill>
                    <a:srgbClr val="9999A9"/>
                  </a:solidFill>
                  <a:ea typeface="Arial Unicode MS"/>
                </a:rPr>
                <a:t>Lorem ipsum</a:t>
              </a:r>
            </a:p>
          </p:txBody>
        </p:sp>
      </p:grpSp>
    </p:spTree>
    <p:extLst>
      <p:ext uri="{BB962C8B-B14F-4D97-AF65-F5344CB8AC3E}">
        <p14:creationId xmlns:p14="http://schemas.microsoft.com/office/powerpoint/2010/main" val="9446646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2432593" y="2009866"/>
            <a:ext cx="7594328" cy="3555741"/>
            <a:chOff x="2386519" y="2003367"/>
            <a:chExt cx="7598283" cy="3557593"/>
          </a:xfrm>
        </p:grpSpPr>
        <p:sp>
          <p:nvSpPr>
            <p:cNvPr id="91" name="Freeform 90">
              <a:extLst>
                <a:ext uri="{FF2B5EF4-FFF2-40B4-BE49-F238E27FC236}">
                  <a16:creationId xmlns:a16="http://schemas.microsoft.com/office/drawing/2014/main" id="{B48CE4E9-F7A6-224D-8AC6-13AD1AC2DEEA}"/>
                </a:ext>
              </a:extLst>
            </p:cNvPr>
            <p:cNvSpPr/>
            <p:nvPr/>
          </p:nvSpPr>
          <p:spPr bwMode="auto">
            <a:xfrm>
              <a:off x="5759787" y="4265999"/>
              <a:ext cx="385831" cy="1220402"/>
            </a:xfrm>
            <a:custGeom>
              <a:avLst/>
              <a:gdLst>
                <a:gd name="connsiteX0" fmla="*/ 494414 w 494414"/>
                <a:gd name="connsiteY0" fmla="*/ 0 h 1313121"/>
                <a:gd name="connsiteX1" fmla="*/ 494414 w 494414"/>
                <a:gd name="connsiteY1" fmla="*/ 882502 h 1313121"/>
                <a:gd name="connsiteX2" fmla="*/ 63795 w 494414"/>
                <a:gd name="connsiteY2" fmla="*/ 1313121 h 1313121"/>
                <a:gd name="connsiteX3" fmla="*/ 0 w 494414"/>
                <a:gd name="connsiteY3" fmla="*/ 1313121 h 1313121"/>
                <a:gd name="connsiteX0" fmla="*/ 494414 w 494414"/>
                <a:gd name="connsiteY0" fmla="*/ 0 h 1220402"/>
                <a:gd name="connsiteX1" fmla="*/ 494414 w 494414"/>
                <a:gd name="connsiteY1" fmla="*/ 789783 h 1220402"/>
                <a:gd name="connsiteX2" fmla="*/ 63795 w 494414"/>
                <a:gd name="connsiteY2" fmla="*/ 1220402 h 1220402"/>
                <a:gd name="connsiteX3" fmla="*/ 0 w 494414"/>
                <a:gd name="connsiteY3" fmla="*/ 1220402 h 1220402"/>
              </a:gdLst>
              <a:ahLst/>
              <a:cxnLst>
                <a:cxn ang="0">
                  <a:pos x="connsiteX0" y="connsiteY0"/>
                </a:cxn>
                <a:cxn ang="0">
                  <a:pos x="connsiteX1" y="connsiteY1"/>
                </a:cxn>
                <a:cxn ang="0">
                  <a:pos x="connsiteX2" y="connsiteY2"/>
                </a:cxn>
                <a:cxn ang="0">
                  <a:pos x="connsiteX3" y="connsiteY3"/>
                </a:cxn>
              </a:cxnLst>
              <a:rect l="l" t="t" r="r" b="b"/>
              <a:pathLst>
                <a:path w="494414" h="1220402">
                  <a:moveTo>
                    <a:pt x="494414" y="0"/>
                  </a:moveTo>
                  <a:lnTo>
                    <a:pt x="494414" y="789783"/>
                  </a:lnTo>
                  <a:lnTo>
                    <a:pt x="63795" y="1220402"/>
                  </a:lnTo>
                  <a:lnTo>
                    <a:pt x="0" y="1220402"/>
                  </a:lnTo>
                </a:path>
              </a:pathLst>
            </a:custGeom>
            <a:noFill/>
            <a:ln w="12700">
              <a:solidFill>
                <a:srgbClr val="CCCCD4"/>
              </a:solidFill>
              <a:prstDash val="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92" name="Freeform 91">
              <a:extLst>
                <a:ext uri="{FF2B5EF4-FFF2-40B4-BE49-F238E27FC236}">
                  <a16:creationId xmlns:a16="http://schemas.microsoft.com/office/drawing/2014/main" id="{E57611D8-2C80-2649-BA1F-36B8511DE547}"/>
                </a:ext>
              </a:extLst>
            </p:cNvPr>
            <p:cNvSpPr/>
            <p:nvPr/>
          </p:nvSpPr>
          <p:spPr bwMode="auto">
            <a:xfrm>
              <a:off x="2386519" y="2003367"/>
              <a:ext cx="1778924" cy="673331"/>
            </a:xfrm>
            <a:custGeom>
              <a:avLst/>
              <a:gdLst>
                <a:gd name="connsiteX0" fmla="*/ 0 w 1778924"/>
                <a:gd name="connsiteY0" fmla="*/ 0 h 673331"/>
                <a:gd name="connsiteX1" fmla="*/ 1105593 w 1778924"/>
                <a:gd name="connsiteY1" fmla="*/ 0 h 673331"/>
                <a:gd name="connsiteX2" fmla="*/ 1778924 w 1778924"/>
                <a:gd name="connsiteY2" fmla="*/ 673331 h 673331"/>
              </a:gdLst>
              <a:ahLst/>
              <a:cxnLst>
                <a:cxn ang="0">
                  <a:pos x="connsiteX0" y="connsiteY0"/>
                </a:cxn>
                <a:cxn ang="0">
                  <a:pos x="connsiteX1" y="connsiteY1"/>
                </a:cxn>
                <a:cxn ang="0">
                  <a:pos x="connsiteX2" y="connsiteY2"/>
                </a:cxn>
              </a:cxnLst>
              <a:rect l="l" t="t" r="r" b="b"/>
              <a:pathLst>
                <a:path w="1778924" h="673331">
                  <a:moveTo>
                    <a:pt x="0" y="0"/>
                  </a:moveTo>
                  <a:lnTo>
                    <a:pt x="1105593" y="0"/>
                  </a:lnTo>
                  <a:lnTo>
                    <a:pt x="1778924" y="673331"/>
                  </a:lnTo>
                </a:path>
              </a:pathLst>
            </a:custGeom>
            <a:noFill/>
            <a:ln w="12700">
              <a:solidFill>
                <a:srgbClr val="CCCCD4"/>
              </a:solidFill>
              <a:prstDash val="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01" name="Freeform 100">
              <a:extLst>
                <a:ext uri="{FF2B5EF4-FFF2-40B4-BE49-F238E27FC236}">
                  <a16:creationId xmlns:a16="http://schemas.microsoft.com/office/drawing/2014/main" id="{7B8AA2AA-95AA-CD4C-8CE2-30421C8FDD8B}"/>
                </a:ext>
              </a:extLst>
            </p:cNvPr>
            <p:cNvSpPr/>
            <p:nvPr/>
          </p:nvSpPr>
          <p:spPr bwMode="auto">
            <a:xfrm>
              <a:off x="3722844" y="4680203"/>
              <a:ext cx="703585" cy="263769"/>
            </a:xfrm>
            <a:custGeom>
              <a:avLst/>
              <a:gdLst>
                <a:gd name="connsiteX0" fmla="*/ 756138 w 756138"/>
                <a:gd name="connsiteY0" fmla="*/ 263769 h 263769"/>
                <a:gd name="connsiteX1" fmla="*/ 492369 w 756138"/>
                <a:gd name="connsiteY1" fmla="*/ 0 h 263769"/>
                <a:gd name="connsiteX2" fmla="*/ 0 w 756138"/>
                <a:gd name="connsiteY2" fmla="*/ 0 h 263769"/>
              </a:gdLst>
              <a:ahLst/>
              <a:cxnLst>
                <a:cxn ang="0">
                  <a:pos x="connsiteX0" y="connsiteY0"/>
                </a:cxn>
                <a:cxn ang="0">
                  <a:pos x="connsiteX1" y="connsiteY1"/>
                </a:cxn>
                <a:cxn ang="0">
                  <a:pos x="connsiteX2" y="connsiteY2"/>
                </a:cxn>
              </a:cxnLst>
              <a:rect l="l" t="t" r="r" b="b"/>
              <a:pathLst>
                <a:path w="756138" h="263769">
                  <a:moveTo>
                    <a:pt x="756138" y="263769"/>
                  </a:moveTo>
                  <a:lnTo>
                    <a:pt x="492369" y="0"/>
                  </a:lnTo>
                  <a:lnTo>
                    <a:pt x="0" y="0"/>
                  </a:lnTo>
                </a:path>
              </a:pathLst>
            </a:custGeom>
            <a:noFill/>
            <a:ln w="12700">
              <a:solidFill>
                <a:srgbClr val="CCCCD4"/>
              </a:solidFill>
              <a:prstDash val="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05" name="Freeform 104">
              <a:extLst>
                <a:ext uri="{FF2B5EF4-FFF2-40B4-BE49-F238E27FC236}">
                  <a16:creationId xmlns:a16="http://schemas.microsoft.com/office/drawing/2014/main" id="{0C508DCE-E5DB-5C4E-9887-6A280EB588E5}"/>
                </a:ext>
              </a:extLst>
            </p:cNvPr>
            <p:cNvSpPr/>
            <p:nvPr/>
          </p:nvSpPr>
          <p:spPr bwMode="auto">
            <a:xfrm>
              <a:off x="6189227" y="2046767"/>
              <a:ext cx="404037" cy="1180214"/>
            </a:xfrm>
            <a:custGeom>
              <a:avLst/>
              <a:gdLst>
                <a:gd name="connsiteX0" fmla="*/ 404037 w 404037"/>
                <a:gd name="connsiteY0" fmla="*/ 0 h 1180214"/>
                <a:gd name="connsiteX1" fmla="*/ 0 w 404037"/>
                <a:gd name="connsiteY1" fmla="*/ 404037 h 1180214"/>
                <a:gd name="connsiteX2" fmla="*/ 0 w 404037"/>
                <a:gd name="connsiteY2" fmla="*/ 1180214 h 1180214"/>
              </a:gdLst>
              <a:ahLst/>
              <a:cxnLst>
                <a:cxn ang="0">
                  <a:pos x="connsiteX0" y="connsiteY0"/>
                </a:cxn>
                <a:cxn ang="0">
                  <a:pos x="connsiteX1" y="connsiteY1"/>
                </a:cxn>
                <a:cxn ang="0">
                  <a:pos x="connsiteX2" y="connsiteY2"/>
                </a:cxn>
              </a:cxnLst>
              <a:rect l="l" t="t" r="r" b="b"/>
              <a:pathLst>
                <a:path w="404037" h="1180214">
                  <a:moveTo>
                    <a:pt x="404037" y="0"/>
                  </a:moveTo>
                  <a:lnTo>
                    <a:pt x="0" y="404037"/>
                  </a:lnTo>
                  <a:lnTo>
                    <a:pt x="0" y="1180214"/>
                  </a:lnTo>
                </a:path>
              </a:pathLst>
            </a:custGeom>
            <a:noFill/>
            <a:ln w="12700">
              <a:solidFill>
                <a:srgbClr val="CCCCD4"/>
              </a:solidFill>
              <a:prstDash val="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06" name="Freeform 105">
              <a:extLst>
                <a:ext uri="{FF2B5EF4-FFF2-40B4-BE49-F238E27FC236}">
                  <a16:creationId xmlns:a16="http://schemas.microsoft.com/office/drawing/2014/main" id="{EB49FC04-983C-B64D-A0E2-D20C22693243}"/>
                </a:ext>
              </a:extLst>
            </p:cNvPr>
            <p:cNvSpPr/>
            <p:nvPr/>
          </p:nvSpPr>
          <p:spPr bwMode="auto">
            <a:xfrm>
              <a:off x="8165804" y="2004237"/>
              <a:ext cx="1594884" cy="680484"/>
            </a:xfrm>
            <a:custGeom>
              <a:avLst/>
              <a:gdLst>
                <a:gd name="connsiteX0" fmla="*/ 1594884 w 1594884"/>
                <a:gd name="connsiteY0" fmla="*/ 0 h 680484"/>
                <a:gd name="connsiteX1" fmla="*/ 680484 w 1594884"/>
                <a:gd name="connsiteY1" fmla="*/ 0 h 680484"/>
                <a:gd name="connsiteX2" fmla="*/ 0 w 1594884"/>
                <a:gd name="connsiteY2" fmla="*/ 680484 h 680484"/>
              </a:gdLst>
              <a:ahLst/>
              <a:cxnLst>
                <a:cxn ang="0">
                  <a:pos x="connsiteX0" y="connsiteY0"/>
                </a:cxn>
                <a:cxn ang="0">
                  <a:pos x="connsiteX1" y="connsiteY1"/>
                </a:cxn>
                <a:cxn ang="0">
                  <a:pos x="connsiteX2" y="connsiteY2"/>
                </a:cxn>
              </a:cxnLst>
              <a:rect l="l" t="t" r="r" b="b"/>
              <a:pathLst>
                <a:path w="1594884" h="680484">
                  <a:moveTo>
                    <a:pt x="1594884" y="0"/>
                  </a:moveTo>
                  <a:lnTo>
                    <a:pt x="680484" y="0"/>
                  </a:lnTo>
                  <a:lnTo>
                    <a:pt x="0" y="680484"/>
                  </a:lnTo>
                </a:path>
              </a:pathLst>
            </a:custGeom>
            <a:noFill/>
            <a:ln w="12700">
              <a:solidFill>
                <a:srgbClr val="CCCCD4"/>
              </a:solidFill>
              <a:prstDash val="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09" name="Freeform 108">
              <a:extLst>
                <a:ext uri="{FF2B5EF4-FFF2-40B4-BE49-F238E27FC236}">
                  <a16:creationId xmlns:a16="http://schemas.microsoft.com/office/drawing/2014/main" id="{4164B919-B97D-9348-9195-9163899DD6C1}"/>
                </a:ext>
              </a:extLst>
            </p:cNvPr>
            <p:cNvSpPr/>
            <p:nvPr/>
          </p:nvSpPr>
          <p:spPr bwMode="auto">
            <a:xfrm>
              <a:off x="7206827" y="3235761"/>
              <a:ext cx="846666" cy="345440"/>
            </a:xfrm>
            <a:custGeom>
              <a:avLst/>
              <a:gdLst>
                <a:gd name="connsiteX0" fmla="*/ 0 w 846666"/>
                <a:gd name="connsiteY0" fmla="*/ 345440 h 345440"/>
                <a:gd name="connsiteX1" fmla="*/ 345440 w 846666"/>
                <a:gd name="connsiteY1" fmla="*/ 0 h 345440"/>
                <a:gd name="connsiteX2" fmla="*/ 846666 w 846666"/>
                <a:gd name="connsiteY2" fmla="*/ 0 h 345440"/>
              </a:gdLst>
              <a:ahLst/>
              <a:cxnLst>
                <a:cxn ang="0">
                  <a:pos x="connsiteX0" y="connsiteY0"/>
                </a:cxn>
                <a:cxn ang="0">
                  <a:pos x="connsiteX1" y="connsiteY1"/>
                </a:cxn>
                <a:cxn ang="0">
                  <a:pos x="connsiteX2" y="connsiteY2"/>
                </a:cxn>
              </a:cxnLst>
              <a:rect l="l" t="t" r="r" b="b"/>
              <a:pathLst>
                <a:path w="846666" h="345440">
                  <a:moveTo>
                    <a:pt x="0" y="345440"/>
                  </a:moveTo>
                  <a:lnTo>
                    <a:pt x="345440" y="0"/>
                  </a:lnTo>
                  <a:lnTo>
                    <a:pt x="846666" y="0"/>
                  </a:lnTo>
                </a:path>
              </a:pathLst>
            </a:custGeom>
            <a:noFill/>
            <a:ln w="12700">
              <a:solidFill>
                <a:srgbClr val="CCCCD4"/>
              </a:solidFill>
              <a:prstDash val="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10" name="Freeform 109">
              <a:extLst>
                <a:ext uri="{FF2B5EF4-FFF2-40B4-BE49-F238E27FC236}">
                  <a16:creationId xmlns:a16="http://schemas.microsoft.com/office/drawing/2014/main" id="{BE57460B-EC6B-6B4A-B784-012C9748F74F}"/>
                </a:ext>
              </a:extLst>
            </p:cNvPr>
            <p:cNvSpPr/>
            <p:nvPr/>
          </p:nvSpPr>
          <p:spPr bwMode="auto">
            <a:xfrm>
              <a:off x="7403253" y="3970795"/>
              <a:ext cx="2580640" cy="684106"/>
            </a:xfrm>
            <a:custGeom>
              <a:avLst/>
              <a:gdLst>
                <a:gd name="connsiteX0" fmla="*/ 0 w 2580640"/>
                <a:gd name="connsiteY0" fmla="*/ 0 h 684106"/>
                <a:gd name="connsiteX1" fmla="*/ 392853 w 2580640"/>
                <a:gd name="connsiteY1" fmla="*/ 392853 h 684106"/>
                <a:gd name="connsiteX2" fmla="*/ 1435947 w 2580640"/>
                <a:gd name="connsiteY2" fmla="*/ 392853 h 684106"/>
                <a:gd name="connsiteX3" fmla="*/ 1727200 w 2580640"/>
                <a:gd name="connsiteY3" fmla="*/ 684106 h 684106"/>
                <a:gd name="connsiteX4" fmla="*/ 1788160 w 2580640"/>
                <a:gd name="connsiteY4" fmla="*/ 684106 h 684106"/>
                <a:gd name="connsiteX5" fmla="*/ 2580640 w 2580640"/>
                <a:gd name="connsiteY5" fmla="*/ 684106 h 684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80640" h="684106">
                  <a:moveTo>
                    <a:pt x="0" y="0"/>
                  </a:moveTo>
                  <a:lnTo>
                    <a:pt x="392853" y="392853"/>
                  </a:lnTo>
                  <a:lnTo>
                    <a:pt x="1435947" y="392853"/>
                  </a:lnTo>
                  <a:lnTo>
                    <a:pt x="1727200" y="684106"/>
                  </a:lnTo>
                  <a:lnTo>
                    <a:pt x="1788160" y="684106"/>
                  </a:lnTo>
                  <a:lnTo>
                    <a:pt x="2580640" y="684106"/>
                  </a:lnTo>
                </a:path>
              </a:pathLst>
            </a:custGeom>
            <a:noFill/>
            <a:ln w="12700">
              <a:solidFill>
                <a:srgbClr val="CCCCD4"/>
              </a:solidFill>
              <a:prstDash val="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11" name="Freeform 110">
              <a:extLst>
                <a:ext uri="{FF2B5EF4-FFF2-40B4-BE49-F238E27FC236}">
                  <a16:creationId xmlns:a16="http://schemas.microsoft.com/office/drawing/2014/main" id="{BED39416-99F2-FD4B-B409-B6CEEC5B7A14}"/>
                </a:ext>
              </a:extLst>
            </p:cNvPr>
            <p:cNvSpPr/>
            <p:nvPr/>
          </p:nvSpPr>
          <p:spPr bwMode="auto">
            <a:xfrm>
              <a:off x="8297939" y="4882816"/>
              <a:ext cx="1686863" cy="678144"/>
            </a:xfrm>
            <a:custGeom>
              <a:avLst/>
              <a:gdLst>
                <a:gd name="connsiteX0" fmla="*/ 0 w 1693333"/>
                <a:gd name="connsiteY0" fmla="*/ 0 h 684107"/>
                <a:gd name="connsiteX1" fmla="*/ 684107 w 1693333"/>
                <a:gd name="connsiteY1" fmla="*/ 684107 h 684107"/>
                <a:gd name="connsiteX2" fmla="*/ 745067 w 1693333"/>
                <a:gd name="connsiteY2" fmla="*/ 684107 h 684107"/>
                <a:gd name="connsiteX3" fmla="*/ 1693333 w 1693333"/>
                <a:gd name="connsiteY3" fmla="*/ 684107 h 684107"/>
              </a:gdLst>
              <a:ahLst/>
              <a:cxnLst>
                <a:cxn ang="0">
                  <a:pos x="connsiteX0" y="connsiteY0"/>
                </a:cxn>
                <a:cxn ang="0">
                  <a:pos x="connsiteX1" y="connsiteY1"/>
                </a:cxn>
                <a:cxn ang="0">
                  <a:pos x="connsiteX2" y="connsiteY2"/>
                </a:cxn>
                <a:cxn ang="0">
                  <a:pos x="connsiteX3" y="connsiteY3"/>
                </a:cxn>
              </a:cxnLst>
              <a:rect l="l" t="t" r="r" b="b"/>
              <a:pathLst>
                <a:path w="1693333" h="684107">
                  <a:moveTo>
                    <a:pt x="0" y="0"/>
                  </a:moveTo>
                  <a:lnTo>
                    <a:pt x="684107" y="684107"/>
                  </a:lnTo>
                  <a:lnTo>
                    <a:pt x="745067" y="684107"/>
                  </a:lnTo>
                  <a:lnTo>
                    <a:pt x="1693333" y="684107"/>
                  </a:lnTo>
                </a:path>
              </a:pathLst>
            </a:custGeom>
            <a:noFill/>
            <a:ln w="12700">
              <a:solidFill>
                <a:srgbClr val="CCCCD4"/>
              </a:solidFill>
              <a:prstDash val="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cxnSp>
          <p:nvCxnSpPr>
            <p:cNvPr id="7" name="Straight Connector 6"/>
            <p:cNvCxnSpPr/>
            <p:nvPr/>
          </p:nvCxnSpPr>
          <p:spPr bwMode="auto">
            <a:xfrm>
              <a:off x="6750827" y="4261722"/>
              <a:ext cx="0" cy="580146"/>
            </a:xfrm>
            <a:prstGeom prst="line">
              <a:avLst/>
            </a:prstGeom>
            <a:solidFill>
              <a:schemeClr val="tx2"/>
            </a:solidFill>
            <a:ln w="12700" cap="flat" cmpd="sng" algn="ctr">
              <a:solidFill>
                <a:srgbClr val="CCCCD4"/>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6" name="Straight Connector 135"/>
            <p:cNvCxnSpPr/>
            <p:nvPr/>
          </p:nvCxnSpPr>
          <p:spPr bwMode="auto">
            <a:xfrm>
              <a:off x="5551963" y="2674527"/>
              <a:ext cx="0" cy="580146"/>
            </a:xfrm>
            <a:prstGeom prst="line">
              <a:avLst/>
            </a:prstGeom>
            <a:solidFill>
              <a:schemeClr val="tx2"/>
            </a:solidFill>
            <a:ln w="12700" cap="flat" cmpd="sng" algn="ctr">
              <a:solidFill>
                <a:srgbClr val="CCCCD4"/>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aphicFrame>
        <p:nvGraphicFramePr>
          <p:cNvPr id="28" name="Objekt 27"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4" imgW="360" imgH="360" progId="">
                  <p:embed/>
                </p:oleObj>
              </mc:Choice>
              <mc:Fallback>
                <p:oleObj name="think-cell Folie" r:id="rId4" imgW="360" imgH="360" progId="">
                  <p:embed/>
                  <p:pic>
                    <p:nvPicPr>
                      <p:cNvPr id="28" name="Objekt 2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a:extLst>
            <a:ext uri="{91240B29-F687-4F45-9708-019B960494DF}">
              <a14:hiddenLine xmlns:a14="http://schemas.microsoft.com/office/drawing/2010/main" w="9525">
                <a:solidFill>
                  <a:srgbClr val="000000"/>
                </a:solidFill>
                <a:round/>
                <a:headEnd/>
                <a:tailEnd/>
              </a14:hiddenLine>
            </a:ext>
          </a:extLst>
        </p:spPr>
        <p:txBody>
          <a:bodyPr/>
          <a:lstStyle/>
          <a:p>
            <a:r>
              <a:rPr lang="en-US" dirty="0"/>
              <a:t>Mindmap – network (with softening)</a:t>
            </a:r>
          </a:p>
        </p:txBody>
      </p:sp>
      <p:grpSp>
        <p:nvGrpSpPr>
          <p:cNvPr id="12" name="Group 11">
            <a:extLst>
              <a:ext uri="{FF2B5EF4-FFF2-40B4-BE49-F238E27FC236}">
                <a16:creationId xmlns:a16="http://schemas.microsoft.com/office/drawing/2014/main" id="{8E23945C-0D2A-4930-909B-B617E6185242}"/>
              </a:ext>
            </a:extLst>
          </p:cNvPr>
          <p:cNvGrpSpPr/>
          <p:nvPr/>
        </p:nvGrpSpPr>
        <p:grpSpPr>
          <a:xfrm>
            <a:off x="2432593" y="1828619"/>
            <a:ext cx="7654347" cy="3917515"/>
            <a:chOff x="2432593" y="1828619"/>
            <a:chExt cx="7654347" cy="3917515"/>
          </a:xfrm>
        </p:grpSpPr>
        <p:sp>
          <p:nvSpPr>
            <p:cNvPr id="85" name="Freeform 84">
              <a:extLst>
                <a:ext uri="{FF2B5EF4-FFF2-40B4-BE49-F238E27FC236}">
                  <a16:creationId xmlns:a16="http://schemas.microsoft.com/office/drawing/2014/main" id="{95D6550B-D2C5-0B4E-9DF8-82442D20D9F3}"/>
                </a:ext>
              </a:extLst>
            </p:cNvPr>
            <p:cNvSpPr/>
            <p:nvPr/>
          </p:nvSpPr>
          <p:spPr bwMode="auto">
            <a:xfrm>
              <a:off x="7203002" y="3794000"/>
              <a:ext cx="368646" cy="176014"/>
            </a:xfrm>
            <a:custGeom>
              <a:avLst/>
              <a:gdLst>
                <a:gd name="connsiteX0" fmla="*/ 0 w 467360"/>
                <a:gd name="connsiteY0" fmla="*/ 176106 h 176106"/>
                <a:gd name="connsiteX1" fmla="*/ 176106 w 467360"/>
                <a:gd name="connsiteY1" fmla="*/ 0 h 176106"/>
                <a:gd name="connsiteX2" fmla="*/ 467360 w 467360"/>
                <a:gd name="connsiteY2" fmla="*/ 0 h 176106"/>
                <a:gd name="connsiteX0" fmla="*/ 0 w 368838"/>
                <a:gd name="connsiteY0" fmla="*/ 176106 h 176106"/>
                <a:gd name="connsiteX1" fmla="*/ 176106 w 368838"/>
                <a:gd name="connsiteY1" fmla="*/ 0 h 176106"/>
                <a:gd name="connsiteX2" fmla="*/ 368838 w 368838"/>
                <a:gd name="connsiteY2" fmla="*/ 0 h 176106"/>
              </a:gdLst>
              <a:ahLst/>
              <a:cxnLst>
                <a:cxn ang="0">
                  <a:pos x="connsiteX0" y="connsiteY0"/>
                </a:cxn>
                <a:cxn ang="0">
                  <a:pos x="connsiteX1" y="connsiteY1"/>
                </a:cxn>
                <a:cxn ang="0">
                  <a:pos x="connsiteX2" y="connsiteY2"/>
                </a:cxn>
              </a:cxnLst>
              <a:rect l="l" t="t" r="r" b="b"/>
              <a:pathLst>
                <a:path w="368838" h="176106">
                  <a:moveTo>
                    <a:pt x="0" y="176106"/>
                  </a:moveTo>
                  <a:lnTo>
                    <a:pt x="176106" y="0"/>
                  </a:lnTo>
                  <a:lnTo>
                    <a:pt x="368838" y="0"/>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89" name="Freeform 88">
              <a:extLst>
                <a:ext uri="{FF2B5EF4-FFF2-40B4-BE49-F238E27FC236}">
                  <a16:creationId xmlns:a16="http://schemas.microsoft.com/office/drawing/2014/main" id="{9AAAA994-E175-2449-9C0D-A2DEF38FF5AC}"/>
                </a:ext>
              </a:extLst>
            </p:cNvPr>
            <p:cNvSpPr/>
            <p:nvPr/>
          </p:nvSpPr>
          <p:spPr bwMode="auto">
            <a:xfrm>
              <a:off x="6405239" y="4267045"/>
              <a:ext cx="451648" cy="1479089"/>
            </a:xfrm>
            <a:custGeom>
              <a:avLst/>
              <a:gdLst>
                <a:gd name="connsiteX0" fmla="*/ 0 w 451883"/>
                <a:gd name="connsiteY0" fmla="*/ 0 h 1562986"/>
                <a:gd name="connsiteX1" fmla="*/ 0 w 451883"/>
                <a:gd name="connsiteY1" fmla="*/ 1111103 h 1562986"/>
                <a:gd name="connsiteX2" fmla="*/ 451883 w 451883"/>
                <a:gd name="connsiteY2" fmla="*/ 1562986 h 1562986"/>
                <a:gd name="connsiteX0" fmla="*/ 0 w 451883"/>
                <a:gd name="connsiteY0" fmla="*/ 0 h 1479859"/>
                <a:gd name="connsiteX1" fmla="*/ 0 w 451883"/>
                <a:gd name="connsiteY1" fmla="*/ 1027976 h 1479859"/>
                <a:gd name="connsiteX2" fmla="*/ 451883 w 451883"/>
                <a:gd name="connsiteY2" fmla="*/ 1479859 h 1479859"/>
              </a:gdLst>
              <a:ahLst/>
              <a:cxnLst>
                <a:cxn ang="0">
                  <a:pos x="connsiteX0" y="connsiteY0"/>
                </a:cxn>
                <a:cxn ang="0">
                  <a:pos x="connsiteX1" y="connsiteY1"/>
                </a:cxn>
                <a:cxn ang="0">
                  <a:pos x="connsiteX2" y="connsiteY2"/>
                </a:cxn>
              </a:cxnLst>
              <a:rect l="l" t="t" r="r" b="b"/>
              <a:pathLst>
                <a:path w="451883" h="1479859">
                  <a:moveTo>
                    <a:pt x="0" y="0"/>
                  </a:moveTo>
                  <a:lnTo>
                    <a:pt x="0" y="1027976"/>
                  </a:lnTo>
                  <a:lnTo>
                    <a:pt x="451883" y="1479859"/>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94" name="Freeform 93">
              <a:extLst>
                <a:ext uri="{FF2B5EF4-FFF2-40B4-BE49-F238E27FC236}">
                  <a16:creationId xmlns:a16="http://schemas.microsoft.com/office/drawing/2014/main" id="{EFD4F5FE-6E57-D94B-8341-A75767A8D51E}"/>
                </a:ext>
              </a:extLst>
            </p:cNvPr>
            <p:cNvSpPr/>
            <p:nvPr/>
          </p:nvSpPr>
          <p:spPr bwMode="auto">
            <a:xfrm>
              <a:off x="2432593" y="2350530"/>
              <a:ext cx="2907600" cy="1176978"/>
            </a:xfrm>
            <a:custGeom>
              <a:avLst/>
              <a:gdLst>
                <a:gd name="connsiteX0" fmla="*/ 0 w 3018817"/>
                <a:gd name="connsiteY0" fmla="*/ 0 h 1215957"/>
                <a:gd name="connsiteX1" fmla="*/ 797668 w 3018817"/>
                <a:gd name="connsiteY1" fmla="*/ 0 h 1215957"/>
                <a:gd name="connsiteX2" fmla="*/ 1128408 w 3018817"/>
                <a:gd name="connsiteY2" fmla="*/ 330740 h 1215957"/>
                <a:gd name="connsiteX3" fmla="*/ 1170562 w 3018817"/>
                <a:gd name="connsiteY3" fmla="*/ 330740 h 1215957"/>
                <a:gd name="connsiteX4" fmla="*/ 2062264 w 3018817"/>
                <a:gd name="connsiteY4" fmla="*/ 330740 h 1215957"/>
                <a:gd name="connsiteX5" fmla="*/ 2947481 w 3018817"/>
                <a:gd name="connsiteY5" fmla="*/ 1215957 h 1215957"/>
                <a:gd name="connsiteX6" fmla="*/ 3018817 w 3018817"/>
                <a:gd name="connsiteY6" fmla="*/ 1215957 h 1215957"/>
                <a:gd name="connsiteX0" fmla="*/ 0 w 2947481"/>
                <a:gd name="connsiteY0" fmla="*/ 0 h 1215957"/>
                <a:gd name="connsiteX1" fmla="*/ 797668 w 2947481"/>
                <a:gd name="connsiteY1" fmla="*/ 0 h 1215957"/>
                <a:gd name="connsiteX2" fmla="*/ 1128408 w 2947481"/>
                <a:gd name="connsiteY2" fmla="*/ 330740 h 1215957"/>
                <a:gd name="connsiteX3" fmla="*/ 1170562 w 2947481"/>
                <a:gd name="connsiteY3" fmla="*/ 330740 h 1215957"/>
                <a:gd name="connsiteX4" fmla="*/ 2062264 w 2947481"/>
                <a:gd name="connsiteY4" fmla="*/ 330740 h 1215957"/>
                <a:gd name="connsiteX5" fmla="*/ 2947481 w 2947481"/>
                <a:gd name="connsiteY5" fmla="*/ 1215957 h 1215957"/>
                <a:gd name="connsiteX6" fmla="*/ 2940995 w 2947481"/>
                <a:gd name="connsiteY6" fmla="*/ 1215957 h 1215957"/>
                <a:gd name="connsiteX0" fmla="*/ 0 w 3084893"/>
                <a:gd name="connsiteY0" fmla="*/ 0 h 1267112"/>
                <a:gd name="connsiteX1" fmla="*/ 797668 w 3084893"/>
                <a:gd name="connsiteY1" fmla="*/ 0 h 1267112"/>
                <a:gd name="connsiteX2" fmla="*/ 1128408 w 3084893"/>
                <a:gd name="connsiteY2" fmla="*/ 330740 h 1267112"/>
                <a:gd name="connsiteX3" fmla="*/ 1170562 w 3084893"/>
                <a:gd name="connsiteY3" fmla="*/ 330740 h 1267112"/>
                <a:gd name="connsiteX4" fmla="*/ 2062264 w 3084893"/>
                <a:gd name="connsiteY4" fmla="*/ 330740 h 1267112"/>
                <a:gd name="connsiteX5" fmla="*/ 2947481 w 3084893"/>
                <a:gd name="connsiteY5" fmla="*/ 1215957 h 1267112"/>
                <a:gd name="connsiteX6" fmla="*/ 3084869 w 3084893"/>
                <a:gd name="connsiteY6" fmla="*/ 1267112 h 1267112"/>
                <a:gd name="connsiteX0" fmla="*/ 0 w 2947481"/>
                <a:gd name="connsiteY0" fmla="*/ 0 h 1215957"/>
                <a:gd name="connsiteX1" fmla="*/ 797668 w 2947481"/>
                <a:gd name="connsiteY1" fmla="*/ 0 h 1215957"/>
                <a:gd name="connsiteX2" fmla="*/ 1128408 w 2947481"/>
                <a:gd name="connsiteY2" fmla="*/ 330740 h 1215957"/>
                <a:gd name="connsiteX3" fmla="*/ 1170562 w 2947481"/>
                <a:gd name="connsiteY3" fmla="*/ 330740 h 1215957"/>
                <a:gd name="connsiteX4" fmla="*/ 2062264 w 2947481"/>
                <a:gd name="connsiteY4" fmla="*/ 330740 h 1215957"/>
                <a:gd name="connsiteX5" fmla="*/ 2947481 w 2947481"/>
                <a:gd name="connsiteY5" fmla="*/ 1215957 h 1215957"/>
                <a:gd name="connsiteX0" fmla="*/ 0 w 2909115"/>
                <a:gd name="connsiteY0" fmla="*/ 0 h 1177591"/>
                <a:gd name="connsiteX1" fmla="*/ 797668 w 2909115"/>
                <a:gd name="connsiteY1" fmla="*/ 0 h 1177591"/>
                <a:gd name="connsiteX2" fmla="*/ 1128408 w 2909115"/>
                <a:gd name="connsiteY2" fmla="*/ 330740 h 1177591"/>
                <a:gd name="connsiteX3" fmla="*/ 1170562 w 2909115"/>
                <a:gd name="connsiteY3" fmla="*/ 330740 h 1177591"/>
                <a:gd name="connsiteX4" fmla="*/ 2062264 w 2909115"/>
                <a:gd name="connsiteY4" fmla="*/ 330740 h 1177591"/>
                <a:gd name="connsiteX5" fmla="*/ 2909115 w 2909115"/>
                <a:gd name="connsiteY5" fmla="*/ 1177591 h 1177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09115" h="1177591">
                  <a:moveTo>
                    <a:pt x="0" y="0"/>
                  </a:moveTo>
                  <a:lnTo>
                    <a:pt x="797668" y="0"/>
                  </a:lnTo>
                  <a:lnTo>
                    <a:pt x="1128408" y="330740"/>
                  </a:lnTo>
                  <a:lnTo>
                    <a:pt x="1170562" y="330740"/>
                  </a:lnTo>
                  <a:lnTo>
                    <a:pt x="2062264" y="330740"/>
                  </a:lnTo>
                  <a:lnTo>
                    <a:pt x="2909115" y="1177591"/>
                  </a:lnTo>
                </a:path>
              </a:pathLst>
            </a:custGeom>
            <a:noFill/>
            <a:ln w="22225">
              <a:solidFill>
                <a:schemeClr val="accent2"/>
              </a:solidFill>
            </a:ln>
            <a:effec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95" name="Freeform 94">
              <a:extLst>
                <a:ext uri="{FF2B5EF4-FFF2-40B4-BE49-F238E27FC236}">
                  <a16:creationId xmlns:a16="http://schemas.microsoft.com/office/drawing/2014/main" id="{6FF7DB83-5F85-F04E-8DB2-ED696764F1C7}"/>
                </a:ext>
              </a:extLst>
            </p:cNvPr>
            <p:cNvSpPr/>
            <p:nvPr/>
          </p:nvSpPr>
          <p:spPr bwMode="auto">
            <a:xfrm>
              <a:off x="2432593" y="2897333"/>
              <a:ext cx="2567297" cy="697906"/>
            </a:xfrm>
            <a:custGeom>
              <a:avLst/>
              <a:gdLst>
                <a:gd name="connsiteX0" fmla="*/ 0 w 2568634"/>
                <a:gd name="connsiteY0" fmla="*/ 0 h 698269"/>
                <a:gd name="connsiteX1" fmla="*/ 822960 w 2568634"/>
                <a:gd name="connsiteY1" fmla="*/ 0 h 698269"/>
                <a:gd name="connsiteX2" fmla="*/ 1138843 w 2568634"/>
                <a:gd name="connsiteY2" fmla="*/ 315883 h 698269"/>
                <a:gd name="connsiteX3" fmla="*/ 2186248 w 2568634"/>
                <a:gd name="connsiteY3" fmla="*/ 315883 h 698269"/>
                <a:gd name="connsiteX4" fmla="*/ 2568634 w 2568634"/>
                <a:gd name="connsiteY4" fmla="*/ 698269 h 698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8634" h="698269">
                  <a:moveTo>
                    <a:pt x="0" y="0"/>
                  </a:moveTo>
                  <a:lnTo>
                    <a:pt x="822960" y="0"/>
                  </a:lnTo>
                  <a:lnTo>
                    <a:pt x="1138843" y="315883"/>
                  </a:lnTo>
                  <a:lnTo>
                    <a:pt x="2186248" y="315883"/>
                  </a:lnTo>
                  <a:lnTo>
                    <a:pt x="2568634" y="698269"/>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96" name="Freeform 95">
              <a:extLst>
                <a:ext uri="{FF2B5EF4-FFF2-40B4-BE49-F238E27FC236}">
                  <a16:creationId xmlns:a16="http://schemas.microsoft.com/office/drawing/2014/main" id="{E1B2F581-5399-4C40-BF86-05E4D9487BB4}"/>
                </a:ext>
              </a:extLst>
            </p:cNvPr>
            <p:cNvSpPr/>
            <p:nvPr/>
          </p:nvSpPr>
          <p:spPr bwMode="auto">
            <a:xfrm>
              <a:off x="2449900" y="3597842"/>
              <a:ext cx="2882160" cy="386298"/>
            </a:xfrm>
            <a:custGeom>
              <a:avLst/>
              <a:gdLst>
                <a:gd name="connsiteX0" fmla="*/ 0 w 3129699"/>
                <a:gd name="connsiteY0" fmla="*/ 386499 h 386499"/>
                <a:gd name="connsiteX1" fmla="*/ 829559 w 3129699"/>
                <a:gd name="connsiteY1" fmla="*/ 386499 h 386499"/>
                <a:gd name="connsiteX2" fmla="*/ 1216058 w 3129699"/>
                <a:gd name="connsiteY2" fmla="*/ 0 h 386499"/>
                <a:gd name="connsiteX3" fmla="*/ 3129699 w 3129699"/>
                <a:gd name="connsiteY3" fmla="*/ 0 h 386499"/>
                <a:gd name="connsiteX0" fmla="*/ 0 w 2877120"/>
                <a:gd name="connsiteY0" fmla="*/ 386499 h 386499"/>
                <a:gd name="connsiteX1" fmla="*/ 829559 w 2877120"/>
                <a:gd name="connsiteY1" fmla="*/ 386499 h 386499"/>
                <a:gd name="connsiteX2" fmla="*/ 1216058 w 2877120"/>
                <a:gd name="connsiteY2" fmla="*/ 0 h 386499"/>
                <a:gd name="connsiteX3" fmla="*/ 2877120 w 2877120"/>
                <a:gd name="connsiteY3" fmla="*/ 0 h 386499"/>
              </a:gdLst>
              <a:ahLst/>
              <a:cxnLst>
                <a:cxn ang="0">
                  <a:pos x="connsiteX0" y="connsiteY0"/>
                </a:cxn>
                <a:cxn ang="0">
                  <a:pos x="connsiteX1" y="connsiteY1"/>
                </a:cxn>
                <a:cxn ang="0">
                  <a:pos x="connsiteX2" y="connsiteY2"/>
                </a:cxn>
                <a:cxn ang="0">
                  <a:pos x="connsiteX3" y="connsiteY3"/>
                </a:cxn>
              </a:cxnLst>
              <a:rect l="l" t="t" r="r" b="b"/>
              <a:pathLst>
                <a:path w="2877120" h="386499">
                  <a:moveTo>
                    <a:pt x="0" y="386499"/>
                  </a:moveTo>
                  <a:lnTo>
                    <a:pt x="829559" y="386499"/>
                  </a:lnTo>
                  <a:lnTo>
                    <a:pt x="1216058" y="0"/>
                  </a:lnTo>
                  <a:lnTo>
                    <a:pt x="2877120" y="0"/>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97" name="Freeform 96">
              <a:extLst>
                <a:ext uri="{FF2B5EF4-FFF2-40B4-BE49-F238E27FC236}">
                  <a16:creationId xmlns:a16="http://schemas.microsoft.com/office/drawing/2014/main" id="{37B6C0DF-9FC8-4342-BB6F-14397AF3DA7A}"/>
                </a:ext>
              </a:extLst>
            </p:cNvPr>
            <p:cNvSpPr/>
            <p:nvPr/>
          </p:nvSpPr>
          <p:spPr bwMode="auto">
            <a:xfrm>
              <a:off x="3005791" y="3635434"/>
              <a:ext cx="452251" cy="179016"/>
            </a:xfrm>
            <a:custGeom>
              <a:avLst/>
              <a:gdLst>
                <a:gd name="connsiteX0" fmla="*/ 0 w 452487"/>
                <a:gd name="connsiteY0" fmla="*/ 0 h 179109"/>
                <a:gd name="connsiteX1" fmla="*/ 273378 w 452487"/>
                <a:gd name="connsiteY1" fmla="*/ 0 h 179109"/>
                <a:gd name="connsiteX2" fmla="*/ 452487 w 452487"/>
                <a:gd name="connsiteY2" fmla="*/ 179109 h 179109"/>
              </a:gdLst>
              <a:ahLst/>
              <a:cxnLst>
                <a:cxn ang="0">
                  <a:pos x="connsiteX0" y="connsiteY0"/>
                </a:cxn>
                <a:cxn ang="0">
                  <a:pos x="connsiteX1" y="connsiteY1"/>
                </a:cxn>
                <a:cxn ang="0">
                  <a:pos x="connsiteX2" y="connsiteY2"/>
                </a:cxn>
              </a:cxnLst>
              <a:rect l="l" t="t" r="r" b="b"/>
              <a:pathLst>
                <a:path w="452487" h="179109">
                  <a:moveTo>
                    <a:pt x="0" y="0"/>
                  </a:moveTo>
                  <a:lnTo>
                    <a:pt x="273378" y="0"/>
                  </a:lnTo>
                  <a:lnTo>
                    <a:pt x="452487" y="179109"/>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98" name="Freeform 97">
              <a:extLst>
                <a:ext uri="{FF2B5EF4-FFF2-40B4-BE49-F238E27FC236}">
                  <a16:creationId xmlns:a16="http://schemas.microsoft.com/office/drawing/2014/main" id="{09DECEF8-223B-BC4B-84FD-C761173E06AB}"/>
                </a:ext>
              </a:extLst>
            </p:cNvPr>
            <p:cNvSpPr/>
            <p:nvPr/>
          </p:nvSpPr>
          <p:spPr bwMode="auto">
            <a:xfrm>
              <a:off x="4799721" y="3597232"/>
              <a:ext cx="482349" cy="208172"/>
            </a:xfrm>
            <a:custGeom>
              <a:avLst/>
              <a:gdLst>
                <a:gd name="connsiteX0" fmla="*/ 0 w 482600"/>
                <a:gd name="connsiteY0" fmla="*/ 208280 h 208280"/>
                <a:gd name="connsiteX1" fmla="*/ 259080 w 482600"/>
                <a:gd name="connsiteY1" fmla="*/ 203200 h 208280"/>
                <a:gd name="connsiteX2" fmla="*/ 482600 w 482600"/>
                <a:gd name="connsiteY2" fmla="*/ 0 h 208280"/>
              </a:gdLst>
              <a:ahLst/>
              <a:cxnLst>
                <a:cxn ang="0">
                  <a:pos x="connsiteX0" y="connsiteY0"/>
                </a:cxn>
                <a:cxn ang="0">
                  <a:pos x="connsiteX1" y="connsiteY1"/>
                </a:cxn>
                <a:cxn ang="0">
                  <a:pos x="connsiteX2" y="connsiteY2"/>
                </a:cxn>
              </a:cxnLst>
              <a:rect l="l" t="t" r="r" b="b"/>
              <a:pathLst>
                <a:path w="482600" h="208280">
                  <a:moveTo>
                    <a:pt x="0" y="208280"/>
                  </a:moveTo>
                  <a:lnTo>
                    <a:pt x="259080" y="203200"/>
                  </a:lnTo>
                  <a:lnTo>
                    <a:pt x="482600" y="0"/>
                  </a:lnTo>
                </a:path>
              </a:pathLst>
            </a:custGeom>
            <a:noFill/>
            <a:ln w="22225">
              <a:solidFill>
                <a:schemeClr val="accent2"/>
              </a:solidFill>
              <a:prstDash val="solid"/>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99" name="Freeform 98">
              <a:extLst>
                <a:ext uri="{FF2B5EF4-FFF2-40B4-BE49-F238E27FC236}">
                  <a16:creationId xmlns:a16="http://schemas.microsoft.com/office/drawing/2014/main" id="{9E5FF257-D650-C642-9BF9-E91B70D9FA1D}"/>
                </a:ext>
              </a:extLst>
            </p:cNvPr>
            <p:cNvSpPr/>
            <p:nvPr/>
          </p:nvSpPr>
          <p:spPr bwMode="auto">
            <a:xfrm>
              <a:off x="2443828" y="3972956"/>
              <a:ext cx="3010872" cy="416343"/>
            </a:xfrm>
            <a:custGeom>
              <a:avLst/>
              <a:gdLst>
                <a:gd name="connsiteX0" fmla="*/ 3012440 w 3012440"/>
                <a:gd name="connsiteY0" fmla="*/ 0 h 416560"/>
                <a:gd name="connsiteX1" fmla="*/ 1203960 w 3012440"/>
                <a:gd name="connsiteY1" fmla="*/ 0 h 416560"/>
                <a:gd name="connsiteX2" fmla="*/ 787400 w 3012440"/>
                <a:gd name="connsiteY2" fmla="*/ 416560 h 416560"/>
                <a:gd name="connsiteX3" fmla="*/ 731520 w 3012440"/>
                <a:gd name="connsiteY3" fmla="*/ 416560 h 416560"/>
                <a:gd name="connsiteX4" fmla="*/ 0 w 3012440"/>
                <a:gd name="connsiteY4" fmla="*/ 416560 h 416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2440" h="416560">
                  <a:moveTo>
                    <a:pt x="3012440" y="0"/>
                  </a:moveTo>
                  <a:lnTo>
                    <a:pt x="1203960" y="0"/>
                  </a:lnTo>
                  <a:lnTo>
                    <a:pt x="787400" y="416560"/>
                  </a:lnTo>
                  <a:lnTo>
                    <a:pt x="731520" y="416560"/>
                  </a:lnTo>
                  <a:lnTo>
                    <a:pt x="0" y="416560"/>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00" name="Freeform 99">
              <a:extLst>
                <a:ext uri="{FF2B5EF4-FFF2-40B4-BE49-F238E27FC236}">
                  <a16:creationId xmlns:a16="http://schemas.microsoft.com/office/drawing/2014/main" id="{5799BE6B-F6E3-DB4A-8A14-AD3372176FF1}"/>
                </a:ext>
              </a:extLst>
            </p:cNvPr>
            <p:cNvSpPr/>
            <p:nvPr/>
          </p:nvSpPr>
          <p:spPr bwMode="auto">
            <a:xfrm>
              <a:off x="3096659" y="4067473"/>
              <a:ext cx="2258447" cy="1080891"/>
            </a:xfrm>
            <a:custGeom>
              <a:avLst/>
              <a:gdLst>
                <a:gd name="connsiteX0" fmla="*/ 2259623 w 2259623"/>
                <a:gd name="connsiteY0" fmla="*/ 0 h 1081454"/>
                <a:gd name="connsiteX1" fmla="*/ 1178169 w 2259623"/>
                <a:gd name="connsiteY1" fmla="*/ 1081454 h 1081454"/>
                <a:gd name="connsiteX2" fmla="*/ 0 w 2259623"/>
                <a:gd name="connsiteY2" fmla="*/ 1081454 h 1081454"/>
              </a:gdLst>
              <a:ahLst/>
              <a:cxnLst>
                <a:cxn ang="0">
                  <a:pos x="connsiteX0" y="connsiteY0"/>
                </a:cxn>
                <a:cxn ang="0">
                  <a:pos x="connsiteX1" y="connsiteY1"/>
                </a:cxn>
                <a:cxn ang="0">
                  <a:pos x="connsiteX2" y="connsiteY2"/>
                </a:cxn>
              </a:cxnLst>
              <a:rect l="l" t="t" r="r" b="b"/>
              <a:pathLst>
                <a:path w="2259623" h="1081454">
                  <a:moveTo>
                    <a:pt x="2259623" y="0"/>
                  </a:moveTo>
                  <a:lnTo>
                    <a:pt x="1178169" y="1081454"/>
                  </a:lnTo>
                  <a:lnTo>
                    <a:pt x="0" y="1081454"/>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02" name="Freeform 101">
              <a:extLst>
                <a:ext uri="{FF2B5EF4-FFF2-40B4-BE49-F238E27FC236}">
                  <a16:creationId xmlns:a16="http://schemas.microsoft.com/office/drawing/2014/main" id="{5FAE60FF-2D77-8F48-AC43-65095D29B5C2}"/>
                </a:ext>
              </a:extLst>
            </p:cNvPr>
            <p:cNvSpPr/>
            <p:nvPr/>
          </p:nvSpPr>
          <p:spPr bwMode="auto">
            <a:xfrm>
              <a:off x="2527374" y="5148364"/>
              <a:ext cx="1275340" cy="411266"/>
            </a:xfrm>
            <a:custGeom>
              <a:avLst/>
              <a:gdLst>
                <a:gd name="connsiteX0" fmla="*/ 0 w 1276004"/>
                <a:gd name="connsiteY0" fmla="*/ 411480 h 411480"/>
                <a:gd name="connsiteX1" fmla="*/ 864524 w 1276004"/>
                <a:gd name="connsiteY1" fmla="*/ 411480 h 411480"/>
                <a:gd name="connsiteX2" fmla="*/ 1276004 w 1276004"/>
                <a:gd name="connsiteY2" fmla="*/ 0 h 411480"/>
              </a:gdLst>
              <a:ahLst/>
              <a:cxnLst>
                <a:cxn ang="0">
                  <a:pos x="connsiteX0" y="connsiteY0"/>
                </a:cxn>
                <a:cxn ang="0">
                  <a:pos x="connsiteX1" y="connsiteY1"/>
                </a:cxn>
                <a:cxn ang="0">
                  <a:pos x="connsiteX2" y="connsiteY2"/>
                </a:cxn>
              </a:cxnLst>
              <a:rect l="l" t="t" r="r" b="b"/>
              <a:pathLst>
                <a:path w="1276004" h="411480">
                  <a:moveTo>
                    <a:pt x="0" y="411480"/>
                  </a:moveTo>
                  <a:lnTo>
                    <a:pt x="864524" y="411480"/>
                  </a:lnTo>
                  <a:lnTo>
                    <a:pt x="1276004" y="0"/>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03" name="Freeform 102">
              <a:extLst>
                <a:ext uri="{FF2B5EF4-FFF2-40B4-BE49-F238E27FC236}">
                  <a16:creationId xmlns:a16="http://schemas.microsoft.com/office/drawing/2014/main" id="{E38276D7-DBEB-FA43-BC8B-6373A0D89216}"/>
                </a:ext>
              </a:extLst>
            </p:cNvPr>
            <p:cNvSpPr/>
            <p:nvPr/>
          </p:nvSpPr>
          <p:spPr bwMode="auto">
            <a:xfrm>
              <a:off x="5534245" y="1828619"/>
              <a:ext cx="480656" cy="1388970"/>
            </a:xfrm>
            <a:custGeom>
              <a:avLst/>
              <a:gdLst>
                <a:gd name="connsiteX0" fmla="*/ 0 w 480906"/>
                <a:gd name="connsiteY0" fmla="*/ 0 h 1466426"/>
                <a:gd name="connsiteX1" fmla="*/ 480906 w 480906"/>
                <a:gd name="connsiteY1" fmla="*/ 480906 h 1466426"/>
                <a:gd name="connsiteX2" fmla="*/ 480906 w 480906"/>
                <a:gd name="connsiteY2" fmla="*/ 1466426 h 1466426"/>
                <a:gd name="connsiteX0" fmla="*/ 0 w 480906"/>
                <a:gd name="connsiteY0" fmla="*/ 0 h 1389693"/>
                <a:gd name="connsiteX1" fmla="*/ 480906 w 480906"/>
                <a:gd name="connsiteY1" fmla="*/ 480906 h 1389693"/>
                <a:gd name="connsiteX2" fmla="*/ 480906 w 480906"/>
                <a:gd name="connsiteY2" fmla="*/ 1389693 h 1389693"/>
              </a:gdLst>
              <a:ahLst/>
              <a:cxnLst>
                <a:cxn ang="0">
                  <a:pos x="connsiteX0" y="connsiteY0"/>
                </a:cxn>
                <a:cxn ang="0">
                  <a:pos x="connsiteX1" y="connsiteY1"/>
                </a:cxn>
                <a:cxn ang="0">
                  <a:pos x="connsiteX2" y="connsiteY2"/>
                </a:cxn>
              </a:cxnLst>
              <a:rect l="l" t="t" r="r" b="b"/>
              <a:pathLst>
                <a:path w="480906" h="1389693">
                  <a:moveTo>
                    <a:pt x="0" y="0"/>
                  </a:moveTo>
                  <a:lnTo>
                    <a:pt x="480906" y="480906"/>
                  </a:lnTo>
                  <a:lnTo>
                    <a:pt x="480906" y="1389693"/>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04" name="Freeform 103">
              <a:extLst>
                <a:ext uri="{FF2B5EF4-FFF2-40B4-BE49-F238E27FC236}">
                  <a16:creationId xmlns:a16="http://schemas.microsoft.com/office/drawing/2014/main" id="{F66F149C-6338-BF41-8404-CCDEE35C024C}"/>
                </a:ext>
              </a:extLst>
            </p:cNvPr>
            <p:cNvSpPr/>
            <p:nvPr/>
          </p:nvSpPr>
          <p:spPr bwMode="auto">
            <a:xfrm>
              <a:off x="5429904" y="4188013"/>
              <a:ext cx="398513" cy="658876"/>
            </a:xfrm>
            <a:custGeom>
              <a:avLst/>
              <a:gdLst>
                <a:gd name="connsiteX0" fmla="*/ 398721 w 398721"/>
                <a:gd name="connsiteY0" fmla="*/ 0 h 659219"/>
                <a:gd name="connsiteX1" fmla="*/ 0 w 398721"/>
                <a:gd name="connsiteY1" fmla="*/ 398721 h 659219"/>
                <a:gd name="connsiteX2" fmla="*/ 0 w 398721"/>
                <a:gd name="connsiteY2" fmla="*/ 659219 h 659219"/>
              </a:gdLst>
              <a:ahLst/>
              <a:cxnLst>
                <a:cxn ang="0">
                  <a:pos x="connsiteX0" y="connsiteY0"/>
                </a:cxn>
                <a:cxn ang="0">
                  <a:pos x="connsiteX1" y="connsiteY1"/>
                </a:cxn>
                <a:cxn ang="0">
                  <a:pos x="connsiteX2" y="connsiteY2"/>
                </a:cxn>
              </a:cxnLst>
              <a:rect l="l" t="t" r="r" b="b"/>
              <a:pathLst>
                <a:path w="398721" h="659219">
                  <a:moveTo>
                    <a:pt x="398721" y="0"/>
                  </a:moveTo>
                  <a:lnTo>
                    <a:pt x="0" y="398721"/>
                  </a:lnTo>
                  <a:lnTo>
                    <a:pt x="0" y="659219"/>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07" name="Freeform 106">
              <a:extLst>
                <a:ext uri="{FF2B5EF4-FFF2-40B4-BE49-F238E27FC236}">
                  <a16:creationId xmlns:a16="http://schemas.microsoft.com/office/drawing/2014/main" id="{3EA5E0E4-ACBE-9042-B5D4-697663728D87}"/>
                </a:ext>
              </a:extLst>
            </p:cNvPr>
            <p:cNvSpPr/>
            <p:nvPr/>
          </p:nvSpPr>
          <p:spPr bwMode="auto">
            <a:xfrm>
              <a:off x="8817874" y="2339103"/>
              <a:ext cx="1227422" cy="345379"/>
            </a:xfrm>
            <a:custGeom>
              <a:avLst/>
              <a:gdLst>
                <a:gd name="connsiteX0" fmla="*/ 0 w 2998381"/>
                <a:gd name="connsiteY0" fmla="*/ 1254642 h 1254642"/>
                <a:gd name="connsiteX1" fmla="*/ 909083 w 2998381"/>
                <a:gd name="connsiteY1" fmla="*/ 345559 h 1254642"/>
                <a:gd name="connsiteX2" fmla="*/ 1770320 w 2998381"/>
                <a:gd name="connsiteY2" fmla="*/ 345559 h 1254642"/>
                <a:gd name="connsiteX3" fmla="*/ 2115879 w 2998381"/>
                <a:gd name="connsiteY3" fmla="*/ 0 h 1254642"/>
                <a:gd name="connsiteX4" fmla="*/ 2174358 w 2998381"/>
                <a:gd name="connsiteY4" fmla="*/ 0 h 1254642"/>
                <a:gd name="connsiteX5" fmla="*/ 2998381 w 2998381"/>
                <a:gd name="connsiteY5" fmla="*/ 0 h 1254642"/>
                <a:gd name="connsiteX0" fmla="*/ 0 w 2089298"/>
                <a:gd name="connsiteY0" fmla="*/ 345559 h 345559"/>
                <a:gd name="connsiteX1" fmla="*/ 861237 w 2089298"/>
                <a:gd name="connsiteY1" fmla="*/ 345559 h 345559"/>
                <a:gd name="connsiteX2" fmla="*/ 1206796 w 2089298"/>
                <a:gd name="connsiteY2" fmla="*/ 0 h 345559"/>
                <a:gd name="connsiteX3" fmla="*/ 1265275 w 2089298"/>
                <a:gd name="connsiteY3" fmla="*/ 0 h 345559"/>
                <a:gd name="connsiteX4" fmla="*/ 2089298 w 2089298"/>
                <a:gd name="connsiteY4" fmla="*/ 0 h 345559"/>
                <a:gd name="connsiteX0" fmla="*/ 0 w 1228061"/>
                <a:gd name="connsiteY0" fmla="*/ 345559 h 345559"/>
                <a:gd name="connsiteX1" fmla="*/ 345559 w 1228061"/>
                <a:gd name="connsiteY1" fmla="*/ 0 h 345559"/>
                <a:gd name="connsiteX2" fmla="*/ 404038 w 1228061"/>
                <a:gd name="connsiteY2" fmla="*/ 0 h 345559"/>
                <a:gd name="connsiteX3" fmla="*/ 1228061 w 1228061"/>
                <a:gd name="connsiteY3" fmla="*/ 0 h 345559"/>
              </a:gdLst>
              <a:ahLst/>
              <a:cxnLst>
                <a:cxn ang="0">
                  <a:pos x="connsiteX0" y="connsiteY0"/>
                </a:cxn>
                <a:cxn ang="0">
                  <a:pos x="connsiteX1" y="connsiteY1"/>
                </a:cxn>
                <a:cxn ang="0">
                  <a:pos x="connsiteX2" y="connsiteY2"/>
                </a:cxn>
                <a:cxn ang="0">
                  <a:pos x="connsiteX3" y="connsiteY3"/>
                </a:cxn>
              </a:cxnLst>
              <a:rect l="l" t="t" r="r" b="b"/>
              <a:pathLst>
                <a:path w="1228061" h="345559">
                  <a:moveTo>
                    <a:pt x="0" y="345559"/>
                  </a:moveTo>
                  <a:lnTo>
                    <a:pt x="345559" y="0"/>
                  </a:lnTo>
                  <a:lnTo>
                    <a:pt x="404038" y="0"/>
                  </a:lnTo>
                  <a:lnTo>
                    <a:pt x="1228061" y="0"/>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08" name="Freeform 107">
              <a:extLst>
                <a:ext uri="{FF2B5EF4-FFF2-40B4-BE49-F238E27FC236}">
                  <a16:creationId xmlns:a16="http://schemas.microsoft.com/office/drawing/2014/main" id="{EFE7DB5A-A804-974C-B6B2-81FA65F77EBB}"/>
                </a:ext>
              </a:extLst>
            </p:cNvPr>
            <p:cNvSpPr/>
            <p:nvPr/>
          </p:nvSpPr>
          <p:spPr bwMode="auto">
            <a:xfrm>
              <a:off x="6955702" y="2686552"/>
              <a:ext cx="2479034" cy="886281"/>
            </a:xfrm>
            <a:custGeom>
              <a:avLst/>
              <a:gdLst>
                <a:gd name="connsiteX0" fmla="*/ 0 w 2435225"/>
                <a:gd name="connsiteY0" fmla="*/ 873125 h 873125"/>
                <a:gd name="connsiteX1" fmla="*/ 873125 w 2435225"/>
                <a:gd name="connsiteY1" fmla="*/ 0 h 873125"/>
                <a:gd name="connsiteX2" fmla="*/ 908050 w 2435225"/>
                <a:gd name="connsiteY2" fmla="*/ 0 h 873125"/>
                <a:gd name="connsiteX3" fmla="*/ 2435225 w 2435225"/>
                <a:gd name="connsiteY3" fmla="*/ 0 h 873125"/>
              </a:gdLst>
              <a:ahLst/>
              <a:cxnLst>
                <a:cxn ang="0">
                  <a:pos x="connsiteX0" y="connsiteY0"/>
                </a:cxn>
                <a:cxn ang="0">
                  <a:pos x="connsiteX1" y="connsiteY1"/>
                </a:cxn>
                <a:cxn ang="0">
                  <a:pos x="connsiteX2" y="connsiteY2"/>
                </a:cxn>
                <a:cxn ang="0">
                  <a:pos x="connsiteX3" y="connsiteY3"/>
                </a:cxn>
              </a:cxnLst>
              <a:rect l="l" t="t" r="r" b="b"/>
              <a:pathLst>
                <a:path w="2435225" h="873125">
                  <a:moveTo>
                    <a:pt x="0" y="873125"/>
                  </a:moveTo>
                  <a:lnTo>
                    <a:pt x="873125" y="0"/>
                  </a:lnTo>
                  <a:lnTo>
                    <a:pt x="908050" y="0"/>
                  </a:lnTo>
                  <a:lnTo>
                    <a:pt x="2435225" y="0"/>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13" name="Freeform 112">
              <a:extLst>
                <a:ext uri="{FF2B5EF4-FFF2-40B4-BE49-F238E27FC236}">
                  <a16:creationId xmlns:a16="http://schemas.microsoft.com/office/drawing/2014/main" id="{65BF948E-DE2E-6549-8F51-95F7E068E6FD}"/>
                </a:ext>
              </a:extLst>
            </p:cNvPr>
            <p:cNvSpPr/>
            <p:nvPr/>
          </p:nvSpPr>
          <p:spPr bwMode="auto">
            <a:xfrm>
              <a:off x="6972829" y="3202759"/>
              <a:ext cx="3114111" cy="406188"/>
            </a:xfrm>
            <a:custGeom>
              <a:avLst/>
              <a:gdLst>
                <a:gd name="connsiteX0" fmla="*/ 3115733 w 3115733"/>
                <a:gd name="connsiteY0" fmla="*/ 0 h 406400"/>
                <a:gd name="connsiteX1" fmla="*/ 2370667 w 3115733"/>
                <a:gd name="connsiteY1" fmla="*/ 6773 h 406400"/>
                <a:gd name="connsiteX2" fmla="*/ 1971040 w 3115733"/>
                <a:gd name="connsiteY2" fmla="*/ 406400 h 406400"/>
                <a:gd name="connsiteX3" fmla="*/ 0 w 3115733"/>
                <a:gd name="connsiteY3" fmla="*/ 406400 h 406400"/>
              </a:gdLst>
              <a:ahLst/>
              <a:cxnLst>
                <a:cxn ang="0">
                  <a:pos x="connsiteX0" y="connsiteY0"/>
                </a:cxn>
                <a:cxn ang="0">
                  <a:pos x="connsiteX1" y="connsiteY1"/>
                </a:cxn>
                <a:cxn ang="0">
                  <a:pos x="connsiteX2" y="connsiteY2"/>
                </a:cxn>
                <a:cxn ang="0">
                  <a:pos x="connsiteX3" y="connsiteY3"/>
                </a:cxn>
              </a:cxnLst>
              <a:rect l="l" t="t" r="r" b="b"/>
              <a:pathLst>
                <a:path w="3115733" h="406400">
                  <a:moveTo>
                    <a:pt x="3115733" y="0"/>
                  </a:moveTo>
                  <a:lnTo>
                    <a:pt x="2370667" y="6773"/>
                  </a:lnTo>
                  <a:lnTo>
                    <a:pt x="1971040" y="406400"/>
                  </a:lnTo>
                  <a:lnTo>
                    <a:pt x="0" y="406400"/>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14" name="Freeform 113">
              <a:extLst>
                <a:ext uri="{FF2B5EF4-FFF2-40B4-BE49-F238E27FC236}">
                  <a16:creationId xmlns:a16="http://schemas.microsoft.com/office/drawing/2014/main" id="{7BCC7EE0-892E-DF49-9A4B-217E9EE1B81E}"/>
                </a:ext>
              </a:extLst>
            </p:cNvPr>
            <p:cNvSpPr/>
            <p:nvPr/>
          </p:nvSpPr>
          <p:spPr bwMode="auto">
            <a:xfrm>
              <a:off x="6986369" y="3582951"/>
              <a:ext cx="2911017" cy="385879"/>
            </a:xfrm>
            <a:custGeom>
              <a:avLst/>
              <a:gdLst>
                <a:gd name="connsiteX0" fmla="*/ 0 w 2912533"/>
                <a:gd name="connsiteY0" fmla="*/ 386080 h 386080"/>
                <a:gd name="connsiteX1" fmla="*/ 1774613 w 2912533"/>
                <a:gd name="connsiteY1" fmla="*/ 386080 h 386080"/>
                <a:gd name="connsiteX2" fmla="*/ 2160693 w 2912533"/>
                <a:gd name="connsiteY2" fmla="*/ 0 h 386080"/>
                <a:gd name="connsiteX3" fmla="*/ 2912533 w 2912533"/>
                <a:gd name="connsiteY3" fmla="*/ 0 h 386080"/>
              </a:gdLst>
              <a:ahLst/>
              <a:cxnLst>
                <a:cxn ang="0">
                  <a:pos x="connsiteX0" y="connsiteY0"/>
                </a:cxn>
                <a:cxn ang="0">
                  <a:pos x="connsiteX1" y="connsiteY1"/>
                </a:cxn>
                <a:cxn ang="0">
                  <a:pos x="connsiteX2" y="connsiteY2"/>
                </a:cxn>
                <a:cxn ang="0">
                  <a:pos x="connsiteX3" y="connsiteY3"/>
                </a:cxn>
              </a:cxnLst>
              <a:rect l="l" t="t" r="r" b="b"/>
              <a:pathLst>
                <a:path w="2912533" h="386080">
                  <a:moveTo>
                    <a:pt x="0" y="386080"/>
                  </a:moveTo>
                  <a:lnTo>
                    <a:pt x="1774613" y="386080"/>
                  </a:lnTo>
                  <a:lnTo>
                    <a:pt x="2160693" y="0"/>
                  </a:lnTo>
                  <a:lnTo>
                    <a:pt x="2912533" y="0"/>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15" name="Freeform 114">
              <a:extLst>
                <a:ext uri="{FF2B5EF4-FFF2-40B4-BE49-F238E27FC236}">
                  <a16:creationId xmlns:a16="http://schemas.microsoft.com/office/drawing/2014/main" id="{1082A796-98B0-C142-8865-722BD17399EA}"/>
                </a:ext>
              </a:extLst>
            </p:cNvPr>
            <p:cNvSpPr/>
            <p:nvPr/>
          </p:nvSpPr>
          <p:spPr bwMode="auto">
            <a:xfrm>
              <a:off x="8976692" y="3744306"/>
              <a:ext cx="494196" cy="230173"/>
            </a:xfrm>
            <a:custGeom>
              <a:avLst/>
              <a:gdLst>
                <a:gd name="connsiteX0" fmla="*/ 0 w 494453"/>
                <a:gd name="connsiteY0" fmla="*/ 0 h 230293"/>
                <a:gd name="connsiteX1" fmla="*/ 230293 w 494453"/>
                <a:gd name="connsiteY1" fmla="*/ 230293 h 230293"/>
                <a:gd name="connsiteX2" fmla="*/ 494453 w 494453"/>
                <a:gd name="connsiteY2" fmla="*/ 230293 h 230293"/>
              </a:gdLst>
              <a:ahLst/>
              <a:cxnLst>
                <a:cxn ang="0">
                  <a:pos x="connsiteX0" y="connsiteY0"/>
                </a:cxn>
                <a:cxn ang="0">
                  <a:pos x="connsiteX1" y="connsiteY1"/>
                </a:cxn>
                <a:cxn ang="0">
                  <a:pos x="connsiteX2" y="connsiteY2"/>
                </a:cxn>
              </a:cxnLst>
              <a:rect l="l" t="t" r="r" b="b"/>
              <a:pathLst>
                <a:path w="494453" h="230293">
                  <a:moveTo>
                    <a:pt x="0" y="0"/>
                  </a:moveTo>
                  <a:lnTo>
                    <a:pt x="230293" y="230293"/>
                  </a:lnTo>
                  <a:lnTo>
                    <a:pt x="494453" y="230293"/>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16" name="Freeform 115">
              <a:extLst>
                <a:ext uri="{FF2B5EF4-FFF2-40B4-BE49-F238E27FC236}">
                  <a16:creationId xmlns:a16="http://schemas.microsoft.com/office/drawing/2014/main" id="{9DF52815-81FC-004F-A518-64615D4B411E}"/>
                </a:ext>
              </a:extLst>
            </p:cNvPr>
            <p:cNvSpPr/>
            <p:nvPr/>
          </p:nvSpPr>
          <p:spPr bwMode="auto">
            <a:xfrm>
              <a:off x="7039041" y="3963142"/>
              <a:ext cx="2992254" cy="1265954"/>
            </a:xfrm>
            <a:custGeom>
              <a:avLst/>
              <a:gdLst>
                <a:gd name="connsiteX0" fmla="*/ 0 w 2993813"/>
                <a:gd name="connsiteY0" fmla="*/ 0 h 1266613"/>
                <a:gd name="connsiteX1" fmla="*/ 927946 w 2993813"/>
                <a:gd name="connsiteY1" fmla="*/ 927946 h 1266613"/>
                <a:gd name="connsiteX2" fmla="*/ 1754293 w 2993813"/>
                <a:gd name="connsiteY2" fmla="*/ 927946 h 1266613"/>
                <a:gd name="connsiteX3" fmla="*/ 2092960 w 2993813"/>
                <a:gd name="connsiteY3" fmla="*/ 1266613 h 1266613"/>
                <a:gd name="connsiteX4" fmla="*/ 2993813 w 2993813"/>
                <a:gd name="connsiteY4" fmla="*/ 1266613 h 1266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3813" h="1266613">
                  <a:moveTo>
                    <a:pt x="0" y="0"/>
                  </a:moveTo>
                  <a:lnTo>
                    <a:pt x="927946" y="927946"/>
                  </a:lnTo>
                  <a:lnTo>
                    <a:pt x="1754293" y="927946"/>
                  </a:lnTo>
                  <a:lnTo>
                    <a:pt x="2092960" y="1266613"/>
                  </a:lnTo>
                  <a:lnTo>
                    <a:pt x="2993813" y="1266613"/>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18" name="Freeform 117">
              <a:extLst>
                <a:ext uri="{FF2B5EF4-FFF2-40B4-BE49-F238E27FC236}">
                  <a16:creationId xmlns:a16="http://schemas.microsoft.com/office/drawing/2014/main" id="{E79E1BFC-673E-DD41-A556-A5F659A73A44}"/>
                </a:ext>
              </a:extLst>
            </p:cNvPr>
            <p:cNvSpPr/>
            <p:nvPr/>
          </p:nvSpPr>
          <p:spPr bwMode="auto">
            <a:xfrm>
              <a:off x="6618708" y="2680676"/>
              <a:ext cx="197202" cy="552166"/>
            </a:xfrm>
            <a:custGeom>
              <a:avLst/>
              <a:gdLst>
                <a:gd name="connsiteX0" fmla="*/ 0 w 181069"/>
                <a:gd name="connsiteY0" fmla="*/ 506994 h 506994"/>
                <a:gd name="connsiteX1" fmla="*/ 181069 w 181069"/>
                <a:gd name="connsiteY1" fmla="*/ 325925 h 506994"/>
                <a:gd name="connsiteX2" fmla="*/ 181069 w 181069"/>
                <a:gd name="connsiteY2" fmla="*/ 0 h 506994"/>
              </a:gdLst>
              <a:ahLst/>
              <a:cxnLst>
                <a:cxn ang="0">
                  <a:pos x="connsiteX0" y="connsiteY0"/>
                </a:cxn>
                <a:cxn ang="0">
                  <a:pos x="connsiteX1" y="connsiteY1"/>
                </a:cxn>
                <a:cxn ang="0">
                  <a:pos x="connsiteX2" y="connsiteY2"/>
                </a:cxn>
              </a:cxnLst>
              <a:rect l="l" t="t" r="r" b="b"/>
              <a:pathLst>
                <a:path w="181069" h="506994">
                  <a:moveTo>
                    <a:pt x="0" y="506994"/>
                  </a:moveTo>
                  <a:lnTo>
                    <a:pt x="181069" y="325925"/>
                  </a:lnTo>
                  <a:lnTo>
                    <a:pt x="181069" y="0"/>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17" name="Freeform 116">
              <a:extLst>
                <a:ext uri="{FF2B5EF4-FFF2-40B4-BE49-F238E27FC236}">
                  <a16:creationId xmlns:a16="http://schemas.microsoft.com/office/drawing/2014/main" id="{6F68C82C-7BC2-6D4E-9FFE-CA31FC4F155D}"/>
                </a:ext>
              </a:extLst>
            </p:cNvPr>
            <p:cNvSpPr/>
            <p:nvPr/>
          </p:nvSpPr>
          <p:spPr bwMode="auto">
            <a:xfrm>
              <a:off x="8942843" y="4875034"/>
              <a:ext cx="480657" cy="155705"/>
            </a:xfrm>
            <a:custGeom>
              <a:avLst/>
              <a:gdLst>
                <a:gd name="connsiteX0" fmla="*/ 0 w 480907"/>
                <a:gd name="connsiteY0" fmla="*/ 155786 h 155786"/>
                <a:gd name="connsiteX1" fmla="*/ 155786 w 480907"/>
                <a:gd name="connsiteY1" fmla="*/ 0 h 155786"/>
                <a:gd name="connsiteX2" fmla="*/ 480907 w 480907"/>
                <a:gd name="connsiteY2" fmla="*/ 0 h 155786"/>
              </a:gdLst>
              <a:ahLst/>
              <a:cxnLst>
                <a:cxn ang="0">
                  <a:pos x="connsiteX0" y="connsiteY0"/>
                </a:cxn>
                <a:cxn ang="0">
                  <a:pos x="connsiteX1" y="connsiteY1"/>
                </a:cxn>
                <a:cxn ang="0">
                  <a:pos x="connsiteX2" y="connsiteY2"/>
                </a:cxn>
              </a:cxnLst>
              <a:rect l="l" t="t" r="r" b="b"/>
              <a:pathLst>
                <a:path w="480907" h="155786">
                  <a:moveTo>
                    <a:pt x="0" y="155786"/>
                  </a:moveTo>
                  <a:lnTo>
                    <a:pt x="155786" y="0"/>
                  </a:lnTo>
                  <a:lnTo>
                    <a:pt x="480907" y="0"/>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grpSp>
      <p:sp>
        <p:nvSpPr>
          <p:cNvPr id="122" name="Rectangle 121">
            <a:extLst>
              <a:ext uri="{FF2B5EF4-FFF2-40B4-BE49-F238E27FC236}">
                <a16:creationId xmlns:a16="http://schemas.microsoft.com/office/drawing/2014/main" id="{BB3EEB47-0FAA-E148-BD7F-E4C0D85750C1}"/>
              </a:ext>
            </a:extLst>
          </p:cNvPr>
          <p:cNvSpPr/>
          <p:nvPr/>
        </p:nvSpPr>
        <p:spPr bwMode="auto">
          <a:xfrm>
            <a:off x="5327335" y="3211399"/>
            <a:ext cx="1666439" cy="1075301"/>
          </a:xfrm>
          <a:prstGeom prst="rect">
            <a:avLst/>
          </a:prstGeom>
          <a:solidFill>
            <a:srgbClr val="66667E"/>
          </a:solidFill>
          <a:ln>
            <a:noFill/>
          </a:ln>
          <a:effectLst/>
        </p:spPr>
        <p:txBody>
          <a:bodyPr wrap="square" lIns="107944" tIns="53972" rIns="107944" bIns="53972" numCol="1" spcCol="72000" rtlCol="0" anchor="ctr">
            <a:noAutofit/>
          </a:bodyPr>
          <a:lstStyle/>
          <a:p>
            <a:pPr algn="ctr">
              <a:lnSpc>
                <a:spcPct val="110000"/>
              </a:lnSpc>
              <a:spcBef>
                <a:spcPct val="0"/>
              </a:spcBef>
            </a:pPr>
            <a:r>
              <a:rPr lang="en-US" sz="1799" b="1" dirty="0">
                <a:solidFill>
                  <a:schemeClr val="bg1"/>
                </a:solidFill>
              </a:rPr>
              <a:t>Lorem </a:t>
            </a:r>
            <a:br>
              <a:rPr lang="en-US" sz="1799" b="1" dirty="0">
                <a:solidFill>
                  <a:schemeClr val="bg1"/>
                </a:solidFill>
              </a:rPr>
            </a:br>
            <a:r>
              <a:rPr lang="en-US" sz="1799" b="1" dirty="0">
                <a:solidFill>
                  <a:schemeClr val="bg1"/>
                </a:solidFill>
              </a:rPr>
              <a:t>ipsum</a:t>
            </a:r>
          </a:p>
        </p:txBody>
      </p:sp>
      <p:grpSp>
        <p:nvGrpSpPr>
          <p:cNvPr id="4" name="Group 3"/>
          <p:cNvGrpSpPr/>
          <p:nvPr/>
        </p:nvGrpSpPr>
        <p:grpSpPr>
          <a:xfrm>
            <a:off x="410399" y="1704628"/>
            <a:ext cx="11376789" cy="4172342"/>
            <a:chOff x="363272" y="1697970"/>
            <a:chExt cx="11382714" cy="4174515"/>
          </a:xfrm>
        </p:grpSpPr>
        <p:sp>
          <p:nvSpPr>
            <p:cNvPr id="69" name="Textfeld 68"/>
            <p:cNvSpPr txBox="1"/>
            <p:nvPr/>
          </p:nvSpPr>
          <p:spPr bwMode="gray">
            <a:xfrm>
              <a:off x="10003186" y="2186697"/>
              <a:ext cx="1736445" cy="293721"/>
            </a:xfrm>
            <a:prstGeom prst="rect">
              <a:avLst/>
            </a:prstGeom>
            <a:noFill/>
          </p:spPr>
          <p:txBody>
            <a:bodyPr wrap="square" lIns="107944" tIns="53972" rIns="107944" bIns="53972" rtlCol="0" anchor="ctr">
              <a:spAutoFit/>
            </a:bodyPr>
            <a:lstStyle/>
            <a:p>
              <a:pPr>
                <a:tabLst>
                  <a:tab pos="0" algn="l"/>
                </a:tabLst>
              </a:pPr>
              <a:r>
                <a:rPr lang="en-US" sz="1199" dirty="0"/>
                <a:t>Lorem ipsum</a:t>
              </a:r>
              <a:endParaRPr lang="en-US" sz="1199" dirty="0">
                <a:ea typeface="Arial Unicode MS"/>
              </a:endParaRPr>
            </a:p>
          </p:txBody>
        </p:sp>
        <p:sp>
          <p:nvSpPr>
            <p:cNvPr id="71" name="Textfeld 70"/>
            <p:cNvSpPr txBox="1"/>
            <p:nvPr/>
          </p:nvSpPr>
          <p:spPr bwMode="gray">
            <a:xfrm>
              <a:off x="9855200" y="3427373"/>
              <a:ext cx="1890786" cy="293721"/>
            </a:xfrm>
            <a:prstGeom prst="rect">
              <a:avLst/>
            </a:prstGeom>
            <a:noFill/>
          </p:spPr>
          <p:txBody>
            <a:bodyPr wrap="square" lIns="107944" tIns="53972" rIns="107944" bIns="53972" rtlCol="0" anchor="ctr">
              <a:spAutoFit/>
            </a:bodyPr>
            <a:lstStyle/>
            <a:p>
              <a:pPr>
                <a:tabLst>
                  <a:tab pos="0" algn="l"/>
                </a:tabLst>
              </a:pPr>
              <a:r>
                <a:rPr lang="en-US" sz="1199" dirty="0"/>
                <a:t>Lorem ipsum dolor</a:t>
              </a:r>
              <a:endParaRPr lang="en-US" sz="1199" dirty="0">
                <a:ea typeface="Arial Unicode MS"/>
              </a:endParaRPr>
            </a:p>
          </p:txBody>
        </p:sp>
        <p:sp>
          <p:nvSpPr>
            <p:cNvPr id="73" name="Textfeld 72"/>
            <p:cNvSpPr txBox="1"/>
            <p:nvPr/>
          </p:nvSpPr>
          <p:spPr bwMode="gray">
            <a:xfrm>
              <a:off x="9984803" y="4509284"/>
              <a:ext cx="1761183" cy="293721"/>
            </a:xfrm>
            <a:prstGeom prst="rect">
              <a:avLst/>
            </a:prstGeom>
            <a:noFill/>
          </p:spPr>
          <p:txBody>
            <a:bodyPr wrap="square" lIns="107944" tIns="53972" rIns="107944" bIns="53972" rtlCol="0" anchor="ctr">
              <a:spAutoFit/>
            </a:bodyPr>
            <a:lstStyle/>
            <a:p>
              <a:pPr>
                <a:tabLst>
                  <a:tab pos="0" algn="l"/>
                </a:tabLst>
              </a:pPr>
              <a:r>
                <a:rPr lang="en-US" sz="1199" dirty="0">
                  <a:solidFill>
                    <a:srgbClr val="CCCCD4"/>
                  </a:solidFill>
                </a:rPr>
                <a:t>Lorem ipsum dolor</a:t>
              </a:r>
              <a:endParaRPr lang="en-US" sz="1199" dirty="0">
                <a:solidFill>
                  <a:srgbClr val="CCCCD4"/>
                </a:solidFill>
                <a:ea typeface="Arial Unicode MS"/>
              </a:endParaRPr>
            </a:p>
          </p:txBody>
        </p:sp>
        <p:sp>
          <p:nvSpPr>
            <p:cNvPr id="74" name="Textfeld 73"/>
            <p:cNvSpPr txBox="1"/>
            <p:nvPr/>
          </p:nvSpPr>
          <p:spPr bwMode="gray">
            <a:xfrm>
              <a:off x="9381067" y="4724455"/>
              <a:ext cx="2358564" cy="293721"/>
            </a:xfrm>
            <a:prstGeom prst="rect">
              <a:avLst/>
            </a:prstGeom>
            <a:noFill/>
          </p:spPr>
          <p:txBody>
            <a:bodyPr wrap="square" lIns="107944" tIns="53972" rIns="107944" bIns="53972" rtlCol="0" anchor="ctr">
              <a:spAutoFit/>
            </a:bodyPr>
            <a:lstStyle/>
            <a:p>
              <a:pPr>
                <a:tabLst>
                  <a:tab pos="0" algn="l"/>
                </a:tabLst>
              </a:pPr>
              <a:r>
                <a:rPr lang="en-US" sz="1199" dirty="0"/>
                <a:t>Lorem ipsum dolor amet</a:t>
              </a:r>
              <a:endParaRPr lang="en-US" sz="1199" dirty="0">
                <a:ea typeface="Arial Unicode MS"/>
              </a:endParaRPr>
            </a:p>
          </p:txBody>
        </p:sp>
        <p:sp>
          <p:nvSpPr>
            <p:cNvPr id="75" name="Textfeld 74"/>
            <p:cNvSpPr txBox="1"/>
            <p:nvPr/>
          </p:nvSpPr>
          <p:spPr bwMode="gray">
            <a:xfrm>
              <a:off x="9988919" y="5417629"/>
              <a:ext cx="1757067" cy="293721"/>
            </a:xfrm>
            <a:prstGeom prst="rect">
              <a:avLst/>
            </a:prstGeom>
            <a:noFill/>
          </p:spPr>
          <p:txBody>
            <a:bodyPr wrap="square" lIns="107944" tIns="53972" rIns="107944" bIns="53972" rtlCol="0" anchor="ctr">
              <a:spAutoFit/>
            </a:bodyPr>
            <a:lstStyle/>
            <a:p>
              <a:pPr>
                <a:tabLst>
                  <a:tab pos="0" algn="l"/>
                </a:tabLst>
              </a:pPr>
              <a:r>
                <a:rPr lang="en-US" sz="1199" dirty="0">
                  <a:solidFill>
                    <a:srgbClr val="CCCCD4"/>
                  </a:solidFill>
                </a:rPr>
                <a:t>Lorem ipsum</a:t>
              </a:r>
              <a:endParaRPr lang="en-US" sz="1199" dirty="0">
                <a:solidFill>
                  <a:srgbClr val="CCCCD4"/>
                </a:solidFill>
                <a:ea typeface="Arial Unicode MS"/>
              </a:endParaRPr>
            </a:p>
          </p:txBody>
        </p:sp>
        <p:sp>
          <p:nvSpPr>
            <p:cNvPr id="119" name="Textfeld 118"/>
            <p:cNvSpPr txBox="1"/>
            <p:nvPr/>
          </p:nvSpPr>
          <p:spPr bwMode="gray">
            <a:xfrm>
              <a:off x="9392309" y="2534898"/>
              <a:ext cx="2347322" cy="293721"/>
            </a:xfrm>
            <a:prstGeom prst="rect">
              <a:avLst/>
            </a:prstGeom>
            <a:noFill/>
          </p:spPr>
          <p:txBody>
            <a:bodyPr wrap="square" lIns="107944" tIns="53972" rIns="107944" bIns="53972" rtlCol="0" anchor="ctr">
              <a:spAutoFit/>
            </a:bodyPr>
            <a:lstStyle/>
            <a:p>
              <a:pPr>
                <a:defRPr/>
              </a:pPr>
              <a:r>
                <a:rPr lang="en-US" sz="1199" dirty="0"/>
                <a:t>Lorem ipsum dolor</a:t>
              </a:r>
              <a:endParaRPr lang="en-US" sz="1199" dirty="0">
                <a:ea typeface="Arial Unicode MS"/>
              </a:endParaRPr>
            </a:p>
          </p:txBody>
        </p:sp>
        <p:sp>
          <p:nvSpPr>
            <p:cNvPr id="120" name="Textfeld 119"/>
            <p:cNvSpPr txBox="1"/>
            <p:nvPr/>
          </p:nvSpPr>
          <p:spPr bwMode="gray">
            <a:xfrm>
              <a:off x="8050468" y="3086473"/>
              <a:ext cx="652524" cy="293721"/>
            </a:xfrm>
            <a:prstGeom prst="rect">
              <a:avLst/>
            </a:prstGeom>
            <a:noFill/>
          </p:spPr>
          <p:txBody>
            <a:bodyPr wrap="none" lIns="107944" tIns="53972" rIns="107944" bIns="53972" rtlCol="0" anchor="ctr">
              <a:spAutoFit/>
            </a:bodyPr>
            <a:lstStyle/>
            <a:p>
              <a:pPr>
                <a:tabLst>
                  <a:tab pos="0" algn="l"/>
                </a:tabLst>
              </a:pPr>
              <a:r>
                <a:rPr lang="en-US" sz="1199" dirty="0">
                  <a:solidFill>
                    <a:srgbClr val="CCCCD4"/>
                  </a:solidFill>
                </a:rPr>
                <a:t>Lorem</a:t>
              </a:r>
              <a:endParaRPr lang="en-US" sz="1199" dirty="0">
                <a:solidFill>
                  <a:srgbClr val="CCCCD4"/>
                </a:solidFill>
                <a:ea typeface="Arial Unicode MS"/>
              </a:endParaRPr>
            </a:p>
          </p:txBody>
        </p:sp>
        <p:sp>
          <p:nvSpPr>
            <p:cNvPr id="121" name="Textfeld 120"/>
            <p:cNvSpPr txBox="1"/>
            <p:nvPr/>
          </p:nvSpPr>
          <p:spPr bwMode="gray">
            <a:xfrm>
              <a:off x="9988919" y="5077413"/>
              <a:ext cx="1757067" cy="293721"/>
            </a:xfrm>
            <a:prstGeom prst="rect">
              <a:avLst/>
            </a:prstGeom>
            <a:noFill/>
          </p:spPr>
          <p:txBody>
            <a:bodyPr wrap="square" lIns="107944" tIns="53972" rIns="107944" bIns="53972" rtlCol="0" anchor="ctr">
              <a:spAutoFit/>
            </a:bodyPr>
            <a:lstStyle/>
            <a:p>
              <a:pPr>
                <a:tabLst>
                  <a:tab pos="0" algn="l"/>
                </a:tabLst>
              </a:pPr>
              <a:r>
                <a:rPr lang="en-US" sz="1199" dirty="0">
                  <a:ea typeface="Arial Unicode MS"/>
                </a:rPr>
                <a:t>Lorem ipsum dolor</a:t>
              </a:r>
            </a:p>
          </p:txBody>
        </p:sp>
        <p:sp>
          <p:nvSpPr>
            <p:cNvPr id="123" name="Textfeld 122"/>
            <p:cNvSpPr txBox="1"/>
            <p:nvPr/>
          </p:nvSpPr>
          <p:spPr bwMode="gray">
            <a:xfrm>
              <a:off x="9428480" y="3825651"/>
              <a:ext cx="2311151" cy="478387"/>
            </a:xfrm>
            <a:prstGeom prst="rect">
              <a:avLst/>
            </a:prstGeom>
            <a:noFill/>
          </p:spPr>
          <p:txBody>
            <a:bodyPr wrap="square" lIns="107944" tIns="53972" rIns="107944" bIns="53972" rtlCol="0" anchor="ctr">
              <a:spAutoFit/>
            </a:bodyPr>
            <a:lstStyle/>
            <a:p>
              <a:pPr>
                <a:tabLst>
                  <a:tab pos="0" algn="l"/>
                </a:tabLst>
              </a:pPr>
              <a:r>
                <a:rPr lang="en-US" sz="1199" dirty="0"/>
                <a:t>Lorem ipsum dolor sit amet, consectetur</a:t>
              </a:r>
              <a:endParaRPr lang="en-US" sz="1199" dirty="0">
                <a:ea typeface="Arial Unicode MS"/>
              </a:endParaRPr>
            </a:p>
          </p:txBody>
        </p:sp>
        <p:sp>
          <p:nvSpPr>
            <p:cNvPr id="130" name="Textfeld 129"/>
            <p:cNvSpPr txBox="1"/>
            <p:nvPr/>
          </p:nvSpPr>
          <p:spPr bwMode="gray">
            <a:xfrm>
              <a:off x="7528251" y="3638429"/>
              <a:ext cx="1104571" cy="293721"/>
            </a:xfrm>
            <a:prstGeom prst="rect">
              <a:avLst/>
            </a:prstGeom>
            <a:noFill/>
          </p:spPr>
          <p:txBody>
            <a:bodyPr wrap="none" lIns="107944" tIns="53972" rIns="107944" bIns="53972" rtlCol="0" anchor="ctr">
              <a:spAutoFit/>
            </a:bodyPr>
            <a:lstStyle/>
            <a:p>
              <a:pPr>
                <a:tabLst>
                  <a:tab pos="0" algn="l"/>
                </a:tabLst>
              </a:pPr>
              <a:r>
                <a:rPr lang="en-US" sz="1199" dirty="0">
                  <a:ea typeface="Arial Unicode MS"/>
                </a:rPr>
                <a:t>Lorem ipsum</a:t>
              </a:r>
            </a:p>
          </p:txBody>
        </p:sp>
        <p:sp>
          <p:nvSpPr>
            <p:cNvPr id="135" name="Textfeld 134"/>
            <p:cNvSpPr txBox="1"/>
            <p:nvPr/>
          </p:nvSpPr>
          <p:spPr bwMode="gray">
            <a:xfrm>
              <a:off x="6354827" y="4857256"/>
              <a:ext cx="1104571" cy="293721"/>
            </a:xfrm>
            <a:prstGeom prst="rect">
              <a:avLst/>
            </a:prstGeom>
            <a:noFill/>
          </p:spPr>
          <p:txBody>
            <a:bodyPr wrap="none" lIns="107944" tIns="53972" rIns="107944" bIns="53972" rtlCol="0" anchor="ctr">
              <a:spAutoFit/>
            </a:bodyPr>
            <a:lstStyle/>
            <a:p>
              <a:pPr>
                <a:tabLst>
                  <a:tab pos="0" algn="l"/>
                </a:tabLst>
              </a:pPr>
              <a:r>
                <a:rPr lang="en-US" sz="1199" dirty="0">
                  <a:solidFill>
                    <a:srgbClr val="CCCCD4"/>
                  </a:solidFill>
                  <a:ea typeface="Arial Unicode MS"/>
                </a:rPr>
                <a:t>Lorem ipsum</a:t>
              </a:r>
            </a:p>
          </p:txBody>
        </p:sp>
        <p:sp>
          <p:nvSpPr>
            <p:cNvPr id="141" name="Textfeld 140"/>
            <p:cNvSpPr txBox="1"/>
            <p:nvPr/>
          </p:nvSpPr>
          <p:spPr bwMode="gray">
            <a:xfrm flipH="1">
              <a:off x="364036" y="4218693"/>
              <a:ext cx="2018335" cy="293721"/>
            </a:xfrm>
            <a:prstGeom prst="rect">
              <a:avLst/>
            </a:prstGeom>
            <a:noFill/>
          </p:spPr>
          <p:txBody>
            <a:bodyPr wrap="square" lIns="107944" tIns="53972" rIns="107944" bIns="53972" rtlCol="0" anchor="ctr">
              <a:spAutoFit/>
            </a:bodyPr>
            <a:lstStyle/>
            <a:p>
              <a:pPr algn="r">
                <a:tabLst>
                  <a:tab pos="0" algn="l"/>
                </a:tabLst>
              </a:pPr>
              <a:r>
                <a:rPr lang="en-US" sz="1199" dirty="0"/>
                <a:t>Lorem ipsum dolor</a:t>
              </a:r>
              <a:endParaRPr lang="en-US" sz="1199" dirty="0">
                <a:ea typeface="Arial Unicode MS"/>
              </a:endParaRPr>
            </a:p>
          </p:txBody>
        </p:sp>
        <p:sp>
          <p:nvSpPr>
            <p:cNvPr id="145" name="Textfeld 144"/>
            <p:cNvSpPr txBox="1"/>
            <p:nvPr/>
          </p:nvSpPr>
          <p:spPr bwMode="gray">
            <a:xfrm flipH="1">
              <a:off x="364036" y="1868715"/>
              <a:ext cx="2018336" cy="293721"/>
            </a:xfrm>
            <a:prstGeom prst="rect">
              <a:avLst/>
            </a:prstGeom>
            <a:noFill/>
          </p:spPr>
          <p:txBody>
            <a:bodyPr wrap="square" lIns="107944" tIns="53972" rIns="107944" bIns="53972" rtlCol="0" anchor="ctr">
              <a:spAutoFit/>
            </a:bodyPr>
            <a:lstStyle/>
            <a:p>
              <a:pPr algn="r">
                <a:defRPr/>
              </a:pPr>
              <a:r>
                <a:rPr lang="en-US" sz="1199" dirty="0">
                  <a:solidFill>
                    <a:srgbClr val="CCCCD4"/>
                  </a:solidFill>
                </a:rPr>
                <a:t>Lorem ipsum dolor</a:t>
              </a:r>
              <a:endParaRPr lang="en-US" sz="1199" dirty="0">
                <a:solidFill>
                  <a:srgbClr val="CCCCD4"/>
                </a:solidFill>
                <a:ea typeface="Arial Unicode MS"/>
              </a:endParaRPr>
            </a:p>
          </p:txBody>
        </p:sp>
        <p:sp>
          <p:nvSpPr>
            <p:cNvPr id="165" name="Textfeld 164"/>
            <p:cNvSpPr txBox="1"/>
            <p:nvPr/>
          </p:nvSpPr>
          <p:spPr bwMode="gray">
            <a:xfrm flipH="1">
              <a:off x="1941985" y="4991476"/>
              <a:ext cx="1104569" cy="293721"/>
            </a:xfrm>
            <a:prstGeom prst="rect">
              <a:avLst/>
            </a:prstGeom>
            <a:noFill/>
          </p:spPr>
          <p:txBody>
            <a:bodyPr wrap="none" lIns="107944" tIns="53972" rIns="107944" bIns="53972" rtlCol="0" anchor="ctr">
              <a:spAutoFit/>
            </a:bodyPr>
            <a:lstStyle/>
            <a:p>
              <a:pPr algn="r">
                <a:tabLst>
                  <a:tab pos="0" algn="l"/>
                </a:tabLst>
              </a:pPr>
              <a:r>
                <a:rPr lang="en-US" sz="1199" dirty="0">
                  <a:ea typeface="Arial Unicode MS"/>
                </a:rPr>
                <a:t>Lorem ipsum</a:t>
              </a:r>
            </a:p>
          </p:txBody>
        </p:sp>
        <p:sp>
          <p:nvSpPr>
            <p:cNvPr id="166" name="Textfeld 165"/>
            <p:cNvSpPr txBox="1"/>
            <p:nvPr/>
          </p:nvSpPr>
          <p:spPr bwMode="gray">
            <a:xfrm flipH="1">
              <a:off x="1854987" y="4535798"/>
              <a:ext cx="1872408" cy="293721"/>
            </a:xfrm>
            <a:prstGeom prst="rect">
              <a:avLst/>
            </a:prstGeom>
            <a:noFill/>
          </p:spPr>
          <p:txBody>
            <a:bodyPr wrap="none" lIns="107944" tIns="53972" rIns="107944" bIns="53972" rtlCol="0" anchor="ctr">
              <a:spAutoFit/>
            </a:bodyPr>
            <a:lstStyle/>
            <a:p>
              <a:pPr algn="r">
                <a:tabLst>
                  <a:tab pos="0" algn="l"/>
                </a:tabLst>
              </a:pPr>
              <a:r>
                <a:rPr lang="en-US" sz="1199" dirty="0">
                  <a:solidFill>
                    <a:srgbClr val="CCCCD4"/>
                  </a:solidFill>
                </a:rPr>
                <a:t>Lorem ipsum dolor amet</a:t>
              </a:r>
              <a:endParaRPr lang="en-US" sz="1199" dirty="0">
                <a:solidFill>
                  <a:srgbClr val="CCCCD4"/>
                </a:solidFill>
                <a:ea typeface="Arial Unicode MS"/>
              </a:endParaRPr>
            </a:p>
          </p:txBody>
        </p:sp>
        <p:sp>
          <p:nvSpPr>
            <p:cNvPr id="169" name="Textfeld 168"/>
            <p:cNvSpPr txBox="1"/>
            <p:nvPr/>
          </p:nvSpPr>
          <p:spPr bwMode="gray">
            <a:xfrm flipH="1">
              <a:off x="363272" y="3484383"/>
              <a:ext cx="2596743" cy="293721"/>
            </a:xfrm>
            <a:prstGeom prst="rect">
              <a:avLst/>
            </a:prstGeom>
            <a:noFill/>
          </p:spPr>
          <p:txBody>
            <a:bodyPr wrap="square" lIns="107944" tIns="53972" rIns="107944" bIns="53972" rtlCol="0" anchor="ctr">
              <a:spAutoFit/>
            </a:bodyPr>
            <a:lstStyle/>
            <a:p>
              <a:pPr algn="r">
                <a:tabLst>
                  <a:tab pos="0" algn="l"/>
                </a:tabLst>
              </a:pPr>
              <a:r>
                <a:rPr lang="en-US" sz="1199" dirty="0"/>
                <a:t>Lorem ipsum dolor amet</a:t>
              </a:r>
              <a:endParaRPr lang="en-US" sz="1199" dirty="0">
                <a:ea typeface="Arial Unicode MS"/>
              </a:endParaRPr>
            </a:p>
          </p:txBody>
        </p:sp>
        <p:sp>
          <p:nvSpPr>
            <p:cNvPr id="172" name="Textfeld 171"/>
            <p:cNvSpPr txBox="1"/>
            <p:nvPr/>
          </p:nvSpPr>
          <p:spPr bwMode="gray">
            <a:xfrm flipH="1">
              <a:off x="3652687" y="3657339"/>
              <a:ext cx="1104569" cy="293721"/>
            </a:xfrm>
            <a:prstGeom prst="rect">
              <a:avLst/>
            </a:prstGeom>
            <a:noFill/>
          </p:spPr>
          <p:txBody>
            <a:bodyPr wrap="none" lIns="107944" tIns="53972" rIns="107944" bIns="53972" rtlCol="0" anchor="ctr">
              <a:spAutoFit/>
            </a:bodyPr>
            <a:lstStyle/>
            <a:p>
              <a:pPr algn="r">
                <a:tabLst>
                  <a:tab pos="0" algn="l"/>
                </a:tabLst>
              </a:pPr>
              <a:r>
                <a:rPr lang="en-US" sz="1199" dirty="0">
                  <a:solidFill>
                    <a:srgbClr val="3C464B"/>
                  </a:solidFill>
                  <a:ea typeface="Arial Unicode MS"/>
                </a:rPr>
                <a:t>Lorem ipsum</a:t>
              </a:r>
            </a:p>
          </p:txBody>
        </p:sp>
        <p:sp>
          <p:nvSpPr>
            <p:cNvPr id="208" name="Textfeld 207"/>
            <p:cNvSpPr txBox="1"/>
            <p:nvPr/>
          </p:nvSpPr>
          <p:spPr bwMode="gray">
            <a:xfrm>
              <a:off x="4651200" y="5342673"/>
              <a:ext cx="1104571" cy="293721"/>
            </a:xfrm>
            <a:prstGeom prst="rect">
              <a:avLst/>
            </a:prstGeom>
            <a:noFill/>
          </p:spPr>
          <p:txBody>
            <a:bodyPr wrap="none" lIns="107944" tIns="53972" rIns="107944" bIns="53972" rtlCol="0" anchor="ctr">
              <a:spAutoFit/>
            </a:bodyPr>
            <a:lstStyle/>
            <a:p>
              <a:pPr>
                <a:tabLst>
                  <a:tab pos="0" algn="l"/>
                </a:tabLst>
              </a:pPr>
              <a:r>
                <a:rPr lang="en-US" sz="1199" dirty="0">
                  <a:solidFill>
                    <a:srgbClr val="CCCCD4"/>
                  </a:solidFill>
                  <a:ea typeface="Arial Unicode MS"/>
                </a:rPr>
                <a:t>Lorem ipsum</a:t>
              </a:r>
            </a:p>
          </p:txBody>
        </p:sp>
        <p:sp>
          <p:nvSpPr>
            <p:cNvPr id="209" name="Textfeld 208"/>
            <p:cNvSpPr txBox="1"/>
            <p:nvPr/>
          </p:nvSpPr>
          <p:spPr bwMode="gray">
            <a:xfrm>
              <a:off x="4760890" y="4857256"/>
              <a:ext cx="1104571" cy="293721"/>
            </a:xfrm>
            <a:prstGeom prst="rect">
              <a:avLst/>
            </a:prstGeom>
            <a:noFill/>
          </p:spPr>
          <p:txBody>
            <a:bodyPr wrap="none" lIns="107944" tIns="53972" rIns="107944" bIns="53972" rtlCol="0" anchor="ctr">
              <a:spAutoFit/>
            </a:bodyPr>
            <a:lstStyle/>
            <a:p>
              <a:pPr>
                <a:tabLst>
                  <a:tab pos="0" algn="l"/>
                </a:tabLst>
              </a:pPr>
              <a:r>
                <a:rPr lang="en-US" sz="1199" dirty="0">
                  <a:ea typeface="Arial Unicode MS"/>
                </a:rPr>
                <a:t>Lorem ipsum</a:t>
              </a:r>
            </a:p>
          </p:txBody>
        </p:sp>
        <p:sp>
          <p:nvSpPr>
            <p:cNvPr id="212" name="Textfeld 211"/>
            <p:cNvSpPr txBox="1"/>
            <p:nvPr/>
          </p:nvSpPr>
          <p:spPr bwMode="gray">
            <a:xfrm>
              <a:off x="4522241" y="2347918"/>
              <a:ext cx="1104571" cy="293721"/>
            </a:xfrm>
            <a:prstGeom prst="rect">
              <a:avLst/>
            </a:prstGeom>
            <a:noFill/>
          </p:spPr>
          <p:txBody>
            <a:bodyPr wrap="none" lIns="107944" tIns="53972" rIns="107944" bIns="53972" rtlCol="0" anchor="ctr">
              <a:spAutoFit/>
            </a:bodyPr>
            <a:lstStyle/>
            <a:p>
              <a:pPr>
                <a:tabLst>
                  <a:tab pos="0" algn="l"/>
                </a:tabLst>
              </a:pPr>
              <a:r>
                <a:rPr lang="en-US" sz="1199" dirty="0">
                  <a:solidFill>
                    <a:srgbClr val="CCCCD4"/>
                  </a:solidFill>
                  <a:ea typeface="Arial Unicode MS"/>
                </a:rPr>
                <a:t>Lorem ipsum</a:t>
              </a:r>
            </a:p>
          </p:txBody>
        </p:sp>
        <p:sp>
          <p:nvSpPr>
            <p:cNvPr id="227" name="Textfeld 226"/>
            <p:cNvSpPr txBox="1"/>
            <p:nvPr/>
          </p:nvSpPr>
          <p:spPr bwMode="gray">
            <a:xfrm>
              <a:off x="6593264" y="1897151"/>
              <a:ext cx="1487688" cy="293721"/>
            </a:xfrm>
            <a:prstGeom prst="rect">
              <a:avLst/>
            </a:prstGeom>
            <a:noFill/>
          </p:spPr>
          <p:txBody>
            <a:bodyPr wrap="none" lIns="107944" tIns="53972" rIns="107944" bIns="53972" rtlCol="0" anchor="ctr">
              <a:spAutoFit/>
            </a:bodyPr>
            <a:lstStyle/>
            <a:p>
              <a:pPr>
                <a:tabLst>
                  <a:tab pos="0" algn="l"/>
                </a:tabLst>
              </a:pPr>
              <a:r>
                <a:rPr lang="en-US" sz="1199" dirty="0">
                  <a:solidFill>
                    <a:srgbClr val="CCCCD4"/>
                  </a:solidFill>
                  <a:ea typeface="Arial Unicode MS"/>
                </a:rPr>
                <a:t>Lorem ipsum dolor</a:t>
              </a:r>
            </a:p>
          </p:txBody>
        </p:sp>
        <p:sp>
          <p:nvSpPr>
            <p:cNvPr id="228" name="Textfeld 227"/>
            <p:cNvSpPr txBox="1"/>
            <p:nvPr/>
          </p:nvSpPr>
          <p:spPr bwMode="gray">
            <a:xfrm>
              <a:off x="6378113" y="2372665"/>
              <a:ext cx="1148336" cy="293689"/>
            </a:xfrm>
            <a:prstGeom prst="rect">
              <a:avLst/>
            </a:prstGeom>
            <a:noFill/>
          </p:spPr>
          <p:txBody>
            <a:bodyPr wrap="none" lIns="107944" tIns="53972" rIns="107944" bIns="53972" rtlCol="0" anchor="ctr">
              <a:spAutoFit/>
            </a:bodyPr>
            <a:lstStyle/>
            <a:p>
              <a:pPr>
                <a:tabLst>
                  <a:tab pos="0" algn="l"/>
                </a:tabLst>
              </a:pPr>
              <a:r>
                <a:rPr lang="en-US" sz="1199" dirty="0"/>
                <a:t>Lorem ipsum</a:t>
              </a:r>
              <a:endParaRPr lang="en-US" sz="1199" dirty="0">
                <a:ea typeface="Arial Unicode MS"/>
              </a:endParaRPr>
            </a:p>
          </p:txBody>
        </p:sp>
        <p:sp>
          <p:nvSpPr>
            <p:cNvPr id="132" name="Textfeld 206">
              <a:extLst>
                <a:ext uri="{FF2B5EF4-FFF2-40B4-BE49-F238E27FC236}">
                  <a16:creationId xmlns:a16="http://schemas.microsoft.com/office/drawing/2014/main" id="{8D817A67-E528-B148-BA29-22CC4556BC87}"/>
                </a:ext>
              </a:extLst>
            </p:cNvPr>
            <p:cNvSpPr txBox="1"/>
            <p:nvPr/>
          </p:nvSpPr>
          <p:spPr bwMode="gray">
            <a:xfrm>
              <a:off x="10044853" y="3050792"/>
              <a:ext cx="1694778" cy="293721"/>
            </a:xfrm>
            <a:prstGeom prst="rect">
              <a:avLst/>
            </a:prstGeom>
            <a:noFill/>
          </p:spPr>
          <p:txBody>
            <a:bodyPr wrap="square" lIns="107944" tIns="53972" rIns="107944" bIns="53972" rtlCol="0" anchor="ctr">
              <a:spAutoFit/>
            </a:bodyPr>
            <a:lstStyle/>
            <a:p>
              <a:pPr>
                <a:tabLst>
                  <a:tab pos="0" algn="l"/>
                </a:tabLst>
              </a:pPr>
              <a:r>
                <a:rPr lang="en-US" sz="1199" dirty="0"/>
                <a:t>Lorem ipsum</a:t>
              </a:r>
              <a:endParaRPr lang="en-US" sz="1199" dirty="0">
                <a:ea typeface="Arial Unicode MS"/>
              </a:endParaRPr>
            </a:p>
          </p:txBody>
        </p:sp>
        <p:sp>
          <p:nvSpPr>
            <p:cNvPr id="124" name="Textfeld 144">
              <a:extLst>
                <a:ext uri="{FF2B5EF4-FFF2-40B4-BE49-F238E27FC236}">
                  <a16:creationId xmlns:a16="http://schemas.microsoft.com/office/drawing/2014/main" id="{3D9B8A3E-D239-D34E-8C74-A69F9A219B8B}"/>
                </a:ext>
              </a:extLst>
            </p:cNvPr>
            <p:cNvSpPr txBox="1"/>
            <p:nvPr/>
          </p:nvSpPr>
          <p:spPr bwMode="gray">
            <a:xfrm flipH="1">
              <a:off x="364036" y="2194076"/>
              <a:ext cx="2018336" cy="293721"/>
            </a:xfrm>
            <a:prstGeom prst="rect">
              <a:avLst/>
            </a:prstGeom>
            <a:noFill/>
          </p:spPr>
          <p:txBody>
            <a:bodyPr wrap="square" lIns="107944" tIns="53972" rIns="107944" bIns="53972" rtlCol="0" anchor="ctr">
              <a:spAutoFit/>
            </a:bodyPr>
            <a:lstStyle/>
            <a:p>
              <a:pPr algn="r">
                <a:defRPr/>
              </a:pPr>
              <a:r>
                <a:rPr lang="en-US" sz="1199" dirty="0"/>
                <a:t>Lorem ipsum</a:t>
              </a:r>
              <a:endParaRPr lang="en-US" sz="1199" dirty="0">
                <a:ea typeface="Arial Unicode MS"/>
              </a:endParaRPr>
            </a:p>
          </p:txBody>
        </p:sp>
        <p:sp>
          <p:nvSpPr>
            <p:cNvPr id="128" name="Textfeld 144">
              <a:extLst>
                <a:ext uri="{FF2B5EF4-FFF2-40B4-BE49-F238E27FC236}">
                  <a16:creationId xmlns:a16="http://schemas.microsoft.com/office/drawing/2014/main" id="{2D83A281-1BEE-1845-AE11-DD73766C5D03}"/>
                </a:ext>
              </a:extLst>
            </p:cNvPr>
            <p:cNvSpPr txBox="1"/>
            <p:nvPr/>
          </p:nvSpPr>
          <p:spPr bwMode="gray">
            <a:xfrm flipH="1">
              <a:off x="364036" y="2750194"/>
              <a:ext cx="2018336" cy="478387"/>
            </a:xfrm>
            <a:prstGeom prst="rect">
              <a:avLst/>
            </a:prstGeom>
            <a:noFill/>
          </p:spPr>
          <p:txBody>
            <a:bodyPr wrap="square" lIns="107944" tIns="53972" rIns="107944" bIns="53972" rtlCol="0" anchor="ctr">
              <a:spAutoFit/>
            </a:bodyPr>
            <a:lstStyle/>
            <a:p>
              <a:pPr algn="r">
                <a:tabLst>
                  <a:tab pos="0" algn="l"/>
                </a:tabLst>
              </a:pPr>
              <a:r>
                <a:rPr lang="en-US" sz="1199" dirty="0"/>
                <a:t>Lorem ipsum dolor sit amet, consectetur</a:t>
              </a:r>
              <a:endParaRPr lang="en-US" sz="1199" dirty="0">
                <a:ea typeface="Arial Unicode MS"/>
              </a:endParaRPr>
            </a:p>
          </p:txBody>
        </p:sp>
        <p:sp>
          <p:nvSpPr>
            <p:cNvPr id="131" name="Textfeld 168">
              <a:extLst>
                <a:ext uri="{FF2B5EF4-FFF2-40B4-BE49-F238E27FC236}">
                  <a16:creationId xmlns:a16="http://schemas.microsoft.com/office/drawing/2014/main" id="{E260F5E4-F30D-6546-BB5D-B48C0D967966}"/>
                </a:ext>
              </a:extLst>
            </p:cNvPr>
            <p:cNvSpPr txBox="1"/>
            <p:nvPr/>
          </p:nvSpPr>
          <p:spPr bwMode="gray">
            <a:xfrm flipH="1">
              <a:off x="364036" y="3824265"/>
              <a:ext cx="2018336" cy="293721"/>
            </a:xfrm>
            <a:prstGeom prst="rect">
              <a:avLst/>
            </a:prstGeom>
            <a:noFill/>
          </p:spPr>
          <p:txBody>
            <a:bodyPr wrap="square" lIns="107944" tIns="53972" rIns="107944" bIns="53972" rtlCol="0" anchor="ctr">
              <a:spAutoFit/>
            </a:bodyPr>
            <a:lstStyle/>
            <a:p>
              <a:pPr algn="r">
                <a:tabLst>
                  <a:tab pos="0" algn="l"/>
                </a:tabLst>
              </a:pPr>
              <a:r>
                <a:rPr lang="en-US" sz="1199" dirty="0"/>
                <a:t>Lorem ipsum</a:t>
              </a:r>
              <a:endParaRPr lang="en-US" sz="1199" dirty="0">
                <a:ea typeface="Arial Unicode MS"/>
              </a:endParaRPr>
            </a:p>
          </p:txBody>
        </p:sp>
        <p:sp>
          <p:nvSpPr>
            <p:cNvPr id="76" name="Textfeld 139"/>
            <p:cNvSpPr txBox="1"/>
            <p:nvPr/>
          </p:nvSpPr>
          <p:spPr bwMode="gray">
            <a:xfrm flipH="1">
              <a:off x="364035" y="5424210"/>
              <a:ext cx="2124527" cy="293721"/>
            </a:xfrm>
            <a:prstGeom prst="rect">
              <a:avLst/>
            </a:prstGeom>
            <a:noFill/>
            <a:ln w="22225">
              <a:noFill/>
            </a:ln>
          </p:spPr>
          <p:txBody>
            <a:bodyPr wrap="square" lIns="107944" tIns="53972" rIns="107944" bIns="53972" rtlCol="0" anchor="ctr">
              <a:spAutoFit/>
            </a:bodyPr>
            <a:lstStyle/>
            <a:p>
              <a:pPr algn="r">
                <a:tabLst>
                  <a:tab pos="0" algn="l"/>
                </a:tabLst>
              </a:pPr>
              <a:r>
                <a:rPr lang="en-US" sz="1199" dirty="0">
                  <a:ea typeface="Arial Unicode MS"/>
                </a:rPr>
                <a:t>Lorem ipsum dolor</a:t>
              </a:r>
            </a:p>
          </p:txBody>
        </p:sp>
        <p:sp>
          <p:nvSpPr>
            <p:cNvPr id="125" name="Textfeld 139"/>
            <p:cNvSpPr txBox="1"/>
            <p:nvPr/>
          </p:nvSpPr>
          <p:spPr bwMode="gray">
            <a:xfrm flipH="1">
              <a:off x="6773242" y="5578764"/>
              <a:ext cx="1189851" cy="293721"/>
            </a:xfrm>
            <a:prstGeom prst="rect">
              <a:avLst/>
            </a:prstGeom>
            <a:noFill/>
            <a:ln w="22225">
              <a:noFill/>
            </a:ln>
          </p:spPr>
          <p:txBody>
            <a:bodyPr wrap="square" lIns="107944" tIns="53972" rIns="107944" bIns="53972" rtlCol="0" anchor="ctr">
              <a:spAutoFit/>
            </a:bodyPr>
            <a:lstStyle/>
            <a:p>
              <a:pPr>
                <a:tabLst>
                  <a:tab pos="0" algn="l"/>
                </a:tabLst>
              </a:pPr>
              <a:r>
                <a:rPr lang="en-US" sz="1199" dirty="0">
                  <a:ea typeface="Arial Unicode MS"/>
                </a:rPr>
                <a:t>Lorem ipsum</a:t>
              </a:r>
            </a:p>
          </p:txBody>
        </p:sp>
        <p:sp>
          <p:nvSpPr>
            <p:cNvPr id="129" name="Textfeld 139"/>
            <p:cNvSpPr txBox="1"/>
            <p:nvPr/>
          </p:nvSpPr>
          <p:spPr bwMode="gray">
            <a:xfrm flipH="1">
              <a:off x="4346622" y="1697970"/>
              <a:ext cx="1189851" cy="293721"/>
            </a:xfrm>
            <a:prstGeom prst="rect">
              <a:avLst/>
            </a:prstGeom>
            <a:noFill/>
            <a:ln w="22225">
              <a:noFill/>
            </a:ln>
          </p:spPr>
          <p:txBody>
            <a:bodyPr wrap="square" lIns="107944" tIns="53972" rIns="107944" bIns="53972" rtlCol="0" anchor="ctr">
              <a:spAutoFit/>
            </a:bodyPr>
            <a:lstStyle/>
            <a:p>
              <a:pPr>
                <a:tabLst>
                  <a:tab pos="0" algn="l"/>
                </a:tabLst>
              </a:pPr>
              <a:r>
                <a:rPr lang="en-US" sz="1199" dirty="0">
                  <a:ea typeface="Arial Unicode MS"/>
                </a:rPr>
                <a:t>Lorem ipsum</a:t>
              </a:r>
            </a:p>
          </p:txBody>
        </p:sp>
        <p:sp>
          <p:nvSpPr>
            <p:cNvPr id="134" name="Textfeld 139"/>
            <p:cNvSpPr txBox="1"/>
            <p:nvPr/>
          </p:nvSpPr>
          <p:spPr bwMode="gray">
            <a:xfrm flipH="1">
              <a:off x="9770976" y="1858392"/>
              <a:ext cx="1975010" cy="293721"/>
            </a:xfrm>
            <a:prstGeom prst="rect">
              <a:avLst/>
            </a:prstGeom>
            <a:noFill/>
            <a:ln w="22225">
              <a:noFill/>
              <a:prstDash val="dash"/>
            </a:ln>
          </p:spPr>
          <p:txBody>
            <a:bodyPr wrap="square" lIns="107944" tIns="53972" rIns="107944" bIns="53972" rtlCol="0" anchor="ctr">
              <a:spAutoFit/>
            </a:bodyPr>
            <a:lstStyle/>
            <a:p>
              <a:pPr>
                <a:tabLst>
                  <a:tab pos="0" algn="l"/>
                </a:tabLst>
              </a:pPr>
              <a:r>
                <a:rPr lang="en-US" sz="1199" dirty="0">
                  <a:ea typeface="Arial Unicode MS"/>
                </a:rPr>
                <a:t>Lorem ipsum</a:t>
              </a:r>
            </a:p>
          </p:txBody>
        </p:sp>
      </p:grpSp>
      <p:sp>
        <p:nvSpPr>
          <p:cNvPr id="5" name="Footer Placeholder 4">
            <a:extLst>
              <a:ext uri="{FF2B5EF4-FFF2-40B4-BE49-F238E27FC236}">
                <a16:creationId xmlns:a16="http://schemas.microsoft.com/office/drawing/2014/main" id="{19A35260-1F72-4413-9872-EB9422877CF9}"/>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6" name="Slide Number Placeholder 5">
            <a:extLst>
              <a:ext uri="{FF2B5EF4-FFF2-40B4-BE49-F238E27FC236}">
                <a16:creationId xmlns:a16="http://schemas.microsoft.com/office/drawing/2014/main" id="{2AC70462-CEF6-429C-8816-CF2CDD5251CC}"/>
              </a:ext>
            </a:extLst>
          </p:cNvPr>
          <p:cNvSpPr>
            <a:spLocks noGrp="1"/>
          </p:cNvSpPr>
          <p:nvPr>
            <p:ph type="sldNum" sz="quarter" idx="11"/>
          </p:nvPr>
        </p:nvSpPr>
        <p:spPr/>
        <p:txBody>
          <a:bodyPr/>
          <a:lstStyle/>
          <a:p>
            <a:r>
              <a:rPr lang="en-US" dirty="0"/>
              <a:t>Page </a:t>
            </a:r>
            <a:fld id="{15EBE321-CBB1-4E91-BD14-37C8D44326FB}" type="slidenum">
              <a:rPr lang="en-US" smtClean="0"/>
              <a:pPr/>
              <a:t>34</a:t>
            </a:fld>
            <a:endParaRPr lang="en-US" dirty="0"/>
          </a:p>
        </p:txBody>
      </p:sp>
    </p:spTree>
    <p:extLst>
      <p:ext uri="{BB962C8B-B14F-4D97-AF65-F5344CB8AC3E}">
        <p14:creationId xmlns:p14="http://schemas.microsoft.com/office/powerpoint/2010/main" val="284075042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2432593" y="2009866"/>
            <a:ext cx="7594328" cy="3555741"/>
            <a:chOff x="2386519" y="2003367"/>
            <a:chExt cx="7598283" cy="3557593"/>
          </a:xfrm>
        </p:grpSpPr>
        <p:sp>
          <p:nvSpPr>
            <p:cNvPr id="91" name="Freeform 90">
              <a:extLst>
                <a:ext uri="{FF2B5EF4-FFF2-40B4-BE49-F238E27FC236}">
                  <a16:creationId xmlns:a16="http://schemas.microsoft.com/office/drawing/2014/main" id="{B48CE4E9-F7A6-224D-8AC6-13AD1AC2DEEA}"/>
                </a:ext>
              </a:extLst>
            </p:cNvPr>
            <p:cNvSpPr/>
            <p:nvPr/>
          </p:nvSpPr>
          <p:spPr bwMode="auto">
            <a:xfrm>
              <a:off x="5759787" y="4265999"/>
              <a:ext cx="385831" cy="1220402"/>
            </a:xfrm>
            <a:custGeom>
              <a:avLst/>
              <a:gdLst>
                <a:gd name="connsiteX0" fmla="*/ 494414 w 494414"/>
                <a:gd name="connsiteY0" fmla="*/ 0 h 1313121"/>
                <a:gd name="connsiteX1" fmla="*/ 494414 w 494414"/>
                <a:gd name="connsiteY1" fmla="*/ 882502 h 1313121"/>
                <a:gd name="connsiteX2" fmla="*/ 63795 w 494414"/>
                <a:gd name="connsiteY2" fmla="*/ 1313121 h 1313121"/>
                <a:gd name="connsiteX3" fmla="*/ 0 w 494414"/>
                <a:gd name="connsiteY3" fmla="*/ 1313121 h 1313121"/>
                <a:gd name="connsiteX0" fmla="*/ 494414 w 494414"/>
                <a:gd name="connsiteY0" fmla="*/ 0 h 1220402"/>
                <a:gd name="connsiteX1" fmla="*/ 494414 w 494414"/>
                <a:gd name="connsiteY1" fmla="*/ 789783 h 1220402"/>
                <a:gd name="connsiteX2" fmla="*/ 63795 w 494414"/>
                <a:gd name="connsiteY2" fmla="*/ 1220402 h 1220402"/>
                <a:gd name="connsiteX3" fmla="*/ 0 w 494414"/>
                <a:gd name="connsiteY3" fmla="*/ 1220402 h 1220402"/>
              </a:gdLst>
              <a:ahLst/>
              <a:cxnLst>
                <a:cxn ang="0">
                  <a:pos x="connsiteX0" y="connsiteY0"/>
                </a:cxn>
                <a:cxn ang="0">
                  <a:pos x="connsiteX1" y="connsiteY1"/>
                </a:cxn>
                <a:cxn ang="0">
                  <a:pos x="connsiteX2" y="connsiteY2"/>
                </a:cxn>
                <a:cxn ang="0">
                  <a:pos x="connsiteX3" y="connsiteY3"/>
                </a:cxn>
              </a:cxnLst>
              <a:rect l="l" t="t" r="r" b="b"/>
              <a:pathLst>
                <a:path w="494414" h="1220402">
                  <a:moveTo>
                    <a:pt x="494414" y="0"/>
                  </a:moveTo>
                  <a:lnTo>
                    <a:pt x="494414" y="789783"/>
                  </a:lnTo>
                  <a:lnTo>
                    <a:pt x="63795" y="1220402"/>
                  </a:lnTo>
                  <a:lnTo>
                    <a:pt x="0" y="1220402"/>
                  </a:lnTo>
                </a:path>
              </a:pathLst>
            </a:custGeom>
            <a:noFill/>
            <a:ln w="12700">
              <a:solidFill>
                <a:srgbClr val="333353"/>
              </a:solidFill>
              <a:prstDash val="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92" name="Freeform 91">
              <a:extLst>
                <a:ext uri="{FF2B5EF4-FFF2-40B4-BE49-F238E27FC236}">
                  <a16:creationId xmlns:a16="http://schemas.microsoft.com/office/drawing/2014/main" id="{E57611D8-2C80-2649-BA1F-36B8511DE547}"/>
                </a:ext>
              </a:extLst>
            </p:cNvPr>
            <p:cNvSpPr/>
            <p:nvPr/>
          </p:nvSpPr>
          <p:spPr bwMode="auto">
            <a:xfrm>
              <a:off x="2386519" y="2003367"/>
              <a:ext cx="1778924" cy="673331"/>
            </a:xfrm>
            <a:custGeom>
              <a:avLst/>
              <a:gdLst>
                <a:gd name="connsiteX0" fmla="*/ 0 w 1778924"/>
                <a:gd name="connsiteY0" fmla="*/ 0 h 673331"/>
                <a:gd name="connsiteX1" fmla="*/ 1105593 w 1778924"/>
                <a:gd name="connsiteY1" fmla="*/ 0 h 673331"/>
                <a:gd name="connsiteX2" fmla="*/ 1778924 w 1778924"/>
                <a:gd name="connsiteY2" fmla="*/ 673331 h 673331"/>
              </a:gdLst>
              <a:ahLst/>
              <a:cxnLst>
                <a:cxn ang="0">
                  <a:pos x="connsiteX0" y="connsiteY0"/>
                </a:cxn>
                <a:cxn ang="0">
                  <a:pos x="connsiteX1" y="connsiteY1"/>
                </a:cxn>
                <a:cxn ang="0">
                  <a:pos x="connsiteX2" y="connsiteY2"/>
                </a:cxn>
              </a:cxnLst>
              <a:rect l="l" t="t" r="r" b="b"/>
              <a:pathLst>
                <a:path w="1778924" h="673331">
                  <a:moveTo>
                    <a:pt x="0" y="0"/>
                  </a:moveTo>
                  <a:lnTo>
                    <a:pt x="1105593" y="0"/>
                  </a:lnTo>
                  <a:lnTo>
                    <a:pt x="1778924" y="673331"/>
                  </a:lnTo>
                </a:path>
              </a:pathLst>
            </a:custGeom>
            <a:noFill/>
            <a:ln w="12700">
              <a:solidFill>
                <a:srgbClr val="333353"/>
              </a:solidFill>
              <a:prstDash val="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01" name="Freeform 100">
              <a:extLst>
                <a:ext uri="{FF2B5EF4-FFF2-40B4-BE49-F238E27FC236}">
                  <a16:creationId xmlns:a16="http://schemas.microsoft.com/office/drawing/2014/main" id="{7B8AA2AA-95AA-CD4C-8CE2-30421C8FDD8B}"/>
                </a:ext>
              </a:extLst>
            </p:cNvPr>
            <p:cNvSpPr/>
            <p:nvPr/>
          </p:nvSpPr>
          <p:spPr bwMode="auto">
            <a:xfrm>
              <a:off x="3722844" y="4680203"/>
              <a:ext cx="703585" cy="263769"/>
            </a:xfrm>
            <a:custGeom>
              <a:avLst/>
              <a:gdLst>
                <a:gd name="connsiteX0" fmla="*/ 756138 w 756138"/>
                <a:gd name="connsiteY0" fmla="*/ 263769 h 263769"/>
                <a:gd name="connsiteX1" fmla="*/ 492369 w 756138"/>
                <a:gd name="connsiteY1" fmla="*/ 0 h 263769"/>
                <a:gd name="connsiteX2" fmla="*/ 0 w 756138"/>
                <a:gd name="connsiteY2" fmla="*/ 0 h 263769"/>
              </a:gdLst>
              <a:ahLst/>
              <a:cxnLst>
                <a:cxn ang="0">
                  <a:pos x="connsiteX0" y="connsiteY0"/>
                </a:cxn>
                <a:cxn ang="0">
                  <a:pos x="connsiteX1" y="connsiteY1"/>
                </a:cxn>
                <a:cxn ang="0">
                  <a:pos x="connsiteX2" y="connsiteY2"/>
                </a:cxn>
              </a:cxnLst>
              <a:rect l="l" t="t" r="r" b="b"/>
              <a:pathLst>
                <a:path w="756138" h="263769">
                  <a:moveTo>
                    <a:pt x="756138" y="263769"/>
                  </a:moveTo>
                  <a:lnTo>
                    <a:pt x="492369" y="0"/>
                  </a:lnTo>
                  <a:lnTo>
                    <a:pt x="0" y="0"/>
                  </a:lnTo>
                </a:path>
              </a:pathLst>
            </a:custGeom>
            <a:noFill/>
            <a:ln w="12700">
              <a:solidFill>
                <a:srgbClr val="333353"/>
              </a:solidFill>
              <a:prstDash val="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05" name="Freeform 104">
              <a:extLst>
                <a:ext uri="{FF2B5EF4-FFF2-40B4-BE49-F238E27FC236}">
                  <a16:creationId xmlns:a16="http://schemas.microsoft.com/office/drawing/2014/main" id="{0C508DCE-E5DB-5C4E-9887-6A280EB588E5}"/>
                </a:ext>
              </a:extLst>
            </p:cNvPr>
            <p:cNvSpPr/>
            <p:nvPr/>
          </p:nvSpPr>
          <p:spPr bwMode="auto">
            <a:xfrm>
              <a:off x="6189227" y="2046767"/>
              <a:ext cx="404037" cy="1180214"/>
            </a:xfrm>
            <a:custGeom>
              <a:avLst/>
              <a:gdLst>
                <a:gd name="connsiteX0" fmla="*/ 404037 w 404037"/>
                <a:gd name="connsiteY0" fmla="*/ 0 h 1180214"/>
                <a:gd name="connsiteX1" fmla="*/ 0 w 404037"/>
                <a:gd name="connsiteY1" fmla="*/ 404037 h 1180214"/>
                <a:gd name="connsiteX2" fmla="*/ 0 w 404037"/>
                <a:gd name="connsiteY2" fmla="*/ 1180214 h 1180214"/>
              </a:gdLst>
              <a:ahLst/>
              <a:cxnLst>
                <a:cxn ang="0">
                  <a:pos x="connsiteX0" y="connsiteY0"/>
                </a:cxn>
                <a:cxn ang="0">
                  <a:pos x="connsiteX1" y="connsiteY1"/>
                </a:cxn>
                <a:cxn ang="0">
                  <a:pos x="connsiteX2" y="connsiteY2"/>
                </a:cxn>
              </a:cxnLst>
              <a:rect l="l" t="t" r="r" b="b"/>
              <a:pathLst>
                <a:path w="404037" h="1180214">
                  <a:moveTo>
                    <a:pt x="404037" y="0"/>
                  </a:moveTo>
                  <a:lnTo>
                    <a:pt x="0" y="404037"/>
                  </a:lnTo>
                  <a:lnTo>
                    <a:pt x="0" y="1180214"/>
                  </a:lnTo>
                </a:path>
              </a:pathLst>
            </a:custGeom>
            <a:noFill/>
            <a:ln w="12700">
              <a:solidFill>
                <a:srgbClr val="333353"/>
              </a:solidFill>
              <a:prstDash val="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06" name="Freeform 105">
              <a:extLst>
                <a:ext uri="{FF2B5EF4-FFF2-40B4-BE49-F238E27FC236}">
                  <a16:creationId xmlns:a16="http://schemas.microsoft.com/office/drawing/2014/main" id="{EB49FC04-983C-B64D-A0E2-D20C22693243}"/>
                </a:ext>
              </a:extLst>
            </p:cNvPr>
            <p:cNvSpPr/>
            <p:nvPr/>
          </p:nvSpPr>
          <p:spPr bwMode="auto">
            <a:xfrm>
              <a:off x="8165804" y="2004237"/>
              <a:ext cx="1594884" cy="680484"/>
            </a:xfrm>
            <a:custGeom>
              <a:avLst/>
              <a:gdLst>
                <a:gd name="connsiteX0" fmla="*/ 1594884 w 1594884"/>
                <a:gd name="connsiteY0" fmla="*/ 0 h 680484"/>
                <a:gd name="connsiteX1" fmla="*/ 680484 w 1594884"/>
                <a:gd name="connsiteY1" fmla="*/ 0 h 680484"/>
                <a:gd name="connsiteX2" fmla="*/ 0 w 1594884"/>
                <a:gd name="connsiteY2" fmla="*/ 680484 h 680484"/>
              </a:gdLst>
              <a:ahLst/>
              <a:cxnLst>
                <a:cxn ang="0">
                  <a:pos x="connsiteX0" y="connsiteY0"/>
                </a:cxn>
                <a:cxn ang="0">
                  <a:pos x="connsiteX1" y="connsiteY1"/>
                </a:cxn>
                <a:cxn ang="0">
                  <a:pos x="connsiteX2" y="connsiteY2"/>
                </a:cxn>
              </a:cxnLst>
              <a:rect l="l" t="t" r="r" b="b"/>
              <a:pathLst>
                <a:path w="1594884" h="680484">
                  <a:moveTo>
                    <a:pt x="1594884" y="0"/>
                  </a:moveTo>
                  <a:lnTo>
                    <a:pt x="680484" y="0"/>
                  </a:lnTo>
                  <a:lnTo>
                    <a:pt x="0" y="680484"/>
                  </a:lnTo>
                </a:path>
              </a:pathLst>
            </a:custGeom>
            <a:noFill/>
            <a:ln w="12700">
              <a:solidFill>
                <a:srgbClr val="333353"/>
              </a:solidFill>
              <a:prstDash val="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09" name="Freeform 108">
              <a:extLst>
                <a:ext uri="{FF2B5EF4-FFF2-40B4-BE49-F238E27FC236}">
                  <a16:creationId xmlns:a16="http://schemas.microsoft.com/office/drawing/2014/main" id="{4164B919-B97D-9348-9195-9163899DD6C1}"/>
                </a:ext>
              </a:extLst>
            </p:cNvPr>
            <p:cNvSpPr/>
            <p:nvPr/>
          </p:nvSpPr>
          <p:spPr bwMode="auto">
            <a:xfrm>
              <a:off x="7206827" y="3235761"/>
              <a:ext cx="846666" cy="345440"/>
            </a:xfrm>
            <a:custGeom>
              <a:avLst/>
              <a:gdLst>
                <a:gd name="connsiteX0" fmla="*/ 0 w 846666"/>
                <a:gd name="connsiteY0" fmla="*/ 345440 h 345440"/>
                <a:gd name="connsiteX1" fmla="*/ 345440 w 846666"/>
                <a:gd name="connsiteY1" fmla="*/ 0 h 345440"/>
                <a:gd name="connsiteX2" fmla="*/ 846666 w 846666"/>
                <a:gd name="connsiteY2" fmla="*/ 0 h 345440"/>
              </a:gdLst>
              <a:ahLst/>
              <a:cxnLst>
                <a:cxn ang="0">
                  <a:pos x="connsiteX0" y="connsiteY0"/>
                </a:cxn>
                <a:cxn ang="0">
                  <a:pos x="connsiteX1" y="connsiteY1"/>
                </a:cxn>
                <a:cxn ang="0">
                  <a:pos x="connsiteX2" y="connsiteY2"/>
                </a:cxn>
              </a:cxnLst>
              <a:rect l="l" t="t" r="r" b="b"/>
              <a:pathLst>
                <a:path w="846666" h="345440">
                  <a:moveTo>
                    <a:pt x="0" y="345440"/>
                  </a:moveTo>
                  <a:lnTo>
                    <a:pt x="345440" y="0"/>
                  </a:lnTo>
                  <a:lnTo>
                    <a:pt x="846666" y="0"/>
                  </a:lnTo>
                </a:path>
              </a:pathLst>
            </a:custGeom>
            <a:noFill/>
            <a:ln w="12700">
              <a:solidFill>
                <a:srgbClr val="333353"/>
              </a:solidFill>
              <a:prstDash val="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10" name="Freeform 109">
              <a:extLst>
                <a:ext uri="{FF2B5EF4-FFF2-40B4-BE49-F238E27FC236}">
                  <a16:creationId xmlns:a16="http://schemas.microsoft.com/office/drawing/2014/main" id="{BE57460B-EC6B-6B4A-B784-012C9748F74F}"/>
                </a:ext>
              </a:extLst>
            </p:cNvPr>
            <p:cNvSpPr/>
            <p:nvPr/>
          </p:nvSpPr>
          <p:spPr bwMode="auto">
            <a:xfrm>
              <a:off x="7403253" y="3970795"/>
              <a:ext cx="2580640" cy="684106"/>
            </a:xfrm>
            <a:custGeom>
              <a:avLst/>
              <a:gdLst>
                <a:gd name="connsiteX0" fmla="*/ 0 w 2580640"/>
                <a:gd name="connsiteY0" fmla="*/ 0 h 684106"/>
                <a:gd name="connsiteX1" fmla="*/ 392853 w 2580640"/>
                <a:gd name="connsiteY1" fmla="*/ 392853 h 684106"/>
                <a:gd name="connsiteX2" fmla="*/ 1435947 w 2580640"/>
                <a:gd name="connsiteY2" fmla="*/ 392853 h 684106"/>
                <a:gd name="connsiteX3" fmla="*/ 1727200 w 2580640"/>
                <a:gd name="connsiteY3" fmla="*/ 684106 h 684106"/>
                <a:gd name="connsiteX4" fmla="*/ 1788160 w 2580640"/>
                <a:gd name="connsiteY4" fmla="*/ 684106 h 684106"/>
                <a:gd name="connsiteX5" fmla="*/ 2580640 w 2580640"/>
                <a:gd name="connsiteY5" fmla="*/ 684106 h 684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80640" h="684106">
                  <a:moveTo>
                    <a:pt x="0" y="0"/>
                  </a:moveTo>
                  <a:lnTo>
                    <a:pt x="392853" y="392853"/>
                  </a:lnTo>
                  <a:lnTo>
                    <a:pt x="1435947" y="392853"/>
                  </a:lnTo>
                  <a:lnTo>
                    <a:pt x="1727200" y="684106"/>
                  </a:lnTo>
                  <a:lnTo>
                    <a:pt x="1788160" y="684106"/>
                  </a:lnTo>
                  <a:lnTo>
                    <a:pt x="2580640" y="684106"/>
                  </a:lnTo>
                </a:path>
              </a:pathLst>
            </a:custGeom>
            <a:noFill/>
            <a:ln w="12700">
              <a:solidFill>
                <a:srgbClr val="333353"/>
              </a:solidFill>
              <a:prstDash val="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11" name="Freeform 110">
              <a:extLst>
                <a:ext uri="{FF2B5EF4-FFF2-40B4-BE49-F238E27FC236}">
                  <a16:creationId xmlns:a16="http://schemas.microsoft.com/office/drawing/2014/main" id="{BED39416-99F2-FD4B-B409-B6CEEC5B7A14}"/>
                </a:ext>
              </a:extLst>
            </p:cNvPr>
            <p:cNvSpPr/>
            <p:nvPr/>
          </p:nvSpPr>
          <p:spPr bwMode="auto">
            <a:xfrm>
              <a:off x="8297939" y="4882816"/>
              <a:ext cx="1686863" cy="678144"/>
            </a:xfrm>
            <a:custGeom>
              <a:avLst/>
              <a:gdLst>
                <a:gd name="connsiteX0" fmla="*/ 0 w 1693333"/>
                <a:gd name="connsiteY0" fmla="*/ 0 h 684107"/>
                <a:gd name="connsiteX1" fmla="*/ 684107 w 1693333"/>
                <a:gd name="connsiteY1" fmla="*/ 684107 h 684107"/>
                <a:gd name="connsiteX2" fmla="*/ 745067 w 1693333"/>
                <a:gd name="connsiteY2" fmla="*/ 684107 h 684107"/>
                <a:gd name="connsiteX3" fmla="*/ 1693333 w 1693333"/>
                <a:gd name="connsiteY3" fmla="*/ 684107 h 684107"/>
              </a:gdLst>
              <a:ahLst/>
              <a:cxnLst>
                <a:cxn ang="0">
                  <a:pos x="connsiteX0" y="connsiteY0"/>
                </a:cxn>
                <a:cxn ang="0">
                  <a:pos x="connsiteX1" y="connsiteY1"/>
                </a:cxn>
                <a:cxn ang="0">
                  <a:pos x="connsiteX2" y="connsiteY2"/>
                </a:cxn>
                <a:cxn ang="0">
                  <a:pos x="connsiteX3" y="connsiteY3"/>
                </a:cxn>
              </a:cxnLst>
              <a:rect l="l" t="t" r="r" b="b"/>
              <a:pathLst>
                <a:path w="1693333" h="684107">
                  <a:moveTo>
                    <a:pt x="0" y="0"/>
                  </a:moveTo>
                  <a:lnTo>
                    <a:pt x="684107" y="684107"/>
                  </a:lnTo>
                  <a:lnTo>
                    <a:pt x="745067" y="684107"/>
                  </a:lnTo>
                  <a:lnTo>
                    <a:pt x="1693333" y="684107"/>
                  </a:lnTo>
                </a:path>
              </a:pathLst>
            </a:custGeom>
            <a:noFill/>
            <a:ln w="12700">
              <a:solidFill>
                <a:srgbClr val="333353"/>
              </a:solidFill>
              <a:prstDash val="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cxnSp>
          <p:nvCxnSpPr>
            <p:cNvPr id="7" name="Straight Connector 6"/>
            <p:cNvCxnSpPr/>
            <p:nvPr/>
          </p:nvCxnSpPr>
          <p:spPr bwMode="auto">
            <a:xfrm>
              <a:off x="6750827" y="4261722"/>
              <a:ext cx="0" cy="580146"/>
            </a:xfrm>
            <a:prstGeom prst="line">
              <a:avLst/>
            </a:prstGeom>
            <a:solidFill>
              <a:schemeClr val="tx2"/>
            </a:solidFill>
            <a:ln w="12700" cap="flat" cmpd="sng" algn="ctr">
              <a:solidFill>
                <a:srgbClr val="333353"/>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6" name="Straight Connector 135"/>
            <p:cNvCxnSpPr/>
            <p:nvPr/>
          </p:nvCxnSpPr>
          <p:spPr bwMode="auto">
            <a:xfrm>
              <a:off x="5551963" y="2674527"/>
              <a:ext cx="0" cy="580146"/>
            </a:xfrm>
            <a:prstGeom prst="line">
              <a:avLst/>
            </a:prstGeom>
            <a:solidFill>
              <a:schemeClr val="tx2"/>
            </a:solidFill>
            <a:ln w="12700" cap="flat" cmpd="sng" algn="ctr">
              <a:solidFill>
                <a:srgbClr val="333353"/>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aphicFrame>
        <p:nvGraphicFramePr>
          <p:cNvPr id="28" name="Objekt 27"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4" imgW="360" imgH="360" progId="">
                  <p:embed/>
                </p:oleObj>
              </mc:Choice>
              <mc:Fallback>
                <p:oleObj name="think-cell Folie" r:id="rId4" imgW="360" imgH="360" progId="">
                  <p:embed/>
                  <p:pic>
                    <p:nvPicPr>
                      <p:cNvPr id="28" name="Objekt 2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a:extLst>
            <a:ext uri="{91240B29-F687-4F45-9708-019B960494DF}">
              <a14:hiddenLine xmlns:a14="http://schemas.microsoft.com/office/drawing/2010/main" w="9525">
                <a:solidFill>
                  <a:srgbClr val="000000"/>
                </a:solidFill>
                <a:round/>
                <a:headEnd/>
                <a:tailEnd/>
              </a14:hiddenLine>
            </a:ext>
          </a:extLst>
        </p:spPr>
        <p:txBody>
          <a:bodyPr/>
          <a:lstStyle/>
          <a:p>
            <a:r>
              <a:rPr lang="en-US" dirty="0"/>
              <a:t>Mindmap – network (with softening)</a:t>
            </a:r>
          </a:p>
        </p:txBody>
      </p:sp>
      <p:sp>
        <p:nvSpPr>
          <p:cNvPr id="13" name="Footer Placeholder 12">
            <a:extLst>
              <a:ext uri="{FF2B5EF4-FFF2-40B4-BE49-F238E27FC236}">
                <a16:creationId xmlns:a16="http://schemas.microsoft.com/office/drawing/2014/main" id="{175F0DA2-57D6-4D8B-B05F-23CB84E4CE50}"/>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14" name="Slide Number Placeholder 13">
            <a:extLst>
              <a:ext uri="{FF2B5EF4-FFF2-40B4-BE49-F238E27FC236}">
                <a16:creationId xmlns:a16="http://schemas.microsoft.com/office/drawing/2014/main" id="{212FA594-EE9E-4144-9570-583854790218}"/>
              </a:ext>
            </a:extLst>
          </p:cNvPr>
          <p:cNvSpPr>
            <a:spLocks noGrp="1"/>
          </p:cNvSpPr>
          <p:nvPr>
            <p:ph type="sldNum" sz="quarter" idx="11"/>
          </p:nvPr>
        </p:nvSpPr>
        <p:spPr/>
        <p:txBody>
          <a:bodyPr/>
          <a:lstStyle/>
          <a:p>
            <a:r>
              <a:rPr lang="en-US" dirty="0"/>
              <a:t>Page </a:t>
            </a:r>
            <a:fld id="{15EBE321-CBB1-4E91-BD14-37C8D44326FB}" type="slidenum">
              <a:rPr lang="en-US" smtClean="0"/>
              <a:pPr/>
              <a:t>35</a:t>
            </a:fld>
            <a:endParaRPr lang="en-US" dirty="0"/>
          </a:p>
        </p:txBody>
      </p:sp>
      <p:grpSp>
        <p:nvGrpSpPr>
          <p:cNvPr id="12" name="Group 11">
            <a:extLst>
              <a:ext uri="{FF2B5EF4-FFF2-40B4-BE49-F238E27FC236}">
                <a16:creationId xmlns:a16="http://schemas.microsoft.com/office/drawing/2014/main" id="{8E23945C-0D2A-4930-909B-B617E6185242}"/>
              </a:ext>
            </a:extLst>
          </p:cNvPr>
          <p:cNvGrpSpPr/>
          <p:nvPr/>
        </p:nvGrpSpPr>
        <p:grpSpPr>
          <a:xfrm>
            <a:off x="2432593" y="1828619"/>
            <a:ext cx="7654347" cy="3917515"/>
            <a:chOff x="2432593" y="1828619"/>
            <a:chExt cx="7654347" cy="3917515"/>
          </a:xfrm>
        </p:grpSpPr>
        <p:sp>
          <p:nvSpPr>
            <p:cNvPr id="85" name="Freeform 84">
              <a:extLst>
                <a:ext uri="{FF2B5EF4-FFF2-40B4-BE49-F238E27FC236}">
                  <a16:creationId xmlns:a16="http://schemas.microsoft.com/office/drawing/2014/main" id="{95D6550B-D2C5-0B4E-9DF8-82442D20D9F3}"/>
                </a:ext>
              </a:extLst>
            </p:cNvPr>
            <p:cNvSpPr/>
            <p:nvPr/>
          </p:nvSpPr>
          <p:spPr bwMode="auto">
            <a:xfrm>
              <a:off x="7203002" y="3794000"/>
              <a:ext cx="368646" cy="176014"/>
            </a:xfrm>
            <a:custGeom>
              <a:avLst/>
              <a:gdLst>
                <a:gd name="connsiteX0" fmla="*/ 0 w 467360"/>
                <a:gd name="connsiteY0" fmla="*/ 176106 h 176106"/>
                <a:gd name="connsiteX1" fmla="*/ 176106 w 467360"/>
                <a:gd name="connsiteY1" fmla="*/ 0 h 176106"/>
                <a:gd name="connsiteX2" fmla="*/ 467360 w 467360"/>
                <a:gd name="connsiteY2" fmla="*/ 0 h 176106"/>
                <a:gd name="connsiteX0" fmla="*/ 0 w 368838"/>
                <a:gd name="connsiteY0" fmla="*/ 176106 h 176106"/>
                <a:gd name="connsiteX1" fmla="*/ 176106 w 368838"/>
                <a:gd name="connsiteY1" fmla="*/ 0 h 176106"/>
                <a:gd name="connsiteX2" fmla="*/ 368838 w 368838"/>
                <a:gd name="connsiteY2" fmla="*/ 0 h 176106"/>
              </a:gdLst>
              <a:ahLst/>
              <a:cxnLst>
                <a:cxn ang="0">
                  <a:pos x="connsiteX0" y="connsiteY0"/>
                </a:cxn>
                <a:cxn ang="0">
                  <a:pos x="connsiteX1" y="connsiteY1"/>
                </a:cxn>
                <a:cxn ang="0">
                  <a:pos x="connsiteX2" y="connsiteY2"/>
                </a:cxn>
              </a:cxnLst>
              <a:rect l="l" t="t" r="r" b="b"/>
              <a:pathLst>
                <a:path w="368838" h="176106">
                  <a:moveTo>
                    <a:pt x="0" y="176106"/>
                  </a:moveTo>
                  <a:lnTo>
                    <a:pt x="176106" y="0"/>
                  </a:lnTo>
                  <a:lnTo>
                    <a:pt x="368838" y="0"/>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89" name="Freeform 88">
              <a:extLst>
                <a:ext uri="{FF2B5EF4-FFF2-40B4-BE49-F238E27FC236}">
                  <a16:creationId xmlns:a16="http://schemas.microsoft.com/office/drawing/2014/main" id="{9AAAA994-E175-2449-9C0D-A2DEF38FF5AC}"/>
                </a:ext>
              </a:extLst>
            </p:cNvPr>
            <p:cNvSpPr/>
            <p:nvPr/>
          </p:nvSpPr>
          <p:spPr bwMode="auto">
            <a:xfrm>
              <a:off x="6405239" y="4267045"/>
              <a:ext cx="451648" cy="1479089"/>
            </a:xfrm>
            <a:custGeom>
              <a:avLst/>
              <a:gdLst>
                <a:gd name="connsiteX0" fmla="*/ 0 w 451883"/>
                <a:gd name="connsiteY0" fmla="*/ 0 h 1562986"/>
                <a:gd name="connsiteX1" fmla="*/ 0 w 451883"/>
                <a:gd name="connsiteY1" fmla="*/ 1111103 h 1562986"/>
                <a:gd name="connsiteX2" fmla="*/ 451883 w 451883"/>
                <a:gd name="connsiteY2" fmla="*/ 1562986 h 1562986"/>
                <a:gd name="connsiteX0" fmla="*/ 0 w 451883"/>
                <a:gd name="connsiteY0" fmla="*/ 0 h 1479859"/>
                <a:gd name="connsiteX1" fmla="*/ 0 w 451883"/>
                <a:gd name="connsiteY1" fmla="*/ 1027976 h 1479859"/>
                <a:gd name="connsiteX2" fmla="*/ 451883 w 451883"/>
                <a:gd name="connsiteY2" fmla="*/ 1479859 h 1479859"/>
              </a:gdLst>
              <a:ahLst/>
              <a:cxnLst>
                <a:cxn ang="0">
                  <a:pos x="connsiteX0" y="connsiteY0"/>
                </a:cxn>
                <a:cxn ang="0">
                  <a:pos x="connsiteX1" y="connsiteY1"/>
                </a:cxn>
                <a:cxn ang="0">
                  <a:pos x="connsiteX2" y="connsiteY2"/>
                </a:cxn>
              </a:cxnLst>
              <a:rect l="l" t="t" r="r" b="b"/>
              <a:pathLst>
                <a:path w="451883" h="1479859">
                  <a:moveTo>
                    <a:pt x="0" y="0"/>
                  </a:moveTo>
                  <a:lnTo>
                    <a:pt x="0" y="1027976"/>
                  </a:lnTo>
                  <a:lnTo>
                    <a:pt x="451883" y="1479859"/>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94" name="Freeform 93">
              <a:extLst>
                <a:ext uri="{FF2B5EF4-FFF2-40B4-BE49-F238E27FC236}">
                  <a16:creationId xmlns:a16="http://schemas.microsoft.com/office/drawing/2014/main" id="{EFD4F5FE-6E57-D94B-8341-A75767A8D51E}"/>
                </a:ext>
              </a:extLst>
            </p:cNvPr>
            <p:cNvSpPr/>
            <p:nvPr/>
          </p:nvSpPr>
          <p:spPr bwMode="auto">
            <a:xfrm>
              <a:off x="2432593" y="2350530"/>
              <a:ext cx="2907600" cy="1176978"/>
            </a:xfrm>
            <a:custGeom>
              <a:avLst/>
              <a:gdLst>
                <a:gd name="connsiteX0" fmla="*/ 0 w 3018817"/>
                <a:gd name="connsiteY0" fmla="*/ 0 h 1215957"/>
                <a:gd name="connsiteX1" fmla="*/ 797668 w 3018817"/>
                <a:gd name="connsiteY1" fmla="*/ 0 h 1215957"/>
                <a:gd name="connsiteX2" fmla="*/ 1128408 w 3018817"/>
                <a:gd name="connsiteY2" fmla="*/ 330740 h 1215957"/>
                <a:gd name="connsiteX3" fmla="*/ 1170562 w 3018817"/>
                <a:gd name="connsiteY3" fmla="*/ 330740 h 1215957"/>
                <a:gd name="connsiteX4" fmla="*/ 2062264 w 3018817"/>
                <a:gd name="connsiteY4" fmla="*/ 330740 h 1215957"/>
                <a:gd name="connsiteX5" fmla="*/ 2947481 w 3018817"/>
                <a:gd name="connsiteY5" fmla="*/ 1215957 h 1215957"/>
                <a:gd name="connsiteX6" fmla="*/ 3018817 w 3018817"/>
                <a:gd name="connsiteY6" fmla="*/ 1215957 h 1215957"/>
                <a:gd name="connsiteX0" fmla="*/ 0 w 2947481"/>
                <a:gd name="connsiteY0" fmla="*/ 0 h 1215957"/>
                <a:gd name="connsiteX1" fmla="*/ 797668 w 2947481"/>
                <a:gd name="connsiteY1" fmla="*/ 0 h 1215957"/>
                <a:gd name="connsiteX2" fmla="*/ 1128408 w 2947481"/>
                <a:gd name="connsiteY2" fmla="*/ 330740 h 1215957"/>
                <a:gd name="connsiteX3" fmla="*/ 1170562 w 2947481"/>
                <a:gd name="connsiteY3" fmla="*/ 330740 h 1215957"/>
                <a:gd name="connsiteX4" fmla="*/ 2062264 w 2947481"/>
                <a:gd name="connsiteY4" fmla="*/ 330740 h 1215957"/>
                <a:gd name="connsiteX5" fmla="*/ 2947481 w 2947481"/>
                <a:gd name="connsiteY5" fmla="*/ 1215957 h 1215957"/>
                <a:gd name="connsiteX6" fmla="*/ 2940995 w 2947481"/>
                <a:gd name="connsiteY6" fmla="*/ 1215957 h 1215957"/>
                <a:gd name="connsiteX0" fmla="*/ 0 w 3084893"/>
                <a:gd name="connsiteY0" fmla="*/ 0 h 1267112"/>
                <a:gd name="connsiteX1" fmla="*/ 797668 w 3084893"/>
                <a:gd name="connsiteY1" fmla="*/ 0 h 1267112"/>
                <a:gd name="connsiteX2" fmla="*/ 1128408 w 3084893"/>
                <a:gd name="connsiteY2" fmla="*/ 330740 h 1267112"/>
                <a:gd name="connsiteX3" fmla="*/ 1170562 w 3084893"/>
                <a:gd name="connsiteY3" fmla="*/ 330740 h 1267112"/>
                <a:gd name="connsiteX4" fmla="*/ 2062264 w 3084893"/>
                <a:gd name="connsiteY4" fmla="*/ 330740 h 1267112"/>
                <a:gd name="connsiteX5" fmla="*/ 2947481 w 3084893"/>
                <a:gd name="connsiteY5" fmla="*/ 1215957 h 1267112"/>
                <a:gd name="connsiteX6" fmla="*/ 3084869 w 3084893"/>
                <a:gd name="connsiteY6" fmla="*/ 1267112 h 1267112"/>
                <a:gd name="connsiteX0" fmla="*/ 0 w 2947481"/>
                <a:gd name="connsiteY0" fmla="*/ 0 h 1215957"/>
                <a:gd name="connsiteX1" fmla="*/ 797668 w 2947481"/>
                <a:gd name="connsiteY1" fmla="*/ 0 h 1215957"/>
                <a:gd name="connsiteX2" fmla="*/ 1128408 w 2947481"/>
                <a:gd name="connsiteY2" fmla="*/ 330740 h 1215957"/>
                <a:gd name="connsiteX3" fmla="*/ 1170562 w 2947481"/>
                <a:gd name="connsiteY3" fmla="*/ 330740 h 1215957"/>
                <a:gd name="connsiteX4" fmla="*/ 2062264 w 2947481"/>
                <a:gd name="connsiteY4" fmla="*/ 330740 h 1215957"/>
                <a:gd name="connsiteX5" fmla="*/ 2947481 w 2947481"/>
                <a:gd name="connsiteY5" fmla="*/ 1215957 h 1215957"/>
                <a:gd name="connsiteX0" fmla="*/ 0 w 2909115"/>
                <a:gd name="connsiteY0" fmla="*/ 0 h 1177591"/>
                <a:gd name="connsiteX1" fmla="*/ 797668 w 2909115"/>
                <a:gd name="connsiteY1" fmla="*/ 0 h 1177591"/>
                <a:gd name="connsiteX2" fmla="*/ 1128408 w 2909115"/>
                <a:gd name="connsiteY2" fmla="*/ 330740 h 1177591"/>
                <a:gd name="connsiteX3" fmla="*/ 1170562 w 2909115"/>
                <a:gd name="connsiteY3" fmla="*/ 330740 h 1177591"/>
                <a:gd name="connsiteX4" fmla="*/ 2062264 w 2909115"/>
                <a:gd name="connsiteY4" fmla="*/ 330740 h 1177591"/>
                <a:gd name="connsiteX5" fmla="*/ 2909115 w 2909115"/>
                <a:gd name="connsiteY5" fmla="*/ 1177591 h 1177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09115" h="1177591">
                  <a:moveTo>
                    <a:pt x="0" y="0"/>
                  </a:moveTo>
                  <a:lnTo>
                    <a:pt x="797668" y="0"/>
                  </a:lnTo>
                  <a:lnTo>
                    <a:pt x="1128408" y="330740"/>
                  </a:lnTo>
                  <a:lnTo>
                    <a:pt x="1170562" y="330740"/>
                  </a:lnTo>
                  <a:lnTo>
                    <a:pt x="2062264" y="330740"/>
                  </a:lnTo>
                  <a:lnTo>
                    <a:pt x="2909115" y="1177591"/>
                  </a:lnTo>
                </a:path>
              </a:pathLst>
            </a:custGeom>
            <a:noFill/>
            <a:ln w="22225">
              <a:solidFill>
                <a:schemeClr val="accent2"/>
              </a:solidFill>
            </a:ln>
            <a:effec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95" name="Freeform 94">
              <a:extLst>
                <a:ext uri="{FF2B5EF4-FFF2-40B4-BE49-F238E27FC236}">
                  <a16:creationId xmlns:a16="http://schemas.microsoft.com/office/drawing/2014/main" id="{6FF7DB83-5F85-F04E-8DB2-ED696764F1C7}"/>
                </a:ext>
              </a:extLst>
            </p:cNvPr>
            <p:cNvSpPr/>
            <p:nvPr/>
          </p:nvSpPr>
          <p:spPr bwMode="auto">
            <a:xfrm>
              <a:off x="2432593" y="2897333"/>
              <a:ext cx="2567297" cy="697906"/>
            </a:xfrm>
            <a:custGeom>
              <a:avLst/>
              <a:gdLst>
                <a:gd name="connsiteX0" fmla="*/ 0 w 2568634"/>
                <a:gd name="connsiteY0" fmla="*/ 0 h 698269"/>
                <a:gd name="connsiteX1" fmla="*/ 822960 w 2568634"/>
                <a:gd name="connsiteY1" fmla="*/ 0 h 698269"/>
                <a:gd name="connsiteX2" fmla="*/ 1138843 w 2568634"/>
                <a:gd name="connsiteY2" fmla="*/ 315883 h 698269"/>
                <a:gd name="connsiteX3" fmla="*/ 2186248 w 2568634"/>
                <a:gd name="connsiteY3" fmla="*/ 315883 h 698269"/>
                <a:gd name="connsiteX4" fmla="*/ 2568634 w 2568634"/>
                <a:gd name="connsiteY4" fmla="*/ 698269 h 698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8634" h="698269">
                  <a:moveTo>
                    <a:pt x="0" y="0"/>
                  </a:moveTo>
                  <a:lnTo>
                    <a:pt x="822960" y="0"/>
                  </a:lnTo>
                  <a:lnTo>
                    <a:pt x="1138843" y="315883"/>
                  </a:lnTo>
                  <a:lnTo>
                    <a:pt x="2186248" y="315883"/>
                  </a:lnTo>
                  <a:lnTo>
                    <a:pt x="2568634" y="698269"/>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96" name="Freeform 95">
              <a:extLst>
                <a:ext uri="{FF2B5EF4-FFF2-40B4-BE49-F238E27FC236}">
                  <a16:creationId xmlns:a16="http://schemas.microsoft.com/office/drawing/2014/main" id="{E1B2F581-5399-4C40-BF86-05E4D9487BB4}"/>
                </a:ext>
              </a:extLst>
            </p:cNvPr>
            <p:cNvSpPr/>
            <p:nvPr/>
          </p:nvSpPr>
          <p:spPr bwMode="auto">
            <a:xfrm>
              <a:off x="2449900" y="3597842"/>
              <a:ext cx="2882160" cy="386298"/>
            </a:xfrm>
            <a:custGeom>
              <a:avLst/>
              <a:gdLst>
                <a:gd name="connsiteX0" fmla="*/ 0 w 3129699"/>
                <a:gd name="connsiteY0" fmla="*/ 386499 h 386499"/>
                <a:gd name="connsiteX1" fmla="*/ 829559 w 3129699"/>
                <a:gd name="connsiteY1" fmla="*/ 386499 h 386499"/>
                <a:gd name="connsiteX2" fmla="*/ 1216058 w 3129699"/>
                <a:gd name="connsiteY2" fmla="*/ 0 h 386499"/>
                <a:gd name="connsiteX3" fmla="*/ 3129699 w 3129699"/>
                <a:gd name="connsiteY3" fmla="*/ 0 h 386499"/>
                <a:gd name="connsiteX0" fmla="*/ 0 w 2877120"/>
                <a:gd name="connsiteY0" fmla="*/ 386499 h 386499"/>
                <a:gd name="connsiteX1" fmla="*/ 829559 w 2877120"/>
                <a:gd name="connsiteY1" fmla="*/ 386499 h 386499"/>
                <a:gd name="connsiteX2" fmla="*/ 1216058 w 2877120"/>
                <a:gd name="connsiteY2" fmla="*/ 0 h 386499"/>
                <a:gd name="connsiteX3" fmla="*/ 2877120 w 2877120"/>
                <a:gd name="connsiteY3" fmla="*/ 0 h 386499"/>
              </a:gdLst>
              <a:ahLst/>
              <a:cxnLst>
                <a:cxn ang="0">
                  <a:pos x="connsiteX0" y="connsiteY0"/>
                </a:cxn>
                <a:cxn ang="0">
                  <a:pos x="connsiteX1" y="connsiteY1"/>
                </a:cxn>
                <a:cxn ang="0">
                  <a:pos x="connsiteX2" y="connsiteY2"/>
                </a:cxn>
                <a:cxn ang="0">
                  <a:pos x="connsiteX3" y="connsiteY3"/>
                </a:cxn>
              </a:cxnLst>
              <a:rect l="l" t="t" r="r" b="b"/>
              <a:pathLst>
                <a:path w="2877120" h="386499">
                  <a:moveTo>
                    <a:pt x="0" y="386499"/>
                  </a:moveTo>
                  <a:lnTo>
                    <a:pt x="829559" y="386499"/>
                  </a:lnTo>
                  <a:lnTo>
                    <a:pt x="1216058" y="0"/>
                  </a:lnTo>
                  <a:lnTo>
                    <a:pt x="2877120" y="0"/>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97" name="Freeform 96">
              <a:extLst>
                <a:ext uri="{FF2B5EF4-FFF2-40B4-BE49-F238E27FC236}">
                  <a16:creationId xmlns:a16="http://schemas.microsoft.com/office/drawing/2014/main" id="{37B6C0DF-9FC8-4342-BB6F-14397AF3DA7A}"/>
                </a:ext>
              </a:extLst>
            </p:cNvPr>
            <p:cNvSpPr/>
            <p:nvPr/>
          </p:nvSpPr>
          <p:spPr bwMode="auto">
            <a:xfrm>
              <a:off x="3005791" y="3635434"/>
              <a:ext cx="452251" cy="179016"/>
            </a:xfrm>
            <a:custGeom>
              <a:avLst/>
              <a:gdLst>
                <a:gd name="connsiteX0" fmla="*/ 0 w 452487"/>
                <a:gd name="connsiteY0" fmla="*/ 0 h 179109"/>
                <a:gd name="connsiteX1" fmla="*/ 273378 w 452487"/>
                <a:gd name="connsiteY1" fmla="*/ 0 h 179109"/>
                <a:gd name="connsiteX2" fmla="*/ 452487 w 452487"/>
                <a:gd name="connsiteY2" fmla="*/ 179109 h 179109"/>
              </a:gdLst>
              <a:ahLst/>
              <a:cxnLst>
                <a:cxn ang="0">
                  <a:pos x="connsiteX0" y="connsiteY0"/>
                </a:cxn>
                <a:cxn ang="0">
                  <a:pos x="connsiteX1" y="connsiteY1"/>
                </a:cxn>
                <a:cxn ang="0">
                  <a:pos x="connsiteX2" y="connsiteY2"/>
                </a:cxn>
              </a:cxnLst>
              <a:rect l="l" t="t" r="r" b="b"/>
              <a:pathLst>
                <a:path w="452487" h="179109">
                  <a:moveTo>
                    <a:pt x="0" y="0"/>
                  </a:moveTo>
                  <a:lnTo>
                    <a:pt x="273378" y="0"/>
                  </a:lnTo>
                  <a:lnTo>
                    <a:pt x="452487" y="179109"/>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98" name="Freeform 97">
              <a:extLst>
                <a:ext uri="{FF2B5EF4-FFF2-40B4-BE49-F238E27FC236}">
                  <a16:creationId xmlns:a16="http://schemas.microsoft.com/office/drawing/2014/main" id="{09DECEF8-223B-BC4B-84FD-C761173E06AB}"/>
                </a:ext>
              </a:extLst>
            </p:cNvPr>
            <p:cNvSpPr/>
            <p:nvPr/>
          </p:nvSpPr>
          <p:spPr bwMode="auto">
            <a:xfrm>
              <a:off x="4799721" y="3597232"/>
              <a:ext cx="482349" cy="208172"/>
            </a:xfrm>
            <a:custGeom>
              <a:avLst/>
              <a:gdLst>
                <a:gd name="connsiteX0" fmla="*/ 0 w 482600"/>
                <a:gd name="connsiteY0" fmla="*/ 208280 h 208280"/>
                <a:gd name="connsiteX1" fmla="*/ 259080 w 482600"/>
                <a:gd name="connsiteY1" fmla="*/ 203200 h 208280"/>
                <a:gd name="connsiteX2" fmla="*/ 482600 w 482600"/>
                <a:gd name="connsiteY2" fmla="*/ 0 h 208280"/>
              </a:gdLst>
              <a:ahLst/>
              <a:cxnLst>
                <a:cxn ang="0">
                  <a:pos x="connsiteX0" y="connsiteY0"/>
                </a:cxn>
                <a:cxn ang="0">
                  <a:pos x="connsiteX1" y="connsiteY1"/>
                </a:cxn>
                <a:cxn ang="0">
                  <a:pos x="connsiteX2" y="connsiteY2"/>
                </a:cxn>
              </a:cxnLst>
              <a:rect l="l" t="t" r="r" b="b"/>
              <a:pathLst>
                <a:path w="482600" h="208280">
                  <a:moveTo>
                    <a:pt x="0" y="208280"/>
                  </a:moveTo>
                  <a:lnTo>
                    <a:pt x="259080" y="203200"/>
                  </a:lnTo>
                  <a:lnTo>
                    <a:pt x="482600" y="0"/>
                  </a:lnTo>
                </a:path>
              </a:pathLst>
            </a:custGeom>
            <a:noFill/>
            <a:ln w="22225">
              <a:solidFill>
                <a:schemeClr val="accent2"/>
              </a:solidFill>
              <a:prstDash val="solid"/>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99" name="Freeform 98">
              <a:extLst>
                <a:ext uri="{FF2B5EF4-FFF2-40B4-BE49-F238E27FC236}">
                  <a16:creationId xmlns:a16="http://schemas.microsoft.com/office/drawing/2014/main" id="{9E5FF257-D650-C642-9BF9-E91B70D9FA1D}"/>
                </a:ext>
              </a:extLst>
            </p:cNvPr>
            <p:cNvSpPr/>
            <p:nvPr/>
          </p:nvSpPr>
          <p:spPr bwMode="auto">
            <a:xfrm>
              <a:off x="2443828" y="3972956"/>
              <a:ext cx="3010872" cy="416343"/>
            </a:xfrm>
            <a:custGeom>
              <a:avLst/>
              <a:gdLst>
                <a:gd name="connsiteX0" fmla="*/ 3012440 w 3012440"/>
                <a:gd name="connsiteY0" fmla="*/ 0 h 416560"/>
                <a:gd name="connsiteX1" fmla="*/ 1203960 w 3012440"/>
                <a:gd name="connsiteY1" fmla="*/ 0 h 416560"/>
                <a:gd name="connsiteX2" fmla="*/ 787400 w 3012440"/>
                <a:gd name="connsiteY2" fmla="*/ 416560 h 416560"/>
                <a:gd name="connsiteX3" fmla="*/ 731520 w 3012440"/>
                <a:gd name="connsiteY3" fmla="*/ 416560 h 416560"/>
                <a:gd name="connsiteX4" fmla="*/ 0 w 3012440"/>
                <a:gd name="connsiteY4" fmla="*/ 416560 h 416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2440" h="416560">
                  <a:moveTo>
                    <a:pt x="3012440" y="0"/>
                  </a:moveTo>
                  <a:lnTo>
                    <a:pt x="1203960" y="0"/>
                  </a:lnTo>
                  <a:lnTo>
                    <a:pt x="787400" y="416560"/>
                  </a:lnTo>
                  <a:lnTo>
                    <a:pt x="731520" y="416560"/>
                  </a:lnTo>
                  <a:lnTo>
                    <a:pt x="0" y="416560"/>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00" name="Freeform 99">
              <a:extLst>
                <a:ext uri="{FF2B5EF4-FFF2-40B4-BE49-F238E27FC236}">
                  <a16:creationId xmlns:a16="http://schemas.microsoft.com/office/drawing/2014/main" id="{5799BE6B-F6E3-DB4A-8A14-AD3372176FF1}"/>
                </a:ext>
              </a:extLst>
            </p:cNvPr>
            <p:cNvSpPr/>
            <p:nvPr/>
          </p:nvSpPr>
          <p:spPr bwMode="auto">
            <a:xfrm>
              <a:off x="3096659" y="4067473"/>
              <a:ext cx="2258447" cy="1080891"/>
            </a:xfrm>
            <a:custGeom>
              <a:avLst/>
              <a:gdLst>
                <a:gd name="connsiteX0" fmla="*/ 2259623 w 2259623"/>
                <a:gd name="connsiteY0" fmla="*/ 0 h 1081454"/>
                <a:gd name="connsiteX1" fmla="*/ 1178169 w 2259623"/>
                <a:gd name="connsiteY1" fmla="*/ 1081454 h 1081454"/>
                <a:gd name="connsiteX2" fmla="*/ 0 w 2259623"/>
                <a:gd name="connsiteY2" fmla="*/ 1081454 h 1081454"/>
              </a:gdLst>
              <a:ahLst/>
              <a:cxnLst>
                <a:cxn ang="0">
                  <a:pos x="connsiteX0" y="connsiteY0"/>
                </a:cxn>
                <a:cxn ang="0">
                  <a:pos x="connsiteX1" y="connsiteY1"/>
                </a:cxn>
                <a:cxn ang="0">
                  <a:pos x="connsiteX2" y="connsiteY2"/>
                </a:cxn>
              </a:cxnLst>
              <a:rect l="l" t="t" r="r" b="b"/>
              <a:pathLst>
                <a:path w="2259623" h="1081454">
                  <a:moveTo>
                    <a:pt x="2259623" y="0"/>
                  </a:moveTo>
                  <a:lnTo>
                    <a:pt x="1178169" y="1081454"/>
                  </a:lnTo>
                  <a:lnTo>
                    <a:pt x="0" y="1081454"/>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02" name="Freeform 101">
              <a:extLst>
                <a:ext uri="{FF2B5EF4-FFF2-40B4-BE49-F238E27FC236}">
                  <a16:creationId xmlns:a16="http://schemas.microsoft.com/office/drawing/2014/main" id="{5FAE60FF-2D77-8F48-AC43-65095D29B5C2}"/>
                </a:ext>
              </a:extLst>
            </p:cNvPr>
            <p:cNvSpPr/>
            <p:nvPr/>
          </p:nvSpPr>
          <p:spPr bwMode="auto">
            <a:xfrm>
              <a:off x="2527374" y="5148364"/>
              <a:ext cx="1275340" cy="411266"/>
            </a:xfrm>
            <a:custGeom>
              <a:avLst/>
              <a:gdLst>
                <a:gd name="connsiteX0" fmla="*/ 0 w 1276004"/>
                <a:gd name="connsiteY0" fmla="*/ 411480 h 411480"/>
                <a:gd name="connsiteX1" fmla="*/ 864524 w 1276004"/>
                <a:gd name="connsiteY1" fmla="*/ 411480 h 411480"/>
                <a:gd name="connsiteX2" fmla="*/ 1276004 w 1276004"/>
                <a:gd name="connsiteY2" fmla="*/ 0 h 411480"/>
              </a:gdLst>
              <a:ahLst/>
              <a:cxnLst>
                <a:cxn ang="0">
                  <a:pos x="connsiteX0" y="connsiteY0"/>
                </a:cxn>
                <a:cxn ang="0">
                  <a:pos x="connsiteX1" y="connsiteY1"/>
                </a:cxn>
                <a:cxn ang="0">
                  <a:pos x="connsiteX2" y="connsiteY2"/>
                </a:cxn>
              </a:cxnLst>
              <a:rect l="l" t="t" r="r" b="b"/>
              <a:pathLst>
                <a:path w="1276004" h="411480">
                  <a:moveTo>
                    <a:pt x="0" y="411480"/>
                  </a:moveTo>
                  <a:lnTo>
                    <a:pt x="864524" y="411480"/>
                  </a:lnTo>
                  <a:lnTo>
                    <a:pt x="1276004" y="0"/>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03" name="Freeform 102">
              <a:extLst>
                <a:ext uri="{FF2B5EF4-FFF2-40B4-BE49-F238E27FC236}">
                  <a16:creationId xmlns:a16="http://schemas.microsoft.com/office/drawing/2014/main" id="{E38276D7-DBEB-FA43-BC8B-6373A0D89216}"/>
                </a:ext>
              </a:extLst>
            </p:cNvPr>
            <p:cNvSpPr/>
            <p:nvPr/>
          </p:nvSpPr>
          <p:spPr bwMode="auto">
            <a:xfrm>
              <a:off x="5534245" y="1828619"/>
              <a:ext cx="480656" cy="1388970"/>
            </a:xfrm>
            <a:custGeom>
              <a:avLst/>
              <a:gdLst>
                <a:gd name="connsiteX0" fmla="*/ 0 w 480906"/>
                <a:gd name="connsiteY0" fmla="*/ 0 h 1466426"/>
                <a:gd name="connsiteX1" fmla="*/ 480906 w 480906"/>
                <a:gd name="connsiteY1" fmla="*/ 480906 h 1466426"/>
                <a:gd name="connsiteX2" fmla="*/ 480906 w 480906"/>
                <a:gd name="connsiteY2" fmla="*/ 1466426 h 1466426"/>
                <a:gd name="connsiteX0" fmla="*/ 0 w 480906"/>
                <a:gd name="connsiteY0" fmla="*/ 0 h 1389693"/>
                <a:gd name="connsiteX1" fmla="*/ 480906 w 480906"/>
                <a:gd name="connsiteY1" fmla="*/ 480906 h 1389693"/>
                <a:gd name="connsiteX2" fmla="*/ 480906 w 480906"/>
                <a:gd name="connsiteY2" fmla="*/ 1389693 h 1389693"/>
              </a:gdLst>
              <a:ahLst/>
              <a:cxnLst>
                <a:cxn ang="0">
                  <a:pos x="connsiteX0" y="connsiteY0"/>
                </a:cxn>
                <a:cxn ang="0">
                  <a:pos x="connsiteX1" y="connsiteY1"/>
                </a:cxn>
                <a:cxn ang="0">
                  <a:pos x="connsiteX2" y="connsiteY2"/>
                </a:cxn>
              </a:cxnLst>
              <a:rect l="l" t="t" r="r" b="b"/>
              <a:pathLst>
                <a:path w="480906" h="1389693">
                  <a:moveTo>
                    <a:pt x="0" y="0"/>
                  </a:moveTo>
                  <a:lnTo>
                    <a:pt x="480906" y="480906"/>
                  </a:lnTo>
                  <a:lnTo>
                    <a:pt x="480906" y="1389693"/>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04" name="Freeform 103">
              <a:extLst>
                <a:ext uri="{FF2B5EF4-FFF2-40B4-BE49-F238E27FC236}">
                  <a16:creationId xmlns:a16="http://schemas.microsoft.com/office/drawing/2014/main" id="{F66F149C-6338-BF41-8404-CCDEE35C024C}"/>
                </a:ext>
              </a:extLst>
            </p:cNvPr>
            <p:cNvSpPr/>
            <p:nvPr/>
          </p:nvSpPr>
          <p:spPr bwMode="auto">
            <a:xfrm>
              <a:off x="5429904" y="4188013"/>
              <a:ext cx="398513" cy="658876"/>
            </a:xfrm>
            <a:custGeom>
              <a:avLst/>
              <a:gdLst>
                <a:gd name="connsiteX0" fmla="*/ 398721 w 398721"/>
                <a:gd name="connsiteY0" fmla="*/ 0 h 659219"/>
                <a:gd name="connsiteX1" fmla="*/ 0 w 398721"/>
                <a:gd name="connsiteY1" fmla="*/ 398721 h 659219"/>
                <a:gd name="connsiteX2" fmla="*/ 0 w 398721"/>
                <a:gd name="connsiteY2" fmla="*/ 659219 h 659219"/>
              </a:gdLst>
              <a:ahLst/>
              <a:cxnLst>
                <a:cxn ang="0">
                  <a:pos x="connsiteX0" y="connsiteY0"/>
                </a:cxn>
                <a:cxn ang="0">
                  <a:pos x="connsiteX1" y="connsiteY1"/>
                </a:cxn>
                <a:cxn ang="0">
                  <a:pos x="connsiteX2" y="connsiteY2"/>
                </a:cxn>
              </a:cxnLst>
              <a:rect l="l" t="t" r="r" b="b"/>
              <a:pathLst>
                <a:path w="398721" h="659219">
                  <a:moveTo>
                    <a:pt x="398721" y="0"/>
                  </a:moveTo>
                  <a:lnTo>
                    <a:pt x="0" y="398721"/>
                  </a:lnTo>
                  <a:lnTo>
                    <a:pt x="0" y="659219"/>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07" name="Freeform 106">
              <a:extLst>
                <a:ext uri="{FF2B5EF4-FFF2-40B4-BE49-F238E27FC236}">
                  <a16:creationId xmlns:a16="http://schemas.microsoft.com/office/drawing/2014/main" id="{3EA5E0E4-ACBE-9042-B5D4-697663728D87}"/>
                </a:ext>
              </a:extLst>
            </p:cNvPr>
            <p:cNvSpPr/>
            <p:nvPr/>
          </p:nvSpPr>
          <p:spPr bwMode="auto">
            <a:xfrm>
              <a:off x="8817874" y="2339103"/>
              <a:ext cx="1227422" cy="345379"/>
            </a:xfrm>
            <a:custGeom>
              <a:avLst/>
              <a:gdLst>
                <a:gd name="connsiteX0" fmla="*/ 0 w 2998381"/>
                <a:gd name="connsiteY0" fmla="*/ 1254642 h 1254642"/>
                <a:gd name="connsiteX1" fmla="*/ 909083 w 2998381"/>
                <a:gd name="connsiteY1" fmla="*/ 345559 h 1254642"/>
                <a:gd name="connsiteX2" fmla="*/ 1770320 w 2998381"/>
                <a:gd name="connsiteY2" fmla="*/ 345559 h 1254642"/>
                <a:gd name="connsiteX3" fmla="*/ 2115879 w 2998381"/>
                <a:gd name="connsiteY3" fmla="*/ 0 h 1254642"/>
                <a:gd name="connsiteX4" fmla="*/ 2174358 w 2998381"/>
                <a:gd name="connsiteY4" fmla="*/ 0 h 1254642"/>
                <a:gd name="connsiteX5" fmla="*/ 2998381 w 2998381"/>
                <a:gd name="connsiteY5" fmla="*/ 0 h 1254642"/>
                <a:gd name="connsiteX0" fmla="*/ 0 w 2089298"/>
                <a:gd name="connsiteY0" fmla="*/ 345559 h 345559"/>
                <a:gd name="connsiteX1" fmla="*/ 861237 w 2089298"/>
                <a:gd name="connsiteY1" fmla="*/ 345559 h 345559"/>
                <a:gd name="connsiteX2" fmla="*/ 1206796 w 2089298"/>
                <a:gd name="connsiteY2" fmla="*/ 0 h 345559"/>
                <a:gd name="connsiteX3" fmla="*/ 1265275 w 2089298"/>
                <a:gd name="connsiteY3" fmla="*/ 0 h 345559"/>
                <a:gd name="connsiteX4" fmla="*/ 2089298 w 2089298"/>
                <a:gd name="connsiteY4" fmla="*/ 0 h 345559"/>
                <a:gd name="connsiteX0" fmla="*/ 0 w 1228061"/>
                <a:gd name="connsiteY0" fmla="*/ 345559 h 345559"/>
                <a:gd name="connsiteX1" fmla="*/ 345559 w 1228061"/>
                <a:gd name="connsiteY1" fmla="*/ 0 h 345559"/>
                <a:gd name="connsiteX2" fmla="*/ 404038 w 1228061"/>
                <a:gd name="connsiteY2" fmla="*/ 0 h 345559"/>
                <a:gd name="connsiteX3" fmla="*/ 1228061 w 1228061"/>
                <a:gd name="connsiteY3" fmla="*/ 0 h 345559"/>
              </a:gdLst>
              <a:ahLst/>
              <a:cxnLst>
                <a:cxn ang="0">
                  <a:pos x="connsiteX0" y="connsiteY0"/>
                </a:cxn>
                <a:cxn ang="0">
                  <a:pos x="connsiteX1" y="connsiteY1"/>
                </a:cxn>
                <a:cxn ang="0">
                  <a:pos x="connsiteX2" y="connsiteY2"/>
                </a:cxn>
                <a:cxn ang="0">
                  <a:pos x="connsiteX3" y="connsiteY3"/>
                </a:cxn>
              </a:cxnLst>
              <a:rect l="l" t="t" r="r" b="b"/>
              <a:pathLst>
                <a:path w="1228061" h="345559">
                  <a:moveTo>
                    <a:pt x="0" y="345559"/>
                  </a:moveTo>
                  <a:lnTo>
                    <a:pt x="345559" y="0"/>
                  </a:lnTo>
                  <a:lnTo>
                    <a:pt x="404038" y="0"/>
                  </a:lnTo>
                  <a:lnTo>
                    <a:pt x="1228061" y="0"/>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08" name="Freeform 107">
              <a:extLst>
                <a:ext uri="{FF2B5EF4-FFF2-40B4-BE49-F238E27FC236}">
                  <a16:creationId xmlns:a16="http://schemas.microsoft.com/office/drawing/2014/main" id="{EFE7DB5A-A804-974C-B6B2-81FA65F77EBB}"/>
                </a:ext>
              </a:extLst>
            </p:cNvPr>
            <p:cNvSpPr/>
            <p:nvPr/>
          </p:nvSpPr>
          <p:spPr bwMode="auto">
            <a:xfrm>
              <a:off x="6955702" y="2686552"/>
              <a:ext cx="2479034" cy="886281"/>
            </a:xfrm>
            <a:custGeom>
              <a:avLst/>
              <a:gdLst>
                <a:gd name="connsiteX0" fmla="*/ 0 w 2435225"/>
                <a:gd name="connsiteY0" fmla="*/ 873125 h 873125"/>
                <a:gd name="connsiteX1" fmla="*/ 873125 w 2435225"/>
                <a:gd name="connsiteY1" fmla="*/ 0 h 873125"/>
                <a:gd name="connsiteX2" fmla="*/ 908050 w 2435225"/>
                <a:gd name="connsiteY2" fmla="*/ 0 h 873125"/>
                <a:gd name="connsiteX3" fmla="*/ 2435225 w 2435225"/>
                <a:gd name="connsiteY3" fmla="*/ 0 h 873125"/>
              </a:gdLst>
              <a:ahLst/>
              <a:cxnLst>
                <a:cxn ang="0">
                  <a:pos x="connsiteX0" y="connsiteY0"/>
                </a:cxn>
                <a:cxn ang="0">
                  <a:pos x="connsiteX1" y="connsiteY1"/>
                </a:cxn>
                <a:cxn ang="0">
                  <a:pos x="connsiteX2" y="connsiteY2"/>
                </a:cxn>
                <a:cxn ang="0">
                  <a:pos x="connsiteX3" y="connsiteY3"/>
                </a:cxn>
              </a:cxnLst>
              <a:rect l="l" t="t" r="r" b="b"/>
              <a:pathLst>
                <a:path w="2435225" h="873125">
                  <a:moveTo>
                    <a:pt x="0" y="873125"/>
                  </a:moveTo>
                  <a:lnTo>
                    <a:pt x="873125" y="0"/>
                  </a:lnTo>
                  <a:lnTo>
                    <a:pt x="908050" y="0"/>
                  </a:lnTo>
                  <a:lnTo>
                    <a:pt x="2435225" y="0"/>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13" name="Freeform 112">
              <a:extLst>
                <a:ext uri="{FF2B5EF4-FFF2-40B4-BE49-F238E27FC236}">
                  <a16:creationId xmlns:a16="http://schemas.microsoft.com/office/drawing/2014/main" id="{65BF948E-DE2E-6549-8F51-95F7E068E6FD}"/>
                </a:ext>
              </a:extLst>
            </p:cNvPr>
            <p:cNvSpPr/>
            <p:nvPr/>
          </p:nvSpPr>
          <p:spPr bwMode="auto">
            <a:xfrm>
              <a:off x="6972829" y="3202759"/>
              <a:ext cx="3114111" cy="406188"/>
            </a:xfrm>
            <a:custGeom>
              <a:avLst/>
              <a:gdLst>
                <a:gd name="connsiteX0" fmla="*/ 3115733 w 3115733"/>
                <a:gd name="connsiteY0" fmla="*/ 0 h 406400"/>
                <a:gd name="connsiteX1" fmla="*/ 2370667 w 3115733"/>
                <a:gd name="connsiteY1" fmla="*/ 6773 h 406400"/>
                <a:gd name="connsiteX2" fmla="*/ 1971040 w 3115733"/>
                <a:gd name="connsiteY2" fmla="*/ 406400 h 406400"/>
                <a:gd name="connsiteX3" fmla="*/ 0 w 3115733"/>
                <a:gd name="connsiteY3" fmla="*/ 406400 h 406400"/>
              </a:gdLst>
              <a:ahLst/>
              <a:cxnLst>
                <a:cxn ang="0">
                  <a:pos x="connsiteX0" y="connsiteY0"/>
                </a:cxn>
                <a:cxn ang="0">
                  <a:pos x="connsiteX1" y="connsiteY1"/>
                </a:cxn>
                <a:cxn ang="0">
                  <a:pos x="connsiteX2" y="connsiteY2"/>
                </a:cxn>
                <a:cxn ang="0">
                  <a:pos x="connsiteX3" y="connsiteY3"/>
                </a:cxn>
              </a:cxnLst>
              <a:rect l="l" t="t" r="r" b="b"/>
              <a:pathLst>
                <a:path w="3115733" h="406400">
                  <a:moveTo>
                    <a:pt x="3115733" y="0"/>
                  </a:moveTo>
                  <a:lnTo>
                    <a:pt x="2370667" y="6773"/>
                  </a:lnTo>
                  <a:lnTo>
                    <a:pt x="1971040" y="406400"/>
                  </a:lnTo>
                  <a:lnTo>
                    <a:pt x="0" y="406400"/>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14" name="Freeform 113">
              <a:extLst>
                <a:ext uri="{FF2B5EF4-FFF2-40B4-BE49-F238E27FC236}">
                  <a16:creationId xmlns:a16="http://schemas.microsoft.com/office/drawing/2014/main" id="{7BCC7EE0-892E-DF49-9A4B-217E9EE1B81E}"/>
                </a:ext>
              </a:extLst>
            </p:cNvPr>
            <p:cNvSpPr/>
            <p:nvPr/>
          </p:nvSpPr>
          <p:spPr bwMode="auto">
            <a:xfrm>
              <a:off x="6986369" y="3582951"/>
              <a:ext cx="2911017" cy="385879"/>
            </a:xfrm>
            <a:custGeom>
              <a:avLst/>
              <a:gdLst>
                <a:gd name="connsiteX0" fmla="*/ 0 w 2912533"/>
                <a:gd name="connsiteY0" fmla="*/ 386080 h 386080"/>
                <a:gd name="connsiteX1" fmla="*/ 1774613 w 2912533"/>
                <a:gd name="connsiteY1" fmla="*/ 386080 h 386080"/>
                <a:gd name="connsiteX2" fmla="*/ 2160693 w 2912533"/>
                <a:gd name="connsiteY2" fmla="*/ 0 h 386080"/>
                <a:gd name="connsiteX3" fmla="*/ 2912533 w 2912533"/>
                <a:gd name="connsiteY3" fmla="*/ 0 h 386080"/>
              </a:gdLst>
              <a:ahLst/>
              <a:cxnLst>
                <a:cxn ang="0">
                  <a:pos x="connsiteX0" y="connsiteY0"/>
                </a:cxn>
                <a:cxn ang="0">
                  <a:pos x="connsiteX1" y="connsiteY1"/>
                </a:cxn>
                <a:cxn ang="0">
                  <a:pos x="connsiteX2" y="connsiteY2"/>
                </a:cxn>
                <a:cxn ang="0">
                  <a:pos x="connsiteX3" y="connsiteY3"/>
                </a:cxn>
              </a:cxnLst>
              <a:rect l="l" t="t" r="r" b="b"/>
              <a:pathLst>
                <a:path w="2912533" h="386080">
                  <a:moveTo>
                    <a:pt x="0" y="386080"/>
                  </a:moveTo>
                  <a:lnTo>
                    <a:pt x="1774613" y="386080"/>
                  </a:lnTo>
                  <a:lnTo>
                    <a:pt x="2160693" y="0"/>
                  </a:lnTo>
                  <a:lnTo>
                    <a:pt x="2912533" y="0"/>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15" name="Freeform 114">
              <a:extLst>
                <a:ext uri="{FF2B5EF4-FFF2-40B4-BE49-F238E27FC236}">
                  <a16:creationId xmlns:a16="http://schemas.microsoft.com/office/drawing/2014/main" id="{1082A796-98B0-C142-8865-722BD17399EA}"/>
                </a:ext>
              </a:extLst>
            </p:cNvPr>
            <p:cNvSpPr/>
            <p:nvPr/>
          </p:nvSpPr>
          <p:spPr bwMode="auto">
            <a:xfrm>
              <a:off x="8976692" y="3744306"/>
              <a:ext cx="494196" cy="230173"/>
            </a:xfrm>
            <a:custGeom>
              <a:avLst/>
              <a:gdLst>
                <a:gd name="connsiteX0" fmla="*/ 0 w 494453"/>
                <a:gd name="connsiteY0" fmla="*/ 0 h 230293"/>
                <a:gd name="connsiteX1" fmla="*/ 230293 w 494453"/>
                <a:gd name="connsiteY1" fmla="*/ 230293 h 230293"/>
                <a:gd name="connsiteX2" fmla="*/ 494453 w 494453"/>
                <a:gd name="connsiteY2" fmla="*/ 230293 h 230293"/>
              </a:gdLst>
              <a:ahLst/>
              <a:cxnLst>
                <a:cxn ang="0">
                  <a:pos x="connsiteX0" y="connsiteY0"/>
                </a:cxn>
                <a:cxn ang="0">
                  <a:pos x="connsiteX1" y="connsiteY1"/>
                </a:cxn>
                <a:cxn ang="0">
                  <a:pos x="connsiteX2" y="connsiteY2"/>
                </a:cxn>
              </a:cxnLst>
              <a:rect l="l" t="t" r="r" b="b"/>
              <a:pathLst>
                <a:path w="494453" h="230293">
                  <a:moveTo>
                    <a:pt x="0" y="0"/>
                  </a:moveTo>
                  <a:lnTo>
                    <a:pt x="230293" y="230293"/>
                  </a:lnTo>
                  <a:lnTo>
                    <a:pt x="494453" y="230293"/>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16" name="Freeform 115">
              <a:extLst>
                <a:ext uri="{FF2B5EF4-FFF2-40B4-BE49-F238E27FC236}">
                  <a16:creationId xmlns:a16="http://schemas.microsoft.com/office/drawing/2014/main" id="{9DF52815-81FC-004F-A518-64615D4B411E}"/>
                </a:ext>
              </a:extLst>
            </p:cNvPr>
            <p:cNvSpPr/>
            <p:nvPr/>
          </p:nvSpPr>
          <p:spPr bwMode="auto">
            <a:xfrm>
              <a:off x="7039041" y="3963142"/>
              <a:ext cx="2992254" cy="1265954"/>
            </a:xfrm>
            <a:custGeom>
              <a:avLst/>
              <a:gdLst>
                <a:gd name="connsiteX0" fmla="*/ 0 w 2993813"/>
                <a:gd name="connsiteY0" fmla="*/ 0 h 1266613"/>
                <a:gd name="connsiteX1" fmla="*/ 927946 w 2993813"/>
                <a:gd name="connsiteY1" fmla="*/ 927946 h 1266613"/>
                <a:gd name="connsiteX2" fmla="*/ 1754293 w 2993813"/>
                <a:gd name="connsiteY2" fmla="*/ 927946 h 1266613"/>
                <a:gd name="connsiteX3" fmla="*/ 2092960 w 2993813"/>
                <a:gd name="connsiteY3" fmla="*/ 1266613 h 1266613"/>
                <a:gd name="connsiteX4" fmla="*/ 2993813 w 2993813"/>
                <a:gd name="connsiteY4" fmla="*/ 1266613 h 1266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3813" h="1266613">
                  <a:moveTo>
                    <a:pt x="0" y="0"/>
                  </a:moveTo>
                  <a:lnTo>
                    <a:pt x="927946" y="927946"/>
                  </a:lnTo>
                  <a:lnTo>
                    <a:pt x="1754293" y="927946"/>
                  </a:lnTo>
                  <a:lnTo>
                    <a:pt x="2092960" y="1266613"/>
                  </a:lnTo>
                  <a:lnTo>
                    <a:pt x="2993813" y="1266613"/>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18" name="Freeform 117">
              <a:extLst>
                <a:ext uri="{FF2B5EF4-FFF2-40B4-BE49-F238E27FC236}">
                  <a16:creationId xmlns:a16="http://schemas.microsoft.com/office/drawing/2014/main" id="{E79E1BFC-673E-DD41-A556-A5F659A73A44}"/>
                </a:ext>
              </a:extLst>
            </p:cNvPr>
            <p:cNvSpPr/>
            <p:nvPr/>
          </p:nvSpPr>
          <p:spPr bwMode="auto">
            <a:xfrm>
              <a:off x="6618708" y="2680676"/>
              <a:ext cx="197202" cy="552166"/>
            </a:xfrm>
            <a:custGeom>
              <a:avLst/>
              <a:gdLst>
                <a:gd name="connsiteX0" fmla="*/ 0 w 181069"/>
                <a:gd name="connsiteY0" fmla="*/ 506994 h 506994"/>
                <a:gd name="connsiteX1" fmla="*/ 181069 w 181069"/>
                <a:gd name="connsiteY1" fmla="*/ 325925 h 506994"/>
                <a:gd name="connsiteX2" fmla="*/ 181069 w 181069"/>
                <a:gd name="connsiteY2" fmla="*/ 0 h 506994"/>
              </a:gdLst>
              <a:ahLst/>
              <a:cxnLst>
                <a:cxn ang="0">
                  <a:pos x="connsiteX0" y="connsiteY0"/>
                </a:cxn>
                <a:cxn ang="0">
                  <a:pos x="connsiteX1" y="connsiteY1"/>
                </a:cxn>
                <a:cxn ang="0">
                  <a:pos x="connsiteX2" y="connsiteY2"/>
                </a:cxn>
              </a:cxnLst>
              <a:rect l="l" t="t" r="r" b="b"/>
              <a:pathLst>
                <a:path w="181069" h="506994">
                  <a:moveTo>
                    <a:pt x="0" y="506994"/>
                  </a:moveTo>
                  <a:lnTo>
                    <a:pt x="181069" y="325925"/>
                  </a:lnTo>
                  <a:lnTo>
                    <a:pt x="181069" y="0"/>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117" name="Freeform 116">
              <a:extLst>
                <a:ext uri="{FF2B5EF4-FFF2-40B4-BE49-F238E27FC236}">
                  <a16:creationId xmlns:a16="http://schemas.microsoft.com/office/drawing/2014/main" id="{6F68C82C-7BC2-6D4E-9FFE-CA31FC4F155D}"/>
                </a:ext>
              </a:extLst>
            </p:cNvPr>
            <p:cNvSpPr/>
            <p:nvPr/>
          </p:nvSpPr>
          <p:spPr bwMode="auto">
            <a:xfrm>
              <a:off x="8942843" y="4875034"/>
              <a:ext cx="480657" cy="155705"/>
            </a:xfrm>
            <a:custGeom>
              <a:avLst/>
              <a:gdLst>
                <a:gd name="connsiteX0" fmla="*/ 0 w 480907"/>
                <a:gd name="connsiteY0" fmla="*/ 155786 h 155786"/>
                <a:gd name="connsiteX1" fmla="*/ 155786 w 480907"/>
                <a:gd name="connsiteY1" fmla="*/ 0 h 155786"/>
                <a:gd name="connsiteX2" fmla="*/ 480907 w 480907"/>
                <a:gd name="connsiteY2" fmla="*/ 0 h 155786"/>
              </a:gdLst>
              <a:ahLst/>
              <a:cxnLst>
                <a:cxn ang="0">
                  <a:pos x="connsiteX0" y="connsiteY0"/>
                </a:cxn>
                <a:cxn ang="0">
                  <a:pos x="connsiteX1" y="connsiteY1"/>
                </a:cxn>
                <a:cxn ang="0">
                  <a:pos x="connsiteX2" y="connsiteY2"/>
                </a:cxn>
              </a:cxnLst>
              <a:rect l="l" t="t" r="r" b="b"/>
              <a:pathLst>
                <a:path w="480907" h="155786">
                  <a:moveTo>
                    <a:pt x="0" y="155786"/>
                  </a:moveTo>
                  <a:lnTo>
                    <a:pt x="155786" y="0"/>
                  </a:lnTo>
                  <a:lnTo>
                    <a:pt x="480907" y="0"/>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grpSp>
      <p:sp>
        <p:nvSpPr>
          <p:cNvPr id="122" name="Rectangle 121">
            <a:extLst>
              <a:ext uri="{FF2B5EF4-FFF2-40B4-BE49-F238E27FC236}">
                <a16:creationId xmlns:a16="http://schemas.microsoft.com/office/drawing/2014/main" id="{BB3EEB47-0FAA-E148-BD7F-E4C0D85750C1}"/>
              </a:ext>
            </a:extLst>
          </p:cNvPr>
          <p:cNvSpPr/>
          <p:nvPr/>
        </p:nvSpPr>
        <p:spPr bwMode="auto">
          <a:xfrm>
            <a:off x="5327335" y="3211399"/>
            <a:ext cx="1666439" cy="1075301"/>
          </a:xfrm>
          <a:prstGeom prst="rect">
            <a:avLst/>
          </a:prstGeom>
          <a:solidFill>
            <a:srgbClr val="9999A9"/>
          </a:solidFill>
          <a:ln>
            <a:noFill/>
          </a:ln>
          <a:effectLst/>
        </p:spPr>
        <p:txBody>
          <a:bodyPr wrap="square" lIns="107944" tIns="53972" rIns="107944" bIns="53972" numCol="1" spcCol="72000" rtlCol="0" anchor="ctr">
            <a:noAutofit/>
          </a:bodyPr>
          <a:lstStyle/>
          <a:p>
            <a:pPr algn="ctr">
              <a:lnSpc>
                <a:spcPct val="110000"/>
              </a:lnSpc>
              <a:spcBef>
                <a:spcPct val="0"/>
              </a:spcBef>
            </a:pPr>
            <a:r>
              <a:rPr lang="en-US" sz="1799" b="1" dirty="0">
                <a:solidFill>
                  <a:schemeClr val="bg2"/>
                </a:solidFill>
              </a:rPr>
              <a:t>Lorem </a:t>
            </a:r>
            <a:br>
              <a:rPr lang="en-US" sz="1799" b="1" dirty="0">
                <a:solidFill>
                  <a:schemeClr val="bg2"/>
                </a:solidFill>
              </a:rPr>
            </a:br>
            <a:r>
              <a:rPr lang="en-US" sz="1799" b="1" dirty="0">
                <a:solidFill>
                  <a:schemeClr val="bg2"/>
                </a:solidFill>
              </a:rPr>
              <a:t>ipsum</a:t>
            </a:r>
          </a:p>
        </p:txBody>
      </p:sp>
      <p:grpSp>
        <p:nvGrpSpPr>
          <p:cNvPr id="4" name="Group 3"/>
          <p:cNvGrpSpPr/>
          <p:nvPr/>
        </p:nvGrpSpPr>
        <p:grpSpPr>
          <a:xfrm>
            <a:off x="410399" y="1704628"/>
            <a:ext cx="11376789" cy="4172342"/>
            <a:chOff x="363272" y="1697970"/>
            <a:chExt cx="11382714" cy="4174515"/>
          </a:xfrm>
        </p:grpSpPr>
        <p:sp>
          <p:nvSpPr>
            <p:cNvPr id="69" name="Textfeld 68"/>
            <p:cNvSpPr txBox="1"/>
            <p:nvPr/>
          </p:nvSpPr>
          <p:spPr bwMode="gray">
            <a:xfrm>
              <a:off x="10003186" y="2186697"/>
              <a:ext cx="1736445" cy="293721"/>
            </a:xfrm>
            <a:prstGeom prst="rect">
              <a:avLst/>
            </a:prstGeom>
            <a:noFill/>
          </p:spPr>
          <p:txBody>
            <a:bodyPr wrap="square" lIns="107944" tIns="53972" rIns="107944" bIns="53972" rtlCol="0" anchor="ctr">
              <a:spAutoFit/>
            </a:bodyPr>
            <a:lstStyle/>
            <a:p>
              <a:pPr>
                <a:tabLst>
                  <a:tab pos="0" algn="l"/>
                </a:tabLst>
              </a:pPr>
              <a:r>
                <a:rPr lang="en-US" sz="1199" dirty="0"/>
                <a:t>Lorem ipsum</a:t>
              </a:r>
              <a:endParaRPr lang="en-US" sz="1199" dirty="0">
                <a:ea typeface="Arial Unicode MS"/>
              </a:endParaRPr>
            </a:p>
          </p:txBody>
        </p:sp>
        <p:sp>
          <p:nvSpPr>
            <p:cNvPr id="71" name="Textfeld 70"/>
            <p:cNvSpPr txBox="1"/>
            <p:nvPr/>
          </p:nvSpPr>
          <p:spPr bwMode="gray">
            <a:xfrm>
              <a:off x="9855200" y="3427373"/>
              <a:ext cx="1890786" cy="293721"/>
            </a:xfrm>
            <a:prstGeom prst="rect">
              <a:avLst/>
            </a:prstGeom>
            <a:noFill/>
          </p:spPr>
          <p:txBody>
            <a:bodyPr wrap="square" lIns="107944" tIns="53972" rIns="107944" bIns="53972" rtlCol="0" anchor="ctr">
              <a:spAutoFit/>
            </a:bodyPr>
            <a:lstStyle/>
            <a:p>
              <a:pPr>
                <a:tabLst>
                  <a:tab pos="0" algn="l"/>
                </a:tabLst>
              </a:pPr>
              <a:r>
                <a:rPr lang="en-US" sz="1199" dirty="0"/>
                <a:t>Lorem ipsum dolor</a:t>
              </a:r>
              <a:endParaRPr lang="en-US" sz="1199" dirty="0">
                <a:ea typeface="Arial Unicode MS"/>
              </a:endParaRPr>
            </a:p>
          </p:txBody>
        </p:sp>
        <p:sp>
          <p:nvSpPr>
            <p:cNvPr id="73" name="Textfeld 72"/>
            <p:cNvSpPr txBox="1"/>
            <p:nvPr/>
          </p:nvSpPr>
          <p:spPr bwMode="gray">
            <a:xfrm>
              <a:off x="9984803" y="4509284"/>
              <a:ext cx="1761183" cy="293721"/>
            </a:xfrm>
            <a:prstGeom prst="rect">
              <a:avLst/>
            </a:prstGeom>
            <a:noFill/>
          </p:spPr>
          <p:txBody>
            <a:bodyPr wrap="square" lIns="107944" tIns="53972" rIns="107944" bIns="53972" rtlCol="0" anchor="ctr">
              <a:spAutoFit/>
            </a:bodyPr>
            <a:lstStyle/>
            <a:p>
              <a:pPr>
                <a:tabLst>
                  <a:tab pos="0" algn="l"/>
                </a:tabLst>
              </a:pPr>
              <a:r>
                <a:rPr lang="en-US" sz="1199" dirty="0">
                  <a:solidFill>
                    <a:srgbClr val="333353"/>
                  </a:solidFill>
                </a:rPr>
                <a:t>Lorem ipsum dolor</a:t>
              </a:r>
              <a:endParaRPr lang="en-US" sz="1199" dirty="0">
                <a:solidFill>
                  <a:srgbClr val="333353"/>
                </a:solidFill>
                <a:ea typeface="Arial Unicode MS"/>
              </a:endParaRPr>
            </a:p>
          </p:txBody>
        </p:sp>
        <p:sp>
          <p:nvSpPr>
            <p:cNvPr id="74" name="Textfeld 73"/>
            <p:cNvSpPr txBox="1"/>
            <p:nvPr/>
          </p:nvSpPr>
          <p:spPr bwMode="gray">
            <a:xfrm>
              <a:off x="9381067" y="4724455"/>
              <a:ext cx="2358564" cy="293721"/>
            </a:xfrm>
            <a:prstGeom prst="rect">
              <a:avLst/>
            </a:prstGeom>
            <a:noFill/>
          </p:spPr>
          <p:txBody>
            <a:bodyPr wrap="square" lIns="107944" tIns="53972" rIns="107944" bIns="53972" rtlCol="0" anchor="ctr">
              <a:spAutoFit/>
            </a:bodyPr>
            <a:lstStyle/>
            <a:p>
              <a:pPr>
                <a:tabLst>
                  <a:tab pos="0" algn="l"/>
                </a:tabLst>
              </a:pPr>
              <a:r>
                <a:rPr lang="en-US" sz="1199" dirty="0"/>
                <a:t>Lorem ipsum dolor amet</a:t>
              </a:r>
              <a:endParaRPr lang="en-US" sz="1199" dirty="0">
                <a:ea typeface="Arial Unicode MS"/>
              </a:endParaRPr>
            </a:p>
          </p:txBody>
        </p:sp>
        <p:sp>
          <p:nvSpPr>
            <p:cNvPr id="75" name="Textfeld 74"/>
            <p:cNvSpPr txBox="1"/>
            <p:nvPr/>
          </p:nvSpPr>
          <p:spPr bwMode="gray">
            <a:xfrm>
              <a:off x="9988919" y="5417629"/>
              <a:ext cx="1757067" cy="293721"/>
            </a:xfrm>
            <a:prstGeom prst="rect">
              <a:avLst/>
            </a:prstGeom>
            <a:noFill/>
          </p:spPr>
          <p:txBody>
            <a:bodyPr wrap="square" lIns="107944" tIns="53972" rIns="107944" bIns="53972" rtlCol="0" anchor="ctr">
              <a:spAutoFit/>
            </a:bodyPr>
            <a:lstStyle/>
            <a:p>
              <a:pPr>
                <a:tabLst>
                  <a:tab pos="0" algn="l"/>
                </a:tabLst>
              </a:pPr>
              <a:r>
                <a:rPr lang="en-US" sz="1199" dirty="0">
                  <a:solidFill>
                    <a:srgbClr val="333353"/>
                  </a:solidFill>
                </a:rPr>
                <a:t>Lorem ipsum</a:t>
              </a:r>
              <a:endParaRPr lang="en-US" sz="1199" dirty="0">
                <a:solidFill>
                  <a:srgbClr val="333353"/>
                </a:solidFill>
                <a:ea typeface="Arial Unicode MS"/>
              </a:endParaRPr>
            </a:p>
          </p:txBody>
        </p:sp>
        <p:sp>
          <p:nvSpPr>
            <p:cNvPr id="119" name="Textfeld 118"/>
            <p:cNvSpPr txBox="1"/>
            <p:nvPr/>
          </p:nvSpPr>
          <p:spPr bwMode="gray">
            <a:xfrm>
              <a:off x="9392309" y="2534898"/>
              <a:ext cx="2347322" cy="293721"/>
            </a:xfrm>
            <a:prstGeom prst="rect">
              <a:avLst/>
            </a:prstGeom>
            <a:noFill/>
          </p:spPr>
          <p:txBody>
            <a:bodyPr wrap="square" lIns="107944" tIns="53972" rIns="107944" bIns="53972" rtlCol="0" anchor="ctr">
              <a:spAutoFit/>
            </a:bodyPr>
            <a:lstStyle/>
            <a:p>
              <a:pPr>
                <a:defRPr/>
              </a:pPr>
              <a:r>
                <a:rPr lang="en-US" sz="1199" dirty="0"/>
                <a:t>Lorem ipsum dolor</a:t>
              </a:r>
              <a:endParaRPr lang="en-US" sz="1199" dirty="0">
                <a:ea typeface="Arial Unicode MS"/>
              </a:endParaRPr>
            </a:p>
          </p:txBody>
        </p:sp>
        <p:sp>
          <p:nvSpPr>
            <p:cNvPr id="120" name="Textfeld 119"/>
            <p:cNvSpPr txBox="1"/>
            <p:nvPr/>
          </p:nvSpPr>
          <p:spPr bwMode="gray">
            <a:xfrm>
              <a:off x="8050468" y="3086473"/>
              <a:ext cx="652524" cy="293721"/>
            </a:xfrm>
            <a:prstGeom prst="rect">
              <a:avLst/>
            </a:prstGeom>
            <a:noFill/>
          </p:spPr>
          <p:txBody>
            <a:bodyPr wrap="none" lIns="107944" tIns="53972" rIns="107944" bIns="53972" rtlCol="0" anchor="ctr">
              <a:spAutoFit/>
            </a:bodyPr>
            <a:lstStyle/>
            <a:p>
              <a:pPr>
                <a:tabLst>
                  <a:tab pos="0" algn="l"/>
                </a:tabLst>
              </a:pPr>
              <a:r>
                <a:rPr lang="en-US" sz="1199" dirty="0">
                  <a:solidFill>
                    <a:srgbClr val="333353"/>
                  </a:solidFill>
                </a:rPr>
                <a:t>Lorem</a:t>
              </a:r>
              <a:endParaRPr lang="en-US" sz="1199" dirty="0">
                <a:solidFill>
                  <a:srgbClr val="333353"/>
                </a:solidFill>
                <a:ea typeface="Arial Unicode MS"/>
              </a:endParaRPr>
            </a:p>
          </p:txBody>
        </p:sp>
        <p:sp>
          <p:nvSpPr>
            <p:cNvPr id="121" name="Textfeld 120"/>
            <p:cNvSpPr txBox="1"/>
            <p:nvPr/>
          </p:nvSpPr>
          <p:spPr bwMode="gray">
            <a:xfrm>
              <a:off x="9988919" y="5077413"/>
              <a:ext cx="1757067" cy="293721"/>
            </a:xfrm>
            <a:prstGeom prst="rect">
              <a:avLst/>
            </a:prstGeom>
            <a:noFill/>
          </p:spPr>
          <p:txBody>
            <a:bodyPr wrap="square" lIns="107944" tIns="53972" rIns="107944" bIns="53972" rtlCol="0" anchor="ctr">
              <a:spAutoFit/>
            </a:bodyPr>
            <a:lstStyle/>
            <a:p>
              <a:pPr>
                <a:tabLst>
                  <a:tab pos="0" algn="l"/>
                </a:tabLst>
              </a:pPr>
              <a:r>
                <a:rPr lang="en-US" sz="1199" dirty="0">
                  <a:ea typeface="Arial Unicode MS"/>
                </a:rPr>
                <a:t>Lorem ipsum dolor</a:t>
              </a:r>
            </a:p>
          </p:txBody>
        </p:sp>
        <p:sp>
          <p:nvSpPr>
            <p:cNvPr id="123" name="Textfeld 122"/>
            <p:cNvSpPr txBox="1"/>
            <p:nvPr/>
          </p:nvSpPr>
          <p:spPr bwMode="gray">
            <a:xfrm>
              <a:off x="9428480" y="3825651"/>
              <a:ext cx="2311151" cy="478387"/>
            </a:xfrm>
            <a:prstGeom prst="rect">
              <a:avLst/>
            </a:prstGeom>
            <a:noFill/>
          </p:spPr>
          <p:txBody>
            <a:bodyPr wrap="square" lIns="107944" tIns="53972" rIns="107944" bIns="53972" rtlCol="0" anchor="ctr">
              <a:spAutoFit/>
            </a:bodyPr>
            <a:lstStyle/>
            <a:p>
              <a:pPr>
                <a:tabLst>
                  <a:tab pos="0" algn="l"/>
                </a:tabLst>
              </a:pPr>
              <a:r>
                <a:rPr lang="en-US" sz="1199" dirty="0"/>
                <a:t>Lorem ipsum dolor sit amet, consectetur</a:t>
              </a:r>
              <a:endParaRPr lang="en-US" sz="1199" dirty="0">
                <a:ea typeface="Arial Unicode MS"/>
              </a:endParaRPr>
            </a:p>
          </p:txBody>
        </p:sp>
        <p:sp>
          <p:nvSpPr>
            <p:cNvPr id="130" name="Textfeld 129"/>
            <p:cNvSpPr txBox="1"/>
            <p:nvPr/>
          </p:nvSpPr>
          <p:spPr bwMode="gray">
            <a:xfrm>
              <a:off x="7528251" y="3638429"/>
              <a:ext cx="1104571" cy="293721"/>
            </a:xfrm>
            <a:prstGeom prst="rect">
              <a:avLst/>
            </a:prstGeom>
            <a:noFill/>
          </p:spPr>
          <p:txBody>
            <a:bodyPr wrap="none" lIns="107944" tIns="53972" rIns="107944" bIns="53972" rtlCol="0" anchor="ctr">
              <a:spAutoFit/>
            </a:bodyPr>
            <a:lstStyle/>
            <a:p>
              <a:pPr>
                <a:tabLst>
                  <a:tab pos="0" algn="l"/>
                </a:tabLst>
              </a:pPr>
              <a:r>
                <a:rPr lang="en-US" sz="1199" dirty="0">
                  <a:ea typeface="Arial Unicode MS"/>
                </a:rPr>
                <a:t>Lorem ipsum</a:t>
              </a:r>
            </a:p>
          </p:txBody>
        </p:sp>
        <p:sp>
          <p:nvSpPr>
            <p:cNvPr id="135" name="Textfeld 134"/>
            <p:cNvSpPr txBox="1"/>
            <p:nvPr/>
          </p:nvSpPr>
          <p:spPr bwMode="gray">
            <a:xfrm>
              <a:off x="6354827" y="4857256"/>
              <a:ext cx="1104571" cy="293721"/>
            </a:xfrm>
            <a:prstGeom prst="rect">
              <a:avLst/>
            </a:prstGeom>
            <a:noFill/>
          </p:spPr>
          <p:txBody>
            <a:bodyPr wrap="none" lIns="107944" tIns="53972" rIns="107944" bIns="53972" rtlCol="0" anchor="ctr">
              <a:spAutoFit/>
            </a:bodyPr>
            <a:lstStyle/>
            <a:p>
              <a:pPr>
                <a:tabLst>
                  <a:tab pos="0" algn="l"/>
                </a:tabLst>
              </a:pPr>
              <a:r>
                <a:rPr lang="en-US" sz="1199" dirty="0">
                  <a:solidFill>
                    <a:srgbClr val="333353"/>
                  </a:solidFill>
                  <a:ea typeface="Arial Unicode MS"/>
                </a:rPr>
                <a:t>Lorem ipsum</a:t>
              </a:r>
            </a:p>
          </p:txBody>
        </p:sp>
        <p:sp>
          <p:nvSpPr>
            <p:cNvPr id="141" name="Textfeld 140"/>
            <p:cNvSpPr txBox="1"/>
            <p:nvPr/>
          </p:nvSpPr>
          <p:spPr bwMode="gray">
            <a:xfrm flipH="1">
              <a:off x="364036" y="4218693"/>
              <a:ext cx="2018335" cy="293721"/>
            </a:xfrm>
            <a:prstGeom prst="rect">
              <a:avLst/>
            </a:prstGeom>
            <a:noFill/>
          </p:spPr>
          <p:txBody>
            <a:bodyPr wrap="square" lIns="107944" tIns="53972" rIns="107944" bIns="53972" rtlCol="0" anchor="ctr">
              <a:spAutoFit/>
            </a:bodyPr>
            <a:lstStyle/>
            <a:p>
              <a:pPr algn="r">
                <a:tabLst>
                  <a:tab pos="0" algn="l"/>
                </a:tabLst>
              </a:pPr>
              <a:r>
                <a:rPr lang="en-US" sz="1199" dirty="0"/>
                <a:t>Lorem ipsum dolor</a:t>
              </a:r>
              <a:endParaRPr lang="en-US" sz="1199" dirty="0">
                <a:ea typeface="Arial Unicode MS"/>
              </a:endParaRPr>
            </a:p>
          </p:txBody>
        </p:sp>
        <p:sp>
          <p:nvSpPr>
            <p:cNvPr id="145" name="Textfeld 144"/>
            <p:cNvSpPr txBox="1"/>
            <p:nvPr/>
          </p:nvSpPr>
          <p:spPr bwMode="gray">
            <a:xfrm flipH="1">
              <a:off x="364036" y="1868715"/>
              <a:ext cx="2018336" cy="293721"/>
            </a:xfrm>
            <a:prstGeom prst="rect">
              <a:avLst/>
            </a:prstGeom>
            <a:noFill/>
          </p:spPr>
          <p:txBody>
            <a:bodyPr wrap="square" lIns="107944" tIns="53972" rIns="107944" bIns="53972" rtlCol="0" anchor="ctr">
              <a:spAutoFit/>
            </a:bodyPr>
            <a:lstStyle/>
            <a:p>
              <a:pPr algn="r">
                <a:defRPr/>
              </a:pPr>
              <a:r>
                <a:rPr lang="en-US" sz="1199" dirty="0">
                  <a:solidFill>
                    <a:srgbClr val="333353"/>
                  </a:solidFill>
                </a:rPr>
                <a:t>Lorem ipsum dolor</a:t>
              </a:r>
              <a:endParaRPr lang="en-US" sz="1199" dirty="0">
                <a:solidFill>
                  <a:srgbClr val="333353"/>
                </a:solidFill>
                <a:ea typeface="Arial Unicode MS"/>
              </a:endParaRPr>
            </a:p>
          </p:txBody>
        </p:sp>
        <p:sp>
          <p:nvSpPr>
            <p:cNvPr id="165" name="Textfeld 164"/>
            <p:cNvSpPr txBox="1"/>
            <p:nvPr/>
          </p:nvSpPr>
          <p:spPr bwMode="gray">
            <a:xfrm flipH="1">
              <a:off x="1941985" y="4991476"/>
              <a:ext cx="1104569" cy="293721"/>
            </a:xfrm>
            <a:prstGeom prst="rect">
              <a:avLst/>
            </a:prstGeom>
            <a:noFill/>
          </p:spPr>
          <p:txBody>
            <a:bodyPr wrap="none" lIns="107944" tIns="53972" rIns="107944" bIns="53972" rtlCol="0" anchor="ctr">
              <a:spAutoFit/>
            </a:bodyPr>
            <a:lstStyle/>
            <a:p>
              <a:pPr algn="r">
                <a:tabLst>
                  <a:tab pos="0" algn="l"/>
                </a:tabLst>
              </a:pPr>
              <a:r>
                <a:rPr lang="en-US" sz="1199" dirty="0">
                  <a:ea typeface="Arial Unicode MS"/>
                </a:rPr>
                <a:t>Lorem ipsum</a:t>
              </a:r>
            </a:p>
          </p:txBody>
        </p:sp>
        <p:sp>
          <p:nvSpPr>
            <p:cNvPr id="166" name="Textfeld 165"/>
            <p:cNvSpPr txBox="1"/>
            <p:nvPr/>
          </p:nvSpPr>
          <p:spPr bwMode="gray">
            <a:xfrm flipH="1">
              <a:off x="1854987" y="4535798"/>
              <a:ext cx="1872408" cy="293721"/>
            </a:xfrm>
            <a:prstGeom prst="rect">
              <a:avLst/>
            </a:prstGeom>
            <a:noFill/>
          </p:spPr>
          <p:txBody>
            <a:bodyPr wrap="none" lIns="107944" tIns="53972" rIns="107944" bIns="53972" rtlCol="0" anchor="ctr">
              <a:spAutoFit/>
            </a:bodyPr>
            <a:lstStyle/>
            <a:p>
              <a:pPr algn="r">
                <a:tabLst>
                  <a:tab pos="0" algn="l"/>
                </a:tabLst>
              </a:pPr>
              <a:r>
                <a:rPr lang="en-US" sz="1199" dirty="0">
                  <a:solidFill>
                    <a:srgbClr val="333353"/>
                  </a:solidFill>
                </a:rPr>
                <a:t>Lorem ipsum dolor amet</a:t>
              </a:r>
              <a:endParaRPr lang="en-US" sz="1199" dirty="0">
                <a:solidFill>
                  <a:srgbClr val="333353"/>
                </a:solidFill>
                <a:ea typeface="Arial Unicode MS"/>
              </a:endParaRPr>
            </a:p>
          </p:txBody>
        </p:sp>
        <p:sp>
          <p:nvSpPr>
            <p:cNvPr id="169" name="Textfeld 168"/>
            <p:cNvSpPr txBox="1"/>
            <p:nvPr/>
          </p:nvSpPr>
          <p:spPr bwMode="gray">
            <a:xfrm flipH="1">
              <a:off x="363272" y="3484383"/>
              <a:ext cx="2596743" cy="293721"/>
            </a:xfrm>
            <a:prstGeom prst="rect">
              <a:avLst/>
            </a:prstGeom>
            <a:noFill/>
          </p:spPr>
          <p:txBody>
            <a:bodyPr wrap="square" lIns="107944" tIns="53972" rIns="107944" bIns="53972" rtlCol="0" anchor="ctr">
              <a:spAutoFit/>
            </a:bodyPr>
            <a:lstStyle/>
            <a:p>
              <a:pPr algn="r">
                <a:tabLst>
                  <a:tab pos="0" algn="l"/>
                </a:tabLst>
              </a:pPr>
              <a:r>
                <a:rPr lang="en-US" sz="1199" dirty="0"/>
                <a:t>Lorem ipsum dolor amet</a:t>
              </a:r>
              <a:endParaRPr lang="en-US" sz="1199" dirty="0">
                <a:ea typeface="Arial Unicode MS"/>
              </a:endParaRPr>
            </a:p>
          </p:txBody>
        </p:sp>
        <p:sp>
          <p:nvSpPr>
            <p:cNvPr id="172" name="Textfeld 171"/>
            <p:cNvSpPr txBox="1"/>
            <p:nvPr/>
          </p:nvSpPr>
          <p:spPr bwMode="gray">
            <a:xfrm flipH="1">
              <a:off x="3652687" y="3657339"/>
              <a:ext cx="1104569" cy="293721"/>
            </a:xfrm>
            <a:prstGeom prst="rect">
              <a:avLst/>
            </a:prstGeom>
            <a:noFill/>
          </p:spPr>
          <p:txBody>
            <a:bodyPr wrap="none" lIns="107944" tIns="53972" rIns="107944" bIns="53972" rtlCol="0" anchor="ctr">
              <a:spAutoFit/>
            </a:bodyPr>
            <a:lstStyle/>
            <a:p>
              <a:pPr algn="r">
                <a:tabLst>
                  <a:tab pos="0" algn="l"/>
                </a:tabLst>
              </a:pPr>
              <a:r>
                <a:rPr lang="en-US" sz="1199" dirty="0">
                  <a:ea typeface="Arial Unicode MS"/>
                </a:rPr>
                <a:t>Lorem ipsum</a:t>
              </a:r>
            </a:p>
          </p:txBody>
        </p:sp>
        <p:sp>
          <p:nvSpPr>
            <p:cNvPr id="208" name="Textfeld 207"/>
            <p:cNvSpPr txBox="1"/>
            <p:nvPr/>
          </p:nvSpPr>
          <p:spPr bwMode="gray">
            <a:xfrm>
              <a:off x="4651200" y="5342673"/>
              <a:ext cx="1104571" cy="293721"/>
            </a:xfrm>
            <a:prstGeom prst="rect">
              <a:avLst/>
            </a:prstGeom>
            <a:noFill/>
          </p:spPr>
          <p:txBody>
            <a:bodyPr wrap="none" lIns="107944" tIns="53972" rIns="107944" bIns="53972" rtlCol="0" anchor="ctr">
              <a:spAutoFit/>
            </a:bodyPr>
            <a:lstStyle/>
            <a:p>
              <a:pPr>
                <a:tabLst>
                  <a:tab pos="0" algn="l"/>
                </a:tabLst>
              </a:pPr>
              <a:r>
                <a:rPr lang="en-US" sz="1199" dirty="0">
                  <a:solidFill>
                    <a:srgbClr val="333353"/>
                  </a:solidFill>
                  <a:ea typeface="Arial Unicode MS"/>
                </a:rPr>
                <a:t>Lorem ipsum</a:t>
              </a:r>
            </a:p>
          </p:txBody>
        </p:sp>
        <p:sp>
          <p:nvSpPr>
            <p:cNvPr id="209" name="Textfeld 208"/>
            <p:cNvSpPr txBox="1"/>
            <p:nvPr/>
          </p:nvSpPr>
          <p:spPr bwMode="gray">
            <a:xfrm>
              <a:off x="4760890" y="4857256"/>
              <a:ext cx="1104571" cy="293721"/>
            </a:xfrm>
            <a:prstGeom prst="rect">
              <a:avLst/>
            </a:prstGeom>
            <a:noFill/>
          </p:spPr>
          <p:txBody>
            <a:bodyPr wrap="none" lIns="107944" tIns="53972" rIns="107944" bIns="53972" rtlCol="0" anchor="ctr">
              <a:spAutoFit/>
            </a:bodyPr>
            <a:lstStyle/>
            <a:p>
              <a:pPr>
                <a:tabLst>
                  <a:tab pos="0" algn="l"/>
                </a:tabLst>
              </a:pPr>
              <a:r>
                <a:rPr lang="en-US" sz="1199" dirty="0">
                  <a:ea typeface="Arial Unicode MS"/>
                </a:rPr>
                <a:t>Lorem ipsum</a:t>
              </a:r>
            </a:p>
          </p:txBody>
        </p:sp>
        <p:sp>
          <p:nvSpPr>
            <p:cNvPr id="212" name="Textfeld 211"/>
            <p:cNvSpPr txBox="1"/>
            <p:nvPr/>
          </p:nvSpPr>
          <p:spPr bwMode="gray">
            <a:xfrm>
              <a:off x="4522241" y="2347918"/>
              <a:ext cx="1104571" cy="293721"/>
            </a:xfrm>
            <a:prstGeom prst="rect">
              <a:avLst/>
            </a:prstGeom>
            <a:noFill/>
          </p:spPr>
          <p:txBody>
            <a:bodyPr wrap="none" lIns="107944" tIns="53972" rIns="107944" bIns="53972" rtlCol="0" anchor="ctr">
              <a:spAutoFit/>
            </a:bodyPr>
            <a:lstStyle/>
            <a:p>
              <a:pPr>
                <a:tabLst>
                  <a:tab pos="0" algn="l"/>
                </a:tabLst>
              </a:pPr>
              <a:r>
                <a:rPr lang="en-US" sz="1199" dirty="0">
                  <a:solidFill>
                    <a:srgbClr val="333353"/>
                  </a:solidFill>
                  <a:ea typeface="Arial Unicode MS"/>
                </a:rPr>
                <a:t>Lorem ipsum</a:t>
              </a:r>
            </a:p>
          </p:txBody>
        </p:sp>
        <p:sp>
          <p:nvSpPr>
            <p:cNvPr id="227" name="Textfeld 226"/>
            <p:cNvSpPr txBox="1"/>
            <p:nvPr/>
          </p:nvSpPr>
          <p:spPr bwMode="gray">
            <a:xfrm>
              <a:off x="6593264" y="1897151"/>
              <a:ext cx="1487688" cy="293721"/>
            </a:xfrm>
            <a:prstGeom prst="rect">
              <a:avLst/>
            </a:prstGeom>
            <a:noFill/>
          </p:spPr>
          <p:txBody>
            <a:bodyPr wrap="none" lIns="107944" tIns="53972" rIns="107944" bIns="53972" rtlCol="0" anchor="ctr">
              <a:spAutoFit/>
            </a:bodyPr>
            <a:lstStyle/>
            <a:p>
              <a:pPr>
                <a:tabLst>
                  <a:tab pos="0" algn="l"/>
                </a:tabLst>
              </a:pPr>
              <a:r>
                <a:rPr lang="en-US" sz="1199" dirty="0">
                  <a:solidFill>
                    <a:srgbClr val="333353"/>
                  </a:solidFill>
                  <a:ea typeface="Arial Unicode MS"/>
                </a:rPr>
                <a:t>Lorem ipsum dolor</a:t>
              </a:r>
            </a:p>
          </p:txBody>
        </p:sp>
        <p:sp>
          <p:nvSpPr>
            <p:cNvPr id="228" name="Textfeld 227"/>
            <p:cNvSpPr txBox="1"/>
            <p:nvPr/>
          </p:nvSpPr>
          <p:spPr bwMode="gray">
            <a:xfrm>
              <a:off x="6378113" y="2372649"/>
              <a:ext cx="1104571" cy="293721"/>
            </a:xfrm>
            <a:prstGeom prst="rect">
              <a:avLst/>
            </a:prstGeom>
            <a:noFill/>
          </p:spPr>
          <p:txBody>
            <a:bodyPr wrap="none" lIns="107944" tIns="53972" rIns="107944" bIns="53972" rtlCol="0" anchor="ctr">
              <a:spAutoFit/>
            </a:bodyPr>
            <a:lstStyle/>
            <a:p>
              <a:pPr>
                <a:tabLst>
                  <a:tab pos="0" algn="l"/>
                </a:tabLst>
              </a:pPr>
              <a:r>
                <a:rPr lang="en-US" sz="1199" dirty="0"/>
                <a:t>Lorem ipsum</a:t>
              </a:r>
              <a:endParaRPr lang="en-US" sz="1199" dirty="0">
                <a:ea typeface="Arial Unicode MS"/>
              </a:endParaRPr>
            </a:p>
          </p:txBody>
        </p:sp>
        <p:sp>
          <p:nvSpPr>
            <p:cNvPr id="132" name="Textfeld 206">
              <a:extLst>
                <a:ext uri="{FF2B5EF4-FFF2-40B4-BE49-F238E27FC236}">
                  <a16:creationId xmlns:a16="http://schemas.microsoft.com/office/drawing/2014/main" id="{8D817A67-E528-B148-BA29-22CC4556BC87}"/>
                </a:ext>
              </a:extLst>
            </p:cNvPr>
            <p:cNvSpPr txBox="1"/>
            <p:nvPr/>
          </p:nvSpPr>
          <p:spPr bwMode="gray">
            <a:xfrm>
              <a:off x="10044853" y="3050792"/>
              <a:ext cx="1694778" cy="293721"/>
            </a:xfrm>
            <a:prstGeom prst="rect">
              <a:avLst/>
            </a:prstGeom>
            <a:noFill/>
          </p:spPr>
          <p:txBody>
            <a:bodyPr wrap="square" lIns="107944" tIns="53972" rIns="107944" bIns="53972" rtlCol="0" anchor="ctr">
              <a:spAutoFit/>
            </a:bodyPr>
            <a:lstStyle/>
            <a:p>
              <a:pPr>
                <a:tabLst>
                  <a:tab pos="0" algn="l"/>
                </a:tabLst>
              </a:pPr>
              <a:r>
                <a:rPr lang="en-US" sz="1199" dirty="0"/>
                <a:t>Lorem ipsum</a:t>
              </a:r>
              <a:endParaRPr lang="en-US" sz="1199" dirty="0">
                <a:ea typeface="Arial Unicode MS"/>
              </a:endParaRPr>
            </a:p>
          </p:txBody>
        </p:sp>
        <p:sp>
          <p:nvSpPr>
            <p:cNvPr id="124" name="Textfeld 144">
              <a:extLst>
                <a:ext uri="{FF2B5EF4-FFF2-40B4-BE49-F238E27FC236}">
                  <a16:creationId xmlns:a16="http://schemas.microsoft.com/office/drawing/2014/main" id="{3D9B8A3E-D239-D34E-8C74-A69F9A219B8B}"/>
                </a:ext>
              </a:extLst>
            </p:cNvPr>
            <p:cNvSpPr txBox="1"/>
            <p:nvPr/>
          </p:nvSpPr>
          <p:spPr bwMode="gray">
            <a:xfrm flipH="1">
              <a:off x="364036" y="2194076"/>
              <a:ext cx="2018336" cy="293721"/>
            </a:xfrm>
            <a:prstGeom prst="rect">
              <a:avLst/>
            </a:prstGeom>
            <a:noFill/>
          </p:spPr>
          <p:txBody>
            <a:bodyPr wrap="square" lIns="107944" tIns="53972" rIns="107944" bIns="53972" rtlCol="0" anchor="ctr">
              <a:spAutoFit/>
            </a:bodyPr>
            <a:lstStyle/>
            <a:p>
              <a:pPr algn="r">
                <a:defRPr/>
              </a:pPr>
              <a:r>
                <a:rPr lang="en-US" sz="1199" dirty="0"/>
                <a:t>Lorem ipsum</a:t>
              </a:r>
              <a:endParaRPr lang="en-US" sz="1199" dirty="0">
                <a:ea typeface="Arial Unicode MS"/>
              </a:endParaRPr>
            </a:p>
          </p:txBody>
        </p:sp>
        <p:sp>
          <p:nvSpPr>
            <p:cNvPr id="128" name="Textfeld 144">
              <a:extLst>
                <a:ext uri="{FF2B5EF4-FFF2-40B4-BE49-F238E27FC236}">
                  <a16:creationId xmlns:a16="http://schemas.microsoft.com/office/drawing/2014/main" id="{2D83A281-1BEE-1845-AE11-DD73766C5D03}"/>
                </a:ext>
              </a:extLst>
            </p:cNvPr>
            <p:cNvSpPr txBox="1"/>
            <p:nvPr/>
          </p:nvSpPr>
          <p:spPr bwMode="gray">
            <a:xfrm flipH="1">
              <a:off x="364036" y="2750194"/>
              <a:ext cx="2018336" cy="478387"/>
            </a:xfrm>
            <a:prstGeom prst="rect">
              <a:avLst/>
            </a:prstGeom>
            <a:noFill/>
          </p:spPr>
          <p:txBody>
            <a:bodyPr wrap="square" lIns="107944" tIns="53972" rIns="107944" bIns="53972" rtlCol="0" anchor="ctr">
              <a:spAutoFit/>
            </a:bodyPr>
            <a:lstStyle/>
            <a:p>
              <a:pPr algn="r">
                <a:tabLst>
                  <a:tab pos="0" algn="l"/>
                </a:tabLst>
              </a:pPr>
              <a:r>
                <a:rPr lang="en-US" sz="1199" dirty="0"/>
                <a:t>Lorem ipsum dolor sit amet, consectetur</a:t>
              </a:r>
              <a:endParaRPr lang="en-US" sz="1199" dirty="0">
                <a:ea typeface="Arial Unicode MS"/>
              </a:endParaRPr>
            </a:p>
          </p:txBody>
        </p:sp>
        <p:sp>
          <p:nvSpPr>
            <p:cNvPr id="131" name="Textfeld 168">
              <a:extLst>
                <a:ext uri="{FF2B5EF4-FFF2-40B4-BE49-F238E27FC236}">
                  <a16:creationId xmlns:a16="http://schemas.microsoft.com/office/drawing/2014/main" id="{E260F5E4-F30D-6546-BB5D-B48C0D967966}"/>
                </a:ext>
              </a:extLst>
            </p:cNvPr>
            <p:cNvSpPr txBox="1"/>
            <p:nvPr/>
          </p:nvSpPr>
          <p:spPr bwMode="gray">
            <a:xfrm flipH="1">
              <a:off x="364036" y="3824265"/>
              <a:ext cx="2018336" cy="293721"/>
            </a:xfrm>
            <a:prstGeom prst="rect">
              <a:avLst/>
            </a:prstGeom>
            <a:noFill/>
          </p:spPr>
          <p:txBody>
            <a:bodyPr wrap="square" lIns="107944" tIns="53972" rIns="107944" bIns="53972" rtlCol="0" anchor="ctr">
              <a:spAutoFit/>
            </a:bodyPr>
            <a:lstStyle/>
            <a:p>
              <a:pPr algn="r">
                <a:tabLst>
                  <a:tab pos="0" algn="l"/>
                </a:tabLst>
              </a:pPr>
              <a:r>
                <a:rPr lang="en-US" sz="1199" dirty="0"/>
                <a:t>Lorem ipsum</a:t>
              </a:r>
              <a:endParaRPr lang="en-US" sz="1199" dirty="0">
                <a:ea typeface="Arial Unicode MS"/>
              </a:endParaRPr>
            </a:p>
          </p:txBody>
        </p:sp>
        <p:sp>
          <p:nvSpPr>
            <p:cNvPr id="76" name="Textfeld 139"/>
            <p:cNvSpPr txBox="1"/>
            <p:nvPr/>
          </p:nvSpPr>
          <p:spPr bwMode="gray">
            <a:xfrm flipH="1">
              <a:off x="364035" y="5424210"/>
              <a:ext cx="2124527" cy="293721"/>
            </a:xfrm>
            <a:prstGeom prst="rect">
              <a:avLst/>
            </a:prstGeom>
            <a:noFill/>
            <a:ln w="22225">
              <a:noFill/>
            </a:ln>
          </p:spPr>
          <p:txBody>
            <a:bodyPr wrap="square" lIns="107944" tIns="53972" rIns="107944" bIns="53972" rtlCol="0" anchor="ctr">
              <a:spAutoFit/>
            </a:bodyPr>
            <a:lstStyle/>
            <a:p>
              <a:pPr algn="r">
                <a:tabLst>
                  <a:tab pos="0" algn="l"/>
                </a:tabLst>
              </a:pPr>
              <a:r>
                <a:rPr lang="en-US" sz="1199" dirty="0">
                  <a:ea typeface="Arial Unicode MS"/>
                </a:rPr>
                <a:t>Lorem ipsum dolor</a:t>
              </a:r>
            </a:p>
          </p:txBody>
        </p:sp>
        <p:sp>
          <p:nvSpPr>
            <p:cNvPr id="125" name="Textfeld 139"/>
            <p:cNvSpPr txBox="1"/>
            <p:nvPr/>
          </p:nvSpPr>
          <p:spPr bwMode="gray">
            <a:xfrm flipH="1">
              <a:off x="6773242" y="5578764"/>
              <a:ext cx="1189851" cy="293721"/>
            </a:xfrm>
            <a:prstGeom prst="rect">
              <a:avLst/>
            </a:prstGeom>
            <a:noFill/>
            <a:ln w="22225">
              <a:noFill/>
            </a:ln>
          </p:spPr>
          <p:txBody>
            <a:bodyPr wrap="square" lIns="107944" tIns="53972" rIns="107944" bIns="53972" rtlCol="0" anchor="ctr">
              <a:spAutoFit/>
            </a:bodyPr>
            <a:lstStyle/>
            <a:p>
              <a:pPr>
                <a:tabLst>
                  <a:tab pos="0" algn="l"/>
                </a:tabLst>
              </a:pPr>
              <a:r>
                <a:rPr lang="en-US" sz="1199" dirty="0">
                  <a:ea typeface="Arial Unicode MS"/>
                </a:rPr>
                <a:t>Lorem ipsum</a:t>
              </a:r>
            </a:p>
          </p:txBody>
        </p:sp>
        <p:sp>
          <p:nvSpPr>
            <p:cNvPr id="129" name="Textfeld 139"/>
            <p:cNvSpPr txBox="1"/>
            <p:nvPr/>
          </p:nvSpPr>
          <p:spPr bwMode="gray">
            <a:xfrm flipH="1">
              <a:off x="4346622" y="1697970"/>
              <a:ext cx="1189851" cy="293721"/>
            </a:xfrm>
            <a:prstGeom prst="rect">
              <a:avLst/>
            </a:prstGeom>
            <a:noFill/>
            <a:ln w="22225">
              <a:noFill/>
            </a:ln>
          </p:spPr>
          <p:txBody>
            <a:bodyPr wrap="square" lIns="107944" tIns="53972" rIns="107944" bIns="53972" rtlCol="0" anchor="ctr">
              <a:spAutoFit/>
            </a:bodyPr>
            <a:lstStyle/>
            <a:p>
              <a:pPr>
                <a:tabLst>
                  <a:tab pos="0" algn="l"/>
                </a:tabLst>
              </a:pPr>
              <a:r>
                <a:rPr lang="en-US" sz="1199" dirty="0">
                  <a:ea typeface="Arial Unicode MS"/>
                </a:rPr>
                <a:t>Lorem ipsum</a:t>
              </a:r>
            </a:p>
          </p:txBody>
        </p:sp>
        <p:sp>
          <p:nvSpPr>
            <p:cNvPr id="134" name="Textfeld 139"/>
            <p:cNvSpPr txBox="1"/>
            <p:nvPr/>
          </p:nvSpPr>
          <p:spPr bwMode="gray">
            <a:xfrm flipH="1">
              <a:off x="9770976" y="1858392"/>
              <a:ext cx="1975010" cy="293721"/>
            </a:xfrm>
            <a:prstGeom prst="rect">
              <a:avLst/>
            </a:prstGeom>
            <a:noFill/>
            <a:ln w="22225">
              <a:noFill/>
              <a:prstDash val="dash"/>
            </a:ln>
          </p:spPr>
          <p:txBody>
            <a:bodyPr wrap="square" lIns="107944" tIns="53972" rIns="107944" bIns="53972" rtlCol="0" anchor="ctr">
              <a:spAutoFit/>
            </a:bodyPr>
            <a:lstStyle/>
            <a:p>
              <a:pPr>
                <a:tabLst>
                  <a:tab pos="0" algn="l"/>
                </a:tabLst>
              </a:pPr>
              <a:r>
                <a:rPr lang="en-US" sz="1199" dirty="0">
                  <a:solidFill>
                    <a:srgbClr val="333353"/>
                  </a:solidFill>
                  <a:ea typeface="Arial Unicode MS"/>
                </a:rPr>
                <a:t>Lorem ipsum</a:t>
              </a:r>
            </a:p>
          </p:txBody>
        </p:sp>
      </p:grpSp>
    </p:spTree>
    <p:extLst>
      <p:ext uri="{BB962C8B-B14F-4D97-AF65-F5344CB8AC3E}">
        <p14:creationId xmlns:p14="http://schemas.microsoft.com/office/powerpoint/2010/main" val="284111051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a:t>Mindmap – circular</a:t>
            </a:r>
          </a:p>
        </p:txBody>
      </p:sp>
      <p:sp>
        <p:nvSpPr>
          <p:cNvPr id="16" name="Textfeld 3">
            <a:extLst>
              <a:ext uri="{FF2B5EF4-FFF2-40B4-BE49-F238E27FC236}">
                <a16:creationId xmlns:a16="http://schemas.microsoft.com/office/drawing/2014/main" id="{EFF4B056-3785-41C5-83AC-69DBA6AD7347}"/>
              </a:ext>
            </a:extLst>
          </p:cNvPr>
          <p:cNvSpPr txBox="1">
            <a:spLocks/>
          </p:cNvSpPr>
          <p:nvPr/>
        </p:nvSpPr>
        <p:spPr bwMode="gray">
          <a:xfrm>
            <a:off x="9339581" y="1522800"/>
            <a:ext cx="2448000" cy="1044000"/>
          </a:xfrm>
          <a:prstGeom prst="rect">
            <a:avLst/>
          </a:prstGeom>
          <a:noFill/>
        </p:spPr>
        <p:txBody>
          <a:bodyPr wrap="square" lIns="143925" tIns="0" rIns="0" bIns="0" rtlCol="0" anchor="ctr">
            <a:noAutofit/>
          </a:bodyPr>
          <a:lstStyle/>
          <a:p>
            <a:pPr>
              <a:spcAft>
                <a:spcPts val="300"/>
              </a:spcAft>
              <a:tabLst>
                <a:tab pos="0" algn="l"/>
              </a:tabLst>
            </a:pPr>
            <a:r>
              <a:rPr lang="en-US" sz="1599" b="1" dirty="0">
                <a:solidFill>
                  <a:schemeClr val="accent1"/>
                </a:solidFill>
                <a:ea typeface="Arial Unicode MS"/>
              </a:rPr>
              <a:t>Cras ultricies </a:t>
            </a:r>
          </a:p>
          <a:p>
            <a:pPr>
              <a:spcAft>
                <a:spcPts val="300"/>
              </a:spcAft>
              <a:tabLst>
                <a:tab pos="0" algn="l"/>
              </a:tabLst>
            </a:pPr>
            <a:r>
              <a:rPr lang="en-US" sz="1599" dirty="0">
                <a:solidFill>
                  <a:srgbClr val="66667E"/>
                </a:solidFill>
                <a:ea typeface="Arial Unicode MS"/>
              </a:rPr>
              <a:t>Duis arcu tortor, suscipit eget</a:t>
            </a:r>
          </a:p>
        </p:txBody>
      </p:sp>
      <p:sp>
        <p:nvSpPr>
          <p:cNvPr id="17" name="Textfeld 4">
            <a:extLst>
              <a:ext uri="{FF2B5EF4-FFF2-40B4-BE49-F238E27FC236}">
                <a16:creationId xmlns:a16="http://schemas.microsoft.com/office/drawing/2014/main" id="{46DBF470-96EC-480E-A542-06DBCE29DD74}"/>
              </a:ext>
            </a:extLst>
          </p:cNvPr>
          <p:cNvSpPr txBox="1"/>
          <p:nvPr/>
        </p:nvSpPr>
        <p:spPr bwMode="gray">
          <a:xfrm>
            <a:off x="410400" y="3218400"/>
            <a:ext cx="1800000" cy="1044000"/>
          </a:xfrm>
          <a:prstGeom prst="rect">
            <a:avLst/>
          </a:prstGeom>
          <a:noFill/>
        </p:spPr>
        <p:txBody>
          <a:bodyPr wrap="square" lIns="0" tIns="0" rIns="143925" bIns="0" rtlCol="0" anchor="ctr" anchorCtr="0">
            <a:noAutofit/>
          </a:bodyPr>
          <a:lstStyle/>
          <a:p>
            <a:pPr algn="r">
              <a:spcAft>
                <a:spcPts val="300"/>
              </a:spcAft>
              <a:tabLst>
                <a:tab pos="0" algn="l"/>
              </a:tabLst>
            </a:pPr>
            <a:r>
              <a:rPr lang="en-US" sz="1599" b="1" dirty="0">
                <a:solidFill>
                  <a:schemeClr val="accent1"/>
                </a:solidFill>
                <a:ea typeface="Arial Unicode MS"/>
              </a:rPr>
              <a:t>Crasmi eu</a:t>
            </a:r>
            <a:br>
              <a:rPr lang="en-US" sz="1599" b="1" dirty="0">
                <a:solidFill>
                  <a:schemeClr val="accent1"/>
                </a:solidFill>
                <a:ea typeface="Arial Unicode MS"/>
              </a:rPr>
            </a:br>
            <a:r>
              <a:rPr lang="en-US" sz="1599" b="1" dirty="0">
                <a:solidFill>
                  <a:schemeClr val="accent1"/>
                </a:solidFill>
                <a:ea typeface="Arial Unicode MS"/>
              </a:rPr>
              <a:t>ultricies</a:t>
            </a:r>
          </a:p>
          <a:p>
            <a:pPr algn="r">
              <a:spcAft>
                <a:spcPts val="300"/>
              </a:spcAft>
              <a:tabLst>
                <a:tab pos="0" algn="l"/>
              </a:tabLst>
            </a:pPr>
            <a:r>
              <a:rPr lang="en-US" sz="1599" dirty="0">
                <a:solidFill>
                  <a:srgbClr val="66667E"/>
                </a:solidFill>
                <a:ea typeface="Arial Unicode MS"/>
              </a:rPr>
              <a:t>At vero eos</a:t>
            </a:r>
          </a:p>
        </p:txBody>
      </p:sp>
      <p:sp>
        <p:nvSpPr>
          <p:cNvPr id="18" name="Textfeld 5">
            <a:extLst>
              <a:ext uri="{FF2B5EF4-FFF2-40B4-BE49-F238E27FC236}">
                <a16:creationId xmlns:a16="http://schemas.microsoft.com/office/drawing/2014/main" id="{ED789A4B-5BCA-4299-B7DC-A3F4E3DD9CAA}"/>
              </a:ext>
            </a:extLst>
          </p:cNvPr>
          <p:cNvSpPr txBox="1"/>
          <p:nvPr/>
        </p:nvSpPr>
        <p:spPr bwMode="gray">
          <a:xfrm>
            <a:off x="410400" y="5014800"/>
            <a:ext cx="2448000" cy="1044000"/>
          </a:xfrm>
          <a:prstGeom prst="rect">
            <a:avLst/>
          </a:prstGeom>
          <a:noFill/>
        </p:spPr>
        <p:txBody>
          <a:bodyPr wrap="square" lIns="0" tIns="0" rIns="143925" bIns="0" rtlCol="0" anchor="ctr" anchorCtr="0">
            <a:noAutofit/>
          </a:bodyPr>
          <a:lstStyle/>
          <a:p>
            <a:pPr algn="r">
              <a:spcAft>
                <a:spcPts val="300"/>
              </a:spcAft>
              <a:tabLst>
                <a:tab pos="0" algn="l"/>
              </a:tabLst>
            </a:pPr>
            <a:r>
              <a:rPr lang="en-US" sz="1599" b="1" dirty="0">
                <a:solidFill>
                  <a:schemeClr val="accent1"/>
                </a:solidFill>
                <a:ea typeface="Arial Unicode MS"/>
              </a:rPr>
              <a:t>Duis arcu </a:t>
            </a:r>
            <a:br>
              <a:rPr lang="en-US" sz="1599" b="1" dirty="0">
                <a:solidFill>
                  <a:schemeClr val="accent1"/>
                </a:solidFill>
                <a:ea typeface="Arial Unicode MS"/>
              </a:rPr>
            </a:br>
            <a:r>
              <a:rPr lang="en-US" sz="1599" b="1" dirty="0">
                <a:solidFill>
                  <a:schemeClr val="accent1"/>
                </a:solidFill>
                <a:ea typeface="Arial Unicode MS"/>
              </a:rPr>
              <a:t>tortor, suscipit</a:t>
            </a:r>
          </a:p>
          <a:p>
            <a:pPr algn="r">
              <a:spcAft>
                <a:spcPts val="300"/>
              </a:spcAft>
              <a:tabLst>
                <a:tab pos="0" algn="l"/>
              </a:tabLst>
            </a:pPr>
            <a:r>
              <a:rPr lang="en-US" sz="1599" dirty="0">
                <a:solidFill>
                  <a:srgbClr val="66667E"/>
                </a:solidFill>
                <a:ea typeface="Arial Unicode MS"/>
              </a:rPr>
              <a:t>Cras ultricies </a:t>
            </a:r>
          </a:p>
        </p:txBody>
      </p:sp>
      <p:sp>
        <p:nvSpPr>
          <p:cNvPr id="19" name="Textfeld 6">
            <a:extLst>
              <a:ext uri="{FF2B5EF4-FFF2-40B4-BE49-F238E27FC236}">
                <a16:creationId xmlns:a16="http://schemas.microsoft.com/office/drawing/2014/main" id="{B01CF873-E822-4658-A8C0-94DA16B40109}"/>
              </a:ext>
            </a:extLst>
          </p:cNvPr>
          <p:cNvSpPr txBox="1"/>
          <p:nvPr/>
        </p:nvSpPr>
        <p:spPr bwMode="gray">
          <a:xfrm>
            <a:off x="9339581" y="5014800"/>
            <a:ext cx="2448000" cy="1044000"/>
          </a:xfrm>
          <a:prstGeom prst="rect">
            <a:avLst/>
          </a:prstGeom>
          <a:noFill/>
        </p:spPr>
        <p:txBody>
          <a:bodyPr wrap="square" lIns="143925" tIns="0" rIns="0" bIns="0" rtlCol="0" anchor="ctr">
            <a:noAutofit/>
          </a:bodyPr>
          <a:lstStyle/>
          <a:p>
            <a:pPr>
              <a:spcAft>
                <a:spcPts val="300"/>
              </a:spcAft>
              <a:tabLst>
                <a:tab pos="0" algn="l"/>
              </a:tabLst>
            </a:pPr>
            <a:r>
              <a:rPr lang="en-US" sz="1599" b="1" dirty="0">
                <a:solidFill>
                  <a:schemeClr val="accent1"/>
                </a:solidFill>
                <a:ea typeface="Arial Unicode MS"/>
              </a:rPr>
              <a:t>Cras ultricies </a:t>
            </a:r>
            <a:br>
              <a:rPr lang="en-US" sz="1599" b="1" dirty="0">
                <a:solidFill>
                  <a:schemeClr val="accent1"/>
                </a:solidFill>
                <a:ea typeface="Arial Unicode MS"/>
              </a:rPr>
            </a:br>
            <a:r>
              <a:rPr lang="en-US" sz="1599" b="1" dirty="0">
                <a:solidFill>
                  <a:schemeClr val="accent1"/>
                </a:solidFill>
                <a:ea typeface="Arial Unicode MS"/>
              </a:rPr>
              <a:t>mi eura dolore</a:t>
            </a:r>
          </a:p>
          <a:p>
            <a:pPr>
              <a:spcAft>
                <a:spcPts val="300"/>
              </a:spcAft>
              <a:tabLst>
                <a:tab pos="0" algn="l"/>
              </a:tabLst>
            </a:pPr>
            <a:r>
              <a:rPr lang="en-US" sz="1599" dirty="0">
                <a:solidFill>
                  <a:srgbClr val="66667E"/>
                </a:solidFill>
                <a:ea typeface="Arial Unicode MS"/>
              </a:rPr>
              <a:t>Atvero eos usam</a:t>
            </a:r>
          </a:p>
        </p:txBody>
      </p:sp>
      <p:sp>
        <p:nvSpPr>
          <p:cNvPr id="20" name="Textfeld 7">
            <a:extLst>
              <a:ext uri="{FF2B5EF4-FFF2-40B4-BE49-F238E27FC236}">
                <a16:creationId xmlns:a16="http://schemas.microsoft.com/office/drawing/2014/main" id="{C95A90A6-DB2E-40B8-8702-5850BAA73DEE}"/>
              </a:ext>
            </a:extLst>
          </p:cNvPr>
          <p:cNvSpPr txBox="1"/>
          <p:nvPr/>
        </p:nvSpPr>
        <p:spPr bwMode="gray">
          <a:xfrm>
            <a:off x="9987581" y="3218400"/>
            <a:ext cx="1800000" cy="1044000"/>
          </a:xfrm>
          <a:prstGeom prst="rect">
            <a:avLst/>
          </a:prstGeom>
          <a:noFill/>
        </p:spPr>
        <p:txBody>
          <a:bodyPr wrap="square" lIns="143925" tIns="0" rIns="0" bIns="0" rtlCol="0" anchor="ctr">
            <a:noAutofit/>
          </a:bodyPr>
          <a:lstStyle/>
          <a:p>
            <a:pPr>
              <a:spcAft>
                <a:spcPts val="300"/>
              </a:spcAft>
              <a:tabLst>
                <a:tab pos="0" algn="l"/>
              </a:tabLst>
            </a:pPr>
            <a:r>
              <a:rPr lang="en-US" sz="1599" b="1" dirty="0">
                <a:solidFill>
                  <a:schemeClr val="accent1"/>
                </a:solidFill>
                <a:ea typeface="Arial Unicode MS"/>
              </a:rPr>
              <a:t>Duis tortor</a:t>
            </a:r>
          </a:p>
          <a:p>
            <a:pPr>
              <a:spcAft>
                <a:spcPts val="300"/>
              </a:spcAft>
              <a:tabLst>
                <a:tab pos="0" algn="l"/>
              </a:tabLst>
            </a:pPr>
            <a:r>
              <a:rPr lang="en-US" sz="1599" dirty="0">
                <a:solidFill>
                  <a:srgbClr val="66667E"/>
                </a:solidFill>
                <a:ea typeface="Arial Unicode MS"/>
              </a:rPr>
              <a:t>Cras ultricies eu</a:t>
            </a:r>
          </a:p>
        </p:txBody>
      </p:sp>
      <p:sp>
        <p:nvSpPr>
          <p:cNvPr id="21" name="Textfeld 51">
            <a:extLst>
              <a:ext uri="{FF2B5EF4-FFF2-40B4-BE49-F238E27FC236}">
                <a16:creationId xmlns:a16="http://schemas.microsoft.com/office/drawing/2014/main" id="{41F8216E-440A-44C0-A2D0-C9817D637B60}"/>
              </a:ext>
            </a:extLst>
          </p:cNvPr>
          <p:cNvSpPr txBox="1"/>
          <p:nvPr/>
        </p:nvSpPr>
        <p:spPr bwMode="gray">
          <a:xfrm>
            <a:off x="410400" y="1522800"/>
            <a:ext cx="2448000" cy="1044000"/>
          </a:xfrm>
          <a:prstGeom prst="rect">
            <a:avLst/>
          </a:prstGeom>
          <a:noFill/>
        </p:spPr>
        <p:txBody>
          <a:bodyPr wrap="square" lIns="0" tIns="0" rIns="143925" bIns="0" rtlCol="0" anchor="ctr" anchorCtr="0">
            <a:noAutofit/>
          </a:bodyPr>
          <a:lstStyle/>
          <a:p>
            <a:pPr algn="r">
              <a:spcAft>
                <a:spcPts val="300"/>
              </a:spcAft>
              <a:tabLst>
                <a:tab pos="0" algn="l"/>
              </a:tabLst>
            </a:pPr>
            <a:r>
              <a:rPr lang="en-US" sz="1599" b="1" dirty="0">
                <a:solidFill>
                  <a:schemeClr val="accent1"/>
                </a:solidFill>
                <a:ea typeface="Arial Unicode MS"/>
              </a:rPr>
              <a:t>Duis arcu </a:t>
            </a:r>
            <a:br>
              <a:rPr lang="en-US" sz="1599" b="1" dirty="0">
                <a:solidFill>
                  <a:schemeClr val="accent1"/>
                </a:solidFill>
                <a:ea typeface="Arial Unicode MS"/>
              </a:rPr>
            </a:br>
            <a:r>
              <a:rPr lang="en-US" sz="1599" b="1" dirty="0">
                <a:solidFill>
                  <a:schemeClr val="accent1"/>
                </a:solidFill>
                <a:ea typeface="Arial Unicode MS"/>
              </a:rPr>
              <a:t>tortor eget</a:t>
            </a:r>
          </a:p>
          <a:p>
            <a:pPr algn="r">
              <a:spcAft>
                <a:spcPts val="300"/>
              </a:spcAft>
              <a:tabLst>
                <a:tab pos="0" algn="l"/>
              </a:tabLst>
            </a:pPr>
            <a:r>
              <a:rPr lang="en-US" sz="1599" dirty="0">
                <a:solidFill>
                  <a:srgbClr val="66667E"/>
                </a:solidFill>
                <a:ea typeface="Arial Unicode MS"/>
              </a:rPr>
              <a:t>Duis arcu tortor</a:t>
            </a:r>
          </a:p>
        </p:txBody>
      </p:sp>
      <p:sp>
        <p:nvSpPr>
          <p:cNvPr id="22" name="Ellipse 43">
            <a:extLst>
              <a:ext uri="{FF2B5EF4-FFF2-40B4-BE49-F238E27FC236}">
                <a16:creationId xmlns:a16="http://schemas.microsoft.com/office/drawing/2014/main" id="{9050499E-599A-47BC-912C-4AAD9A169BD7}"/>
              </a:ext>
            </a:extLst>
          </p:cNvPr>
          <p:cNvSpPr>
            <a:spLocks noChangeAspect="1"/>
          </p:cNvSpPr>
          <p:nvPr/>
        </p:nvSpPr>
        <p:spPr bwMode="gray">
          <a:xfrm>
            <a:off x="2858400" y="1522800"/>
            <a:ext cx="1044000" cy="1044000"/>
          </a:xfrm>
          <a:prstGeom prst="ellipse">
            <a:avLst/>
          </a:prstGeom>
          <a:solidFill>
            <a:srgbClr val="E5E5E9"/>
          </a:solidFill>
          <a:ln w="22225">
            <a:noFill/>
            <a:miter lim="800000"/>
            <a:headEnd/>
            <a:tailEnd/>
          </a:ln>
          <a:effectLst/>
        </p:spPr>
        <p:txBody>
          <a:bodyPr rtlCol="0" anchor="ctr"/>
          <a:lstStyle/>
          <a:p>
            <a:pPr algn="ctr"/>
            <a:endParaRPr lang="en-US" sz="1799" dirty="0">
              <a:ea typeface="Arial Unicode MS"/>
            </a:endParaRPr>
          </a:p>
        </p:txBody>
      </p:sp>
      <p:sp>
        <p:nvSpPr>
          <p:cNvPr id="23" name="Ellipse 43">
            <a:extLst>
              <a:ext uri="{FF2B5EF4-FFF2-40B4-BE49-F238E27FC236}">
                <a16:creationId xmlns:a16="http://schemas.microsoft.com/office/drawing/2014/main" id="{438CB53E-932D-4B64-8572-F7206CF05EEB}"/>
              </a:ext>
            </a:extLst>
          </p:cNvPr>
          <p:cNvSpPr>
            <a:spLocks noChangeAspect="1"/>
          </p:cNvSpPr>
          <p:nvPr/>
        </p:nvSpPr>
        <p:spPr bwMode="gray">
          <a:xfrm>
            <a:off x="2210400" y="3218400"/>
            <a:ext cx="1044000" cy="1044000"/>
          </a:xfrm>
          <a:prstGeom prst="ellipse">
            <a:avLst/>
          </a:prstGeom>
          <a:solidFill>
            <a:srgbClr val="E5E5E9"/>
          </a:solidFill>
          <a:ln w="22225">
            <a:noFill/>
            <a:miter lim="800000"/>
            <a:headEnd/>
            <a:tailEnd/>
          </a:ln>
          <a:effectLst/>
        </p:spPr>
        <p:txBody>
          <a:bodyPr rtlCol="0" anchor="ctr"/>
          <a:lstStyle/>
          <a:p>
            <a:pPr algn="ctr"/>
            <a:endParaRPr lang="en-US" sz="1799" dirty="0">
              <a:ea typeface="Arial Unicode MS"/>
            </a:endParaRPr>
          </a:p>
        </p:txBody>
      </p:sp>
      <p:sp>
        <p:nvSpPr>
          <p:cNvPr id="24" name="Ellipse 43">
            <a:extLst>
              <a:ext uri="{FF2B5EF4-FFF2-40B4-BE49-F238E27FC236}">
                <a16:creationId xmlns:a16="http://schemas.microsoft.com/office/drawing/2014/main" id="{6CFC90DF-6B38-4D48-87A6-71484D242B05}"/>
              </a:ext>
            </a:extLst>
          </p:cNvPr>
          <p:cNvSpPr>
            <a:spLocks noChangeAspect="1"/>
          </p:cNvSpPr>
          <p:nvPr/>
        </p:nvSpPr>
        <p:spPr bwMode="gray">
          <a:xfrm>
            <a:off x="8294400" y="5014800"/>
            <a:ext cx="1044000" cy="1044000"/>
          </a:xfrm>
          <a:prstGeom prst="ellipse">
            <a:avLst/>
          </a:prstGeom>
          <a:solidFill>
            <a:srgbClr val="E5E5E9"/>
          </a:solidFill>
          <a:ln w="22225">
            <a:noFill/>
            <a:miter lim="800000"/>
            <a:headEnd/>
            <a:tailEnd/>
          </a:ln>
          <a:effectLst/>
        </p:spPr>
        <p:txBody>
          <a:bodyPr rtlCol="0" anchor="ctr"/>
          <a:lstStyle/>
          <a:p>
            <a:pPr algn="ctr"/>
            <a:endParaRPr lang="en-US" sz="1799" dirty="0">
              <a:ea typeface="Arial Unicode MS"/>
            </a:endParaRPr>
          </a:p>
        </p:txBody>
      </p:sp>
      <p:sp>
        <p:nvSpPr>
          <p:cNvPr id="25" name="Ellipse 43">
            <a:extLst>
              <a:ext uri="{FF2B5EF4-FFF2-40B4-BE49-F238E27FC236}">
                <a16:creationId xmlns:a16="http://schemas.microsoft.com/office/drawing/2014/main" id="{DF481BBE-D9F1-4BB9-9BC6-DCA0D4D94CB3}"/>
              </a:ext>
            </a:extLst>
          </p:cNvPr>
          <p:cNvSpPr>
            <a:spLocks noChangeAspect="1"/>
          </p:cNvSpPr>
          <p:nvPr/>
        </p:nvSpPr>
        <p:spPr bwMode="gray">
          <a:xfrm>
            <a:off x="8294400" y="1522800"/>
            <a:ext cx="1044000" cy="1044000"/>
          </a:xfrm>
          <a:prstGeom prst="ellipse">
            <a:avLst/>
          </a:prstGeom>
          <a:solidFill>
            <a:srgbClr val="E5E5E9"/>
          </a:solidFill>
          <a:ln w="22225">
            <a:noFill/>
            <a:miter lim="800000"/>
            <a:headEnd/>
            <a:tailEnd/>
          </a:ln>
          <a:effectLst/>
        </p:spPr>
        <p:txBody>
          <a:bodyPr rtlCol="0" anchor="ctr"/>
          <a:lstStyle/>
          <a:p>
            <a:pPr algn="ctr"/>
            <a:endParaRPr lang="en-US" sz="1799" dirty="0">
              <a:ea typeface="Arial Unicode MS"/>
            </a:endParaRPr>
          </a:p>
        </p:txBody>
      </p:sp>
      <p:sp>
        <p:nvSpPr>
          <p:cNvPr id="26" name="Ellipse 43">
            <a:extLst>
              <a:ext uri="{FF2B5EF4-FFF2-40B4-BE49-F238E27FC236}">
                <a16:creationId xmlns:a16="http://schemas.microsoft.com/office/drawing/2014/main" id="{098B8D44-5485-4648-A915-CA4B57D1EF49}"/>
              </a:ext>
            </a:extLst>
          </p:cNvPr>
          <p:cNvSpPr>
            <a:spLocks noChangeAspect="1"/>
          </p:cNvSpPr>
          <p:nvPr/>
        </p:nvSpPr>
        <p:spPr bwMode="gray">
          <a:xfrm>
            <a:off x="8942400" y="3218400"/>
            <a:ext cx="1044000" cy="1044000"/>
          </a:xfrm>
          <a:prstGeom prst="ellipse">
            <a:avLst/>
          </a:prstGeom>
          <a:solidFill>
            <a:srgbClr val="E5E5E9"/>
          </a:solidFill>
          <a:ln w="22225">
            <a:noFill/>
            <a:miter lim="800000"/>
            <a:headEnd/>
            <a:tailEnd/>
          </a:ln>
          <a:effectLst/>
        </p:spPr>
        <p:txBody>
          <a:bodyPr rtlCol="0" anchor="ctr"/>
          <a:lstStyle/>
          <a:p>
            <a:pPr algn="ctr"/>
            <a:endParaRPr lang="en-US" sz="1799" dirty="0">
              <a:ea typeface="Arial Unicode MS"/>
            </a:endParaRPr>
          </a:p>
        </p:txBody>
      </p:sp>
      <p:sp>
        <p:nvSpPr>
          <p:cNvPr id="27" name="Ellipse 43">
            <a:extLst>
              <a:ext uri="{FF2B5EF4-FFF2-40B4-BE49-F238E27FC236}">
                <a16:creationId xmlns:a16="http://schemas.microsoft.com/office/drawing/2014/main" id="{02832B53-83CE-42DC-85AF-B539EBDB57BA}"/>
              </a:ext>
            </a:extLst>
          </p:cNvPr>
          <p:cNvSpPr>
            <a:spLocks noChangeAspect="1"/>
          </p:cNvSpPr>
          <p:nvPr/>
        </p:nvSpPr>
        <p:spPr bwMode="gray">
          <a:xfrm>
            <a:off x="2858400" y="5014800"/>
            <a:ext cx="1044000" cy="1044000"/>
          </a:xfrm>
          <a:prstGeom prst="ellipse">
            <a:avLst/>
          </a:prstGeom>
          <a:solidFill>
            <a:srgbClr val="E5E5E9"/>
          </a:solidFill>
          <a:ln w="22225">
            <a:noFill/>
            <a:miter lim="800000"/>
            <a:headEnd/>
            <a:tailEnd/>
          </a:ln>
          <a:effectLst/>
        </p:spPr>
        <p:txBody>
          <a:bodyPr rtlCol="0" anchor="ctr"/>
          <a:lstStyle/>
          <a:p>
            <a:pPr algn="ctr"/>
            <a:endParaRPr lang="en-US" sz="1799" dirty="0">
              <a:ea typeface="Arial Unicode MS"/>
            </a:endParaRPr>
          </a:p>
        </p:txBody>
      </p:sp>
      <p:sp>
        <p:nvSpPr>
          <p:cNvPr id="5" name="Footer Placeholder 4">
            <a:extLst>
              <a:ext uri="{FF2B5EF4-FFF2-40B4-BE49-F238E27FC236}">
                <a16:creationId xmlns:a16="http://schemas.microsoft.com/office/drawing/2014/main" id="{D2CE1CCF-2BE8-4E20-964E-59067DBD229F}"/>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6" name="Slide Number Placeholder 5">
            <a:extLst>
              <a:ext uri="{FF2B5EF4-FFF2-40B4-BE49-F238E27FC236}">
                <a16:creationId xmlns:a16="http://schemas.microsoft.com/office/drawing/2014/main" id="{7B4D26E4-D1CF-40B4-8508-3D8DC1C42187}"/>
              </a:ext>
            </a:extLst>
          </p:cNvPr>
          <p:cNvSpPr>
            <a:spLocks noGrp="1"/>
          </p:cNvSpPr>
          <p:nvPr>
            <p:ph type="sldNum" sz="quarter" idx="11"/>
          </p:nvPr>
        </p:nvSpPr>
        <p:spPr/>
        <p:txBody>
          <a:bodyPr/>
          <a:lstStyle/>
          <a:p>
            <a:r>
              <a:rPr lang="en-US" dirty="0"/>
              <a:t>Page </a:t>
            </a:r>
            <a:fld id="{15EBE321-CBB1-4E91-BD14-37C8D44326FB}" type="slidenum">
              <a:rPr lang="en-US" smtClean="0"/>
              <a:pPr/>
              <a:t>36</a:t>
            </a:fld>
            <a:endParaRPr lang="en-US" dirty="0"/>
          </a:p>
        </p:txBody>
      </p:sp>
      <p:sp>
        <p:nvSpPr>
          <p:cNvPr id="28" name="Freeform: Shape 27">
            <a:extLst>
              <a:ext uri="{FF2B5EF4-FFF2-40B4-BE49-F238E27FC236}">
                <a16:creationId xmlns:a16="http://schemas.microsoft.com/office/drawing/2014/main" id="{C1F0A4DE-6F89-4C59-9C2E-43AE991B85DA}"/>
              </a:ext>
            </a:extLst>
          </p:cNvPr>
          <p:cNvSpPr/>
          <p:nvPr/>
        </p:nvSpPr>
        <p:spPr bwMode="gray">
          <a:xfrm>
            <a:off x="4154568" y="1846950"/>
            <a:ext cx="3888000" cy="3888000"/>
          </a:xfrm>
          <a:custGeom>
            <a:avLst/>
            <a:gdLst>
              <a:gd name="connsiteX0" fmla="*/ 1944000 w 3888000"/>
              <a:gd name="connsiteY0" fmla="*/ 288000 h 3888000"/>
              <a:gd name="connsiteX1" fmla="*/ 288000 w 3888000"/>
              <a:gd name="connsiteY1" fmla="*/ 1944000 h 3888000"/>
              <a:gd name="connsiteX2" fmla="*/ 1944000 w 3888000"/>
              <a:gd name="connsiteY2" fmla="*/ 3600000 h 3888000"/>
              <a:gd name="connsiteX3" fmla="*/ 3600000 w 3888000"/>
              <a:gd name="connsiteY3" fmla="*/ 1944000 h 3888000"/>
              <a:gd name="connsiteX4" fmla="*/ 1944000 w 3888000"/>
              <a:gd name="connsiteY4" fmla="*/ 288000 h 3888000"/>
              <a:gd name="connsiteX5" fmla="*/ 1944000 w 3888000"/>
              <a:gd name="connsiteY5" fmla="*/ 0 h 3888000"/>
              <a:gd name="connsiteX6" fmla="*/ 3888000 w 3888000"/>
              <a:gd name="connsiteY6" fmla="*/ 1944000 h 3888000"/>
              <a:gd name="connsiteX7" fmla="*/ 1944000 w 3888000"/>
              <a:gd name="connsiteY7" fmla="*/ 3888000 h 3888000"/>
              <a:gd name="connsiteX8" fmla="*/ 0 w 3888000"/>
              <a:gd name="connsiteY8" fmla="*/ 1944000 h 3888000"/>
              <a:gd name="connsiteX9" fmla="*/ 1944000 w 3888000"/>
              <a:gd name="connsiteY9" fmla="*/ 0 h 388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88000" h="3888000">
                <a:moveTo>
                  <a:pt x="1944000" y="288000"/>
                </a:moveTo>
                <a:cubicBezTo>
                  <a:pt x="1029417" y="288000"/>
                  <a:pt x="288000" y="1029417"/>
                  <a:pt x="288000" y="1944000"/>
                </a:cubicBezTo>
                <a:cubicBezTo>
                  <a:pt x="288000" y="2858583"/>
                  <a:pt x="1029417" y="3600000"/>
                  <a:pt x="1944000" y="3600000"/>
                </a:cubicBezTo>
                <a:cubicBezTo>
                  <a:pt x="2858584" y="3600000"/>
                  <a:pt x="3600000" y="2858583"/>
                  <a:pt x="3600000" y="1944000"/>
                </a:cubicBezTo>
                <a:cubicBezTo>
                  <a:pt x="3600000" y="1029417"/>
                  <a:pt x="2858584" y="288000"/>
                  <a:pt x="1944000" y="288000"/>
                </a:cubicBezTo>
                <a:close/>
                <a:moveTo>
                  <a:pt x="1944000" y="0"/>
                </a:moveTo>
                <a:cubicBezTo>
                  <a:pt x="3017642" y="0"/>
                  <a:pt x="3888000" y="870359"/>
                  <a:pt x="3888000" y="1944000"/>
                </a:cubicBezTo>
                <a:cubicBezTo>
                  <a:pt x="3888000" y="3017641"/>
                  <a:pt x="3017642" y="3888000"/>
                  <a:pt x="1944000" y="3888000"/>
                </a:cubicBezTo>
                <a:cubicBezTo>
                  <a:pt x="870358" y="3888000"/>
                  <a:pt x="0" y="3017641"/>
                  <a:pt x="0" y="1944000"/>
                </a:cubicBezTo>
                <a:cubicBezTo>
                  <a:pt x="0" y="870359"/>
                  <a:pt x="870358" y="0"/>
                  <a:pt x="1944000" y="0"/>
                </a:cubicBezTo>
                <a:close/>
              </a:path>
            </a:pathLst>
          </a:custGeom>
          <a:gradFill>
            <a:gsLst>
              <a:gs pos="0">
                <a:srgbClr val="00FFB9"/>
              </a:gs>
              <a:gs pos="100000">
                <a:srgbClr val="00E6DC"/>
              </a:gs>
            </a:gsLst>
            <a:lin ang="0" scaled="0"/>
          </a:gradFill>
          <a:ln>
            <a:noFill/>
          </a:ln>
          <a:effectLst/>
        </p:spPr>
        <p:txBody>
          <a:bodyPr wrap="square" lIns="683644" tIns="143925" rIns="683644" bIns="143925" numCol="1" spcCol="72000" rtlCol="0" anchor="ctr">
            <a:noAutofit/>
          </a:bodyPr>
          <a:lstStyle/>
          <a:p>
            <a:pPr algn="ctr">
              <a:lnSpc>
                <a:spcPct val="110000"/>
              </a:lnSpc>
              <a:spcBef>
                <a:spcPct val="0"/>
              </a:spcBef>
            </a:pPr>
            <a:r>
              <a:rPr lang="en-US" sz="1799" b="1" dirty="0">
                <a:solidFill>
                  <a:srgbClr val="66667E"/>
                </a:solidFill>
              </a:rPr>
              <a:t>Cras ultricies</a:t>
            </a:r>
          </a:p>
        </p:txBody>
      </p:sp>
      <p:sp>
        <p:nvSpPr>
          <p:cNvPr id="29" name="Freihandform 50">
            <a:extLst>
              <a:ext uri="{FF2B5EF4-FFF2-40B4-BE49-F238E27FC236}">
                <a16:creationId xmlns:a16="http://schemas.microsoft.com/office/drawing/2014/main" id="{8A5D5684-60C9-4DC8-B3CD-62B5B9CADD81}"/>
              </a:ext>
            </a:extLst>
          </p:cNvPr>
          <p:cNvSpPr>
            <a:spLocks noChangeAspect="1"/>
          </p:cNvSpPr>
          <p:nvPr/>
        </p:nvSpPr>
        <p:spPr bwMode="gray">
          <a:xfrm>
            <a:off x="4010023" y="2062800"/>
            <a:ext cx="810000" cy="446933"/>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66667E"/>
            </a:solidFill>
            <a:prstDash val="solid"/>
            <a:round/>
            <a:headEnd type="oval" w="lg" len="lg"/>
            <a:tailEnd type="none" w="lg" len="lg"/>
          </a:ln>
          <a:effectLst/>
        </p:spPr>
        <p:txBody>
          <a:bodyPr rtlCol="0" anchor="ctr"/>
          <a:lstStyle/>
          <a:p>
            <a:pPr algn="ctr"/>
            <a:endParaRPr lang="en-US" sz="1799" dirty="0">
              <a:ea typeface="Arial Unicode MS"/>
            </a:endParaRPr>
          </a:p>
        </p:txBody>
      </p:sp>
      <p:sp>
        <p:nvSpPr>
          <p:cNvPr id="30" name="Freihandform 52">
            <a:extLst>
              <a:ext uri="{FF2B5EF4-FFF2-40B4-BE49-F238E27FC236}">
                <a16:creationId xmlns:a16="http://schemas.microsoft.com/office/drawing/2014/main" id="{313B7242-D538-46FF-86EA-D145A6BC854C}"/>
              </a:ext>
            </a:extLst>
          </p:cNvPr>
          <p:cNvSpPr>
            <a:spLocks noChangeAspect="1"/>
          </p:cNvSpPr>
          <p:nvPr/>
        </p:nvSpPr>
        <p:spPr bwMode="gray">
          <a:xfrm flipV="1">
            <a:off x="4010023" y="5091120"/>
            <a:ext cx="828000" cy="463680"/>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66667E"/>
            </a:solidFill>
            <a:prstDash val="solid"/>
            <a:round/>
            <a:headEnd type="oval" w="lg" len="lg"/>
            <a:tailEnd type="none" w="lg" len="lg"/>
          </a:ln>
          <a:effectLst/>
        </p:spPr>
        <p:txBody>
          <a:bodyPr rtlCol="0" anchor="ctr"/>
          <a:lstStyle/>
          <a:p>
            <a:pPr algn="ctr"/>
            <a:endParaRPr lang="en-US" sz="1799" dirty="0">
              <a:ea typeface="Arial Unicode MS"/>
            </a:endParaRPr>
          </a:p>
        </p:txBody>
      </p:sp>
      <p:sp>
        <p:nvSpPr>
          <p:cNvPr id="31" name="Freihandform 53">
            <a:extLst>
              <a:ext uri="{FF2B5EF4-FFF2-40B4-BE49-F238E27FC236}">
                <a16:creationId xmlns:a16="http://schemas.microsoft.com/office/drawing/2014/main" id="{9F8AB574-466C-42C9-9F78-169E01040353}"/>
              </a:ext>
            </a:extLst>
          </p:cNvPr>
          <p:cNvSpPr>
            <a:spLocks noChangeAspect="1"/>
          </p:cNvSpPr>
          <p:nvPr/>
        </p:nvSpPr>
        <p:spPr bwMode="gray">
          <a:xfrm flipH="1">
            <a:off x="7371979" y="2062800"/>
            <a:ext cx="810000" cy="446886"/>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66667E"/>
            </a:solidFill>
            <a:prstDash val="solid"/>
            <a:round/>
            <a:headEnd type="oval" w="lg" len="lg"/>
            <a:tailEnd type="none" w="lg" len="lg"/>
          </a:ln>
          <a:effectLst/>
        </p:spPr>
        <p:txBody>
          <a:bodyPr rtlCol="0" anchor="ctr"/>
          <a:lstStyle/>
          <a:p>
            <a:pPr algn="ctr"/>
            <a:endParaRPr lang="en-US" sz="1799" dirty="0">
              <a:ea typeface="Arial Unicode MS"/>
            </a:endParaRPr>
          </a:p>
        </p:txBody>
      </p:sp>
      <p:sp>
        <p:nvSpPr>
          <p:cNvPr id="32" name="Freihandform 54">
            <a:extLst>
              <a:ext uri="{FF2B5EF4-FFF2-40B4-BE49-F238E27FC236}">
                <a16:creationId xmlns:a16="http://schemas.microsoft.com/office/drawing/2014/main" id="{1BEA07E1-CFD6-4FD1-B38B-C44C5F39920E}"/>
              </a:ext>
            </a:extLst>
          </p:cNvPr>
          <p:cNvSpPr>
            <a:spLocks noChangeAspect="1"/>
          </p:cNvSpPr>
          <p:nvPr/>
        </p:nvSpPr>
        <p:spPr bwMode="gray">
          <a:xfrm flipH="1" flipV="1">
            <a:off x="7353979" y="5091120"/>
            <a:ext cx="828000" cy="463680"/>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66667E"/>
            </a:solidFill>
            <a:prstDash val="solid"/>
            <a:round/>
            <a:headEnd type="oval" w="lg" len="lg"/>
            <a:tailEnd type="none" w="lg" len="lg"/>
          </a:ln>
          <a:effectLst/>
        </p:spPr>
        <p:txBody>
          <a:bodyPr rtlCol="0" anchor="ctr"/>
          <a:lstStyle/>
          <a:p>
            <a:pPr algn="ctr"/>
            <a:endParaRPr lang="en-US" sz="1799" dirty="0">
              <a:ea typeface="Arial Unicode MS"/>
            </a:endParaRPr>
          </a:p>
        </p:txBody>
      </p:sp>
      <p:cxnSp>
        <p:nvCxnSpPr>
          <p:cNvPr id="33" name="Gerade Verbindung 55">
            <a:extLst>
              <a:ext uri="{FF2B5EF4-FFF2-40B4-BE49-F238E27FC236}">
                <a16:creationId xmlns:a16="http://schemas.microsoft.com/office/drawing/2014/main" id="{1E56221A-C4B0-49C2-97F7-3B8AB2EE1558}"/>
              </a:ext>
            </a:extLst>
          </p:cNvPr>
          <p:cNvCxnSpPr>
            <a:cxnSpLocks/>
          </p:cNvCxnSpPr>
          <p:nvPr/>
        </p:nvCxnSpPr>
        <p:spPr bwMode="gray">
          <a:xfrm flipV="1">
            <a:off x="7898400" y="3731721"/>
            <a:ext cx="918000" cy="1"/>
          </a:xfrm>
          <a:prstGeom prst="line">
            <a:avLst/>
          </a:prstGeom>
          <a:noFill/>
          <a:ln w="12700" cap="flat" cmpd="sng" algn="ctr">
            <a:solidFill>
              <a:srgbClr val="66667E"/>
            </a:solidFill>
            <a:prstDash val="solid"/>
            <a:round/>
            <a:headEnd type="oval" w="lg" len="lg"/>
            <a:tailEnd type="none" w="lg" len="lg"/>
          </a:ln>
          <a:effectLst/>
        </p:spPr>
      </p:cxnSp>
      <p:cxnSp>
        <p:nvCxnSpPr>
          <p:cNvPr id="36" name="Gerade Verbindung 56">
            <a:extLst>
              <a:ext uri="{FF2B5EF4-FFF2-40B4-BE49-F238E27FC236}">
                <a16:creationId xmlns:a16="http://schemas.microsoft.com/office/drawing/2014/main" id="{33AFD1B6-1CAA-4CD1-B70B-F2E3FB416D6C}"/>
              </a:ext>
            </a:extLst>
          </p:cNvPr>
          <p:cNvCxnSpPr>
            <a:cxnSpLocks/>
          </p:cNvCxnSpPr>
          <p:nvPr/>
        </p:nvCxnSpPr>
        <p:spPr bwMode="gray">
          <a:xfrm flipH="1">
            <a:off x="3382027" y="3731720"/>
            <a:ext cx="918000" cy="0"/>
          </a:xfrm>
          <a:prstGeom prst="line">
            <a:avLst/>
          </a:prstGeom>
          <a:noFill/>
          <a:ln w="12700" cap="flat" cmpd="sng" algn="ctr">
            <a:solidFill>
              <a:srgbClr val="66667E"/>
            </a:solidFill>
            <a:prstDash val="solid"/>
            <a:round/>
            <a:headEnd type="oval" w="lg" len="lg"/>
            <a:tailEnd type="none" w="lg" len="lg"/>
          </a:ln>
          <a:effectLst/>
        </p:spPr>
      </p:cxnSp>
    </p:spTree>
    <p:extLst>
      <p:ext uri="{BB962C8B-B14F-4D97-AF65-F5344CB8AC3E}">
        <p14:creationId xmlns:p14="http://schemas.microsoft.com/office/powerpoint/2010/main" val="94510336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a:t>Mindmap – circular</a:t>
            </a:r>
          </a:p>
        </p:txBody>
      </p:sp>
      <p:sp>
        <p:nvSpPr>
          <p:cNvPr id="5" name="Footer Placeholder 4">
            <a:extLst>
              <a:ext uri="{FF2B5EF4-FFF2-40B4-BE49-F238E27FC236}">
                <a16:creationId xmlns:a16="http://schemas.microsoft.com/office/drawing/2014/main" id="{D2CE1CCF-2BE8-4E20-964E-59067DBD229F}"/>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6" name="Slide Number Placeholder 5">
            <a:extLst>
              <a:ext uri="{FF2B5EF4-FFF2-40B4-BE49-F238E27FC236}">
                <a16:creationId xmlns:a16="http://schemas.microsoft.com/office/drawing/2014/main" id="{7B4D26E4-D1CF-40B4-8508-3D8DC1C42187}"/>
              </a:ext>
            </a:extLst>
          </p:cNvPr>
          <p:cNvSpPr>
            <a:spLocks noGrp="1"/>
          </p:cNvSpPr>
          <p:nvPr>
            <p:ph type="sldNum" sz="quarter" idx="11"/>
          </p:nvPr>
        </p:nvSpPr>
        <p:spPr/>
        <p:txBody>
          <a:bodyPr/>
          <a:lstStyle/>
          <a:p>
            <a:r>
              <a:rPr lang="en-US" dirty="0"/>
              <a:t>Page </a:t>
            </a:r>
            <a:fld id="{15EBE321-CBB1-4E91-BD14-37C8D44326FB}" type="slidenum">
              <a:rPr lang="en-US" smtClean="0"/>
              <a:pPr/>
              <a:t>37</a:t>
            </a:fld>
            <a:endParaRPr lang="en-US" dirty="0"/>
          </a:p>
        </p:txBody>
      </p:sp>
      <p:sp>
        <p:nvSpPr>
          <p:cNvPr id="16" name="Textfeld 3">
            <a:extLst>
              <a:ext uri="{FF2B5EF4-FFF2-40B4-BE49-F238E27FC236}">
                <a16:creationId xmlns:a16="http://schemas.microsoft.com/office/drawing/2014/main" id="{EFF4B056-3785-41C5-83AC-69DBA6AD7347}"/>
              </a:ext>
            </a:extLst>
          </p:cNvPr>
          <p:cNvSpPr txBox="1">
            <a:spLocks/>
          </p:cNvSpPr>
          <p:nvPr/>
        </p:nvSpPr>
        <p:spPr bwMode="gray">
          <a:xfrm>
            <a:off x="9339581" y="1522800"/>
            <a:ext cx="2448000" cy="1044000"/>
          </a:xfrm>
          <a:prstGeom prst="rect">
            <a:avLst/>
          </a:prstGeom>
          <a:noFill/>
        </p:spPr>
        <p:txBody>
          <a:bodyPr wrap="square" lIns="143925" tIns="0" rIns="0" bIns="0" rtlCol="0" anchor="ctr">
            <a:noAutofit/>
          </a:bodyPr>
          <a:lstStyle/>
          <a:p>
            <a:pPr>
              <a:spcAft>
                <a:spcPts val="300"/>
              </a:spcAft>
              <a:tabLst>
                <a:tab pos="0" algn="l"/>
              </a:tabLst>
            </a:pPr>
            <a:r>
              <a:rPr lang="en-US" sz="1599" b="1" dirty="0">
                <a:solidFill>
                  <a:srgbClr val="00FFB9"/>
                </a:solidFill>
                <a:ea typeface="Arial Unicode MS"/>
              </a:rPr>
              <a:t>Cras ultricies </a:t>
            </a:r>
          </a:p>
          <a:p>
            <a:pPr>
              <a:spcAft>
                <a:spcPts val="300"/>
              </a:spcAft>
              <a:tabLst>
                <a:tab pos="0" algn="l"/>
              </a:tabLst>
            </a:pPr>
            <a:r>
              <a:rPr lang="en-US" sz="1599" dirty="0">
                <a:solidFill>
                  <a:srgbClr val="9999A9"/>
                </a:solidFill>
                <a:ea typeface="Arial Unicode MS"/>
              </a:rPr>
              <a:t>Duis arcu tortor, suscipit eget</a:t>
            </a:r>
          </a:p>
        </p:txBody>
      </p:sp>
      <p:sp>
        <p:nvSpPr>
          <p:cNvPr id="17" name="Textfeld 4">
            <a:extLst>
              <a:ext uri="{FF2B5EF4-FFF2-40B4-BE49-F238E27FC236}">
                <a16:creationId xmlns:a16="http://schemas.microsoft.com/office/drawing/2014/main" id="{46DBF470-96EC-480E-A542-06DBCE29DD74}"/>
              </a:ext>
            </a:extLst>
          </p:cNvPr>
          <p:cNvSpPr txBox="1"/>
          <p:nvPr/>
        </p:nvSpPr>
        <p:spPr bwMode="gray">
          <a:xfrm>
            <a:off x="410400" y="3218400"/>
            <a:ext cx="1800000" cy="1044000"/>
          </a:xfrm>
          <a:prstGeom prst="rect">
            <a:avLst/>
          </a:prstGeom>
          <a:noFill/>
        </p:spPr>
        <p:txBody>
          <a:bodyPr wrap="square" lIns="0" tIns="0" rIns="143925" bIns="0" rtlCol="0" anchor="ctr" anchorCtr="0">
            <a:noAutofit/>
          </a:bodyPr>
          <a:lstStyle/>
          <a:p>
            <a:pPr algn="r">
              <a:spcAft>
                <a:spcPts val="300"/>
              </a:spcAft>
              <a:tabLst>
                <a:tab pos="0" algn="l"/>
              </a:tabLst>
            </a:pPr>
            <a:r>
              <a:rPr lang="en-US" sz="1599" b="1" dirty="0">
                <a:solidFill>
                  <a:srgbClr val="00FFB9"/>
                </a:solidFill>
                <a:ea typeface="Arial Unicode MS"/>
              </a:rPr>
              <a:t>Crasmi eu</a:t>
            </a:r>
            <a:br>
              <a:rPr lang="en-US" sz="1599" b="1" dirty="0">
                <a:solidFill>
                  <a:srgbClr val="00FFB9"/>
                </a:solidFill>
                <a:ea typeface="Arial Unicode MS"/>
              </a:rPr>
            </a:br>
            <a:r>
              <a:rPr lang="en-US" sz="1599" b="1" dirty="0">
                <a:solidFill>
                  <a:srgbClr val="00FFB9"/>
                </a:solidFill>
                <a:ea typeface="Arial Unicode MS"/>
              </a:rPr>
              <a:t>ultricies</a:t>
            </a:r>
          </a:p>
          <a:p>
            <a:pPr algn="r">
              <a:spcAft>
                <a:spcPts val="300"/>
              </a:spcAft>
              <a:tabLst>
                <a:tab pos="0" algn="l"/>
              </a:tabLst>
            </a:pPr>
            <a:r>
              <a:rPr lang="en-US" sz="1599" dirty="0">
                <a:solidFill>
                  <a:srgbClr val="9999A9"/>
                </a:solidFill>
                <a:ea typeface="Arial Unicode MS"/>
              </a:rPr>
              <a:t>At vero eos</a:t>
            </a:r>
          </a:p>
        </p:txBody>
      </p:sp>
      <p:sp>
        <p:nvSpPr>
          <p:cNvPr id="18" name="Textfeld 5">
            <a:extLst>
              <a:ext uri="{FF2B5EF4-FFF2-40B4-BE49-F238E27FC236}">
                <a16:creationId xmlns:a16="http://schemas.microsoft.com/office/drawing/2014/main" id="{ED789A4B-5BCA-4299-B7DC-A3F4E3DD9CAA}"/>
              </a:ext>
            </a:extLst>
          </p:cNvPr>
          <p:cNvSpPr txBox="1"/>
          <p:nvPr/>
        </p:nvSpPr>
        <p:spPr bwMode="gray">
          <a:xfrm>
            <a:off x="410400" y="5014800"/>
            <a:ext cx="2448000" cy="1044000"/>
          </a:xfrm>
          <a:prstGeom prst="rect">
            <a:avLst/>
          </a:prstGeom>
          <a:noFill/>
        </p:spPr>
        <p:txBody>
          <a:bodyPr wrap="square" lIns="0" tIns="0" rIns="143925" bIns="0" rtlCol="0" anchor="ctr" anchorCtr="0">
            <a:noAutofit/>
          </a:bodyPr>
          <a:lstStyle/>
          <a:p>
            <a:pPr algn="r">
              <a:spcAft>
                <a:spcPts val="300"/>
              </a:spcAft>
              <a:tabLst>
                <a:tab pos="0" algn="l"/>
              </a:tabLst>
            </a:pPr>
            <a:r>
              <a:rPr lang="en-US" sz="1599" b="1" dirty="0">
                <a:solidFill>
                  <a:srgbClr val="00FFB9"/>
                </a:solidFill>
                <a:ea typeface="Arial Unicode MS"/>
              </a:rPr>
              <a:t>Duis arcu </a:t>
            </a:r>
            <a:br>
              <a:rPr lang="en-US" sz="1599" b="1" dirty="0">
                <a:solidFill>
                  <a:srgbClr val="00FFB9"/>
                </a:solidFill>
                <a:ea typeface="Arial Unicode MS"/>
              </a:rPr>
            </a:br>
            <a:r>
              <a:rPr lang="en-US" sz="1599" b="1" dirty="0">
                <a:solidFill>
                  <a:srgbClr val="00FFB9"/>
                </a:solidFill>
                <a:ea typeface="Arial Unicode MS"/>
              </a:rPr>
              <a:t>tortor, suscipit</a:t>
            </a:r>
          </a:p>
          <a:p>
            <a:pPr algn="r">
              <a:spcAft>
                <a:spcPts val="300"/>
              </a:spcAft>
              <a:tabLst>
                <a:tab pos="0" algn="l"/>
              </a:tabLst>
            </a:pPr>
            <a:r>
              <a:rPr lang="en-US" sz="1599" dirty="0">
                <a:solidFill>
                  <a:srgbClr val="9999A9"/>
                </a:solidFill>
                <a:ea typeface="Arial Unicode MS"/>
              </a:rPr>
              <a:t>Cras ultricies </a:t>
            </a:r>
          </a:p>
        </p:txBody>
      </p:sp>
      <p:sp>
        <p:nvSpPr>
          <p:cNvPr id="19" name="Textfeld 6">
            <a:extLst>
              <a:ext uri="{FF2B5EF4-FFF2-40B4-BE49-F238E27FC236}">
                <a16:creationId xmlns:a16="http://schemas.microsoft.com/office/drawing/2014/main" id="{B01CF873-E822-4658-A8C0-94DA16B40109}"/>
              </a:ext>
            </a:extLst>
          </p:cNvPr>
          <p:cNvSpPr txBox="1"/>
          <p:nvPr/>
        </p:nvSpPr>
        <p:spPr bwMode="gray">
          <a:xfrm>
            <a:off x="9339581" y="5014800"/>
            <a:ext cx="2448000" cy="1044000"/>
          </a:xfrm>
          <a:prstGeom prst="rect">
            <a:avLst/>
          </a:prstGeom>
          <a:noFill/>
        </p:spPr>
        <p:txBody>
          <a:bodyPr wrap="square" lIns="143925" tIns="0" rIns="0" bIns="0" rtlCol="0" anchor="ctr">
            <a:noAutofit/>
          </a:bodyPr>
          <a:lstStyle/>
          <a:p>
            <a:pPr>
              <a:spcAft>
                <a:spcPts val="300"/>
              </a:spcAft>
              <a:tabLst>
                <a:tab pos="0" algn="l"/>
              </a:tabLst>
            </a:pPr>
            <a:r>
              <a:rPr lang="en-US" sz="1599" b="1" dirty="0">
                <a:solidFill>
                  <a:srgbClr val="00FFB9"/>
                </a:solidFill>
                <a:ea typeface="Arial Unicode MS"/>
              </a:rPr>
              <a:t>Cras ultricies </a:t>
            </a:r>
            <a:br>
              <a:rPr lang="en-US" sz="1599" b="1" dirty="0">
                <a:solidFill>
                  <a:srgbClr val="00FFB9"/>
                </a:solidFill>
                <a:ea typeface="Arial Unicode MS"/>
              </a:rPr>
            </a:br>
            <a:r>
              <a:rPr lang="en-US" sz="1599" b="1" dirty="0">
                <a:solidFill>
                  <a:srgbClr val="00FFB9"/>
                </a:solidFill>
                <a:ea typeface="Arial Unicode MS"/>
              </a:rPr>
              <a:t>mi eura dolore</a:t>
            </a:r>
          </a:p>
          <a:p>
            <a:pPr>
              <a:spcAft>
                <a:spcPts val="300"/>
              </a:spcAft>
              <a:tabLst>
                <a:tab pos="0" algn="l"/>
              </a:tabLst>
            </a:pPr>
            <a:r>
              <a:rPr lang="en-US" sz="1599" dirty="0">
                <a:solidFill>
                  <a:srgbClr val="9999A9"/>
                </a:solidFill>
                <a:ea typeface="Arial Unicode MS"/>
              </a:rPr>
              <a:t>Atvero eos usam</a:t>
            </a:r>
          </a:p>
        </p:txBody>
      </p:sp>
      <p:sp>
        <p:nvSpPr>
          <p:cNvPr id="20" name="Textfeld 7">
            <a:extLst>
              <a:ext uri="{FF2B5EF4-FFF2-40B4-BE49-F238E27FC236}">
                <a16:creationId xmlns:a16="http://schemas.microsoft.com/office/drawing/2014/main" id="{C95A90A6-DB2E-40B8-8702-5850BAA73DEE}"/>
              </a:ext>
            </a:extLst>
          </p:cNvPr>
          <p:cNvSpPr txBox="1"/>
          <p:nvPr/>
        </p:nvSpPr>
        <p:spPr bwMode="gray">
          <a:xfrm>
            <a:off x="9987581" y="3218400"/>
            <a:ext cx="1800000" cy="1044000"/>
          </a:xfrm>
          <a:prstGeom prst="rect">
            <a:avLst/>
          </a:prstGeom>
          <a:noFill/>
        </p:spPr>
        <p:txBody>
          <a:bodyPr wrap="square" lIns="143925" tIns="0" rIns="0" bIns="0" rtlCol="0" anchor="ctr">
            <a:noAutofit/>
          </a:bodyPr>
          <a:lstStyle/>
          <a:p>
            <a:pPr>
              <a:spcAft>
                <a:spcPts val="300"/>
              </a:spcAft>
              <a:tabLst>
                <a:tab pos="0" algn="l"/>
              </a:tabLst>
            </a:pPr>
            <a:r>
              <a:rPr lang="en-US" sz="1599" b="1" dirty="0">
                <a:solidFill>
                  <a:srgbClr val="00FFB9"/>
                </a:solidFill>
                <a:ea typeface="Arial Unicode MS"/>
              </a:rPr>
              <a:t>Duis tortor</a:t>
            </a:r>
          </a:p>
          <a:p>
            <a:pPr>
              <a:spcAft>
                <a:spcPts val="300"/>
              </a:spcAft>
              <a:tabLst>
                <a:tab pos="0" algn="l"/>
              </a:tabLst>
            </a:pPr>
            <a:r>
              <a:rPr lang="en-US" sz="1599" dirty="0">
                <a:solidFill>
                  <a:srgbClr val="9999A9"/>
                </a:solidFill>
                <a:ea typeface="Arial Unicode MS"/>
              </a:rPr>
              <a:t>Cras ultricies eu</a:t>
            </a:r>
          </a:p>
        </p:txBody>
      </p:sp>
      <p:sp>
        <p:nvSpPr>
          <p:cNvPr id="21" name="Textfeld 51">
            <a:extLst>
              <a:ext uri="{FF2B5EF4-FFF2-40B4-BE49-F238E27FC236}">
                <a16:creationId xmlns:a16="http://schemas.microsoft.com/office/drawing/2014/main" id="{41F8216E-440A-44C0-A2D0-C9817D637B60}"/>
              </a:ext>
            </a:extLst>
          </p:cNvPr>
          <p:cNvSpPr txBox="1"/>
          <p:nvPr/>
        </p:nvSpPr>
        <p:spPr bwMode="gray">
          <a:xfrm>
            <a:off x="410400" y="1522800"/>
            <a:ext cx="2448000" cy="1044000"/>
          </a:xfrm>
          <a:prstGeom prst="rect">
            <a:avLst/>
          </a:prstGeom>
          <a:noFill/>
        </p:spPr>
        <p:txBody>
          <a:bodyPr wrap="square" lIns="0" tIns="0" rIns="143925" bIns="0" rtlCol="0" anchor="ctr" anchorCtr="0">
            <a:noAutofit/>
          </a:bodyPr>
          <a:lstStyle/>
          <a:p>
            <a:pPr algn="r">
              <a:spcAft>
                <a:spcPts val="300"/>
              </a:spcAft>
              <a:tabLst>
                <a:tab pos="0" algn="l"/>
              </a:tabLst>
            </a:pPr>
            <a:r>
              <a:rPr lang="en-US" sz="1599" b="1" dirty="0">
                <a:solidFill>
                  <a:srgbClr val="00FFB9"/>
                </a:solidFill>
                <a:ea typeface="Arial Unicode MS"/>
              </a:rPr>
              <a:t>Duis arcu </a:t>
            </a:r>
            <a:br>
              <a:rPr lang="en-US" sz="1599" b="1" dirty="0">
                <a:solidFill>
                  <a:srgbClr val="00FFB9"/>
                </a:solidFill>
                <a:ea typeface="Arial Unicode MS"/>
              </a:rPr>
            </a:br>
            <a:r>
              <a:rPr lang="en-US" sz="1599" b="1" dirty="0">
                <a:solidFill>
                  <a:srgbClr val="00FFB9"/>
                </a:solidFill>
                <a:ea typeface="Arial Unicode MS"/>
              </a:rPr>
              <a:t>tortor eget</a:t>
            </a:r>
          </a:p>
          <a:p>
            <a:pPr algn="r">
              <a:spcAft>
                <a:spcPts val="300"/>
              </a:spcAft>
              <a:tabLst>
                <a:tab pos="0" algn="l"/>
              </a:tabLst>
            </a:pPr>
            <a:r>
              <a:rPr lang="en-US" sz="1599" dirty="0">
                <a:solidFill>
                  <a:srgbClr val="9999A9"/>
                </a:solidFill>
                <a:ea typeface="Arial Unicode MS"/>
              </a:rPr>
              <a:t>Duis arcu tortor</a:t>
            </a:r>
          </a:p>
        </p:txBody>
      </p:sp>
      <p:sp>
        <p:nvSpPr>
          <p:cNvPr id="22" name="Ellipse 43">
            <a:extLst>
              <a:ext uri="{FF2B5EF4-FFF2-40B4-BE49-F238E27FC236}">
                <a16:creationId xmlns:a16="http://schemas.microsoft.com/office/drawing/2014/main" id="{9050499E-599A-47BC-912C-4AAD9A169BD7}"/>
              </a:ext>
            </a:extLst>
          </p:cNvPr>
          <p:cNvSpPr>
            <a:spLocks noChangeAspect="1"/>
          </p:cNvSpPr>
          <p:nvPr/>
        </p:nvSpPr>
        <p:spPr bwMode="gray">
          <a:xfrm>
            <a:off x="2858400" y="1522800"/>
            <a:ext cx="1044000" cy="1044000"/>
          </a:xfrm>
          <a:prstGeom prst="ellipse">
            <a:avLst/>
          </a:prstGeom>
          <a:solidFill>
            <a:srgbClr val="333353"/>
          </a:solidFill>
          <a:ln w="22225">
            <a:noFill/>
            <a:miter lim="800000"/>
            <a:headEnd/>
            <a:tailEnd/>
          </a:ln>
          <a:effectLst/>
        </p:spPr>
        <p:txBody>
          <a:bodyPr rtlCol="0" anchor="ctr"/>
          <a:lstStyle/>
          <a:p>
            <a:pPr algn="ctr"/>
            <a:endParaRPr lang="en-US" sz="1799" dirty="0">
              <a:ea typeface="Arial Unicode MS"/>
            </a:endParaRPr>
          </a:p>
        </p:txBody>
      </p:sp>
      <p:sp>
        <p:nvSpPr>
          <p:cNvPr id="23" name="Ellipse 43">
            <a:extLst>
              <a:ext uri="{FF2B5EF4-FFF2-40B4-BE49-F238E27FC236}">
                <a16:creationId xmlns:a16="http://schemas.microsoft.com/office/drawing/2014/main" id="{438CB53E-932D-4B64-8572-F7206CF05EEB}"/>
              </a:ext>
            </a:extLst>
          </p:cNvPr>
          <p:cNvSpPr>
            <a:spLocks noChangeAspect="1"/>
          </p:cNvSpPr>
          <p:nvPr/>
        </p:nvSpPr>
        <p:spPr bwMode="gray">
          <a:xfrm>
            <a:off x="2210400" y="3218400"/>
            <a:ext cx="1044000" cy="1044000"/>
          </a:xfrm>
          <a:prstGeom prst="ellipse">
            <a:avLst/>
          </a:prstGeom>
          <a:solidFill>
            <a:srgbClr val="333353"/>
          </a:solidFill>
          <a:ln w="22225">
            <a:noFill/>
            <a:miter lim="800000"/>
            <a:headEnd/>
            <a:tailEnd/>
          </a:ln>
          <a:effectLst/>
        </p:spPr>
        <p:txBody>
          <a:bodyPr rtlCol="0" anchor="ctr"/>
          <a:lstStyle/>
          <a:p>
            <a:pPr algn="ctr"/>
            <a:endParaRPr lang="en-US" sz="1799" dirty="0">
              <a:ea typeface="Arial Unicode MS"/>
            </a:endParaRPr>
          </a:p>
        </p:txBody>
      </p:sp>
      <p:sp>
        <p:nvSpPr>
          <p:cNvPr id="24" name="Ellipse 43">
            <a:extLst>
              <a:ext uri="{FF2B5EF4-FFF2-40B4-BE49-F238E27FC236}">
                <a16:creationId xmlns:a16="http://schemas.microsoft.com/office/drawing/2014/main" id="{6CFC90DF-6B38-4D48-87A6-71484D242B05}"/>
              </a:ext>
            </a:extLst>
          </p:cNvPr>
          <p:cNvSpPr>
            <a:spLocks noChangeAspect="1"/>
          </p:cNvSpPr>
          <p:nvPr/>
        </p:nvSpPr>
        <p:spPr bwMode="gray">
          <a:xfrm>
            <a:off x="8294400" y="5014800"/>
            <a:ext cx="1044000" cy="1044000"/>
          </a:xfrm>
          <a:prstGeom prst="ellipse">
            <a:avLst/>
          </a:prstGeom>
          <a:solidFill>
            <a:srgbClr val="333353"/>
          </a:solidFill>
          <a:ln w="22225">
            <a:noFill/>
            <a:miter lim="800000"/>
            <a:headEnd/>
            <a:tailEnd/>
          </a:ln>
          <a:effectLst/>
        </p:spPr>
        <p:txBody>
          <a:bodyPr rtlCol="0" anchor="ctr"/>
          <a:lstStyle/>
          <a:p>
            <a:pPr algn="ctr"/>
            <a:endParaRPr lang="en-US" sz="1799" dirty="0">
              <a:ea typeface="Arial Unicode MS"/>
            </a:endParaRPr>
          </a:p>
        </p:txBody>
      </p:sp>
      <p:sp>
        <p:nvSpPr>
          <p:cNvPr id="25" name="Ellipse 43">
            <a:extLst>
              <a:ext uri="{FF2B5EF4-FFF2-40B4-BE49-F238E27FC236}">
                <a16:creationId xmlns:a16="http://schemas.microsoft.com/office/drawing/2014/main" id="{DF481BBE-D9F1-4BB9-9BC6-DCA0D4D94CB3}"/>
              </a:ext>
            </a:extLst>
          </p:cNvPr>
          <p:cNvSpPr>
            <a:spLocks noChangeAspect="1"/>
          </p:cNvSpPr>
          <p:nvPr/>
        </p:nvSpPr>
        <p:spPr bwMode="gray">
          <a:xfrm>
            <a:off x="8294400" y="1522800"/>
            <a:ext cx="1044000" cy="1044000"/>
          </a:xfrm>
          <a:prstGeom prst="ellipse">
            <a:avLst/>
          </a:prstGeom>
          <a:solidFill>
            <a:srgbClr val="333353"/>
          </a:solidFill>
          <a:ln w="22225">
            <a:noFill/>
            <a:miter lim="800000"/>
            <a:headEnd/>
            <a:tailEnd/>
          </a:ln>
          <a:effectLst/>
        </p:spPr>
        <p:txBody>
          <a:bodyPr rtlCol="0" anchor="ctr"/>
          <a:lstStyle/>
          <a:p>
            <a:pPr algn="ctr"/>
            <a:endParaRPr lang="en-US" sz="1799" dirty="0">
              <a:ea typeface="Arial Unicode MS"/>
            </a:endParaRPr>
          </a:p>
        </p:txBody>
      </p:sp>
      <p:sp>
        <p:nvSpPr>
          <p:cNvPr id="26" name="Ellipse 43">
            <a:extLst>
              <a:ext uri="{FF2B5EF4-FFF2-40B4-BE49-F238E27FC236}">
                <a16:creationId xmlns:a16="http://schemas.microsoft.com/office/drawing/2014/main" id="{098B8D44-5485-4648-A915-CA4B57D1EF49}"/>
              </a:ext>
            </a:extLst>
          </p:cNvPr>
          <p:cNvSpPr>
            <a:spLocks noChangeAspect="1"/>
          </p:cNvSpPr>
          <p:nvPr/>
        </p:nvSpPr>
        <p:spPr bwMode="gray">
          <a:xfrm>
            <a:off x="8942400" y="3218400"/>
            <a:ext cx="1044000" cy="1044000"/>
          </a:xfrm>
          <a:prstGeom prst="ellipse">
            <a:avLst/>
          </a:prstGeom>
          <a:solidFill>
            <a:srgbClr val="333353"/>
          </a:solidFill>
          <a:ln w="22225">
            <a:noFill/>
            <a:miter lim="800000"/>
            <a:headEnd/>
            <a:tailEnd/>
          </a:ln>
          <a:effectLst/>
        </p:spPr>
        <p:txBody>
          <a:bodyPr rtlCol="0" anchor="ctr"/>
          <a:lstStyle/>
          <a:p>
            <a:pPr algn="ctr"/>
            <a:endParaRPr lang="en-US" sz="1799" dirty="0">
              <a:ea typeface="Arial Unicode MS"/>
            </a:endParaRPr>
          </a:p>
        </p:txBody>
      </p:sp>
      <p:sp>
        <p:nvSpPr>
          <p:cNvPr id="27" name="Ellipse 43">
            <a:extLst>
              <a:ext uri="{FF2B5EF4-FFF2-40B4-BE49-F238E27FC236}">
                <a16:creationId xmlns:a16="http://schemas.microsoft.com/office/drawing/2014/main" id="{02832B53-83CE-42DC-85AF-B539EBDB57BA}"/>
              </a:ext>
            </a:extLst>
          </p:cNvPr>
          <p:cNvSpPr>
            <a:spLocks noChangeAspect="1"/>
          </p:cNvSpPr>
          <p:nvPr/>
        </p:nvSpPr>
        <p:spPr bwMode="gray">
          <a:xfrm>
            <a:off x="2858400" y="5014800"/>
            <a:ext cx="1044000" cy="1044000"/>
          </a:xfrm>
          <a:prstGeom prst="ellipse">
            <a:avLst/>
          </a:prstGeom>
          <a:solidFill>
            <a:srgbClr val="333353"/>
          </a:solidFill>
          <a:ln w="22225">
            <a:noFill/>
            <a:miter lim="800000"/>
            <a:headEnd/>
            <a:tailEnd/>
          </a:ln>
          <a:effectLst/>
        </p:spPr>
        <p:txBody>
          <a:bodyPr rtlCol="0" anchor="ctr"/>
          <a:lstStyle/>
          <a:p>
            <a:pPr algn="ctr"/>
            <a:endParaRPr lang="en-US" sz="1799" dirty="0">
              <a:ea typeface="Arial Unicode MS"/>
            </a:endParaRPr>
          </a:p>
        </p:txBody>
      </p:sp>
      <p:sp>
        <p:nvSpPr>
          <p:cNvPr id="28" name="Freeform: Shape 27">
            <a:extLst>
              <a:ext uri="{FF2B5EF4-FFF2-40B4-BE49-F238E27FC236}">
                <a16:creationId xmlns:a16="http://schemas.microsoft.com/office/drawing/2014/main" id="{C1F0A4DE-6F89-4C59-9C2E-43AE991B85DA}"/>
              </a:ext>
            </a:extLst>
          </p:cNvPr>
          <p:cNvSpPr/>
          <p:nvPr/>
        </p:nvSpPr>
        <p:spPr bwMode="gray">
          <a:xfrm>
            <a:off x="4154568" y="1846950"/>
            <a:ext cx="3888000" cy="3888000"/>
          </a:xfrm>
          <a:custGeom>
            <a:avLst/>
            <a:gdLst>
              <a:gd name="connsiteX0" fmla="*/ 1944000 w 3888000"/>
              <a:gd name="connsiteY0" fmla="*/ 288000 h 3888000"/>
              <a:gd name="connsiteX1" fmla="*/ 288000 w 3888000"/>
              <a:gd name="connsiteY1" fmla="*/ 1944000 h 3888000"/>
              <a:gd name="connsiteX2" fmla="*/ 1944000 w 3888000"/>
              <a:gd name="connsiteY2" fmla="*/ 3600000 h 3888000"/>
              <a:gd name="connsiteX3" fmla="*/ 3600000 w 3888000"/>
              <a:gd name="connsiteY3" fmla="*/ 1944000 h 3888000"/>
              <a:gd name="connsiteX4" fmla="*/ 1944000 w 3888000"/>
              <a:gd name="connsiteY4" fmla="*/ 288000 h 3888000"/>
              <a:gd name="connsiteX5" fmla="*/ 1944000 w 3888000"/>
              <a:gd name="connsiteY5" fmla="*/ 0 h 3888000"/>
              <a:gd name="connsiteX6" fmla="*/ 3888000 w 3888000"/>
              <a:gd name="connsiteY6" fmla="*/ 1944000 h 3888000"/>
              <a:gd name="connsiteX7" fmla="*/ 1944000 w 3888000"/>
              <a:gd name="connsiteY7" fmla="*/ 3888000 h 3888000"/>
              <a:gd name="connsiteX8" fmla="*/ 0 w 3888000"/>
              <a:gd name="connsiteY8" fmla="*/ 1944000 h 3888000"/>
              <a:gd name="connsiteX9" fmla="*/ 1944000 w 3888000"/>
              <a:gd name="connsiteY9" fmla="*/ 0 h 388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88000" h="3888000">
                <a:moveTo>
                  <a:pt x="1944000" y="288000"/>
                </a:moveTo>
                <a:cubicBezTo>
                  <a:pt x="1029417" y="288000"/>
                  <a:pt x="288000" y="1029417"/>
                  <a:pt x="288000" y="1944000"/>
                </a:cubicBezTo>
                <a:cubicBezTo>
                  <a:pt x="288000" y="2858583"/>
                  <a:pt x="1029417" y="3600000"/>
                  <a:pt x="1944000" y="3600000"/>
                </a:cubicBezTo>
                <a:cubicBezTo>
                  <a:pt x="2858584" y="3600000"/>
                  <a:pt x="3600000" y="2858583"/>
                  <a:pt x="3600000" y="1944000"/>
                </a:cubicBezTo>
                <a:cubicBezTo>
                  <a:pt x="3600000" y="1029417"/>
                  <a:pt x="2858584" y="288000"/>
                  <a:pt x="1944000" y="288000"/>
                </a:cubicBezTo>
                <a:close/>
                <a:moveTo>
                  <a:pt x="1944000" y="0"/>
                </a:moveTo>
                <a:cubicBezTo>
                  <a:pt x="3017642" y="0"/>
                  <a:pt x="3888000" y="870359"/>
                  <a:pt x="3888000" y="1944000"/>
                </a:cubicBezTo>
                <a:cubicBezTo>
                  <a:pt x="3888000" y="3017641"/>
                  <a:pt x="3017642" y="3888000"/>
                  <a:pt x="1944000" y="3888000"/>
                </a:cubicBezTo>
                <a:cubicBezTo>
                  <a:pt x="870358" y="3888000"/>
                  <a:pt x="0" y="3017641"/>
                  <a:pt x="0" y="1944000"/>
                </a:cubicBezTo>
                <a:cubicBezTo>
                  <a:pt x="0" y="870359"/>
                  <a:pt x="870358" y="0"/>
                  <a:pt x="1944000" y="0"/>
                </a:cubicBezTo>
                <a:close/>
              </a:path>
            </a:pathLst>
          </a:custGeom>
          <a:gradFill>
            <a:gsLst>
              <a:gs pos="0">
                <a:srgbClr val="00FFB9"/>
              </a:gs>
              <a:gs pos="100000">
                <a:srgbClr val="00E6DC"/>
              </a:gs>
            </a:gsLst>
            <a:lin ang="0" scaled="0"/>
          </a:gradFill>
          <a:ln>
            <a:noFill/>
          </a:ln>
          <a:effectLst/>
        </p:spPr>
        <p:txBody>
          <a:bodyPr wrap="square" lIns="683644" tIns="143925" rIns="683644" bIns="143925" numCol="1" spcCol="72000" rtlCol="0" anchor="ctr">
            <a:noAutofit/>
          </a:bodyPr>
          <a:lstStyle/>
          <a:p>
            <a:pPr algn="ctr">
              <a:lnSpc>
                <a:spcPct val="110000"/>
              </a:lnSpc>
              <a:spcBef>
                <a:spcPct val="0"/>
              </a:spcBef>
            </a:pPr>
            <a:r>
              <a:rPr lang="en-US" sz="1799" b="1" dirty="0">
                <a:solidFill>
                  <a:srgbClr val="9999A9"/>
                </a:solidFill>
              </a:rPr>
              <a:t>Cras ultricies</a:t>
            </a:r>
          </a:p>
        </p:txBody>
      </p:sp>
      <p:sp>
        <p:nvSpPr>
          <p:cNvPr id="29" name="Freihandform 50">
            <a:extLst>
              <a:ext uri="{FF2B5EF4-FFF2-40B4-BE49-F238E27FC236}">
                <a16:creationId xmlns:a16="http://schemas.microsoft.com/office/drawing/2014/main" id="{8A5D5684-60C9-4DC8-B3CD-62B5B9CADD81}"/>
              </a:ext>
            </a:extLst>
          </p:cNvPr>
          <p:cNvSpPr>
            <a:spLocks noChangeAspect="1"/>
          </p:cNvSpPr>
          <p:nvPr/>
        </p:nvSpPr>
        <p:spPr bwMode="gray">
          <a:xfrm>
            <a:off x="4010023" y="2062800"/>
            <a:ext cx="810000" cy="446933"/>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9999A9"/>
            </a:solidFill>
            <a:prstDash val="solid"/>
            <a:round/>
            <a:headEnd type="oval" w="lg" len="lg"/>
            <a:tailEnd type="none" w="lg" len="lg"/>
          </a:ln>
          <a:effectLst/>
        </p:spPr>
        <p:txBody>
          <a:bodyPr rtlCol="0" anchor="ctr"/>
          <a:lstStyle/>
          <a:p>
            <a:pPr algn="ctr"/>
            <a:endParaRPr lang="en-US" sz="1799" dirty="0">
              <a:ea typeface="Arial Unicode MS"/>
            </a:endParaRPr>
          </a:p>
        </p:txBody>
      </p:sp>
      <p:sp>
        <p:nvSpPr>
          <p:cNvPr id="30" name="Freihandform 52">
            <a:extLst>
              <a:ext uri="{FF2B5EF4-FFF2-40B4-BE49-F238E27FC236}">
                <a16:creationId xmlns:a16="http://schemas.microsoft.com/office/drawing/2014/main" id="{313B7242-D538-46FF-86EA-D145A6BC854C}"/>
              </a:ext>
            </a:extLst>
          </p:cNvPr>
          <p:cNvSpPr>
            <a:spLocks noChangeAspect="1"/>
          </p:cNvSpPr>
          <p:nvPr/>
        </p:nvSpPr>
        <p:spPr bwMode="gray">
          <a:xfrm flipV="1">
            <a:off x="4010023" y="5091120"/>
            <a:ext cx="828000" cy="463680"/>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9999A9"/>
            </a:solidFill>
            <a:prstDash val="solid"/>
            <a:round/>
            <a:headEnd type="oval" w="lg" len="lg"/>
            <a:tailEnd type="none" w="lg" len="lg"/>
          </a:ln>
          <a:effectLst/>
        </p:spPr>
        <p:txBody>
          <a:bodyPr rtlCol="0" anchor="ctr"/>
          <a:lstStyle/>
          <a:p>
            <a:pPr algn="ctr"/>
            <a:endParaRPr lang="en-US" sz="1799" dirty="0">
              <a:ea typeface="Arial Unicode MS"/>
            </a:endParaRPr>
          </a:p>
        </p:txBody>
      </p:sp>
      <p:sp>
        <p:nvSpPr>
          <p:cNvPr id="31" name="Freihandform 53">
            <a:extLst>
              <a:ext uri="{FF2B5EF4-FFF2-40B4-BE49-F238E27FC236}">
                <a16:creationId xmlns:a16="http://schemas.microsoft.com/office/drawing/2014/main" id="{9F8AB574-466C-42C9-9F78-169E01040353}"/>
              </a:ext>
            </a:extLst>
          </p:cNvPr>
          <p:cNvSpPr>
            <a:spLocks noChangeAspect="1"/>
          </p:cNvSpPr>
          <p:nvPr/>
        </p:nvSpPr>
        <p:spPr bwMode="gray">
          <a:xfrm flipH="1">
            <a:off x="7371979" y="2062800"/>
            <a:ext cx="810000" cy="446886"/>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9999A9"/>
            </a:solidFill>
            <a:prstDash val="solid"/>
            <a:round/>
            <a:headEnd type="oval" w="lg" len="lg"/>
            <a:tailEnd type="none" w="lg" len="lg"/>
          </a:ln>
          <a:effectLst/>
        </p:spPr>
        <p:txBody>
          <a:bodyPr rtlCol="0" anchor="ctr"/>
          <a:lstStyle/>
          <a:p>
            <a:pPr algn="ctr"/>
            <a:endParaRPr lang="en-US" sz="1799" dirty="0">
              <a:ea typeface="Arial Unicode MS"/>
            </a:endParaRPr>
          </a:p>
        </p:txBody>
      </p:sp>
      <p:sp>
        <p:nvSpPr>
          <p:cNvPr id="32" name="Freihandform 54">
            <a:extLst>
              <a:ext uri="{FF2B5EF4-FFF2-40B4-BE49-F238E27FC236}">
                <a16:creationId xmlns:a16="http://schemas.microsoft.com/office/drawing/2014/main" id="{1BEA07E1-CFD6-4FD1-B38B-C44C5F39920E}"/>
              </a:ext>
            </a:extLst>
          </p:cNvPr>
          <p:cNvSpPr>
            <a:spLocks noChangeAspect="1"/>
          </p:cNvSpPr>
          <p:nvPr/>
        </p:nvSpPr>
        <p:spPr bwMode="gray">
          <a:xfrm flipH="1" flipV="1">
            <a:off x="7353979" y="5091120"/>
            <a:ext cx="828000" cy="463680"/>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9999A9"/>
            </a:solidFill>
            <a:prstDash val="solid"/>
            <a:round/>
            <a:headEnd type="oval" w="lg" len="lg"/>
            <a:tailEnd type="none" w="lg" len="lg"/>
          </a:ln>
          <a:effectLst/>
        </p:spPr>
        <p:txBody>
          <a:bodyPr rtlCol="0" anchor="ctr"/>
          <a:lstStyle/>
          <a:p>
            <a:pPr algn="ctr"/>
            <a:endParaRPr lang="en-US" sz="1799" dirty="0">
              <a:ea typeface="Arial Unicode MS"/>
            </a:endParaRPr>
          </a:p>
        </p:txBody>
      </p:sp>
      <p:cxnSp>
        <p:nvCxnSpPr>
          <p:cNvPr id="33" name="Gerade Verbindung 55">
            <a:extLst>
              <a:ext uri="{FF2B5EF4-FFF2-40B4-BE49-F238E27FC236}">
                <a16:creationId xmlns:a16="http://schemas.microsoft.com/office/drawing/2014/main" id="{1E56221A-C4B0-49C2-97F7-3B8AB2EE1558}"/>
              </a:ext>
            </a:extLst>
          </p:cNvPr>
          <p:cNvCxnSpPr>
            <a:cxnSpLocks/>
          </p:cNvCxnSpPr>
          <p:nvPr/>
        </p:nvCxnSpPr>
        <p:spPr bwMode="gray">
          <a:xfrm flipV="1">
            <a:off x="7898400" y="3731721"/>
            <a:ext cx="918000" cy="1"/>
          </a:xfrm>
          <a:prstGeom prst="line">
            <a:avLst/>
          </a:prstGeom>
          <a:noFill/>
          <a:ln w="12700" cap="flat" cmpd="sng" algn="ctr">
            <a:solidFill>
              <a:srgbClr val="9999A9"/>
            </a:solidFill>
            <a:prstDash val="solid"/>
            <a:round/>
            <a:headEnd type="oval" w="lg" len="lg"/>
            <a:tailEnd type="none" w="lg" len="lg"/>
          </a:ln>
          <a:effectLst/>
        </p:spPr>
      </p:cxnSp>
      <p:cxnSp>
        <p:nvCxnSpPr>
          <p:cNvPr id="36" name="Gerade Verbindung 56">
            <a:extLst>
              <a:ext uri="{FF2B5EF4-FFF2-40B4-BE49-F238E27FC236}">
                <a16:creationId xmlns:a16="http://schemas.microsoft.com/office/drawing/2014/main" id="{33AFD1B6-1CAA-4CD1-B70B-F2E3FB416D6C}"/>
              </a:ext>
            </a:extLst>
          </p:cNvPr>
          <p:cNvCxnSpPr>
            <a:cxnSpLocks/>
          </p:cNvCxnSpPr>
          <p:nvPr/>
        </p:nvCxnSpPr>
        <p:spPr bwMode="gray">
          <a:xfrm flipH="1">
            <a:off x="3382027" y="3731720"/>
            <a:ext cx="918000" cy="0"/>
          </a:xfrm>
          <a:prstGeom prst="line">
            <a:avLst/>
          </a:prstGeom>
          <a:noFill/>
          <a:ln w="12700" cap="flat" cmpd="sng" algn="ctr">
            <a:solidFill>
              <a:srgbClr val="9999A9"/>
            </a:solidFill>
            <a:prstDash val="solid"/>
            <a:round/>
            <a:headEnd type="oval" w="lg" len="lg"/>
            <a:tailEnd type="none" w="lg" len="lg"/>
          </a:ln>
          <a:effectLst/>
        </p:spPr>
      </p:cxnSp>
    </p:spTree>
    <p:extLst>
      <p:ext uri="{BB962C8B-B14F-4D97-AF65-F5344CB8AC3E}">
        <p14:creationId xmlns:p14="http://schemas.microsoft.com/office/powerpoint/2010/main" val="392547062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kt 27"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3" imgW="360" imgH="360" progId="">
                  <p:embed/>
                </p:oleObj>
              </mc:Choice>
              <mc:Fallback>
                <p:oleObj name="think-cell Folie" r:id="rId3" imgW="360" imgH="360" progId="">
                  <p:embed/>
                  <p:pic>
                    <p:nvPicPr>
                      <p:cNvPr id="28" name="Objekt 2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en-US" dirty="0"/>
              <a:t>Mindmap – linear</a:t>
            </a:r>
          </a:p>
        </p:txBody>
      </p:sp>
      <p:cxnSp>
        <p:nvCxnSpPr>
          <p:cNvPr id="50" name="Gerade Verbindung 49"/>
          <p:cNvCxnSpPr/>
          <p:nvPr/>
        </p:nvCxnSpPr>
        <p:spPr bwMode="gray">
          <a:xfrm>
            <a:off x="698400" y="1414798"/>
            <a:ext cx="0" cy="1836000"/>
          </a:xfrm>
          <a:prstGeom prst="line">
            <a:avLst/>
          </a:prstGeom>
          <a:solidFill>
            <a:schemeClr val="tx2"/>
          </a:solidFill>
          <a:ln w="12700" cap="flat" cmpd="sng" algn="ctr">
            <a:solidFill>
              <a:srgbClr val="66667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50"/>
          <p:cNvCxnSpPr/>
          <p:nvPr/>
        </p:nvCxnSpPr>
        <p:spPr bwMode="gray">
          <a:xfrm>
            <a:off x="3555100" y="1414798"/>
            <a:ext cx="0" cy="1836000"/>
          </a:xfrm>
          <a:prstGeom prst="line">
            <a:avLst/>
          </a:prstGeom>
          <a:solidFill>
            <a:schemeClr val="tx2"/>
          </a:solidFill>
          <a:ln w="12700" cap="flat" cmpd="sng" algn="ctr">
            <a:solidFill>
              <a:srgbClr val="66667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p:nvCxnSpPr>
        <p:spPr bwMode="gray">
          <a:xfrm>
            <a:off x="6411800" y="1414798"/>
            <a:ext cx="0" cy="1836000"/>
          </a:xfrm>
          <a:prstGeom prst="line">
            <a:avLst/>
          </a:prstGeom>
          <a:solidFill>
            <a:schemeClr val="tx2"/>
          </a:solidFill>
          <a:ln w="12700" cap="flat" cmpd="sng" algn="ctr">
            <a:solidFill>
              <a:srgbClr val="66667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p:nvCxnSpPr>
        <p:spPr bwMode="gray">
          <a:xfrm>
            <a:off x="698400" y="3971075"/>
            <a:ext cx="0" cy="1836000"/>
          </a:xfrm>
          <a:prstGeom prst="line">
            <a:avLst/>
          </a:prstGeom>
          <a:solidFill>
            <a:schemeClr val="tx2"/>
          </a:solidFill>
          <a:ln w="12700" cap="flat" cmpd="sng" algn="ctr">
            <a:solidFill>
              <a:srgbClr val="66667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p:nvCxnSpPr>
        <p:spPr bwMode="gray">
          <a:xfrm>
            <a:off x="3555100" y="3971075"/>
            <a:ext cx="0" cy="1836000"/>
          </a:xfrm>
          <a:prstGeom prst="line">
            <a:avLst/>
          </a:prstGeom>
          <a:solidFill>
            <a:schemeClr val="tx2"/>
          </a:solidFill>
          <a:ln w="12700" cap="flat" cmpd="sng" algn="ctr">
            <a:solidFill>
              <a:srgbClr val="66667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p:nvCxnSpPr>
        <p:spPr bwMode="gray">
          <a:xfrm>
            <a:off x="6411800" y="3971075"/>
            <a:ext cx="0" cy="1836000"/>
          </a:xfrm>
          <a:prstGeom prst="line">
            <a:avLst/>
          </a:prstGeom>
          <a:solidFill>
            <a:schemeClr val="tx2"/>
          </a:solidFill>
          <a:ln w="12700" cap="flat" cmpd="sng" algn="ctr">
            <a:solidFill>
              <a:srgbClr val="66667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p:nvCxnSpPr>
        <p:spPr bwMode="gray">
          <a:xfrm>
            <a:off x="9268499" y="3971075"/>
            <a:ext cx="0" cy="1836000"/>
          </a:xfrm>
          <a:prstGeom prst="line">
            <a:avLst/>
          </a:prstGeom>
          <a:solidFill>
            <a:schemeClr val="tx2"/>
          </a:solidFill>
          <a:ln w="12700" cap="flat" cmpd="sng" algn="ctr">
            <a:solidFill>
              <a:srgbClr val="66667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p:nvCxnSpPr>
        <p:spPr bwMode="gray">
          <a:xfrm>
            <a:off x="9268499" y="1414798"/>
            <a:ext cx="0" cy="1836000"/>
          </a:xfrm>
          <a:prstGeom prst="line">
            <a:avLst/>
          </a:prstGeom>
          <a:solidFill>
            <a:schemeClr val="tx2"/>
          </a:solidFill>
          <a:ln w="12700" cap="flat" cmpd="sng" algn="ctr">
            <a:solidFill>
              <a:srgbClr val="66667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58" name="Rechteck 57"/>
          <p:cNvSpPr/>
          <p:nvPr/>
        </p:nvSpPr>
        <p:spPr bwMode="gray">
          <a:xfrm>
            <a:off x="411162" y="3251125"/>
            <a:ext cx="11376025" cy="719625"/>
          </a:xfrm>
          <a:prstGeom prst="rect">
            <a:avLst/>
          </a:prstGeom>
          <a:solidFill>
            <a:schemeClr val="accent1"/>
          </a:solidFill>
          <a:ln w="38100">
            <a:solidFill>
              <a:schemeClr val="bg1"/>
            </a:solidFill>
            <a:miter lim="800000"/>
          </a:ln>
          <a:effectLst/>
        </p:spPr>
        <p:txBody>
          <a:bodyPr wrap="square" lIns="71963" tIns="71963" rIns="71963" bIns="71963" numCol="1" spcCol="72000" rtlCol="0" anchor="ctr" anchorCtr="0">
            <a:noAutofit/>
          </a:bodyPr>
          <a:lstStyle/>
          <a:p>
            <a:pPr algn="ctr"/>
            <a:r>
              <a:rPr lang="en-US" sz="1999" b="1" dirty="0">
                <a:solidFill>
                  <a:schemeClr val="bg1"/>
                </a:solidFill>
                <a:ea typeface="Arial Unicode MS"/>
                <a:sym typeface="Arial"/>
              </a:rPr>
              <a:t>At vero eos et accusam</a:t>
            </a:r>
            <a:endParaRPr lang="en-US" sz="1999" b="1" dirty="0">
              <a:solidFill>
                <a:schemeClr val="bg1"/>
              </a:solidFill>
              <a:ea typeface="Arial Unicode MS"/>
            </a:endParaRPr>
          </a:p>
        </p:txBody>
      </p:sp>
      <p:sp>
        <p:nvSpPr>
          <p:cNvPr id="22" name="Rechteck 28">
            <a:extLst>
              <a:ext uri="{FF2B5EF4-FFF2-40B4-BE49-F238E27FC236}">
                <a16:creationId xmlns:a16="http://schemas.microsoft.com/office/drawing/2014/main" id="{0E012AD0-54ED-3644-BA4F-2087FBE4C42F}"/>
              </a:ext>
            </a:extLst>
          </p:cNvPr>
          <p:cNvSpPr/>
          <p:nvPr/>
        </p:nvSpPr>
        <p:spPr bwMode="gray">
          <a:xfrm>
            <a:off x="698400" y="1414799"/>
            <a:ext cx="2518688" cy="1302381"/>
          </a:xfrm>
          <a:prstGeom prst="rect">
            <a:avLst/>
          </a:prstGeom>
          <a:noFill/>
          <a:ln w="19050">
            <a:noFill/>
            <a:miter lim="800000"/>
          </a:ln>
          <a:effectLst/>
        </p:spPr>
        <p:txBody>
          <a:bodyPr wrap="square" lIns="143925" tIns="108000" rIns="0" bIns="108000" numCol="1" spcCol="72000" rtlCol="0" anchor="t" anchorCtr="0">
            <a:spAutoFit/>
          </a:bodyPr>
          <a:lstStyle/>
          <a:p>
            <a:pPr>
              <a:tabLst>
                <a:tab pos="1255085" algn="r"/>
              </a:tabLst>
              <a:defRPr/>
            </a:pPr>
            <a:r>
              <a:rPr lang="en-US" altLang="de-DE" sz="1599" b="1" dirty="0">
                <a:solidFill>
                  <a:schemeClr val="accent1"/>
                </a:solidFill>
                <a:ea typeface="Arial Unicode MS"/>
              </a:rPr>
              <a:t>Duis arcu tortor, suscipit eget</a:t>
            </a:r>
          </a:p>
          <a:p>
            <a:pPr marL="0" lvl="1">
              <a:spcBef>
                <a:spcPts val="300"/>
              </a:spcBef>
              <a:buClr>
                <a:srgbClr val="3C464B"/>
              </a:buClr>
              <a:tabLst>
                <a:tab pos="1255085" algn="r"/>
              </a:tabLst>
              <a:defRPr/>
            </a:pPr>
            <a:r>
              <a:rPr lang="en-US" altLang="de-DE" sz="1199" dirty="0">
                <a:solidFill>
                  <a:srgbClr val="66667E"/>
                </a:solidFill>
                <a:ea typeface="Arial Unicode MS"/>
                <a:cs typeface="Arial" pitchFamily="34" charset="0"/>
              </a:rPr>
              <a:t>Stet clita kasd gubergren, </a:t>
            </a:r>
            <a:br>
              <a:rPr lang="en-US" altLang="de-DE" sz="1199" dirty="0">
                <a:solidFill>
                  <a:srgbClr val="66667E"/>
                </a:solidFill>
                <a:ea typeface="Arial Unicode MS"/>
                <a:cs typeface="Arial" pitchFamily="34" charset="0"/>
              </a:rPr>
            </a:br>
            <a:r>
              <a:rPr lang="en-US" altLang="de-DE" sz="1199" dirty="0">
                <a:solidFill>
                  <a:srgbClr val="66667E"/>
                </a:solidFill>
                <a:ea typeface="Arial Unicode MS"/>
                <a:cs typeface="Arial" pitchFamily="34" charset="0"/>
              </a:rPr>
              <a:t>no sea takimata sanctus est dolor sit amet</a:t>
            </a:r>
          </a:p>
        </p:txBody>
      </p:sp>
      <p:sp>
        <p:nvSpPr>
          <p:cNvPr id="23" name="Rechteck 28">
            <a:extLst>
              <a:ext uri="{FF2B5EF4-FFF2-40B4-BE49-F238E27FC236}">
                <a16:creationId xmlns:a16="http://schemas.microsoft.com/office/drawing/2014/main" id="{A39439DF-C4C8-434E-99EC-EF795253159F}"/>
              </a:ext>
            </a:extLst>
          </p:cNvPr>
          <p:cNvSpPr/>
          <p:nvPr/>
        </p:nvSpPr>
        <p:spPr bwMode="gray">
          <a:xfrm>
            <a:off x="3555100" y="1414799"/>
            <a:ext cx="2518688" cy="871750"/>
          </a:xfrm>
          <a:prstGeom prst="rect">
            <a:avLst/>
          </a:prstGeom>
          <a:noFill/>
          <a:ln w="19050">
            <a:noFill/>
            <a:miter lim="800000"/>
          </a:ln>
          <a:effectLst/>
        </p:spPr>
        <p:txBody>
          <a:bodyPr wrap="square" lIns="143925" tIns="108000" rIns="0" bIns="108000" numCol="1" spcCol="72000" rtlCol="0" anchor="t" anchorCtr="0">
            <a:spAutoFit/>
          </a:bodyPr>
          <a:lstStyle/>
          <a:p>
            <a:pPr>
              <a:defRPr/>
            </a:pPr>
            <a:r>
              <a:rPr lang="en-US" altLang="de-DE" sz="1599" b="1" dirty="0">
                <a:solidFill>
                  <a:schemeClr val="accent1"/>
                </a:solidFill>
                <a:ea typeface="Arial Unicode MS"/>
              </a:rPr>
              <a:t>Phasellus nec sem</a:t>
            </a:r>
          </a:p>
          <a:p>
            <a:pPr marL="0" lvl="1">
              <a:spcBef>
                <a:spcPts val="300"/>
              </a:spcBef>
              <a:buClr>
                <a:srgbClr val="3C464B"/>
              </a:buClr>
              <a:defRPr/>
            </a:pPr>
            <a:r>
              <a:rPr lang="en-US" altLang="de-DE" sz="1199" dirty="0">
                <a:solidFill>
                  <a:srgbClr val="66667E"/>
                </a:solidFill>
                <a:ea typeface="Arial Unicode MS"/>
                <a:cs typeface="Arial" pitchFamily="34" charset="0"/>
              </a:rPr>
              <a:t>At vero eos et accusam</a:t>
            </a:r>
            <a:br>
              <a:rPr lang="en-US" altLang="de-DE" sz="1199" dirty="0">
                <a:solidFill>
                  <a:srgbClr val="66667E"/>
                </a:solidFill>
                <a:ea typeface="Arial Unicode MS"/>
                <a:cs typeface="Arial" pitchFamily="34" charset="0"/>
              </a:rPr>
            </a:br>
            <a:r>
              <a:rPr lang="en-US" altLang="de-DE" sz="1199" dirty="0">
                <a:solidFill>
                  <a:srgbClr val="66667E"/>
                </a:solidFill>
                <a:ea typeface="Arial Unicode MS"/>
                <a:cs typeface="Arial" pitchFamily="34" charset="0"/>
              </a:rPr>
              <a:t>Cras ultricies mi eu</a:t>
            </a:r>
          </a:p>
        </p:txBody>
      </p:sp>
      <p:sp>
        <p:nvSpPr>
          <p:cNvPr id="24" name="Rechteck 28">
            <a:extLst>
              <a:ext uri="{FF2B5EF4-FFF2-40B4-BE49-F238E27FC236}">
                <a16:creationId xmlns:a16="http://schemas.microsoft.com/office/drawing/2014/main" id="{825DEA4D-FC38-4A46-BEFC-56A4EA3C97DF}"/>
              </a:ext>
            </a:extLst>
          </p:cNvPr>
          <p:cNvSpPr/>
          <p:nvPr/>
        </p:nvSpPr>
        <p:spPr bwMode="gray">
          <a:xfrm>
            <a:off x="6411800" y="1414799"/>
            <a:ext cx="2518688" cy="1056288"/>
          </a:xfrm>
          <a:prstGeom prst="rect">
            <a:avLst/>
          </a:prstGeom>
          <a:noFill/>
          <a:ln w="19050">
            <a:noFill/>
            <a:miter lim="800000"/>
          </a:ln>
          <a:effectLst/>
        </p:spPr>
        <p:txBody>
          <a:bodyPr wrap="square" lIns="143925" tIns="108000" rIns="0" bIns="108000" numCol="1" spcCol="72000" rtlCol="0" anchor="t" anchorCtr="0">
            <a:spAutoFit/>
          </a:bodyPr>
          <a:lstStyle/>
          <a:p>
            <a:pPr>
              <a:defRPr/>
            </a:pPr>
            <a:r>
              <a:rPr lang="en-US" altLang="de-DE" sz="1599" b="1" dirty="0">
                <a:solidFill>
                  <a:schemeClr val="accent1"/>
                </a:solidFill>
                <a:ea typeface="Arial Unicode MS"/>
              </a:rPr>
              <a:t>Cras ultricies mi eu</a:t>
            </a:r>
          </a:p>
          <a:p>
            <a:pPr marL="0" lvl="1">
              <a:spcBef>
                <a:spcPts val="300"/>
              </a:spcBef>
              <a:buClr>
                <a:srgbClr val="3C464B"/>
              </a:buClr>
              <a:defRPr/>
            </a:pPr>
            <a:r>
              <a:rPr lang="en-US" altLang="de-DE" sz="1199" dirty="0">
                <a:solidFill>
                  <a:srgbClr val="66667E"/>
                </a:solidFill>
                <a:ea typeface="Arial Unicode MS"/>
                <a:cs typeface="Arial" pitchFamily="34" charset="0"/>
              </a:rPr>
              <a:t>Duis arcu tortor, suscipit eget, imperdiet nec, imperdiet iaculis, ipsum</a:t>
            </a:r>
          </a:p>
        </p:txBody>
      </p:sp>
      <p:sp>
        <p:nvSpPr>
          <p:cNvPr id="25" name="Rechteck 28">
            <a:extLst>
              <a:ext uri="{FF2B5EF4-FFF2-40B4-BE49-F238E27FC236}">
                <a16:creationId xmlns:a16="http://schemas.microsoft.com/office/drawing/2014/main" id="{F24E291D-BFED-3542-B3B2-DAAAAED74006}"/>
              </a:ext>
            </a:extLst>
          </p:cNvPr>
          <p:cNvSpPr/>
          <p:nvPr/>
        </p:nvSpPr>
        <p:spPr bwMode="gray">
          <a:xfrm>
            <a:off x="9268499" y="1414799"/>
            <a:ext cx="2518688" cy="1056288"/>
          </a:xfrm>
          <a:prstGeom prst="rect">
            <a:avLst/>
          </a:prstGeom>
          <a:noFill/>
          <a:ln w="19050">
            <a:noFill/>
            <a:miter lim="800000"/>
          </a:ln>
          <a:effectLst/>
        </p:spPr>
        <p:txBody>
          <a:bodyPr wrap="square" lIns="143925" tIns="108000" rIns="0" bIns="108000" numCol="1" spcCol="72000" rtlCol="0" anchor="t" anchorCtr="0">
            <a:spAutoFit/>
          </a:bodyPr>
          <a:lstStyle/>
          <a:p>
            <a:pPr>
              <a:defRPr/>
            </a:pPr>
            <a:r>
              <a:rPr lang="en-US" altLang="de-DE" sz="1599" b="1" dirty="0">
                <a:solidFill>
                  <a:schemeClr val="accent1"/>
                </a:solidFill>
                <a:ea typeface="Arial Unicode MS"/>
              </a:rPr>
              <a:t>Phasellus nec sem</a:t>
            </a:r>
          </a:p>
          <a:p>
            <a:pPr marL="0" lvl="1">
              <a:spcBef>
                <a:spcPts val="300"/>
              </a:spcBef>
              <a:buClr>
                <a:srgbClr val="3C464B"/>
              </a:buClr>
              <a:defRPr/>
            </a:pPr>
            <a:r>
              <a:rPr lang="en-US" altLang="de-DE" sz="1199" dirty="0">
                <a:solidFill>
                  <a:srgbClr val="66667E"/>
                </a:solidFill>
                <a:ea typeface="Arial Unicode MS"/>
                <a:cs typeface="Arial" pitchFamily="34" charset="0"/>
              </a:rPr>
              <a:t>Cras ultricies mi eu</a:t>
            </a:r>
            <a:br>
              <a:rPr lang="en-US" altLang="de-DE" sz="1199" dirty="0">
                <a:solidFill>
                  <a:srgbClr val="66667E"/>
                </a:solidFill>
                <a:ea typeface="Arial Unicode MS"/>
                <a:cs typeface="Arial" pitchFamily="34" charset="0"/>
              </a:rPr>
            </a:br>
            <a:r>
              <a:rPr lang="en-US" altLang="de-DE" sz="1199" dirty="0">
                <a:solidFill>
                  <a:srgbClr val="66667E"/>
                </a:solidFill>
                <a:ea typeface="Arial Unicode MS"/>
                <a:cs typeface="Arial" pitchFamily="34" charset="0"/>
              </a:rPr>
              <a:t>Phasellus nec sem</a:t>
            </a:r>
            <a:br>
              <a:rPr lang="en-US" altLang="de-DE" sz="1199" dirty="0">
                <a:solidFill>
                  <a:srgbClr val="66667E"/>
                </a:solidFill>
                <a:ea typeface="Arial Unicode MS"/>
                <a:cs typeface="Arial" pitchFamily="34" charset="0"/>
              </a:rPr>
            </a:br>
            <a:r>
              <a:rPr lang="en-US" altLang="de-DE" sz="1199" dirty="0">
                <a:solidFill>
                  <a:srgbClr val="66667E"/>
                </a:solidFill>
                <a:ea typeface="Arial Unicode MS"/>
                <a:cs typeface="Arial" pitchFamily="34" charset="0"/>
              </a:rPr>
              <a:t>At vero eos et accusam</a:t>
            </a:r>
          </a:p>
        </p:txBody>
      </p:sp>
      <p:sp>
        <p:nvSpPr>
          <p:cNvPr id="31" name="Rechteck 28">
            <a:extLst>
              <a:ext uri="{FF2B5EF4-FFF2-40B4-BE49-F238E27FC236}">
                <a16:creationId xmlns:a16="http://schemas.microsoft.com/office/drawing/2014/main" id="{16A38D4E-F992-A840-994A-C60CF07E3F7B}"/>
              </a:ext>
            </a:extLst>
          </p:cNvPr>
          <p:cNvSpPr/>
          <p:nvPr/>
        </p:nvSpPr>
        <p:spPr bwMode="gray">
          <a:xfrm>
            <a:off x="698400" y="4186800"/>
            <a:ext cx="2518688" cy="1056288"/>
          </a:xfrm>
          <a:prstGeom prst="rect">
            <a:avLst/>
          </a:prstGeom>
          <a:noFill/>
          <a:ln w="19050">
            <a:noFill/>
            <a:miter lim="800000"/>
          </a:ln>
          <a:effectLst/>
        </p:spPr>
        <p:txBody>
          <a:bodyPr wrap="square" lIns="143925" tIns="108000" rIns="0" bIns="108000" numCol="1" spcCol="72000" rtlCol="0" anchor="t" anchorCtr="0">
            <a:spAutoFit/>
          </a:bodyPr>
          <a:lstStyle/>
          <a:p>
            <a:pPr>
              <a:defRPr/>
            </a:pPr>
            <a:r>
              <a:rPr lang="en-US" altLang="de-DE" sz="1599" b="1" dirty="0">
                <a:solidFill>
                  <a:schemeClr val="accent1"/>
                </a:solidFill>
                <a:ea typeface="Arial Unicode MS"/>
              </a:rPr>
              <a:t>At vero eos et accusam</a:t>
            </a:r>
          </a:p>
          <a:p>
            <a:pPr marL="0" lvl="1">
              <a:spcBef>
                <a:spcPts val="300"/>
              </a:spcBef>
              <a:buClr>
                <a:srgbClr val="3C464B"/>
              </a:buClr>
              <a:defRPr/>
            </a:pPr>
            <a:r>
              <a:rPr lang="en-US" altLang="de-DE" sz="1199" dirty="0">
                <a:solidFill>
                  <a:srgbClr val="66667E"/>
                </a:solidFill>
                <a:ea typeface="Arial Unicode MS"/>
                <a:cs typeface="Arial" pitchFamily="34" charset="0"/>
              </a:rPr>
              <a:t>Cras ultricies mi eu</a:t>
            </a:r>
            <a:br>
              <a:rPr lang="en-US" altLang="de-DE" sz="1199" dirty="0">
                <a:solidFill>
                  <a:srgbClr val="66667E"/>
                </a:solidFill>
                <a:ea typeface="Arial Unicode MS"/>
                <a:cs typeface="Arial" pitchFamily="34" charset="0"/>
              </a:rPr>
            </a:br>
            <a:r>
              <a:rPr lang="en-US" altLang="de-DE" sz="1199" dirty="0">
                <a:solidFill>
                  <a:srgbClr val="66667E"/>
                </a:solidFill>
                <a:ea typeface="Arial Unicode MS"/>
                <a:cs typeface="Arial" pitchFamily="34" charset="0"/>
              </a:rPr>
              <a:t>Duis arcu tortor, suscipit eget, imperdiet nec</a:t>
            </a:r>
          </a:p>
        </p:txBody>
      </p:sp>
      <p:sp>
        <p:nvSpPr>
          <p:cNvPr id="32" name="Rechteck 28">
            <a:extLst>
              <a:ext uri="{FF2B5EF4-FFF2-40B4-BE49-F238E27FC236}">
                <a16:creationId xmlns:a16="http://schemas.microsoft.com/office/drawing/2014/main" id="{73A34AE9-25EE-B743-8315-6A7B06CFD22E}"/>
              </a:ext>
            </a:extLst>
          </p:cNvPr>
          <p:cNvSpPr/>
          <p:nvPr/>
        </p:nvSpPr>
        <p:spPr bwMode="gray">
          <a:xfrm>
            <a:off x="3555100" y="4186800"/>
            <a:ext cx="2518688" cy="1056288"/>
          </a:xfrm>
          <a:prstGeom prst="rect">
            <a:avLst/>
          </a:prstGeom>
          <a:noFill/>
          <a:ln w="19050">
            <a:noFill/>
            <a:miter lim="800000"/>
          </a:ln>
          <a:effectLst/>
        </p:spPr>
        <p:txBody>
          <a:bodyPr wrap="square" lIns="143925" tIns="108000" rIns="0" bIns="108000" numCol="1" spcCol="72000" rtlCol="0" anchor="t" anchorCtr="0">
            <a:spAutoFit/>
          </a:bodyPr>
          <a:lstStyle/>
          <a:p>
            <a:pPr>
              <a:defRPr/>
            </a:pPr>
            <a:r>
              <a:rPr lang="en-US" altLang="de-DE" sz="1599" b="1" dirty="0">
                <a:solidFill>
                  <a:schemeClr val="accent1"/>
                </a:solidFill>
                <a:ea typeface="Arial Unicode MS"/>
              </a:rPr>
              <a:t>Cras ultricies mi eu</a:t>
            </a:r>
          </a:p>
          <a:p>
            <a:pPr marL="0" lvl="1">
              <a:spcBef>
                <a:spcPts val="300"/>
              </a:spcBef>
              <a:buClr>
                <a:srgbClr val="3C464B"/>
              </a:buClr>
              <a:defRPr/>
            </a:pPr>
            <a:r>
              <a:rPr lang="en-US" altLang="de-DE" sz="1199" dirty="0">
                <a:solidFill>
                  <a:srgbClr val="66667E"/>
                </a:solidFill>
                <a:ea typeface="Arial Unicode MS"/>
                <a:cs typeface="Arial" pitchFamily="34" charset="0"/>
              </a:rPr>
              <a:t>Duis arcu tortor, suscipit eget, imperdiet nec, imperdiet iaculis, ipsum</a:t>
            </a:r>
          </a:p>
        </p:txBody>
      </p:sp>
      <p:sp>
        <p:nvSpPr>
          <p:cNvPr id="33" name="Rechteck 32">
            <a:extLst>
              <a:ext uri="{FF2B5EF4-FFF2-40B4-BE49-F238E27FC236}">
                <a16:creationId xmlns:a16="http://schemas.microsoft.com/office/drawing/2014/main" id="{0B6C6C0B-AA3B-2841-8C2B-0BB90AADBC0E}"/>
              </a:ext>
            </a:extLst>
          </p:cNvPr>
          <p:cNvSpPr/>
          <p:nvPr/>
        </p:nvSpPr>
        <p:spPr bwMode="gray">
          <a:xfrm>
            <a:off x="6411800" y="4186800"/>
            <a:ext cx="2518688" cy="1056288"/>
          </a:xfrm>
          <a:prstGeom prst="rect">
            <a:avLst/>
          </a:prstGeom>
          <a:noFill/>
          <a:ln w="19050">
            <a:noFill/>
            <a:miter lim="800000"/>
          </a:ln>
          <a:effectLst/>
        </p:spPr>
        <p:txBody>
          <a:bodyPr wrap="square" lIns="143925" tIns="108000" rIns="0" bIns="108000" numCol="1" spcCol="72000" rtlCol="0" anchor="t" anchorCtr="0">
            <a:spAutoFit/>
          </a:bodyPr>
          <a:lstStyle/>
          <a:p>
            <a:pPr>
              <a:defRPr/>
            </a:pPr>
            <a:r>
              <a:rPr lang="en-US" altLang="de-DE" sz="1599" b="1" dirty="0">
                <a:solidFill>
                  <a:schemeClr val="accent1"/>
                </a:solidFill>
                <a:ea typeface="Arial Unicode MS"/>
              </a:rPr>
              <a:t>Phasellus nec sem</a:t>
            </a:r>
          </a:p>
          <a:p>
            <a:pPr marL="0" lvl="1">
              <a:spcBef>
                <a:spcPts val="300"/>
              </a:spcBef>
              <a:buClr>
                <a:srgbClr val="3C464B"/>
              </a:buClr>
              <a:defRPr/>
            </a:pPr>
            <a:r>
              <a:rPr lang="en-US" altLang="de-DE" sz="1199" dirty="0">
                <a:solidFill>
                  <a:srgbClr val="66667E"/>
                </a:solidFill>
                <a:ea typeface="Arial Unicode MS"/>
                <a:cs typeface="Arial" pitchFamily="34" charset="0"/>
              </a:rPr>
              <a:t>Stet clita kasd gubergren, no sea takimata sanctus est lorem ipsum dolor sit amet</a:t>
            </a:r>
          </a:p>
        </p:txBody>
      </p:sp>
      <p:sp>
        <p:nvSpPr>
          <p:cNvPr id="34" name="Rechteck 28">
            <a:extLst>
              <a:ext uri="{FF2B5EF4-FFF2-40B4-BE49-F238E27FC236}">
                <a16:creationId xmlns:a16="http://schemas.microsoft.com/office/drawing/2014/main" id="{8BF0F56F-A40C-0B4C-9583-BE1736081938}"/>
              </a:ext>
            </a:extLst>
          </p:cNvPr>
          <p:cNvSpPr/>
          <p:nvPr/>
        </p:nvSpPr>
        <p:spPr bwMode="gray">
          <a:xfrm>
            <a:off x="9268499" y="4186800"/>
            <a:ext cx="2518688" cy="1056288"/>
          </a:xfrm>
          <a:prstGeom prst="rect">
            <a:avLst/>
          </a:prstGeom>
          <a:noFill/>
          <a:ln w="19050">
            <a:noFill/>
            <a:miter lim="800000"/>
          </a:ln>
          <a:effectLst/>
        </p:spPr>
        <p:txBody>
          <a:bodyPr wrap="square" lIns="143925" tIns="108000" rIns="0" bIns="108000" numCol="1" spcCol="72000" rtlCol="0" anchor="t" anchorCtr="0">
            <a:spAutoFit/>
          </a:bodyPr>
          <a:lstStyle/>
          <a:p>
            <a:pPr>
              <a:defRPr/>
            </a:pPr>
            <a:r>
              <a:rPr lang="en-US" altLang="de-DE" sz="1599" b="1" dirty="0">
                <a:solidFill>
                  <a:schemeClr val="accent1"/>
                </a:solidFill>
                <a:ea typeface="Arial Unicode MS"/>
              </a:rPr>
              <a:t>Phasellus sem</a:t>
            </a:r>
          </a:p>
          <a:p>
            <a:pPr marL="0" lvl="1">
              <a:spcBef>
                <a:spcPts val="300"/>
              </a:spcBef>
              <a:buClr>
                <a:srgbClr val="3C464B"/>
              </a:buClr>
              <a:defRPr/>
            </a:pPr>
            <a:r>
              <a:rPr lang="en-US" altLang="de-DE" sz="1199" dirty="0">
                <a:solidFill>
                  <a:srgbClr val="66667E"/>
                </a:solidFill>
                <a:ea typeface="Arial Unicode MS"/>
                <a:cs typeface="Arial" pitchFamily="34" charset="0"/>
              </a:rPr>
              <a:t>At vero eos et accusam</a:t>
            </a:r>
            <a:br>
              <a:rPr lang="en-US" altLang="de-DE" sz="1199" dirty="0">
                <a:solidFill>
                  <a:srgbClr val="66667E"/>
                </a:solidFill>
                <a:ea typeface="Arial Unicode MS"/>
                <a:cs typeface="Arial" pitchFamily="34" charset="0"/>
              </a:rPr>
            </a:br>
            <a:r>
              <a:rPr lang="en-US" altLang="de-DE" sz="1199" dirty="0">
                <a:solidFill>
                  <a:srgbClr val="66667E"/>
                </a:solidFill>
                <a:ea typeface="Arial Unicode MS"/>
                <a:cs typeface="Arial" pitchFamily="34" charset="0"/>
              </a:rPr>
              <a:t>Duis arcu tortor, suscipit eget, imperdiet nec</a:t>
            </a:r>
          </a:p>
        </p:txBody>
      </p:sp>
      <p:sp>
        <p:nvSpPr>
          <p:cNvPr id="3" name="Footer Placeholder 2">
            <a:extLst>
              <a:ext uri="{FF2B5EF4-FFF2-40B4-BE49-F238E27FC236}">
                <a16:creationId xmlns:a16="http://schemas.microsoft.com/office/drawing/2014/main" id="{91BFFB06-CEBB-40E9-85BE-86B6905F885C}"/>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C7809C16-63B0-41DA-9F8F-B3C50ADC0029}"/>
              </a:ext>
            </a:extLst>
          </p:cNvPr>
          <p:cNvSpPr>
            <a:spLocks noGrp="1"/>
          </p:cNvSpPr>
          <p:nvPr>
            <p:ph type="sldNum" sz="quarter" idx="11"/>
          </p:nvPr>
        </p:nvSpPr>
        <p:spPr/>
        <p:txBody>
          <a:bodyPr/>
          <a:lstStyle/>
          <a:p>
            <a:r>
              <a:rPr lang="en-US" dirty="0"/>
              <a:t>Page </a:t>
            </a:r>
            <a:fld id="{15EBE321-CBB1-4E91-BD14-37C8D44326FB}" type="slidenum">
              <a:rPr lang="en-US" smtClean="0"/>
              <a:pPr/>
              <a:t>38</a:t>
            </a:fld>
            <a:endParaRPr lang="en-US" dirty="0"/>
          </a:p>
        </p:txBody>
      </p:sp>
    </p:spTree>
    <p:extLst>
      <p:ext uri="{BB962C8B-B14F-4D97-AF65-F5344CB8AC3E}">
        <p14:creationId xmlns:p14="http://schemas.microsoft.com/office/powerpoint/2010/main" val="229857747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kt 27"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3" imgW="360" imgH="360" progId="">
                  <p:embed/>
                </p:oleObj>
              </mc:Choice>
              <mc:Fallback>
                <p:oleObj name="think-cell Folie" r:id="rId3" imgW="360" imgH="360" progId="">
                  <p:embed/>
                  <p:pic>
                    <p:nvPicPr>
                      <p:cNvPr id="28" name="Objekt 2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en-US" dirty="0"/>
              <a:t>Mindmap – linear</a:t>
            </a:r>
          </a:p>
        </p:txBody>
      </p:sp>
      <p:sp>
        <p:nvSpPr>
          <p:cNvPr id="3" name="Footer Placeholder 2">
            <a:extLst>
              <a:ext uri="{FF2B5EF4-FFF2-40B4-BE49-F238E27FC236}">
                <a16:creationId xmlns:a16="http://schemas.microsoft.com/office/drawing/2014/main" id="{91BFFB06-CEBB-40E9-85BE-86B6905F885C}"/>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C7809C16-63B0-41DA-9F8F-B3C50ADC0029}"/>
              </a:ext>
            </a:extLst>
          </p:cNvPr>
          <p:cNvSpPr>
            <a:spLocks noGrp="1"/>
          </p:cNvSpPr>
          <p:nvPr>
            <p:ph type="sldNum" sz="quarter" idx="11"/>
          </p:nvPr>
        </p:nvSpPr>
        <p:spPr/>
        <p:txBody>
          <a:bodyPr/>
          <a:lstStyle/>
          <a:p>
            <a:r>
              <a:rPr lang="en-US" dirty="0"/>
              <a:t>Page </a:t>
            </a:r>
            <a:fld id="{15EBE321-CBB1-4E91-BD14-37C8D44326FB}" type="slidenum">
              <a:rPr lang="en-US" smtClean="0"/>
              <a:pPr/>
              <a:t>39</a:t>
            </a:fld>
            <a:endParaRPr lang="en-US" dirty="0"/>
          </a:p>
        </p:txBody>
      </p:sp>
      <p:cxnSp>
        <p:nvCxnSpPr>
          <p:cNvPr id="50" name="Gerade Verbindung 49"/>
          <p:cNvCxnSpPr/>
          <p:nvPr/>
        </p:nvCxnSpPr>
        <p:spPr bwMode="gray">
          <a:xfrm>
            <a:off x="698400" y="1414798"/>
            <a:ext cx="0" cy="1836000"/>
          </a:xfrm>
          <a:prstGeom prst="line">
            <a:avLst/>
          </a:prstGeom>
          <a:solidFill>
            <a:schemeClr val="tx2"/>
          </a:solidFill>
          <a:ln w="12700" cap="flat" cmpd="sng" algn="ctr">
            <a:solidFill>
              <a:srgbClr val="9999A9"/>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50"/>
          <p:cNvCxnSpPr/>
          <p:nvPr/>
        </p:nvCxnSpPr>
        <p:spPr bwMode="gray">
          <a:xfrm>
            <a:off x="3555100" y="1414798"/>
            <a:ext cx="0" cy="1836000"/>
          </a:xfrm>
          <a:prstGeom prst="line">
            <a:avLst/>
          </a:prstGeom>
          <a:solidFill>
            <a:schemeClr val="tx2"/>
          </a:solidFill>
          <a:ln w="12700" cap="flat" cmpd="sng" algn="ctr">
            <a:solidFill>
              <a:srgbClr val="9999A9"/>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p:nvCxnSpPr>
        <p:spPr bwMode="gray">
          <a:xfrm>
            <a:off x="6411800" y="1414798"/>
            <a:ext cx="0" cy="1836000"/>
          </a:xfrm>
          <a:prstGeom prst="line">
            <a:avLst/>
          </a:prstGeom>
          <a:solidFill>
            <a:schemeClr val="tx2"/>
          </a:solidFill>
          <a:ln w="12700" cap="flat" cmpd="sng" algn="ctr">
            <a:solidFill>
              <a:srgbClr val="9999A9"/>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p:nvCxnSpPr>
        <p:spPr bwMode="gray">
          <a:xfrm>
            <a:off x="698400" y="3971075"/>
            <a:ext cx="0" cy="1836000"/>
          </a:xfrm>
          <a:prstGeom prst="line">
            <a:avLst/>
          </a:prstGeom>
          <a:solidFill>
            <a:schemeClr val="tx2"/>
          </a:solidFill>
          <a:ln w="12700" cap="flat" cmpd="sng" algn="ctr">
            <a:solidFill>
              <a:srgbClr val="9999A9"/>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p:nvCxnSpPr>
        <p:spPr bwMode="gray">
          <a:xfrm>
            <a:off x="3555100" y="3971075"/>
            <a:ext cx="0" cy="1836000"/>
          </a:xfrm>
          <a:prstGeom prst="line">
            <a:avLst/>
          </a:prstGeom>
          <a:solidFill>
            <a:schemeClr val="tx2"/>
          </a:solidFill>
          <a:ln w="12700" cap="flat" cmpd="sng" algn="ctr">
            <a:solidFill>
              <a:srgbClr val="9999A9"/>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p:nvCxnSpPr>
        <p:spPr bwMode="gray">
          <a:xfrm>
            <a:off x="6411800" y="3971075"/>
            <a:ext cx="0" cy="1836000"/>
          </a:xfrm>
          <a:prstGeom prst="line">
            <a:avLst/>
          </a:prstGeom>
          <a:solidFill>
            <a:schemeClr val="tx2"/>
          </a:solidFill>
          <a:ln w="12700" cap="flat" cmpd="sng" algn="ctr">
            <a:solidFill>
              <a:srgbClr val="9999A9"/>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p:nvCxnSpPr>
        <p:spPr bwMode="gray">
          <a:xfrm>
            <a:off x="9268499" y="3971075"/>
            <a:ext cx="0" cy="1836000"/>
          </a:xfrm>
          <a:prstGeom prst="line">
            <a:avLst/>
          </a:prstGeom>
          <a:solidFill>
            <a:schemeClr val="tx2"/>
          </a:solidFill>
          <a:ln w="12700" cap="flat" cmpd="sng" algn="ctr">
            <a:solidFill>
              <a:srgbClr val="9999A9"/>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p:nvCxnSpPr>
        <p:spPr bwMode="gray">
          <a:xfrm>
            <a:off x="9268499" y="1414798"/>
            <a:ext cx="0" cy="1836000"/>
          </a:xfrm>
          <a:prstGeom prst="line">
            <a:avLst/>
          </a:prstGeom>
          <a:solidFill>
            <a:schemeClr val="tx2"/>
          </a:solidFill>
          <a:ln w="12700" cap="flat" cmpd="sng" algn="ctr">
            <a:solidFill>
              <a:srgbClr val="9999A9"/>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58" name="Rechteck 57"/>
          <p:cNvSpPr/>
          <p:nvPr/>
        </p:nvSpPr>
        <p:spPr bwMode="gray">
          <a:xfrm>
            <a:off x="411162" y="3251125"/>
            <a:ext cx="11376025" cy="719625"/>
          </a:xfrm>
          <a:prstGeom prst="rect">
            <a:avLst/>
          </a:prstGeom>
          <a:solidFill>
            <a:srgbClr val="00646E"/>
          </a:solidFill>
          <a:ln w="38100">
            <a:solidFill>
              <a:schemeClr val="bg2"/>
            </a:solidFill>
            <a:miter lim="800000"/>
          </a:ln>
          <a:effectLst/>
        </p:spPr>
        <p:txBody>
          <a:bodyPr wrap="square" lIns="71963" tIns="71963" rIns="71963" bIns="71963" numCol="1" spcCol="72000" rtlCol="0" anchor="ctr" anchorCtr="0">
            <a:noAutofit/>
          </a:bodyPr>
          <a:lstStyle/>
          <a:p>
            <a:pPr algn="ctr"/>
            <a:r>
              <a:rPr lang="en-US" sz="1999" b="1" dirty="0">
                <a:solidFill>
                  <a:schemeClr val="tx2"/>
                </a:solidFill>
                <a:ea typeface="Arial Unicode MS"/>
                <a:sym typeface="Arial"/>
              </a:rPr>
              <a:t>At vero eos et accusam</a:t>
            </a:r>
            <a:endParaRPr lang="en-US" sz="1999" b="1" dirty="0">
              <a:solidFill>
                <a:schemeClr val="tx2"/>
              </a:solidFill>
              <a:ea typeface="Arial Unicode MS"/>
            </a:endParaRPr>
          </a:p>
        </p:txBody>
      </p:sp>
      <p:sp>
        <p:nvSpPr>
          <p:cNvPr id="22" name="Rechteck 28">
            <a:extLst>
              <a:ext uri="{FF2B5EF4-FFF2-40B4-BE49-F238E27FC236}">
                <a16:creationId xmlns:a16="http://schemas.microsoft.com/office/drawing/2014/main" id="{0E012AD0-54ED-3644-BA4F-2087FBE4C42F}"/>
              </a:ext>
            </a:extLst>
          </p:cNvPr>
          <p:cNvSpPr/>
          <p:nvPr/>
        </p:nvSpPr>
        <p:spPr bwMode="gray">
          <a:xfrm>
            <a:off x="698400" y="1414799"/>
            <a:ext cx="2518688" cy="1302381"/>
          </a:xfrm>
          <a:prstGeom prst="rect">
            <a:avLst/>
          </a:prstGeom>
          <a:noFill/>
          <a:ln w="19050">
            <a:noFill/>
            <a:miter lim="800000"/>
          </a:ln>
          <a:effectLst/>
        </p:spPr>
        <p:txBody>
          <a:bodyPr wrap="square" lIns="143925" tIns="108000" rIns="0" bIns="108000" numCol="1" spcCol="72000" rtlCol="0" anchor="t" anchorCtr="0">
            <a:spAutoFit/>
          </a:bodyPr>
          <a:lstStyle/>
          <a:p>
            <a:pPr>
              <a:tabLst>
                <a:tab pos="1255085" algn="r"/>
              </a:tabLst>
              <a:defRPr/>
            </a:pPr>
            <a:r>
              <a:rPr lang="en-US" altLang="de-DE" sz="1599" b="1" dirty="0">
                <a:solidFill>
                  <a:srgbClr val="00FFB9"/>
                </a:solidFill>
                <a:ea typeface="Arial Unicode MS"/>
              </a:rPr>
              <a:t>Duis arcu tortor, suscipit eget</a:t>
            </a:r>
          </a:p>
          <a:p>
            <a:pPr marL="0" lvl="1">
              <a:spcBef>
                <a:spcPts val="300"/>
              </a:spcBef>
              <a:buClr>
                <a:srgbClr val="3C464B"/>
              </a:buClr>
              <a:tabLst>
                <a:tab pos="1255085" algn="r"/>
              </a:tabLst>
              <a:defRPr/>
            </a:pPr>
            <a:r>
              <a:rPr lang="en-US" altLang="de-DE" sz="1199" dirty="0">
                <a:solidFill>
                  <a:srgbClr val="9999A9"/>
                </a:solidFill>
                <a:ea typeface="Arial Unicode MS"/>
                <a:cs typeface="Arial" pitchFamily="34" charset="0"/>
              </a:rPr>
              <a:t>Stet clita kasd gubergren, </a:t>
            </a:r>
            <a:br>
              <a:rPr lang="en-US" altLang="de-DE" sz="1199" dirty="0">
                <a:solidFill>
                  <a:srgbClr val="9999A9"/>
                </a:solidFill>
                <a:ea typeface="Arial Unicode MS"/>
                <a:cs typeface="Arial" pitchFamily="34" charset="0"/>
              </a:rPr>
            </a:br>
            <a:r>
              <a:rPr lang="en-US" altLang="de-DE" sz="1199" dirty="0">
                <a:solidFill>
                  <a:srgbClr val="9999A9"/>
                </a:solidFill>
                <a:ea typeface="Arial Unicode MS"/>
                <a:cs typeface="Arial" pitchFamily="34" charset="0"/>
              </a:rPr>
              <a:t>no sea takimata sanctus est dolor sit amet</a:t>
            </a:r>
          </a:p>
        </p:txBody>
      </p:sp>
      <p:sp>
        <p:nvSpPr>
          <p:cNvPr id="23" name="Rechteck 28">
            <a:extLst>
              <a:ext uri="{FF2B5EF4-FFF2-40B4-BE49-F238E27FC236}">
                <a16:creationId xmlns:a16="http://schemas.microsoft.com/office/drawing/2014/main" id="{A39439DF-C4C8-434E-99EC-EF795253159F}"/>
              </a:ext>
            </a:extLst>
          </p:cNvPr>
          <p:cNvSpPr/>
          <p:nvPr/>
        </p:nvSpPr>
        <p:spPr bwMode="gray">
          <a:xfrm>
            <a:off x="3555100" y="1414799"/>
            <a:ext cx="2518688" cy="871750"/>
          </a:xfrm>
          <a:prstGeom prst="rect">
            <a:avLst/>
          </a:prstGeom>
          <a:noFill/>
          <a:ln w="19050">
            <a:noFill/>
            <a:miter lim="800000"/>
          </a:ln>
          <a:effectLst/>
        </p:spPr>
        <p:txBody>
          <a:bodyPr wrap="square" lIns="143925" tIns="108000" rIns="0" bIns="108000" numCol="1" spcCol="72000" rtlCol="0" anchor="t" anchorCtr="0">
            <a:spAutoFit/>
          </a:bodyPr>
          <a:lstStyle/>
          <a:p>
            <a:pPr>
              <a:defRPr/>
            </a:pPr>
            <a:r>
              <a:rPr lang="en-US" altLang="de-DE" sz="1599" b="1" dirty="0">
                <a:solidFill>
                  <a:srgbClr val="00FFB9"/>
                </a:solidFill>
                <a:ea typeface="Arial Unicode MS"/>
              </a:rPr>
              <a:t>Phasellus nec sem</a:t>
            </a:r>
          </a:p>
          <a:p>
            <a:pPr marL="0" lvl="1">
              <a:spcBef>
                <a:spcPts val="300"/>
              </a:spcBef>
              <a:buClr>
                <a:srgbClr val="3C464B"/>
              </a:buClr>
              <a:defRPr/>
            </a:pPr>
            <a:r>
              <a:rPr lang="en-US" altLang="de-DE" sz="1199" dirty="0">
                <a:solidFill>
                  <a:srgbClr val="9999A9"/>
                </a:solidFill>
                <a:ea typeface="Arial Unicode MS"/>
                <a:cs typeface="Arial" pitchFamily="34" charset="0"/>
              </a:rPr>
              <a:t>At vero eos et accusam</a:t>
            </a:r>
            <a:br>
              <a:rPr lang="en-US" altLang="de-DE" sz="1199" dirty="0">
                <a:solidFill>
                  <a:srgbClr val="9999A9"/>
                </a:solidFill>
                <a:ea typeface="Arial Unicode MS"/>
                <a:cs typeface="Arial" pitchFamily="34" charset="0"/>
              </a:rPr>
            </a:br>
            <a:r>
              <a:rPr lang="en-US" altLang="de-DE" sz="1199" dirty="0">
                <a:solidFill>
                  <a:srgbClr val="9999A9"/>
                </a:solidFill>
                <a:ea typeface="Arial Unicode MS"/>
                <a:cs typeface="Arial" pitchFamily="34" charset="0"/>
              </a:rPr>
              <a:t>Cras ultricies mi eu</a:t>
            </a:r>
          </a:p>
        </p:txBody>
      </p:sp>
      <p:sp>
        <p:nvSpPr>
          <p:cNvPr id="24" name="Rechteck 28">
            <a:extLst>
              <a:ext uri="{FF2B5EF4-FFF2-40B4-BE49-F238E27FC236}">
                <a16:creationId xmlns:a16="http://schemas.microsoft.com/office/drawing/2014/main" id="{825DEA4D-FC38-4A46-BEFC-56A4EA3C97DF}"/>
              </a:ext>
            </a:extLst>
          </p:cNvPr>
          <p:cNvSpPr/>
          <p:nvPr/>
        </p:nvSpPr>
        <p:spPr bwMode="gray">
          <a:xfrm>
            <a:off x="6411800" y="1414799"/>
            <a:ext cx="2518688" cy="1056288"/>
          </a:xfrm>
          <a:prstGeom prst="rect">
            <a:avLst/>
          </a:prstGeom>
          <a:noFill/>
          <a:ln w="19050">
            <a:noFill/>
            <a:miter lim="800000"/>
          </a:ln>
          <a:effectLst/>
        </p:spPr>
        <p:txBody>
          <a:bodyPr wrap="square" lIns="143925" tIns="108000" rIns="0" bIns="108000" numCol="1" spcCol="72000" rtlCol="0" anchor="t" anchorCtr="0">
            <a:spAutoFit/>
          </a:bodyPr>
          <a:lstStyle/>
          <a:p>
            <a:pPr>
              <a:defRPr/>
            </a:pPr>
            <a:r>
              <a:rPr lang="en-US" altLang="de-DE" sz="1599" b="1" dirty="0">
                <a:solidFill>
                  <a:srgbClr val="00FFB9"/>
                </a:solidFill>
                <a:ea typeface="Arial Unicode MS"/>
              </a:rPr>
              <a:t>Cras ultricies mi eu</a:t>
            </a:r>
          </a:p>
          <a:p>
            <a:pPr marL="0" lvl="1">
              <a:spcBef>
                <a:spcPts val="300"/>
              </a:spcBef>
              <a:buClr>
                <a:srgbClr val="3C464B"/>
              </a:buClr>
              <a:defRPr/>
            </a:pPr>
            <a:r>
              <a:rPr lang="en-US" altLang="de-DE" sz="1199" dirty="0">
                <a:solidFill>
                  <a:srgbClr val="9999A9"/>
                </a:solidFill>
                <a:ea typeface="Arial Unicode MS"/>
                <a:cs typeface="Arial" pitchFamily="34" charset="0"/>
              </a:rPr>
              <a:t>Duis arcu tortor, suscipit eget, imperdiet nec, imperdiet iaculis, ipsum</a:t>
            </a:r>
          </a:p>
        </p:txBody>
      </p:sp>
      <p:sp>
        <p:nvSpPr>
          <p:cNvPr id="25" name="Rechteck 28">
            <a:extLst>
              <a:ext uri="{FF2B5EF4-FFF2-40B4-BE49-F238E27FC236}">
                <a16:creationId xmlns:a16="http://schemas.microsoft.com/office/drawing/2014/main" id="{F24E291D-BFED-3542-B3B2-DAAAAED74006}"/>
              </a:ext>
            </a:extLst>
          </p:cNvPr>
          <p:cNvSpPr/>
          <p:nvPr/>
        </p:nvSpPr>
        <p:spPr bwMode="gray">
          <a:xfrm>
            <a:off x="9268499" y="1414799"/>
            <a:ext cx="2518688" cy="1056288"/>
          </a:xfrm>
          <a:prstGeom prst="rect">
            <a:avLst/>
          </a:prstGeom>
          <a:noFill/>
          <a:ln w="19050">
            <a:noFill/>
            <a:miter lim="800000"/>
          </a:ln>
          <a:effectLst/>
        </p:spPr>
        <p:txBody>
          <a:bodyPr wrap="square" lIns="143925" tIns="108000" rIns="0" bIns="108000" numCol="1" spcCol="72000" rtlCol="0" anchor="t" anchorCtr="0">
            <a:spAutoFit/>
          </a:bodyPr>
          <a:lstStyle/>
          <a:p>
            <a:pPr>
              <a:defRPr/>
            </a:pPr>
            <a:r>
              <a:rPr lang="en-US" altLang="de-DE" sz="1599" b="1" dirty="0">
                <a:solidFill>
                  <a:srgbClr val="00FFB9"/>
                </a:solidFill>
                <a:ea typeface="Arial Unicode MS"/>
              </a:rPr>
              <a:t>Phasellus nec sem</a:t>
            </a:r>
          </a:p>
          <a:p>
            <a:pPr marL="0" lvl="1">
              <a:spcBef>
                <a:spcPts val="300"/>
              </a:spcBef>
              <a:buClr>
                <a:srgbClr val="3C464B"/>
              </a:buClr>
              <a:defRPr/>
            </a:pPr>
            <a:r>
              <a:rPr lang="en-US" altLang="de-DE" sz="1199" dirty="0">
                <a:solidFill>
                  <a:srgbClr val="9999A9"/>
                </a:solidFill>
                <a:ea typeface="Arial Unicode MS"/>
                <a:cs typeface="Arial" pitchFamily="34" charset="0"/>
              </a:rPr>
              <a:t>Cras ultricies mi eu</a:t>
            </a:r>
            <a:br>
              <a:rPr lang="en-US" altLang="de-DE" sz="1199" dirty="0">
                <a:solidFill>
                  <a:srgbClr val="9999A9"/>
                </a:solidFill>
                <a:ea typeface="Arial Unicode MS"/>
                <a:cs typeface="Arial" pitchFamily="34" charset="0"/>
              </a:rPr>
            </a:br>
            <a:r>
              <a:rPr lang="en-US" altLang="de-DE" sz="1199" dirty="0">
                <a:solidFill>
                  <a:srgbClr val="9999A9"/>
                </a:solidFill>
                <a:ea typeface="Arial Unicode MS"/>
                <a:cs typeface="Arial" pitchFamily="34" charset="0"/>
              </a:rPr>
              <a:t>Phasellus nec sem</a:t>
            </a:r>
            <a:br>
              <a:rPr lang="en-US" altLang="de-DE" sz="1199" dirty="0">
                <a:solidFill>
                  <a:srgbClr val="9999A9"/>
                </a:solidFill>
                <a:ea typeface="Arial Unicode MS"/>
                <a:cs typeface="Arial" pitchFamily="34" charset="0"/>
              </a:rPr>
            </a:br>
            <a:r>
              <a:rPr lang="en-US" altLang="de-DE" sz="1199" dirty="0">
                <a:solidFill>
                  <a:srgbClr val="9999A9"/>
                </a:solidFill>
                <a:ea typeface="Arial Unicode MS"/>
                <a:cs typeface="Arial" pitchFamily="34" charset="0"/>
              </a:rPr>
              <a:t>At vero eos et accusam</a:t>
            </a:r>
          </a:p>
        </p:txBody>
      </p:sp>
      <p:sp>
        <p:nvSpPr>
          <p:cNvPr id="31" name="Rechteck 28">
            <a:extLst>
              <a:ext uri="{FF2B5EF4-FFF2-40B4-BE49-F238E27FC236}">
                <a16:creationId xmlns:a16="http://schemas.microsoft.com/office/drawing/2014/main" id="{16A38D4E-F992-A840-994A-C60CF07E3F7B}"/>
              </a:ext>
            </a:extLst>
          </p:cNvPr>
          <p:cNvSpPr/>
          <p:nvPr/>
        </p:nvSpPr>
        <p:spPr bwMode="gray">
          <a:xfrm>
            <a:off x="698400" y="4186800"/>
            <a:ext cx="2518688" cy="1056288"/>
          </a:xfrm>
          <a:prstGeom prst="rect">
            <a:avLst/>
          </a:prstGeom>
          <a:noFill/>
          <a:ln w="19050">
            <a:noFill/>
            <a:miter lim="800000"/>
          </a:ln>
          <a:effectLst/>
        </p:spPr>
        <p:txBody>
          <a:bodyPr wrap="square" lIns="143925" tIns="108000" rIns="0" bIns="108000" numCol="1" spcCol="72000" rtlCol="0" anchor="t" anchorCtr="0">
            <a:spAutoFit/>
          </a:bodyPr>
          <a:lstStyle/>
          <a:p>
            <a:pPr>
              <a:defRPr/>
            </a:pPr>
            <a:r>
              <a:rPr lang="en-US" altLang="de-DE" sz="1599" b="1" dirty="0">
                <a:solidFill>
                  <a:srgbClr val="00FFB9"/>
                </a:solidFill>
                <a:ea typeface="Arial Unicode MS"/>
              </a:rPr>
              <a:t>At vero eos et accusam</a:t>
            </a:r>
          </a:p>
          <a:p>
            <a:pPr marL="0" lvl="1">
              <a:spcBef>
                <a:spcPts val="300"/>
              </a:spcBef>
              <a:buClr>
                <a:srgbClr val="3C464B"/>
              </a:buClr>
              <a:defRPr/>
            </a:pPr>
            <a:r>
              <a:rPr lang="en-US" altLang="de-DE" sz="1199" dirty="0">
                <a:solidFill>
                  <a:srgbClr val="9999A9"/>
                </a:solidFill>
                <a:ea typeface="Arial Unicode MS"/>
                <a:cs typeface="Arial" pitchFamily="34" charset="0"/>
              </a:rPr>
              <a:t>Cras ultricies mi eu</a:t>
            </a:r>
            <a:br>
              <a:rPr lang="en-US" altLang="de-DE" sz="1199" dirty="0">
                <a:solidFill>
                  <a:srgbClr val="9999A9"/>
                </a:solidFill>
                <a:ea typeface="Arial Unicode MS"/>
                <a:cs typeface="Arial" pitchFamily="34" charset="0"/>
              </a:rPr>
            </a:br>
            <a:r>
              <a:rPr lang="en-US" altLang="de-DE" sz="1199" dirty="0">
                <a:solidFill>
                  <a:srgbClr val="9999A9"/>
                </a:solidFill>
                <a:ea typeface="Arial Unicode MS"/>
                <a:cs typeface="Arial" pitchFamily="34" charset="0"/>
              </a:rPr>
              <a:t>Duis arcu tortor, suscipit eget, imperdiet nec</a:t>
            </a:r>
          </a:p>
        </p:txBody>
      </p:sp>
      <p:sp>
        <p:nvSpPr>
          <p:cNvPr id="32" name="Rechteck 28">
            <a:extLst>
              <a:ext uri="{FF2B5EF4-FFF2-40B4-BE49-F238E27FC236}">
                <a16:creationId xmlns:a16="http://schemas.microsoft.com/office/drawing/2014/main" id="{73A34AE9-25EE-B743-8315-6A7B06CFD22E}"/>
              </a:ext>
            </a:extLst>
          </p:cNvPr>
          <p:cNvSpPr/>
          <p:nvPr/>
        </p:nvSpPr>
        <p:spPr bwMode="gray">
          <a:xfrm>
            <a:off x="3555100" y="4186800"/>
            <a:ext cx="2518688" cy="1056288"/>
          </a:xfrm>
          <a:prstGeom prst="rect">
            <a:avLst/>
          </a:prstGeom>
          <a:noFill/>
          <a:ln w="19050">
            <a:noFill/>
            <a:miter lim="800000"/>
          </a:ln>
          <a:effectLst/>
        </p:spPr>
        <p:txBody>
          <a:bodyPr wrap="square" lIns="143925" tIns="108000" rIns="0" bIns="108000" numCol="1" spcCol="72000" rtlCol="0" anchor="t" anchorCtr="0">
            <a:spAutoFit/>
          </a:bodyPr>
          <a:lstStyle/>
          <a:p>
            <a:pPr>
              <a:defRPr/>
            </a:pPr>
            <a:r>
              <a:rPr lang="en-US" altLang="de-DE" sz="1599" b="1" dirty="0">
                <a:solidFill>
                  <a:srgbClr val="00FFB9"/>
                </a:solidFill>
                <a:ea typeface="Arial Unicode MS"/>
              </a:rPr>
              <a:t>Cras ultricies mi eu</a:t>
            </a:r>
          </a:p>
          <a:p>
            <a:pPr marL="0" lvl="1">
              <a:spcBef>
                <a:spcPts val="300"/>
              </a:spcBef>
              <a:buClr>
                <a:srgbClr val="3C464B"/>
              </a:buClr>
              <a:defRPr/>
            </a:pPr>
            <a:r>
              <a:rPr lang="en-US" altLang="de-DE" sz="1199" dirty="0">
                <a:solidFill>
                  <a:srgbClr val="9999A9"/>
                </a:solidFill>
                <a:ea typeface="Arial Unicode MS"/>
                <a:cs typeface="Arial" pitchFamily="34" charset="0"/>
              </a:rPr>
              <a:t>Duis arcu tortor, suscipit eget, imperdiet nec, imperdiet iaculis, ipsum</a:t>
            </a:r>
          </a:p>
        </p:txBody>
      </p:sp>
      <p:sp>
        <p:nvSpPr>
          <p:cNvPr id="33" name="Rechteck 32">
            <a:extLst>
              <a:ext uri="{FF2B5EF4-FFF2-40B4-BE49-F238E27FC236}">
                <a16:creationId xmlns:a16="http://schemas.microsoft.com/office/drawing/2014/main" id="{0B6C6C0B-AA3B-2841-8C2B-0BB90AADBC0E}"/>
              </a:ext>
            </a:extLst>
          </p:cNvPr>
          <p:cNvSpPr/>
          <p:nvPr/>
        </p:nvSpPr>
        <p:spPr bwMode="gray">
          <a:xfrm>
            <a:off x="6411800" y="4186800"/>
            <a:ext cx="2518688" cy="1056288"/>
          </a:xfrm>
          <a:prstGeom prst="rect">
            <a:avLst/>
          </a:prstGeom>
          <a:noFill/>
          <a:ln w="19050">
            <a:noFill/>
            <a:miter lim="800000"/>
          </a:ln>
          <a:effectLst/>
        </p:spPr>
        <p:txBody>
          <a:bodyPr wrap="square" lIns="143925" tIns="108000" rIns="0" bIns="108000" numCol="1" spcCol="72000" rtlCol="0" anchor="t" anchorCtr="0">
            <a:spAutoFit/>
          </a:bodyPr>
          <a:lstStyle/>
          <a:p>
            <a:pPr>
              <a:defRPr/>
            </a:pPr>
            <a:r>
              <a:rPr lang="en-US" altLang="de-DE" sz="1599" b="1" dirty="0">
                <a:solidFill>
                  <a:srgbClr val="00FFB9"/>
                </a:solidFill>
                <a:ea typeface="Arial Unicode MS"/>
              </a:rPr>
              <a:t>Phasellus nec sem</a:t>
            </a:r>
          </a:p>
          <a:p>
            <a:pPr marL="0" lvl="1">
              <a:spcBef>
                <a:spcPts val="300"/>
              </a:spcBef>
              <a:buClr>
                <a:srgbClr val="3C464B"/>
              </a:buClr>
              <a:defRPr/>
            </a:pPr>
            <a:r>
              <a:rPr lang="en-US" altLang="de-DE" sz="1199" dirty="0">
                <a:solidFill>
                  <a:srgbClr val="9999A9"/>
                </a:solidFill>
                <a:ea typeface="Arial Unicode MS"/>
                <a:cs typeface="Arial" pitchFamily="34" charset="0"/>
              </a:rPr>
              <a:t>Stet clita kasd gubergren, no sea takimata sanctus est lorem ipsum dolor sit amet</a:t>
            </a:r>
          </a:p>
        </p:txBody>
      </p:sp>
      <p:sp>
        <p:nvSpPr>
          <p:cNvPr id="34" name="Rechteck 28">
            <a:extLst>
              <a:ext uri="{FF2B5EF4-FFF2-40B4-BE49-F238E27FC236}">
                <a16:creationId xmlns:a16="http://schemas.microsoft.com/office/drawing/2014/main" id="{8BF0F56F-A40C-0B4C-9583-BE1736081938}"/>
              </a:ext>
            </a:extLst>
          </p:cNvPr>
          <p:cNvSpPr/>
          <p:nvPr/>
        </p:nvSpPr>
        <p:spPr bwMode="gray">
          <a:xfrm>
            <a:off x="9268499" y="4186800"/>
            <a:ext cx="2518688" cy="1056288"/>
          </a:xfrm>
          <a:prstGeom prst="rect">
            <a:avLst/>
          </a:prstGeom>
          <a:noFill/>
          <a:ln w="19050">
            <a:noFill/>
            <a:miter lim="800000"/>
          </a:ln>
          <a:effectLst/>
        </p:spPr>
        <p:txBody>
          <a:bodyPr wrap="square" lIns="143925" tIns="108000" rIns="0" bIns="108000" numCol="1" spcCol="72000" rtlCol="0" anchor="t" anchorCtr="0">
            <a:spAutoFit/>
          </a:bodyPr>
          <a:lstStyle/>
          <a:p>
            <a:pPr>
              <a:defRPr/>
            </a:pPr>
            <a:r>
              <a:rPr lang="en-US" altLang="de-DE" sz="1599" b="1" dirty="0">
                <a:solidFill>
                  <a:srgbClr val="00FFB9"/>
                </a:solidFill>
                <a:ea typeface="Arial Unicode MS"/>
              </a:rPr>
              <a:t>Phasellus sem</a:t>
            </a:r>
          </a:p>
          <a:p>
            <a:pPr marL="0" lvl="1">
              <a:spcBef>
                <a:spcPts val="300"/>
              </a:spcBef>
              <a:buClr>
                <a:srgbClr val="3C464B"/>
              </a:buClr>
              <a:defRPr/>
            </a:pPr>
            <a:r>
              <a:rPr lang="en-US" altLang="de-DE" sz="1199" dirty="0">
                <a:solidFill>
                  <a:srgbClr val="9999A9"/>
                </a:solidFill>
                <a:ea typeface="Arial Unicode MS"/>
                <a:cs typeface="Arial" pitchFamily="34" charset="0"/>
              </a:rPr>
              <a:t>At vero eos et accusam</a:t>
            </a:r>
            <a:br>
              <a:rPr lang="en-US" altLang="de-DE" sz="1199" dirty="0">
                <a:solidFill>
                  <a:srgbClr val="9999A9"/>
                </a:solidFill>
                <a:ea typeface="Arial Unicode MS"/>
                <a:cs typeface="Arial" pitchFamily="34" charset="0"/>
              </a:rPr>
            </a:br>
            <a:r>
              <a:rPr lang="en-US" altLang="de-DE" sz="1199" dirty="0">
                <a:solidFill>
                  <a:srgbClr val="9999A9"/>
                </a:solidFill>
                <a:ea typeface="Arial Unicode MS"/>
                <a:cs typeface="Arial" pitchFamily="34" charset="0"/>
              </a:rPr>
              <a:t>Duis arcu tortor, suscipit eget, imperdiet nec</a:t>
            </a:r>
          </a:p>
        </p:txBody>
      </p:sp>
    </p:spTree>
    <p:extLst>
      <p:ext uri="{BB962C8B-B14F-4D97-AF65-F5344CB8AC3E}">
        <p14:creationId xmlns:p14="http://schemas.microsoft.com/office/powerpoint/2010/main" val="42183615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511193-1AC1-42AF-BA5F-B5DACE38C9FF}"/>
              </a:ext>
            </a:extLst>
          </p:cNvPr>
          <p:cNvSpPr>
            <a:spLocks noGrp="1"/>
          </p:cNvSpPr>
          <p:nvPr>
            <p:ph type="title"/>
          </p:nvPr>
        </p:nvSpPr>
        <p:spPr/>
        <p:txBody>
          <a:bodyPr/>
          <a:lstStyle/>
          <a:p>
            <a:r>
              <a:rPr lang="en-US" dirty="0"/>
              <a:t>Colors in diagrams</a:t>
            </a:r>
          </a:p>
        </p:txBody>
      </p:sp>
      <p:sp>
        <p:nvSpPr>
          <p:cNvPr id="9" name="Content Placeholder 8">
            <a:extLst>
              <a:ext uri="{FF2B5EF4-FFF2-40B4-BE49-F238E27FC236}">
                <a16:creationId xmlns:a16="http://schemas.microsoft.com/office/drawing/2014/main" id="{09F9D7FA-0448-4354-84E1-DBEB510B8780}"/>
              </a:ext>
            </a:extLst>
          </p:cNvPr>
          <p:cNvSpPr>
            <a:spLocks noGrp="1"/>
          </p:cNvSpPr>
          <p:nvPr>
            <p:ph idx="1"/>
          </p:nvPr>
        </p:nvSpPr>
        <p:spPr/>
        <p:txBody>
          <a:bodyPr/>
          <a:lstStyle/>
          <a:p>
            <a:r>
              <a:rPr lang="en-US" dirty="0"/>
              <a:t>The following pages show multiple combinations of secondary colors that can be used within diagrams depending on their complexity:</a:t>
            </a:r>
          </a:p>
          <a:p>
            <a:endParaRPr lang="en-US" dirty="0"/>
          </a:p>
          <a:p>
            <a:pPr marL="360000" indent="-360000">
              <a:buFont typeface="+mj-lt"/>
              <a:buAutoNum type="arabicPeriod"/>
            </a:pPr>
            <a:r>
              <a:rPr lang="en-US" sz="1600" dirty="0"/>
              <a:t>Simple three-color combinations within one tonal range (e.g. blue-ish)</a:t>
            </a:r>
            <a:br>
              <a:rPr lang="en-US" sz="1600" dirty="0"/>
            </a:br>
            <a:br>
              <a:rPr lang="en-US" sz="1600" dirty="0"/>
            </a:br>
            <a:endParaRPr lang="en-US" sz="1600" dirty="0"/>
          </a:p>
          <a:p>
            <a:pPr marL="360000" indent="-360000">
              <a:buFont typeface="+mj-lt"/>
              <a:buAutoNum type="arabicPeriod"/>
            </a:pPr>
            <a:r>
              <a:rPr lang="en-US" sz="1600" dirty="0"/>
              <a:t>Combinations extended with grey tones</a:t>
            </a:r>
            <a:br>
              <a:rPr lang="en-US" sz="1600" dirty="0"/>
            </a:br>
            <a:br>
              <a:rPr lang="en-US" sz="1600" dirty="0"/>
            </a:br>
            <a:endParaRPr lang="en-US" sz="1600" dirty="0"/>
          </a:p>
          <a:p>
            <a:pPr marL="360000" indent="-360000">
              <a:buFont typeface="+mj-lt"/>
              <a:buAutoNum type="arabicPeriod"/>
            </a:pPr>
            <a:r>
              <a:rPr lang="en-US" sz="1600" dirty="0"/>
              <a:t>Combinations of two tonal ranges (e.g. blue to green tones)</a:t>
            </a:r>
            <a:br>
              <a:rPr lang="en-US" sz="1600" dirty="0"/>
            </a:br>
            <a:br>
              <a:rPr lang="en-US" sz="1600" dirty="0"/>
            </a:br>
            <a:endParaRPr lang="en-US" sz="1600" dirty="0"/>
          </a:p>
          <a:p>
            <a:pPr marL="360000" indent="-360000">
              <a:buFont typeface="+mj-lt"/>
              <a:buAutoNum type="arabicPeriod"/>
            </a:pPr>
            <a:r>
              <a:rPr lang="en-US" sz="1600" dirty="0"/>
              <a:t>A full spectrum of secondary colors for highly complex diagrams</a:t>
            </a:r>
          </a:p>
          <a:p>
            <a:pPr marL="360000" indent="-360000">
              <a:buFont typeface="+mj-lt"/>
              <a:buAutoNum type="arabicPeriod"/>
            </a:pPr>
            <a:endParaRPr lang="en-US" dirty="0"/>
          </a:p>
        </p:txBody>
      </p:sp>
      <p:sp>
        <p:nvSpPr>
          <p:cNvPr id="4" name="Footer Placeholder 3">
            <a:extLst>
              <a:ext uri="{FF2B5EF4-FFF2-40B4-BE49-F238E27FC236}">
                <a16:creationId xmlns:a16="http://schemas.microsoft.com/office/drawing/2014/main" id="{020C1837-B0AA-4670-92AE-DCE0F5D3A3B0}"/>
              </a:ext>
            </a:extLst>
          </p:cNvPr>
          <p:cNvSpPr>
            <a:spLocks noGrp="1"/>
          </p:cNvSpPr>
          <p:nvPr>
            <p:ph type="ftr" sz="quarter" idx="10"/>
          </p:nvPr>
        </p:nvSpPr>
        <p:spPr/>
        <p:txBody>
          <a:bodyPr/>
          <a:lstStyle/>
          <a:p>
            <a:r>
              <a:rPr lang="en-US" dirty="0"/>
              <a:t>Restricted | © Siemens 20XX | Author | Department | YYYY-MM-DD</a:t>
            </a:r>
          </a:p>
        </p:txBody>
      </p:sp>
      <p:sp>
        <p:nvSpPr>
          <p:cNvPr id="5" name="Slide Number Placeholder 4">
            <a:extLst>
              <a:ext uri="{FF2B5EF4-FFF2-40B4-BE49-F238E27FC236}">
                <a16:creationId xmlns:a16="http://schemas.microsoft.com/office/drawing/2014/main" id="{15F72959-8B01-4E94-B2AC-114785B15618}"/>
              </a:ext>
            </a:extLst>
          </p:cNvPr>
          <p:cNvSpPr>
            <a:spLocks noGrp="1"/>
          </p:cNvSpPr>
          <p:nvPr>
            <p:ph type="sldNum" sz="quarter" idx="11"/>
          </p:nvPr>
        </p:nvSpPr>
        <p:spPr/>
        <p:txBody>
          <a:bodyPr/>
          <a:lstStyle/>
          <a:p>
            <a:r>
              <a:rPr lang="en-US" dirty="0"/>
              <a:t>Page </a:t>
            </a:r>
            <a:fld id="{15EBE321-CBB1-4E91-BD14-37C8D44326FB}" type="slidenum">
              <a:rPr lang="en-US" smtClean="0"/>
              <a:pPr/>
              <a:t>4</a:t>
            </a:fld>
            <a:endParaRPr lang="en-US" dirty="0"/>
          </a:p>
        </p:txBody>
      </p:sp>
      <p:grpSp>
        <p:nvGrpSpPr>
          <p:cNvPr id="7" name="Gruppieren 16">
            <a:extLst>
              <a:ext uri="{FF2B5EF4-FFF2-40B4-BE49-F238E27FC236}">
                <a16:creationId xmlns:a16="http://schemas.microsoft.com/office/drawing/2014/main" id="{185E8F42-975A-41B8-9DAA-228F6FD7DB27}"/>
              </a:ext>
            </a:extLst>
          </p:cNvPr>
          <p:cNvGrpSpPr/>
          <p:nvPr/>
        </p:nvGrpSpPr>
        <p:grpSpPr>
          <a:xfrm>
            <a:off x="770400" y="2710800"/>
            <a:ext cx="6264000" cy="288000"/>
            <a:chOff x="-10399320" y="5752932"/>
            <a:chExt cx="13977897" cy="2122873"/>
          </a:xfrm>
        </p:grpSpPr>
        <p:sp>
          <p:nvSpPr>
            <p:cNvPr id="35" name="Rechteck 19">
              <a:extLst>
                <a:ext uri="{FF2B5EF4-FFF2-40B4-BE49-F238E27FC236}">
                  <a16:creationId xmlns:a16="http://schemas.microsoft.com/office/drawing/2014/main" id="{6BCCF12E-A7A6-4D67-B651-3D75770C3947}"/>
                </a:ext>
              </a:extLst>
            </p:cNvPr>
            <p:cNvSpPr/>
            <p:nvPr/>
          </p:nvSpPr>
          <p:spPr>
            <a:xfrm>
              <a:off x="-1080722" y="5752932"/>
              <a:ext cx="4659299" cy="2122873"/>
            </a:xfrm>
            <a:prstGeom prst="rect">
              <a:avLst/>
            </a:prstGeom>
            <a:solidFill>
              <a:srgbClr val="00BEDC"/>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36" name="Rechteck 20">
              <a:extLst>
                <a:ext uri="{FF2B5EF4-FFF2-40B4-BE49-F238E27FC236}">
                  <a16:creationId xmlns:a16="http://schemas.microsoft.com/office/drawing/2014/main" id="{F5BD1B43-E6FB-428D-A5B3-49DE261B8B98}"/>
                </a:ext>
              </a:extLst>
            </p:cNvPr>
            <p:cNvSpPr/>
            <p:nvPr/>
          </p:nvSpPr>
          <p:spPr>
            <a:xfrm>
              <a:off x="-5740021" y="5752932"/>
              <a:ext cx="4659299" cy="2122873"/>
            </a:xfrm>
            <a:prstGeom prst="rect">
              <a:avLst/>
            </a:prstGeom>
            <a:solidFill>
              <a:srgbClr val="0087B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37" name="Rechteck 22">
              <a:extLst>
                <a:ext uri="{FF2B5EF4-FFF2-40B4-BE49-F238E27FC236}">
                  <a16:creationId xmlns:a16="http://schemas.microsoft.com/office/drawing/2014/main" id="{BC70CE8F-8D62-47B4-9493-02371B36CEA9}"/>
                </a:ext>
              </a:extLst>
            </p:cNvPr>
            <p:cNvSpPr/>
            <p:nvPr/>
          </p:nvSpPr>
          <p:spPr>
            <a:xfrm>
              <a:off x="-10399320" y="5752932"/>
              <a:ext cx="4659299" cy="2122873"/>
            </a:xfrm>
            <a:prstGeom prst="rect">
              <a:avLst/>
            </a:prstGeom>
            <a:solidFill>
              <a:srgbClr val="00557C"/>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grpSp>
      <p:grpSp>
        <p:nvGrpSpPr>
          <p:cNvPr id="38" name="Group 37">
            <a:extLst>
              <a:ext uri="{FF2B5EF4-FFF2-40B4-BE49-F238E27FC236}">
                <a16:creationId xmlns:a16="http://schemas.microsoft.com/office/drawing/2014/main" id="{C55EC1E6-2F48-45EE-95CE-AA0B09D227C9}"/>
              </a:ext>
            </a:extLst>
          </p:cNvPr>
          <p:cNvGrpSpPr/>
          <p:nvPr/>
        </p:nvGrpSpPr>
        <p:grpSpPr>
          <a:xfrm>
            <a:off x="770400" y="3538800"/>
            <a:ext cx="6264000" cy="288000"/>
            <a:chOff x="770400" y="3538800"/>
            <a:chExt cx="6264000" cy="288000"/>
          </a:xfrm>
        </p:grpSpPr>
        <p:sp>
          <p:nvSpPr>
            <p:cNvPr id="29" name="Rechteck 24">
              <a:extLst>
                <a:ext uri="{FF2B5EF4-FFF2-40B4-BE49-F238E27FC236}">
                  <a16:creationId xmlns:a16="http://schemas.microsoft.com/office/drawing/2014/main" id="{6C3E56E3-76A1-44EC-9384-6F26B9A532B2}"/>
                </a:ext>
              </a:extLst>
            </p:cNvPr>
            <p:cNvSpPr/>
            <p:nvPr/>
          </p:nvSpPr>
          <p:spPr>
            <a:xfrm>
              <a:off x="4946400" y="3538800"/>
              <a:ext cx="1044000" cy="288000"/>
            </a:xfrm>
            <a:prstGeom prst="rect">
              <a:avLst/>
            </a:prstGeom>
            <a:solidFill>
              <a:srgbClr val="9999A9"/>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30" name="Rechteck 25">
              <a:extLst>
                <a:ext uri="{FF2B5EF4-FFF2-40B4-BE49-F238E27FC236}">
                  <a16:creationId xmlns:a16="http://schemas.microsoft.com/office/drawing/2014/main" id="{002BE71B-0084-4629-AED4-18D4FB500F95}"/>
                </a:ext>
              </a:extLst>
            </p:cNvPr>
            <p:cNvSpPr/>
            <p:nvPr/>
          </p:nvSpPr>
          <p:spPr>
            <a:xfrm>
              <a:off x="5990400" y="3538800"/>
              <a:ext cx="1044000" cy="288000"/>
            </a:xfrm>
            <a:prstGeom prst="rect">
              <a:avLst/>
            </a:prstGeom>
            <a:solidFill>
              <a:srgbClr val="33335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31" name="Rechteck 26">
              <a:extLst>
                <a:ext uri="{FF2B5EF4-FFF2-40B4-BE49-F238E27FC236}">
                  <a16:creationId xmlns:a16="http://schemas.microsoft.com/office/drawing/2014/main" id="{4103D21D-06B7-4156-98D2-E84C7ED01739}"/>
                </a:ext>
              </a:extLst>
            </p:cNvPr>
            <p:cNvSpPr/>
            <p:nvPr/>
          </p:nvSpPr>
          <p:spPr>
            <a:xfrm>
              <a:off x="2858400" y="3538800"/>
              <a:ext cx="1044000" cy="288000"/>
            </a:xfrm>
            <a:prstGeom prst="rect">
              <a:avLst/>
            </a:prstGeom>
            <a:solidFill>
              <a:srgbClr val="00BEDC"/>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32" name="Rechteck 27">
              <a:extLst>
                <a:ext uri="{FF2B5EF4-FFF2-40B4-BE49-F238E27FC236}">
                  <a16:creationId xmlns:a16="http://schemas.microsoft.com/office/drawing/2014/main" id="{95CDAF53-C593-4C59-A76E-3D04BAAA6FB5}"/>
                </a:ext>
              </a:extLst>
            </p:cNvPr>
            <p:cNvSpPr/>
            <p:nvPr/>
          </p:nvSpPr>
          <p:spPr>
            <a:xfrm>
              <a:off x="1814400" y="3538800"/>
              <a:ext cx="1044000" cy="288000"/>
            </a:xfrm>
            <a:prstGeom prst="rect">
              <a:avLst/>
            </a:prstGeom>
            <a:solidFill>
              <a:srgbClr val="0087B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33" name="Rechteck 28">
              <a:extLst>
                <a:ext uri="{FF2B5EF4-FFF2-40B4-BE49-F238E27FC236}">
                  <a16:creationId xmlns:a16="http://schemas.microsoft.com/office/drawing/2014/main" id="{122DB3EB-3700-49AC-A75B-AC4DC8ECDE9D}"/>
                </a:ext>
              </a:extLst>
            </p:cNvPr>
            <p:cNvSpPr/>
            <p:nvPr/>
          </p:nvSpPr>
          <p:spPr>
            <a:xfrm>
              <a:off x="3902400" y="3538800"/>
              <a:ext cx="1044000" cy="288000"/>
            </a:xfrm>
            <a:prstGeom prst="rect">
              <a:avLst/>
            </a:prstGeom>
            <a:solidFill>
              <a:srgbClr val="CCCCD4"/>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34" name="Rechteck 29">
              <a:extLst>
                <a:ext uri="{FF2B5EF4-FFF2-40B4-BE49-F238E27FC236}">
                  <a16:creationId xmlns:a16="http://schemas.microsoft.com/office/drawing/2014/main" id="{5B00422F-0706-45DB-AA4F-E63BA79D7EBA}"/>
                </a:ext>
              </a:extLst>
            </p:cNvPr>
            <p:cNvSpPr/>
            <p:nvPr/>
          </p:nvSpPr>
          <p:spPr>
            <a:xfrm>
              <a:off x="770400" y="3538800"/>
              <a:ext cx="1044000" cy="288000"/>
            </a:xfrm>
            <a:prstGeom prst="rect">
              <a:avLst/>
            </a:prstGeom>
            <a:solidFill>
              <a:srgbClr val="00557C"/>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grpSp>
      <p:grpSp>
        <p:nvGrpSpPr>
          <p:cNvPr id="39" name="Group 38">
            <a:extLst>
              <a:ext uri="{FF2B5EF4-FFF2-40B4-BE49-F238E27FC236}">
                <a16:creationId xmlns:a16="http://schemas.microsoft.com/office/drawing/2014/main" id="{8DBB7C01-43C6-4CD2-AA14-BFB3C25B6E01}"/>
              </a:ext>
            </a:extLst>
          </p:cNvPr>
          <p:cNvGrpSpPr/>
          <p:nvPr/>
        </p:nvGrpSpPr>
        <p:grpSpPr>
          <a:xfrm>
            <a:off x="770400" y="4402800"/>
            <a:ext cx="6264000" cy="288000"/>
            <a:chOff x="770400" y="3538800"/>
            <a:chExt cx="6264000" cy="288000"/>
          </a:xfrm>
        </p:grpSpPr>
        <p:sp>
          <p:nvSpPr>
            <p:cNvPr id="40" name="Rechteck 24">
              <a:extLst>
                <a:ext uri="{FF2B5EF4-FFF2-40B4-BE49-F238E27FC236}">
                  <a16:creationId xmlns:a16="http://schemas.microsoft.com/office/drawing/2014/main" id="{EE44B338-DA1A-4CC6-A8CD-292B105A54C4}"/>
                </a:ext>
              </a:extLst>
            </p:cNvPr>
            <p:cNvSpPr/>
            <p:nvPr/>
          </p:nvSpPr>
          <p:spPr>
            <a:xfrm>
              <a:off x="4946400" y="3538800"/>
              <a:ext cx="1044000" cy="288000"/>
            </a:xfrm>
            <a:prstGeom prst="rect">
              <a:avLst/>
            </a:prstGeom>
            <a:solidFill>
              <a:srgbClr val="009999"/>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41" name="Rechteck 25">
              <a:extLst>
                <a:ext uri="{FF2B5EF4-FFF2-40B4-BE49-F238E27FC236}">
                  <a16:creationId xmlns:a16="http://schemas.microsoft.com/office/drawing/2014/main" id="{1C6E88ED-54DE-4E0B-956E-D4F6BF3E14E5}"/>
                </a:ext>
              </a:extLst>
            </p:cNvPr>
            <p:cNvSpPr/>
            <p:nvPr/>
          </p:nvSpPr>
          <p:spPr>
            <a:xfrm>
              <a:off x="5990400" y="3538800"/>
              <a:ext cx="1044000" cy="288000"/>
            </a:xfrm>
            <a:prstGeom prst="rect">
              <a:avLst/>
            </a:prstGeom>
            <a:solidFill>
              <a:srgbClr val="00646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42" name="Rechteck 26">
              <a:extLst>
                <a:ext uri="{FF2B5EF4-FFF2-40B4-BE49-F238E27FC236}">
                  <a16:creationId xmlns:a16="http://schemas.microsoft.com/office/drawing/2014/main" id="{E20E5D19-B174-40CF-8DAE-C44FA4177B3E}"/>
                </a:ext>
              </a:extLst>
            </p:cNvPr>
            <p:cNvSpPr/>
            <p:nvPr/>
          </p:nvSpPr>
          <p:spPr>
            <a:xfrm>
              <a:off x="2858400" y="3538800"/>
              <a:ext cx="1044000" cy="288000"/>
            </a:xfrm>
            <a:prstGeom prst="rect">
              <a:avLst/>
            </a:prstGeom>
            <a:solidFill>
              <a:srgbClr val="00BEDC"/>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43" name="Rechteck 27">
              <a:extLst>
                <a:ext uri="{FF2B5EF4-FFF2-40B4-BE49-F238E27FC236}">
                  <a16:creationId xmlns:a16="http://schemas.microsoft.com/office/drawing/2014/main" id="{BB36CFD8-A5D8-4940-A4F6-A25F7E268F36}"/>
                </a:ext>
              </a:extLst>
            </p:cNvPr>
            <p:cNvSpPr/>
            <p:nvPr/>
          </p:nvSpPr>
          <p:spPr>
            <a:xfrm>
              <a:off x="1814400" y="3538800"/>
              <a:ext cx="1044000" cy="288000"/>
            </a:xfrm>
            <a:prstGeom prst="rect">
              <a:avLst/>
            </a:prstGeom>
            <a:solidFill>
              <a:srgbClr val="0087B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44" name="Rechteck 28">
              <a:extLst>
                <a:ext uri="{FF2B5EF4-FFF2-40B4-BE49-F238E27FC236}">
                  <a16:creationId xmlns:a16="http://schemas.microsoft.com/office/drawing/2014/main" id="{C55CDFDE-64AC-4965-8230-BC030B4306DC}"/>
                </a:ext>
              </a:extLst>
            </p:cNvPr>
            <p:cNvSpPr/>
            <p:nvPr/>
          </p:nvSpPr>
          <p:spPr>
            <a:xfrm>
              <a:off x="3902400" y="3538800"/>
              <a:ext cx="1044000" cy="288000"/>
            </a:xfrm>
            <a:prstGeom prst="rect">
              <a:avLst/>
            </a:prstGeom>
            <a:solidFill>
              <a:srgbClr val="00E6DC"/>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45" name="Rechteck 29">
              <a:extLst>
                <a:ext uri="{FF2B5EF4-FFF2-40B4-BE49-F238E27FC236}">
                  <a16:creationId xmlns:a16="http://schemas.microsoft.com/office/drawing/2014/main" id="{EE3D2CC1-75D7-4758-82A7-E213899DD2EF}"/>
                </a:ext>
              </a:extLst>
            </p:cNvPr>
            <p:cNvSpPr/>
            <p:nvPr/>
          </p:nvSpPr>
          <p:spPr>
            <a:xfrm>
              <a:off x="770400" y="3538800"/>
              <a:ext cx="1044000" cy="288000"/>
            </a:xfrm>
            <a:prstGeom prst="rect">
              <a:avLst/>
            </a:prstGeom>
            <a:solidFill>
              <a:srgbClr val="00557C"/>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grpSp>
      <p:grpSp>
        <p:nvGrpSpPr>
          <p:cNvPr id="46" name="Group 45">
            <a:extLst>
              <a:ext uri="{FF2B5EF4-FFF2-40B4-BE49-F238E27FC236}">
                <a16:creationId xmlns:a16="http://schemas.microsoft.com/office/drawing/2014/main" id="{9A36B26C-C27C-4C59-A5A8-A8D502013B09}"/>
              </a:ext>
            </a:extLst>
          </p:cNvPr>
          <p:cNvGrpSpPr/>
          <p:nvPr/>
        </p:nvGrpSpPr>
        <p:grpSpPr>
          <a:xfrm>
            <a:off x="770400" y="5266800"/>
            <a:ext cx="6264000" cy="288000"/>
            <a:chOff x="770400" y="3538800"/>
            <a:chExt cx="11484000" cy="288000"/>
          </a:xfrm>
        </p:grpSpPr>
        <p:sp>
          <p:nvSpPr>
            <p:cNvPr id="47" name="Rechteck 24">
              <a:extLst>
                <a:ext uri="{FF2B5EF4-FFF2-40B4-BE49-F238E27FC236}">
                  <a16:creationId xmlns:a16="http://schemas.microsoft.com/office/drawing/2014/main" id="{07CAEFDB-4077-4EAC-B8DE-045E5DAC2925}"/>
                </a:ext>
              </a:extLst>
            </p:cNvPr>
            <p:cNvSpPr/>
            <p:nvPr/>
          </p:nvSpPr>
          <p:spPr>
            <a:xfrm>
              <a:off x="4946400" y="3538800"/>
              <a:ext cx="1044000" cy="288000"/>
            </a:xfrm>
            <a:prstGeom prst="rect">
              <a:avLst/>
            </a:prstGeom>
            <a:solidFill>
              <a:srgbClr val="00D7A0"/>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48" name="Rechteck 25">
              <a:extLst>
                <a:ext uri="{FF2B5EF4-FFF2-40B4-BE49-F238E27FC236}">
                  <a16:creationId xmlns:a16="http://schemas.microsoft.com/office/drawing/2014/main" id="{5A04BEF1-7891-4C79-831B-79ABE9A012A0}"/>
                </a:ext>
              </a:extLst>
            </p:cNvPr>
            <p:cNvSpPr/>
            <p:nvPr/>
          </p:nvSpPr>
          <p:spPr>
            <a:xfrm>
              <a:off x="5990400" y="3538800"/>
              <a:ext cx="1044000" cy="288000"/>
            </a:xfrm>
            <a:prstGeom prst="rect">
              <a:avLst/>
            </a:prstGeom>
            <a:solidFill>
              <a:srgbClr val="00FFB9"/>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49" name="Rechteck 26">
              <a:extLst>
                <a:ext uri="{FF2B5EF4-FFF2-40B4-BE49-F238E27FC236}">
                  <a16:creationId xmlns:a16="http://schemas.microsoft.com/office/drawing/2014/main" id="{30BF513F-7621-48DC-BB0B-3013456D2CEB}"/>
                </a:ext>
              </a:extLst>
            </p:cNvPr>
            <p:cNvSpPr/>
            <p:nvPr/>
          </p:nvSpPr>
          <p:spPr>
            <a:xfrm>
              <a:off x="2858400" y="3538800"/>
              <a:ext cx="1044000" cy="288000"/>
            </a:xfrm>
            <a:prstGeom prst="rect">
              <a:avLst/>
            </a:prstGeom>
            <a:solidFill>
              <a:srgbClr val="00E6DC"/>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50" name="Rechteck 27">
              <a:extLst>
                <a:ext uri="{FF2B5EF4-FFF2-40B4-BE49-F238E27FC236}">
                  <a16:creationId xmlns:a16="http://schemas.microsoft.com/office/drawing/2014/main" id="{AB1956CA-8453-4A53-813A-83C45283DA18}"/>
                </a:ext>
              </a:extLst>
            </p:cNvPr>
            <p:cNvSpPr/>
            <p:nvPr/>
          </p:nvSpPr>
          <p:spPr>
            <a:xfrm>
              <a:off x="1814400" y="3538800"/>
              <a:ext cx="1044000" cy="288000"/>
            </a:xfrm>
            <a:prstGeom prst="rect">
              <a:avLst/>
            </a:prstGeom>
            <a:solidFill>
              <a:srgbClr val="009999"/>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51" name="Rechteck 28">
              <a:extLst>
                <a:ext uri="{FF2B5EF4-FFF2-40B4-BE49-F238E27FC236}">
                  <a16:creationId xmlns:a16="http://schemas.microsoft.com/office/drawing/2014/main" id="{2A548FF9-2EC3-4DDC-ACCC-0558D8740D4D}"/>
                </a:ext>
              </a:extLst>
            </p:cNvPr>
            <p:cNvSpPr/>
            <p:nvPr/>
          </p:nvSpPr>
          <p:spPr>
            <a:xfrm>
              <a:off x="3902400" y="3538800"/>
              <a:ext cx="1044000" cy="288000"/>
            </a:xfrm>
            <a:prstGeom prst="rect">
              <a:avLst/>
            </a:prstGeom>
            <a:solidFill>
              <a:srgbClr val="00AF8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52" name="Rechteck 29">
              <a:extLst>
                <a:ext uri="{FF2B5EF4-FFF2-40B4-BE49-F238E27FC236}">
                  <a16:creationId xmlns:a16="http://schemas.microsoft.com/office/drawing/2014/main" id="{1814FC54-5772-4916-AF55-ED558FA6F610}"/>
                </a:ext>
              </a:extLst>
            </p:cNvPr>
            <p:cNvSpPr/>
            <p:nvPr/>
          </p:nvSpPr>
          <p:spPr>
            <a:xfrm>
              <a:off x="770400" y="3538800"/>
              <a:ext cx="1044000" cy="288000"/>
            </a:xfrm>
            <a:prstGeom prst="rect">
              <a:avLst/>
            </a:prstGeom>
            <a:solidFill>
              <a:srgbClr val="00646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53" name="Rechteck 25">
              <a:extLst>
                <a:ext uri="{FF2B5EF4-FFF2-40B4-BE49-F238E27FC236}">
                  <a16:creationId xmlns:a16="http://schemas.microsoft.com/office/drawing/2014/main" id="{C40CDAE4-9B0A-4801-B149-D6B39DAF8DD8}"/>
                </a:ext>
              </a:extLst>
            </p:cNvPr>
            <p:cNvSpPr/>
            <p:nvPr/>
          </p:nvSpPr>
          <p:spPr>
            <a:xfrm>
              <a:off x="7034400" y="3538800"/>
              <a:ext cx="1044000" cy="288000"/>
            </a:xfrm>
            <a:prstGeom prst="rect">
              <a:avLst/>
            </a:prstGeom>
            <a:solidFill>
              <a:srgbClr val="00BEDC"/>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54" name="Rechteck 25">
              <a:extLst>
                <a:ext uri="{FF2B5EF4-FFF2-40B4-BE49-F238E27FC236}">
                  <a16:creationId xmlns:a16="http://schemas.microsoft.com/office/drawing/2014/main" id="{9EDC4BC2-578D-4104-BC39-C883A1347D6C}"/>
                </a:ext>
              </a:extLst>
            </p:cNvPr>
            <p:cNvSpPr/>
            <p:nvPr/>
          </p:nvSpPr>
          <p:spPr>
            <a:xfrm>
              <a:off x="8078400" y="3538800"/>
              <a:ext cx="1044000" cy="288000"/>
            </a:xfrm>
            <a:prstGeom prst="rect">
              <a:avLst/>
            </a:prstGeom>
            <a:solidFill>
              <a:srgbClr val="0087B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55" name="Rechteck 25">
              <a:extLst>
                <a:ext uri="{FF2B5EF4-FFF2-40B4-BE49-F238E27FC236}">
                  <a16:creationId xmlns:a16="http://schemas.microsoft.com/office/drawing/2014/main" id="{EAF4222B-A303-42F0-B898-64E2EB6FE81B}"/>
                </a:ext>
              </a:extLst>
            </p:cNvPr>
            <p:cNvSpPr/>
            <p:nvPr/>
          </p:nvSpPr>
          <p:spPr>
            <a:xfrm>
              <a:off x="9122400" y="3538800"/>
              <a:ext cx="1044000" cy="288000"/>
            </a:xfrm>
            <a:prstGeom prst="rect">
              <a:avLst/>
            </a:prstGeom>
            <a:solidFill>
              <a:srgbClr val="00557C"/>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56" name="Rechteck 25">
              <a:extLst>
                <a:ext uri="{FF2B5EF4-FFF2-40B4-BE49-F238E27FC236}">
                  <a16:creationId xmlns:a16="http://schemas.microsoft.com/office/drawing/2014/main" id="{A496DE82-72B6-4DDB-839E-19CC33F8D5FC}"/>
                </a:ext>
              </a:extLst>
            </p:cNvPr>
            <p:cNvSpPr/>
            <p:nvPr/>
          </p:nvSpPr>
          <p:spPr>
            <a:xfrm>
              <a:off x="10166400" y="3538800"/>
              <a:ext cx="1044000" cy="288000"/>
            </a:xfrm>
            <a:prstGeom prst="rect">
              <a:avLst/>
            </a:prstGeom>
            <a:solidFill>
              <a:srgbClr val="AA32B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57" name="Rechteck 25">
              <a:extLst>
                <a:ext uri="{FF2B5EF4-FFF2-40B4-BE49-F238E27FC236}">
                  <a16:creationId xmlns:a16="http://schemas.microsoft.com/office/drawing/2014/main" id="{00FA058A-73A4-45E2-AD8B-DCE5D4230E4F}"/>
                </a:ext>
              </a:extLst>
            </p:cNvPr>
            <p:cNvSpPr/>
            <p:nvPr/>
          </p:nvSpPr>
          <p:spPr>
            <a:xfrm>
              <a:off x="11210400" y="3538800"/>
              <a:ext cx="1044000" cy="288000"/>
            </a:xfrm>
            <a:prstGeom prst="rect">
              <a:avLst/>
            </a:prstGeom>
            <a:solidFill>
              <a:srgbClr val="500078"/>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grpSp>
      <p:sp>
        <p:nvSpPr>
          <p:cNvPr id="58" name="Rechteck 14">
            <a:extLst>
              <a:ext uri="{FF2B5EF4-FFF2-40B4-BE49-F238E27FC236}">
                <a16:creationId xmlns:a16="http://schemas.microsoft.com/office/drawing/2014/main" id="{F40AF8F0-4D75-4006-8969-BD96F1E14B93}"/>
              </a:ext>
            </a:extLst>
          </p:cNvPr>
          <p:cNvSpPr/>
          <p:nvPr/>
        </p:nvSpPr>
        <p:spPr>
          <a:xfrm>
            <a:off x="8546400" y="3538800"/>
            <a:ext cx="3240000" cy="2016000"/>
          </a:xfrm>
          <a:prstGeom prst="rect">
            <a:avLst/>
          </a:prstGeom>
          <a:solidFill>
            <a:srgbClr val="000028"/>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b" anchorCtr="0"/>
          <a:lstStyle/>
          <a:p>
            <a:pPr algn="ctr"/>
            <a:r>
              <a:rPr lang="en-US" sz="1200" dirty="0">
                <a:solidFill>
                  <a:srgbClr val="9999A9"/>
                </a:solidFill>
              </a:rPr>
              <a:t>Content based lines and text in graphics on dark background – use of “Gray”</a:t>
            </a:r>
          </a:p>
        </p:txBody>
      </p:sp>
      <p:sp>
        <p:nvSpPr>
          <p:cNvPr id="59" name="Rechteck 6">
            <a:extLst>
              <a:ext uri="{FF2B5EF4-FFF2-40B4-BE49-F238E27FC236}">
                <a16:creationId xmlns:a16="http://schemas.microsoft.com/office/drawing/2014/main" id="{F5C78B02-99E7-4921-9F5E-AED7888C5717}"/>
              </a:ext>
            </a:extLst>
          </p:cNvPr>
          <p:cNvSpPr/>
          <p:nvPr/>
        </p:nvSpPr>
        <p:spPr>
          <a:xfrm>
            <a:off x="9482400" y="1846800"/>
            <a:ext cx="1080000" cy="864000"/>
          </a:xfrm>
          <a:prstGeom prst="rect">
            <a:avLst/>
          </a:prstGeom>
          <a:solidFill>
            <a:srgbClr val="66667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61" name="Rechteck 8">
            <a:extLst>
              <a:ext uri="{FF2B5EF4-FFF2-40B4-BE49-F238E27FC236}">
                <a16:creationId xmlns:a16="http://schemas.microsoft.com/office/drawing/2014/main" id="{9DE6B76D-BAA6-4ED7-ACCD-17BCE121A439}"/>
              </a:ext>
            </a:extLst>
          </p:cNvPr>
          <p:cNvSpPr/>
          <p:nvPr/>
        </p:nvSpPr>
        <p:spPr>
          <a:xfrm>
            <a:off x="9482400" y="3970800"/>
            <a:ext cx="1080000" cy="864000"/>
          </a:xfrm>
          <a:prstGeom prst="rect">
            <a:avLst/>
          </a:prstGeom>
          <a:solidFill>
            <a:srgbClr val="9999A9"/>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cxnSp>
        <p:nvCxnSpPr>
          <p:cNvPr id="63" name="Gerade Verbindung 12">
            <a:extLst>
              <a:ext uri="{FF2B5EF4-FFF2-40B4-BE49-F238E27FC236}">
                <a16:creationId xmlns:a16="http://schemas.microsoft.com/office/drawing/2014/main" id="{75059E3B-F041-4D04-9E2D-CB43A3D52E5B}"/>
              </a:ext>
            </a:extLst>
          </p:cNvPr>
          <p:cNvCxnSpPr/>
          <p:nvPr/>
        </p:nvCxnSpPr>
        <p:spPr>
          <a:xfrm>
            <a:off x="10778400" y="1846800"/>
            <a:ext cx="0" cy="864000"/>
          </a:xfrm>
          <a:prstGeom prst="line">
            <a:avLst/>
          </a:prstGeom>
          <a:ln w="12700">
            <a:solidFill>
              <a:srgbClr val="66667E"/>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64" name="Gerade Verbindung 13">
            <a:extLst>
              <a:ext uri="{FF2B5EF4-FFF2-40B4-BE49-F238E27FC236}">
                <a16:creationId xmlns:a16="http://schemas.microsoft.com/office/drawing/2014/main" id="{A48D7ABC-D12F-4EEB-94F7-0DEC752D7D20}"/>
              </a:ext>
            </a:extLst>
          </p:cNvPr>
          <p:cNvCxnSpPr/>
          <p:nvPr/>
        </p:nvCxnSpPr>
        <p:spPr>
          <a:xfrm>
            <a:off x="10778400" y="3970800"/>
            <a:ext cx="0" cy="864000"/>
          </a:xfrm>
          <a:prstGeom prst="line">
            <a:avLst/>
          </a:prstGeom>
          <a:ln w="12700">
            <a:solidFill>
              <a:srgbClr val="9999A9"/>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65" name="Rechteck 15">
            <a:extLst>
              <a:ext uri="{FF2B5EF4-FFF2-40B4-BE49-F238E27FC236}">
                <a16:creationId xmlns:a16="http://schemas.microsoft.com/office/drawing/2014/main" id="{29DC867B-C395-4F17-A8AF-98F3BCC29BD0}"/>
              </a:ext>
            </a:extLst>
          </p:cNvPr>
          <p:cNvSpPr/>
          <p:nvPr/>
        </p:nvSpPr>
        <p:spPr>
          <a:xfrm>
            <a:off x="8546400" y="1414800"/>
            <a:ext cx="3240000" cy="2014200"/>
          </a:xfrm>
          <a:prstGeom prst="rect">
            <a:avLst/>
          </a:prstGeom>
          <a:noFill/>
          <a:ln>
            <a:solidFill>
              <a:srgbClr val="9999A9"/>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b" anchorCtr="0"/>
          <a:lstStyle/>
          <a:p>
            <a:pPr algn="ctr"/>
            <a:r>
              <a:rPr lang="en-US" sz="1200" dirty="0">
                <a:solidFill>
                  <a:srgbClr val="66667E"/>
                </a:solidFill>
              </a:rPr>
              <a:t>Content based lines and text in graphics on white background – use of “Dark Gray”</a:t>
            </a:r>
          </a:p>
        </p:txBody>
      </p:sp>
      <p:sp>
        <p:nvSpPr>
          <p:cNvPr id="66" name="Title">
            <a:extLst>
              <a:ext uri="{FF2B5EF4-FFF2-40B4-BE49-F238E27FC236}">
                <a16:creationId xmlns:a16="http://schemas.microsoft.com/office/drawing/2014/main" id="{D62F94FE-899A-4EF8-B828-946C96C4C953}"/>
              </a:ext>
            </a:extLst>
          </p:cNvPr>
          <p:cNvSpPr txBox="1">
            <a:spLocks/>
          </p:cNvSpPr>
          <p:nvPr/>
        </p:nvSpPr>
        <p:spPr>
          <a:xfrm>
            <a:off x="8546400" y="5558400"/>
            <a:ext cx="3240000" cy="612000"/>
          </a:xfrm>
          <a:prstGeom prst="rect">
            <a:avLst/>
          </a:prstGeom>
        </p:spPr>
        <p:txBody>
          <a:bodyPr vert="horz" lIns="0" tIns="72000" rIns="0" bIns="0" rtlCol="0" anchor="t" anchorCtr="0">
            <a:noAutofit/>
          </a:bodyPr>
          <a:lstStyle>
            <a:lvl1pPr algn="l" defTabSz="914400" rtl="0" eaLnBrk="1" latinLnBrk="0" hangingPunct="1">
              <a:lnSpc>
                <a:spcPct val="90000"/>
              </a:lnSpc>
              <a:spcBef>
                <a:spcPct val="0"/>
              </a:spcBef>
              <a:buNone/>
              <a:defRPr sz="2000" b="1" kern="1200">
                <a:solidFill>
                  <a:schemeClr val="accent1"/>
                </a:solidFill>
                <a:latin typeface="+mj-lt"/>
                <a:ea typeface="+mj-ea"/>
                <a:cs typeface="+mj-cs"/>
              </a:defRPr>
            </a:lvl1pPr>
          </a:lstStyle>
          <a:p>
            <a:r>
              <a:rPr lang="en-US" sz="1200" b="0" dirty="0">
                <a:solidFill>
                  <a:schemeClr val="tx1"/>
                </a:solidFill>
                <a:latin typeface="+mn-lt"/>
              </a:rPr>
              <a:t>Use of grey tones for lines and shapes in both appearances.</a:t>
            </a:r>
          </a:p>
        </p:txBody>
      </p:sp>
    </p:spTree>
    <p:extLst>
      <p:ext uri="{BB962C8B-B14F-4D97-AF65-F5344CB8AC3E}">
        <p14:creationId xmlns:p14="http://schemas.microsoft.com/office/powerpoint/2010/main" val="384308053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uppieren 17">
            <a:extLst>
              <a:ext uri="{FF2B5EF4-FFF2-40B4-BE49-F238E27FC236}">
                <a16:creationId xmlns:a16="http://schemas.microsoft.com/office/drawing/2014/main" id="{F3F0E6A3-B696-9A41-A496-B84C25D7C386}"/>
              </a:ext>
            </a:extLst>
          </p:cNvPr>
          <p:cNvGrpSpPr/>
          <p:nvPr/>
        </p:nvGrpSpPr>
        <p:grpSpPr>
          <a:xfrm>
            <a:off x="411163" y="5338971"/>
            <a:ext cx="4550458" cy="827829"/>
            <a:chOff x="411163" y="5354970"/>
            <a:chExt cx="4550458" cy="827829"/>
          </a:xfrm>
        </p:grpSpPr>
        <p:sp>
          <p:nvSpPr>
            <p:cNvPr id="19" name="Freihandform 18">
              <a:extLst>
                <a:ext uri="{FF2B5EF4-FFF2-40B4-BE49-F238E27FC236}">
                  <a16:creationId xmlns:a16="http://schemas.microsoft.com/office/drawing/2014/main" id="{7F993AEA-7345-6648-BBD5-D6314BA2EFEC}"/>
                </a:ext>
              </a:extLst>
            </p:cNvPr>
            <p:cNvSpPr>
              <a:spLocks/>
            </p:cNvSpPr>
            <p:nvPr/>
          </p:nvSpPr>
          <p:spPr bwMode="gray">
            <a:xfrm flipV="1">
              <a:off x="3305963" y="5354970"/>
              <a:ext cx="1655658" cy="827829"/>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66667E"/>
              </a:solidFill>
              <a:prstDash val="solid"/>
              <a:round/>
              <a:headEnd type="oval" w="lg" len="lg"/>
              <a:tailEnd type="none" w="med" len="med"/>
            </a:ln>
            <a:effectLst/>
          </p:spPr>
          <p:txBody>
            <a:bodyPr rtlCol="0" anchor="ctr"/>
            <a:lstStyle/>
            <a:p>
              <a:pPr algn="ctr"/>
              <a:endParaRPr lang="en-US" dirty="0">
                <a:ea typeface="Arial Unicode MS"/>
              </a:endParaRPr>
            </a:p>
          </p:txBody>
        </p:sp>
        <p:cxnSp>
          <p:nvCxnSpPr>
            <p:cNvPr id="20" name="Gerade Verbindung 19">
              <a:extLst>
                <a:ext uri="{FF2B5EF4-FFF2-40B4-BE49-F238E27FC236}">
                  <a16:creationId xmlns:a16="http://schemas.microsoft.com/office/drawing/2014/main" id="{840292C0-D50C-214D-AF73-CF712972C54A}"/>
                </a:ext>
              </a:extLst>
            </p:cNvPr>
            <p:cNvCxnSpPr>
              <a:cxnSpLocks/>
              <a:endCxn id="19" idx="2"/>
            </p:cNvCxnSpPr>
            <p:nvPr/>
          </p:nvCxnSpPr>
          <p:spPr bwMode="auto">
            <a:xfrm>
              <a:off x="411163" y="6182799"/>
              <a:ext cx="2894800" cy="0"/>
            </a:xfrm>
            <a:prstGeom prst="line">
              <a:avLst/>
            </a:prstGeom>
            <a:noFill/>
            <a:ln w="12700" cap="flat" cmpd="sng" algn="ctr">
              <a:solidFill>
                <a:srgbClr val="66667E"/>
              </a:solidFill>
              <a:prstDash val="solid"/>
              <a:round/>
              <a:headEnd type="none" w="med" len="med"/>
              <a:tailEnd type="none" w="med" len="med"/>
            </a:ln>
            <a:effectLst/>
          </p:spPr>
        </p:cxnSp>
      </p:grpSp>
      <p:grpSp>
        <p:nvGrpSpPr>
          <p:cNvPr id="21" name="Gruppieren 20">
            <a:extLst>
              <a:ext uri="{FF2B5EF4-FFF2-40B4-BE49-F238E27FC236}">
                <a16:creationId xmlns:a16="http://schemas.microsoft.com/office/drawing/2014/main" id="{AD3B0D00-CCAA-8847-BE3B-FE42E5F1A72F}"/>
              </a:ext>
            </a:extLst>
          </p:cNvPr>
          <p:cNvGrpSpPr/>
          <p:nvPr/>
        </p:nvGrpSpPr>
        <p:grpSpPr>
          <a:xfrm>
            <a:off x="7180367" y="5338971"/>
            <a:ext cx="4606822" cy="840869"/>
            <a:chOff x="7180367" y="5354970"/>
            <a:chExt cx="4535383" cy="827829"/>
          </a:xfrm>
        </p:grpSpPr>
        <p:sp>
          <p:nvSpPr>
            <p:cNvPr id="22" name="Freihandform 21">
              <a:extLst>
                <a:ext uri="{FF2B5EF4-FFF2-40B4-BE49-F238E27FC236}">
                  <a16:creationId xmlns:a16="http://schemas.microsoft.com/office/drawing/2014/main" id="{72D62416-D230-9C40-B964-CEEA1B918F75}"/>
                </a:ext>
              </a:extLst>
            </p:cNvPr>
            <p:cNvSpPr>
              <a:spLocks/>
            </p:cNvSpPr>
            <p:nvPr/>
          </p:nvSpPr>
          <p:spPr bwMode="gray">
            <a:xfrm flipH="1" flipV="1">
              <a:off x="7180367" y="5354970"/>
              <a:ext cx="1655658" cy="827829"/>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66667E"/>
              </a:solidFill>
              <a:prstDash val="solid"/>
              <a:round/>
              <a:headEnd type="oval" w="lg" len="lg"/>
              <a:tailEnd type="none" w="med" len="med"/>
            </a:ln>
            <a:effectLst/>
          </p:spPr>
          <p:txBody>
            <a:bodyPr rtlCol="0" anchor="ctr"/>
            <a:lstStyle/>
            <a:p>
              <a:pPr algn="ctr"/>
              <a:endParaRPr lang="en-US" dirty="0">
                <a:ea typeface="Arial Unicode MS"/>
              </a:endParaRPr>
            </a:p>
          </p:txBody>
        </p:sp>
        <p:cxnSp>
          <p:nvCxnSpPr>
            <p:cNvPr id="23" name="Gerade Verbindung 22">
              <a:extLst>
                <a:ext uri="{FF2B5EF4-FFF2-40B4-BE49-F238E27FC236}">
                  <a16:creationId xmlns:a16="http://schemas.microsoft.com/office/drawing/2014/main" id="{0CA87194-8D03-CE43-A746-D63325AE0E28}"/>
                </a:ext>
              </a:extLst>
            </p:cNvPr>
            <p:cNvCxnSpPr>
              <a:cxnSpLocks/>
              <a:stCxn id="22" idx="2"/>
            </p:cNvCxnSpPr>
            <p:nvPr/>
          </p:nvCxnSpPr>
          <p:spPr bwMode="auto">
            <a:xfrm>
              <a:off x="8836025" y="6182799"/>
              <a:ext cx="2879725" cy="0"/>
            </a:xfrm>
            <a:prstGeom prst="line">
              <a:avLst/>
            </a:prstGeom>
            <a:noFill/>
            <a:ln w="12700" cap="flat" cmpd="sng" algn="ctr">
              <a:solidFill>
                <a:srgbClr val="66667E"/>
              </a:solidFill>
              <a:prstDash val="solid"/>
              <a:round/>
              <a:headEnd type="none" w="med" len="med"/>
              <a:tailEnd type="none" w="med" len="med"/>
            </a:ln>
            <a:effectLst/>
          </p:spPr>
        </p:cxnSp>
      </p:grpSp>
      <p:grpSp>
        <p:nvGrpSpPr>
          <p:cNvPr id="24" name="Gruppieren 23">
            <a:extLst>
              <a:ext uri="{FF2B5EF4-FFF2-40B4-BE49-F238E27FC236}">
                <a16:creationId xmlns:a16="http://schemas.microsoft.com/office/drawing/2014/main" id="{AA8526D3-8076-8241-BFFE-8A44B6429DFD}"/>
              </a:ext>
            </a:extLst>
          </p:cNvPr>
          <p:cNvGrpSpPr/>
          <p:nvPr/>
        </p:nvGrpSpPr>
        <p:grpSpPr>
          <a:xfrm>
            <a:off x="411163" y="2890800"/>
            <a:ext cx="3844688" cy="427961"/>
            <a:chOff x="2117249" y="3092509"/>
            <a:chExt cx="1989909" cy="140212"/>
          </a:xfrm>
        </p:grpSpPr>
        <p:sp>
          <p:nvSpPr>
            <p:cNvPr id="25" name="Freihandform 24">
              <a:extLst>
                <a:ext uri="{FF2B5EF4-FFF2-40B4-BE49-F238E27FC236}">
                  <a16:creationId xmlns:a16="http://schemas.microsoft.com/office/drawing/2014/main" id="{B27689ED-0E32-1845-9604-661E07A1CF09}"/>
                </a:ext>
              </a:extLst>
            </p:cNvPr>
            <p:cNvSpPr/>
            <p:nvPr/>
          </p:nvSpPr>
          <p:spPr bwMode="gray">
            <a:xfrm>
              <a:off x="3546309" y="3092509"/>
              <a:ext cx="560849" cy="140212"/>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66667E"/>
              </a:solidFill>
              <a:prstDash val="solid"/>
              <a:round/>
              <a:headEnd type="oval" w="lg" len="lg"/>
              <a:tailEnd type="none" w="med" len="med"/>
            </a:ln>
            <a:effectLst/>
          </p:spPr>
          <p:txBody>
            <a:bodyPr rtlCol="0" anchor="ctr"/>
            <a:lstStyle/>
            <a:p>
              <a:pPr algn="ctr"/>
              <a:endParaRPr lang="en-US" dirty="0">
                <a:ea typeface="Arial Unicode MS"/>
              </a:endParaRPr>
            </a:p>
          </p:txBody>
        </p:sp>
        <p:cxnSp>
          <p:nvCxnSpPr>
            <p:cNvPr id="26" name="Gerade Verbindung 25">
              <a:extLst>
                <a:ext uri="{FF2B5EF4-FFF2-40B4-BE49-F238E27FC236}">
                  <a16:creationId xmlns:a16="http://schemas.microsoft.com/office/drawing/2014/main" id="{F2E20D22-C871-FC42-9757-3351C0304712}"/>
                </a:ext>
              </a:extLst>
            </p:cNvPr>
            <p:cNvCxnSpPr>
              <a:cxnSpLocks/>
            </p:cNvCxnSpPr>
            <p:nvPr/>
          </p:nvCxnSpPr>
          <p:spPr bwMode="auto">
            <a:xfrm>
              <a:off x="2117249" y="3092509"/>
              <a:ext cx="1429060" cy="0"/>
            </a:xfrm>
            <a:prstGeom prst="line">
              <a:avLst/>
            </a:prstGeom>
            <a:noFill/>
            <a:ln w="12700" cap="flat" cmpd="sng" algn="ctr">
              <a:solidFill>
                <a:srgbClr val="66667E"/>
              </a:solidFill>
              <a:prstDash val="solid"/>
              <a:round/>
              <a:headEnd type="none" w="lg" len="lg"/>
              <a:tailEnd type="none" w="med" len="med"/>
            </a:ln>
            <a:effectLst/>
          </p:spPr>
        </p:cxnSp>
      </p:grpSp>
      <p:grpSp>
        <p:nvGrpSpPr>
          <p:cNvPr id="27" name="Gruppieren 26">
            <a:extLst>
              <a:ext uri="{FF2B5EF4-FFF2-40B4-BE49-F238E27FC236}">
                <a16:creationId xmlns:a16="http://schemas.microsoft.com/office/drawing/2014/main" id="{1DF6C121-9275-BB42-A850-BD2ECE7A8334}"/>
              </a:ext>
            </a:extLst>
          </p:cNvPr>
          <p:cNvGrpSpPr/>
          <p:nvPr/>
        </p:nvGrpSpPr>
        <p:grpSpPr>
          <a:xfrm flipH="1">
            <a:off x="8041101" y="3070800"/>
            <a:ext cx="3746088" cy="292078"/>
            <a:chOff x="8404139" y="3092509"/>
            <a:chExt cx="1798309" cy="140212"/>
          </a:xfrm>
        </p:grpSpPr>
        <p:sp>
          <p:nvSpPr>
            <p:cNvPr id="28" name="Freihandform 27">
              <a:extLst>
                <a:ext uri="{FF2B5EF4-FFF2-40B4-BE49-F238E27FC236}">
                  <a16:creationId xmlns:a16="http://schemas.microsoft.com/office/drawing/2014/main" id="{9F4743AB-9E2D-D543-BC26-40D67B480F9B}"/>
                </a:ext>
              </a:extLst>
            </p:cNvPr>
            <p:cNvSpPr/>
            <p:nvPr/>
          </p:nvSpPr>
          <p:spPr bwMode="gray">
            <a:xfrm>
              <a:off x="9641599" y="3092509"/>
              <a:ext cx="560849" cy="140212"/>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66667E"/>
              </a:solidFill>
              <a:prstDash val="solid"/>
              <a:round/>
              <a:headEnd type="oval" w="lg" len="lg"/>
              <a:tailEnd type="none" w="med" len="med"/>
            </a:ln>
            <a:effectLst/>
          </p:spPr>
          <p:txBody>
            <a:bodyPr rtlCol="0" anchor="ctr"/>
            <a:lstStyle/>
            <a:p>
              <a:pPr algn="ctr"/>
              <a:endParaRPr lang="en-US" dirty="0">
                <a:ea typeface="Arial Unicode MS"/>
              </a:endParaRPr>
            </a:p>
          </p:txBody>
        </p:sp>
        <p:cxnSp>
          <p:nvCxnSpPr>
            <p:cNvPr id="29" name="Gerade Verbindung 28">
              <a:extLst>
                <a:ext uri="{FF2B5EF4-FFF2-40B4-BE49-F238E27FC236}">
                  <a16:creationId xmlns:a16="http://schemas.microsoft.com/office/drawing/2014/main" id="{04795F1F-4FD6-004E-88B9-CC11A3970FB3}"/>
                </a:ext>
              </a:extLst>
            </p:cNvPr>
            <p:cNvCxnSpPr>
              <a:cxnSpLocks/>
            </p:cNvCxnSpPr>
            <p:nvPr/>
          </p:nvCxnSpPr>
          <p:spPr bwMode="auto">
            <a:xfrm>
              <a:off x="8404139" y="3092509"/>
              <a:ext cx="1237460" cy="0"/>
            </a:xfrm>
            <a:prstGeom prst="line">
              <a:avLst/>
            </a:prstGeom>
            <a:noFill/>
            <a:ln w="12700" cap="flat" cmpd="sng" algn="ctr">
              <a:solidFill>
                <a:srgbClr val="66667E"/>
              </a:solidFill>
              <a:prstDash val="solid"/>
              <a:round/>
              <a:headEnd type="none" w="med" len="med"/>
              <a:tailEnd type="none" w="med" len="med"/>
            </a:ln>
            <a:effectLst/>
          </p:spPr>
        </p:cxnSp>
      </p:grpSp>
      <p:grpSp>
        <p:nvGrpSpPr>
          <p:cNvPr id="30" name="Gruppieren 29">
            <a:extLst>
              <a:ext uri="{FF2B5EF4-FFF2-40B4-BE49-F238E27FC236}">
                <a16:creationId xmlns:a16="http://schemas.microsoft.com/office/drawing/2014/main" id="{A0A4BC45-C0BD-FB45-984A-2D75C1D106EF}"/>
              </a:ext>
            </a:extLst>
          </p:cNvPr>
          <p:cNvGrpSpPr/>
          <p:nvPr/>
        </p:nvGrpSpPr>
        <p:grpSpPr>
          <a:xfrm>
            <a:off x="2066400" y="1418401"/>
            <a:ext cx="4006477" cy="468000"/>
            <a:chOff x="2138400" y="1443039"/>
            <a:chExt cx="4006477" cy="468000"/>
          </a:xfrm>
        </p:grpSpPr>
        <p:sp>
          <p:nvSpPr>
            <p:cNvPr id="31" name="Freihandform 30">
              <a:extLst>
                <a:ext uri="{FF2B5EF4-FFF2-40B4-BE49-F238E27FC236}">
                  <a16:creationId xmlns:a16="http://schemas.microsoft.com/office/drawing/2014/main" id="{3540863D-63B4-5C44-84A5-D70066EC6F3F}"/>
                </a:ext>
              </a:extLst>
            </p:cNvPr>
            <p:cNvSpPr/>
            <p:nvPr/>
          </p:nvSpPr>
          <p:spPr bwMode="gray">
            <a:xfrm>
              <a:off x="4991173" y="1443039"/>
              <a:ext cx="1153704" cy="468000"/>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66667E"/>
              </a:solidFill>
              <a:prstDash val="solid"/>
              <a:round/>
              <a:headEnd type="oval" w="lg" len="lg"/>
              <a:tailEnd type="none" w="med" len="med"/>
            </a:ln>
            <a:effectLst/>
          </p:spPr>
          <p:txBody>
            <a:bodyPr rtlCol="0" anchor="ctr"/>
            <a:lstStyle/>
            <a:p>
              <a:pPr algn="ctr"/>
              <a:endParaRPr lang="en-US" dirty="0">
                <a:ea typeface="Arial Unicode MS"/>
              </a:endParaRPr>
            </a:p>
          </p:txBody>
        </p:sp>
        <p:cxnSp>
          <p:nvCxnSpPr>
            <p:cNvPr id="32" name="Gerade Verbindung 31">
              <a:extLst>
                <a:ext uri="{FF2B5EF4-FFF2-40B4-BE49-F238E27FC236}">
                  <a16:creationId xmlns:a16="http://schemas.microsoft.com/office/drawing/2014/main" id="{1C654E5E-4D8F-9B4E-946B-6B51977A1740}"/>
                </a:ext>
              </a:extLst>
            </p:cNvPr>
            <p:cNvCxnSpPr>
              <a:cxnSpLocks/>
            </p:cNvCxnSpPr>
            <p:nvPr/>
          </p:nvCxnSpPr>
          <p:spPr bwMode="auto">
            <a:xfrm>
              <a:off x="2138400" y="1443039"/>
              <a:ext cx="2875398" cy="0"/>
            </a:xfrm>
            <a:prstGeom prst="line">
              <a:avLst/>
            </a:prstGeom>
            <a:noFill/>
            <a:ln w="12700" cap="flat" cmpd="sng" algn="ctr">
              <a:solidFill>
                <a:srgbClr val="66667E"/>
              </a:solidFill>
              <a:prstDash val="solid"/>
              <a:round/>
              <a:headEnd type="none" w="med" len="med"/>
              <a:tailEnd type="none" w="med" len="med"/>
            </a:ln>
            <a:effectLst/>
          </p:spPr>
        </p:cxnSp>
      </p:grpSp>
      <p:sp>
        <p:nvSpPr>
          <p:cNvPr id="9" name="Titel 8">
            <a:extLst>
              <a:ext uri="{FF2B5EF4-FFF2-40B4-BE49-F238E27FC236}">
                <a16:creationId xmlns:a16="http://schemas.microsoft.com/office/drawing/2014/main" id="{30916218-0FE7-DA40-850A-7231E8C46B1B}"/>
              </a:ext>
            </a:extLst>
          </p:cNvPr>
          <p:cNvSpPr>
            <a:spLocks noGrp="1"/>
          </p:cNvSpPr>
          <p:nvPr>
            <p:ph type="title"/>
          </p:nvPr>
        </p:nvSpPr>
        <p:spPr/>
        <p:txBody>
          <a:bodyPr/>
          <a:lstStyle/>
          <a:p>
            <a:r>
              <a:rPr lang="en-US" dirty="0"/>
              <a:t>Change management</a:t>
            </a:r>
            <a:endParaRPr lang="de-DE" dirty="0"/>
          </a:p>
        </p:txBody>
      </p:sp>
      <p:sp>
        <p:nvSpPr>
          <p:cNvPr id="3" name="Fußzeilenplatzhalter 2">
            <a:extLst>
              <a:ext uri="{FF2B5EF4-FFF2-40B4-BE49-F238E27FC236}">
                <a16:creationId xmlns:a16="http://schemas.microsoft.com/office/drawing/2014/main" id="{6944935C-0A56-F643-B740-58DF1DF54D92}"/>
              </a:ext>
            </a:extLst>
          </p:cNvPr>
          <p:cNvSpPr>
            <a:spLocks noGrp="1"/>
          </p:cNvSpPr>
          <p:nvPr>
            <p:ph type="ftr" sz="quarter" idx="10"/>
          </p:nvPr>
        </p:nvSpPr>
        <p:spPr/>
        <p:txBody>
          <a:bodyPr/>
          <a:lstStyle/>
          <a:p>
            <a:r>
              <a:rPr lang="en-US" dirty="0"/>
              <a:t>Restricted | © Siemens 20XX | Author | Department | YYYY-MM-DD</a:t>
            </a:r>
          </a:p>
        </p:txBody>
      </p:sp>
      <p:sp>
        <p:nvSpPr>
          <p:cNvPr id="4" name="Foliennummernplatzhalter 3">
            <a:extLst>
              <a:ext uri="{FF2B5EF4-FFF2-40B4-BE49-F238E27FC236}">
                <a16:creationId xmlns:a16="http://schemas.microsoft.com/office/drawing/2014/main" id="{47EA469E-CFF4-9C45-9AEE-0BE7E3565C9B}"/>
              </a:ext>
            </a:extLst>
          </p:cNvPr>
          <p:cNvSpPr>
            <a:spLocks noGrp="1"/>
          </p:cNvSpPr>
          <p:nvPr>
            <p:ph type="sldNum" sz="quarter" idx="11"/>
          </p:nvPr>
        </p:nvSpPr>
        <p:spPr/>
        <p:txBody>
          <a:bodyPr/>
          <a:lstStyle/>
          <a:p>
            <a:r>
              <a:rPr lang="en-US" dirty="0"/>
              <a:t>Page </a:t>
            </a:r>
            <a:fld id="{15EBE321-CBB1-4E91-BD14-37C8D44326FB}" type="slidenum">
              <a:rPr lang="en-US" smtClean="0"/>
              <a:pPr/>
              <a:t>40</a:t>
            </a:fld>
            <a:endParaRPr lang="en-US" dirty="0"/>
          </a:p>
        </p:txBody>
      </p:sp>
      <p:sp>
        <p:nvSpPr>
          <p:cNvPr id="44" name="Rechteck 28">
            <a:extLst>
              <a:ext uri="{FF2B5EF4-FFF2-40B4-BE49-F238E27FC236}">
                <a16:creationId xmlns:a16="http://schemas.microsoft.com/office/drawing/2014/main" id="{F4E8E238-36F8-364B-98F5-78CE37B0BAA2}"/>
              </a:ext>
            </a:extLst>
          </p:cNvPr>
          <p:cNvSpPr/>
          <p:nvPr/>
        </p:nvSpPr>
        <p:spPr bwMode="gray">
          <a:xfrm>
            <a:off x="2066400" y="1418400"/>
            <a:ext cx="1871625" cy="897338"/>
          </a:xfrm>
          <a:prstGeom prst="rect">
            <a:avLst/>
          </a:prstGeom>
          <a:noFill/>
          <a:ln w="19050">
            <a:noFill/>
            <a:miter lim="800000"/>
          </a:ln>
          <a:effectLst/>
        </p:spPr>
        <p:txBody>
          <a:bodyPr wrap="square" lIns="0" tIns="72000" rIns="0" bIns="108000" numCol="1" spcCol="72000" rtlCol="0" anchor="t" anchorCtr="0">
            <a:spAutoFit/>
          </a:bodyPr>
          <a:lstStyle/>
          <a:p>
            <a:pPr>
              <a:spcBef>
                <a:spcPts val="0"/>
              </a:spcBef>
              <a:defRPr/>
            </a:pPr>
            <a:r>
              <a:rPr lang="en-US" altLang="de-DE" sz="1600" b="1" dirty="0">
                <a:solidFill>
                  <a:schemeClr val="accent1"/>
                </a:solidFill>
                <a:ea typeface="Arial Unicode MS"/>
              </a:rPr>
              <a:t>Duis arcu tortor, suscipit eget</a:t>
            </a:r>
          </a:p>
          <a:p>
            <a:pPr marL="0" lvl="1">
              <a:spcBef>
                <a:spcPts val="300"/>
              </a:spcBef>
              <a:buClr>
                <a:srgbClr val="3C464B"/>
              </a:buClr>
              <a:defRPr/>
            </a:pPr>
            <a:r>
              <a:rPr lang="en-US" altLang="de-DE" sz="1200" dirty="0">
                <a:solidFill>
                  <a:srgbClr val="66667E"/>
                </a:solidFill>
                <a:ea typeface="Arial Unicode MS"/>
                <a:cs typeface="Arial" pitchFamily="34" charset="0"/>
              </a:rPr>
              <a:t>At vero eos et accusam</a:t>
            </a:r>
          </a:p>
        </p:txBody>
      </p:sp>
      <p:sp>
        <p:nvSpPr>
          <p:cNvPr id="45" name="Rechteck 28">
            <a:extLst>
              <a:ext uri="{FF2B5EF4-FFF2-40B4-BE49-F238E27FC236}">
                <a16:creationId xmlns:a16="http://schemas.microsoft.com/office/drawing/2014/main" id="{CE3FE00B-1DAB-F940-8C47-8C17E6AE3623}"/>
              </a:ext>
            </a:extLst>
          </p:cNvPr>
          <p:cNvSpPr/>
          <p:nvPr/>
        </p:nvSpPr>
        <p:spPr bwMode="gray">
          <a:xfrm>
            <a:off x="411163" y="2890800"/>
            <a:ext cx="2520000" cy="1020449"/>
          </a:xfrm>
          <a:prstGeom prst="rect">
            <a:avLst/>
          </a:prstGeom>
          <a:noFill/>
          <a:ln w="19050">
            <a:noFill/>
            <a:miter lim="800000"/>
          </a:ln>
          <a:effectLst/>
        </p:spPr>
        <p:txBody>
          <a:bodyPr wrap="square" lIns="0" tIns="72000" rIns="0" bIns="108000" numCol="1" spcCol="72000" rtlCol="0" anchor="t" anchorCtr="0">
            <a:spAutoFit/>
          </a:bodyPr>
          <a:lstStyle/>
          <a:p>
            <a:pPr>
              <a:spcBef>
                <a:spcPts val="0"/>
              </a:spcBef>
              <a:defRPr/>
            </a:pPr>
            <a:r>
              <a:rPr lang="en-US" altLang="de-DE" sz="1600" b="1" dirty="0">
                <a:solidFill>
                  <a:schemeClr val="accent1"/>
                </a:solidFill>
                <a:ea typeface="Arial Unicode MS"/>
              </a:rPr>
              <a:t>Phasellus nec sem</a:t>
            </a:r>
          </a:p>
          <a:p>
            <a:pPr marL="0" lvl="1">
              <a:spcBef>
                <a:spcPts val="300"/>
              </a:spcBef>
              <a:buClr>
                <a:srgbClr val="3C464B"/>
              </a:buClr>
              <a:defRPr/>
            </a:pPr>
            <a:r>
              <a:rPr lang="en-US" altLang="de-DE" sz="1200" dirty="0">
                <a:solidFill>
                  <a:srgbClr val="66667E"/>
                </a:solidFill>
                <a:ea typeface="Arial Unicode MS"/>
                <a:cs typeface="Arial" pitchFamily="34" charset="0"/>
              </a:rPr>
              <a:t>Cras ultricies mi eu</a:t>
            </a:r>
            <a:br>
              <a:rPr lang="en-US" altLang="de-DE" sz="1200" dirty="0">
                <a:solidFill>
                  <a:srgbClr val="66667E"/>
                </a:solidFill>
                <a:ea typeface="Arial Unicode MS"/>
                <a:cs typeface="Arial" pitchFamily="34" charset="0"/>
              </a:rPr>
            </a:br>
            <a:r>
              <a:rPr lang="en-US" altLang="de-DE" sz="1200" dirty="0">
                <a:solidFill>
                  <a:srgbClr val="66667E"/>
                </a:solidFill>
                <a:ea typeface="Arial Unicode MS"/>
                <a:cs typeface="Arial" pitchFamily="34" charset="0"/>
              </a:rPr>
              <a:t>At vero eos et accusam</a:t>
            </a:r>
            <a:br>
              <a:rPr lang="en-US" altLang="de-DE" sz="1200" dirty="0">
                <a:solidFill>
                  <a:srgbClr val="66667E"/>
                </a:solidFill>
                <a:ea typeface="Arial Unicode MS"/>
                <a:cs typeface="Arial" pitchFamily="34" charset="0"/>
              </a:rPr>
            </a:br>
            <a:r>
              <a:rPr lang="en-US" altLang="de-DE" sz="1200" dirty="0">
                <a:solidFill>
                  <a:srgbClr val="66667E"/>
                </a:solidFill>
                <a:ea typeface="Arial Unicode MS"/>
                <a:cs typeface="Arial" pitchFamily="34" charset="0"/>
              </a:rPr>
              <a:t>Duis arcu tortor, suscipit eget</a:t>
            </a:r>
          </a:p>
        </p:txBody>
      </p:sp>
      <p:sp>
        <p:nvSpPr>
          <p:cNvPr id="46" name="Rechteck 28">
            <a:extLst>
              <a:ext uri="{FF2B5EF4-FFF2-40B4-BE49-F238E27FC236}">
                <a16:creationId xmlns:a16="http://schemas.microsoft.com/office/drawing/2014/main" id="{F51A18EF-8818-BC45-A8DA-ACEFA39A0432}"/>
              </a:ext>
            </a:extLst>
          </p:cNvPr>
          <p:cNvSpPr/>
          <p:nvPr/>
        </p:nvSpPr>
        <p:spPr bwMode="gray">
          <a:xfrm>
            <a:off x="411163" y="5146351"/>
            <a:ext cx="2520000" cy="1020449"/>
          </a:xfrm>
          <a:prstGeom prst="rect">
            <a:avLst/>
          </a:prstGeom>
          <a:noFill/>
          <a:ln w="19050">
            <a:noFill/>
            <a:miter lim="800000"/>
          </a:ln>
          <a:effectLst/>
        </p:spPr>
        <p:txBody>
          <a:bodyPr wrap="square" lIns="0" tIns="72000" rIns="0" bIns="108000" numCol="1" spcCol="72000" rtlCol="0" anchor="b" anchorCtr="0">
            <a:spAutoFit/>
          </a:bodyPr>
          <a:lstStyle/>
          <a:p>
            <a:pPr>
              <a:spcBef>
                <a:spcPts val="0"/>
              </a:spcBef>
              <a:defRPr/>
            </a:pPr>
            <a:r>
              <a:rPr lang="en-US" altLang="de-DE" sz="1600" b="1" dirty="0">
                <a:solidFill>
                  <a:schemeClr val="accent1"/>
                </a:solidFill>
                <a:ea typeface="Arial Unicode MS"/>
              </a:rPr>
              <a:t>Cras ultricies mi eu</a:t>
            </a:r>
          </a:p>
          <a:p>
            <a:pPr marL="0" lvl="1">
              <a:spcBef>
                <a:spcPts val="300"/>
              </a:spcBef>
              <a:buClr>
                <a:srgbClr val="3C464B"/>
              </a:buClr>
              <a:defRPr/>
            </a:pPr>
            <a:r>
              <a:rPr lang="en-US" altLang="de-DE" sz="1200" dirty="0">
                <a:solidFill>
                  <a:srgbClr val="66667E"/>
                </a:solidFill>
                <a:ea typeface="Arial Unicode MS"/>
                <a:cs typeface="Arial" pitchFamily="34" charset="0"/>
              </a:rPr>
              <a:t>Stet clita kasd gubergren, no sea takimata sanctus est lorem ipsum dolor sit amet</a:t>
            </a:r>
          </a:p>
        </p:txBody>
      </p:sp>
      <p:sp>
        <p:nvSpPr>
          <p:cNvPr id="47" name="Rechteck 28">
            <a:extLst>
              <a:ext uri="{FF2B5EF4-FFF2-40B4-BE49-F238E27FC236}">
                <a16:creationId xmlns:a16="http://schemas.microsoft.com/office/drawing/2014/main" id="{06D27EE0-9682-8946-9B8C-169826F64111}"/>
              </a:ext>
            </a:extLst>
          </p:cNvPr>
          <p:cNvSpPr/>
          <p:nvPr/>
        </p:nvSpPr>
        <p:spPr bwMode="gray">
          <a:xfrm>
            <a:off x="9266400" y="5146351"/>
            <a:ext cx="2520000" cy="1020449"/>
          </a:xfrm>
          <a:prstGeom prst="rect">
            <a:avLst/>
          </a:prstGeom>
          <a:noFill/>
          <a:ln w="19050">
            <a:noFill/>
            <a:miter lim="800000"/>
          </a:ln>
          <a:effectLst/>
        </p:spPr>
        <p:txBody>
          <a:bodyPr wrap="square" lIns="0" tIns="72000" rIns="0" bIns="108000" numCol="1" spcCol="72000" rtlCol="0" anchor="b" anchorCtr="0">
            <a:spAutoFit/>
          </a:bodyPr>
          <a:lstStyle/>
          <a:p>
            <a:pPr algn="r">
              <a:spcBef>
                <a:spcPts val="0"/>
              </a:spcBef>
              <a:defRPr/>
            </a:pPr>
            <a:r>
              <a:rPr lang="en-US" altLang="de-DE" sz="1600" b="1" dirty="0">
                <a:solidFill>
                  <a:schemeClr val="accent1"/>
                </a:solidFill>
                <a:ea typeface="Arial Unicode MS"/>
              </a:rPr>
              <a:t>Phasellus nec sem</a:t>
            </a:r>
          </a:p>
          <a:p>
            <a:pPr marL="0" lvl="1" algn="r">
              <a:spcBef>
                <a:spcPts val="300"/>
              </a:spcBef>
              <a:buClr>
                <a:srgbClr val="3C464B"/>
              </a:buClr>
              <a:defRPr/>
            </a:pPr>
            <a:r>
              <a:rPr lang="en-US" altLang="de-DE" sz="1200" dirty="0">
                <a:solidFill>
                  <a:srgbClr val="66667E"/>
                </a:solidFill>
                <a:ea typeface="Arial Unicode MS"/>
                <a:cs typeface="Arial" pitchFamily="34" charset="0"/>
              </a:rPr>
              <a:t>Duis arcu tortor, suscipit eget, imperdiet nec, imperdiet </a:t>
            </a:r>
            <a:br>
              <a:rPr lang="en-US" altLang="de-DE" sz="1200" dirty="0">
                <a:solidFill>
                  <a:srgbClr val="66667E"/>
                </a:solidFill>
                <a:ea typeface="Arial Unicode MS"/>
                <a:cs typeface="Arial" pitchFamily="34" charset="0"/>
              </a:rPr>
            </a:br>
            <a:r>
              <a:rPr lang="en-US" altLang="de-DE" sz="1200" dirty="0">
                <a:solidFill>
                  <a:srgbClr val="66667E"/>
                </a:solidFill>
                <a:ea typeface="Arial Unicode MS"/>
                <a:cs typeface="Arial" pitchFamily="34" charset="0"/>
              </a:rPr>
              <a:t>iaculis, ipsum</a:t>
            </a:r>
          </a:p>
        </p:txBody>
      </p:sp>
      <p:sp>
        <p:nvSpPr>
          <p:cNvPr id="48" name="Rechteck 28">
            <a:extLst>
              <a:ext uri="{FF2B5EF4-FFF2-40B4-BE49-F238E27FC236}">
                <a16:creationId xmlns:a16="http://schemas.microsoft.com/office/drawing/2014/main" id="{0CAA6B90-2958-7345-8B02-D5316EB0A523}"/>
              </a:ext>
            </a:extLst>
          </p:cNvPr>
          <p:cNvSpPr/>
          <p:nvPr/>
        </p:nvSpPr>
        <p:spPr bwMode="gray">
          <a:xfrm>
            <a:off x="9266400" y="3067870"/>
            <a:ext cx="2520000" cy="835783"/>
          </a:xfrm>
          <a:prstGeom prst="rect">
            <a:avLst/>
          </a:prstGeom>
          <a:noFill/>
          <a:ln w="19050">
            <a:noFill/>
            <a:miter lim="800000"/>
          </a:ln>
          <a:effectLst/>
        </p:spPr>
        <p:txBody>
          <a:bodyPr wrap="square" lIns="0" tIns="72000" rIns="0" bIns="108000" numCol="1" spcCol="72000" rtlCol="0" anchor="t" anchorCtr="0">
            <a:spAutoFit/>
          </a:bodyPr>
          <a:lstStyle/>
          <a:p>
            <a:pPr algn="r">
              <a:spcBef>
                <a:spcPts val="0"/>
              </a:spcBef>
              <a:defRPr/>
            </a:pPr>
            <a:r>
              <a:rPr lang="en-US" altLang="de-DE" sz="1600" b="1" dirty="0">
                <a:solidFill>
                  <a:schemeClr val="accent1"/>
                </a:solidFill>
                <a:ea typeface="Arial Unicode MS"/>
              </a:rPr>
              <a:t>Cras ultricies mi eu</a:t>
            </a:r>
          </a:p>
          <a:p>
            <a:pPr marL="0" lvl="1" algn="r">
              <a:spcBef>
                <a:spcPts val="300"/>
              </a:spcBef>
              <a:buClr>
                <a:srgbClr val="3C464B"/>
              </a:buClr>
              <a:defRPr/>
            </a:pPr>
            <a:r>
              <a:rPr lang="en-US" altLang="de-DE" sz="1200" dirty="0">
                <a:solidFill>
                  <a:srgbClr val="66667E"/>
                </a:solidFill>
                <a:ea typeface="Arial Unicode MS"/>
                <a:cs typeface="Arial" pitchFamily="34" charset="0"/>
              </a:rPr>
              <a:t>At vero eos et accusam</a:t>
            </a:r>
            <a:br>
              <a:rPr lang="en-US" altLang="de-DE" sz="1200" dirty="0">
                <a:solidFill>
                  <a:srgbClr val="66667E"/>
                </a:solidFill>
                <a:ea typeface="Arial Unicode MS"/>
                <a:cs typeface="Arial" pitchFamily="34" charset="0"/>
              </a:rPr>
            </a:br>
            <a:r>
              <a:rPr lang="en-US" altLang="de-DE" sz="1200" dirty="0">
                <a:solidFill>
                  <a:srgbClr val="66667E"/>
                </a:solidFill>
                <a:ea typeface="Arial Unicode MS"/>
                <a:cs typeface="Arial" pitchFamily="34" charset="0"/>
              </a:rPr>
              <a:t>Cras ultricies mi eu</a:t>
            </a:r>
          </a:p>
        </p:txBody>
      </p:sp>
      <p:sp>
        <p:nvSpPr>
          <p:cNvPr id="56" name="Rectangle 35" hidden="1">
            <a:extLst>
              <a:ext uri="{FF2B5EF4-FFF2-40B4-BE49-F238E27FC236}">
                <a16:creationId xmlns:a16="http://schemas.microsoft.com/office/drawing/2014/main" id="{786C3AB0-E6DF-47EA-87DC-64588E45C6F7}"/>
              </a:ext>
            </a:extLst>
          </p:cNvPr>
          <p:cNvSpPr>
            <a:spLocks noChangeArrowheads="1"/>
          </p:cNvSpPr>
          <p:nvPr/>
        </p:nvSpPr>
        <p:spPr bwMode="gray">
          <a:xfrm rot="12960000">
            <a:off x="4527536" y="2083262"/>
            <a:ext cx="3348000" cy="3348000"/>
          </a:xfrm>
          <a:prstGeom prst="rect">
            <a:avLst/>
          </a:prstGeom>
          <a:noFill/>
          <a:ln w="9525">
            <a:noFill/>
            <a:miter lim="800000"/>
            <a:headEnd/>
            <a:tailEnd/>
          </a:ln>
        </p:spPr>
        <p:txBody>
          <a:bodyPr spcFirstLastPara="1" wrap="none" lIns="0" tIns="0" rIns="0" bIns="0" numCol="1">
            <a:prstTxWarp prst="textArchUp">
              <a:avLst>
                <a:gd name="adj" fmla="val 10800000"/>
              </a:avLst>
            </a:prstTxWarp>
            <a:sp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ctr">
              <a:spcBef>
                <a:spcPts val="0"/>
              </a:spcBef>
            </a:pPr>
            <a:r>
              <a:rPr lang="en-US" b="1" dirty="0">
                <a:solidFill>
                  <a:schemeClr val="bg1"/>
                </a:solidFill>
              </a:rPr>
              <a:t>Lorem ipsum</a:t>
            </a:r>
          </a:p>
        </p:txBody>
      </p:sp>
      <p:sp>
        <p:nvSpPr>
          <p:cNvPr id="61" name="Oval 60">
            <a:extLst>
              <a:ext uri="{FF2B5EF4-FFF2-40B4-BE49-F238E27FC236}">
                <a16:creationId xmlns:a16="http://schemas.microsoft.com/office/drawing/2014/main" id="{2DA615D5-4662-47ED-A61E-C4A2FDE1BA15}"/>
              </a:ext>
            </a:extLst>
          </p:cNvPr>
          <p:cNvSpPr/>
          <p:nvPr/>
        </p:nvSpPr>
        <p:spPr bwMode="auto">
          <a:xfrm>
            <a:off x="4004029" y="1689788"/>
            <a:ext cx="4191620" cy="4191618"/>
          </a:xfrm>
          <a:prstGeom prst="ellipse">
            <a:avLst/>
          </a:prstGeom>
          <a:solidFill>
            <a:srgbClr val="00646E"/>
          </a:solidFill>
          <a:ln w="0">
            <a:solidFill>
              <a:schemeClr val="bg1"/>
            </a:solidFill>
          </a:ln>
        </p:spPr>
        <p:txBody>
          <a:bodyPr wrap="square">
            <a:noAutofit/>
          </a:bodyPr>
          <a:lstStyle/>
          <a:p>
            <a:endParaRPr lang="en-US" dirty="0"/>
          </a:p>
        </p:txBody>
      </p:sp>
      <p:sp>
        <p:nvSpPr>
          <p:cNvPr id="17" name="Arc 45">
            <a:extLst>
              <a:ext uri="{FF2B5EF4-FFF2-40B4-BE49-F238E27FC236}">
                <a16:creationId xmlns:a16="http://schemas.microsoft.com/office/drawing/2014/main" id="{1C8AE969-3F80-5542-ADB5-16451FCFDB3B}"/>
              </a:ext>
            </a:extLst>
          </p:cNvPr>
          <p:cNvSpPr/>
          <p:nvPr/>
        </p:nvSpPr>
        <p:spPr bwMode="auto">
          <a:xfrm>
            <a:off x="3758568" y="1450950"/>
            <a:ext cx="4680000" cy="4680000"/>
          </a:xfrm>
          <a:prstGeom prst="arc">
            <a:avLst>
              <a:gd name="adj1" fmla="val 19112798"/>
              <a:gd name="adj2" fmla="val 18686695"/>
            </a:avLst>
          </a:prstGeom>
          <a:noFill/>
          <a:ln w="50800" cap="flat" cmpd="sng" algn="ctr">
            <a:gradFill>
              <a:gsLst>
                <a:gs pos="0">
                  <a:srgbClr val="00FFB9"/>
                </a:gs>
                <a:gs pos="100000">
                  <a:srgbClr val="00E6DC"/>
                </a:gs>
              </a:gsLst>
              <a:lin ang="5400000" scaled="1"/>
            </a:gradFill>
            <a:prstDash val="solid"/>
            <a:round/>
            <a:headEnd type="none" w="lg" len="lg"/>
            <a:tailEnd type="triangle" w="lg" len="med"/>
          </a:ln>
          <a:effectLst/>
        </p:spPr>
        <p:txBody>
          <a:bodyPr rtlCol="0" anchor="ctr"/>
          <a:lstStyle/>
          <a:p>
            <a:pPr algn="ctr"/>
            <a:endParaRPr lang="en-US" dirty="0"/>
          </a:p>
        </p:txBody>
      </p:sp>
      <p:grpSp>
        <p:nvGrpSpPr>
          <p:cNvPr id="5" name="Group 4">
            <a:extLst>
              <a:ext uri="{FF2B5EF4-FFF2-40B4-BE49-F238E27FC236}">
                <a16:creationId xmlns:a16="http://schemas.microsoft.com/office/drawing/2014/main" id="{1D23E4FE-3134-459B-9855-BCC0DDE8F1EA}"/>
              </a:ext>
            </a:extLst>
          </p:cNvPr>
          <p:cNvGrpSpPr/>
          <p:nvPr/>
        </p:nvGrpSpPr>
        <p:grpSpPr>
          <a:xfrm>
            <a:off x="4752793" y="2469154"/>
            <a:ext cx="2643590" cy="2643588"/>
            <a:chOff x="4752793" y="2469154"/>
            <a:chExt cx="2643590" cy="2643588"/>
          </a:xfrm>
        </p:grpSpPr>
        <p:sp>
          <p:nvSpPr>
            <p:cNvPr id="35" name="Oval 34">
              <a:extLst>
                <a:ext uri="{FF2B5EF4-FFF2-40B4-BE49-F238E27FC236}">
                  <a16:creationId xmlns:a16="http://schemas.microsoft.com/office/drawing/2014/main" id="{97595ED7-3BB8-474C-AFCF-77DDFA68AD8D}"/>
                </a:ext>
              </a:extLst>
            </p:cNvPr>
            <p:cNvSpPr/>
            <p:nvPr/>
          </p:nvSpPr>
          <p:spPr bwMode="auto">
            <a:xfrm>
              <a:off x="4752793" y="2469154"/>
              <a:ext cx="2643590" cy="2643588"/>
            </a:xfrm>
            <a:prstGeom prst="ellipse">
              <a:avLst/>
            </a:prstGeom>
            <a:solidFill>
              <a:srgbClr val="E5E5E9"/>
            </a:solidFill>
            <a:ln w="38100">
              <a:solidFill>
                <a:schemeClr val="bg1"/>
              </a:solidFill>
            </a:ln>
          </p:spPr>
          <p:txBody>
            <a:bodyPr wrap="square">
              <a:noAutofit/>
            </a:bodyPr>
            <a:lstStyle/>
            <a:p>
              <a:endParaRPr lang="en-US" dirty="0"/>
            </a:p>
          </p:txBody>
        </p:sp>
        <p:cxnSp>
          <p:nvCxnSpPr>
            <p:cNvPr id="36" name="Straight Connector 72">
              <a:extLst>
                <a:ext uri="{FF2B5EF4-FFF2-40B4-BE49-F238E27FC236}">
                  <a16:creationId xmlns:a16="http://schemas.microsoft.com/office/drawing/2014/main" id="{490B0691-654C-3441-913D-462A148163D2}"/>
                </a:ext>
              </a:extLst>
            </p:cNvPr>
            <p:cNvCxnSpPr>
              <a:cxnSpLocks/>
            </p:cNvCxnSpPr>
            <p:nvPr/>
          </p:nvCxnSpPr>
          <p:spPr bwMode="auto">
            <a:xfrm rot="3600000" flipH="1" flipV="1">
              <a:off x="5490292" y="4100711"/>
              <a:ext cx="1168592" cy="674687"/>
            </a:xfrm>
            <a:prstGeom prst="line">
              <a:avLst/>
            </a:prstGeom>
            <a:solidFill>
              <a:schemeClr val="tx2"/>
            </a:solidFill>
            <a:ln w="38100" cap="flat" cmpd="sng" algn="ctr">
              <a:solidFill>
                <a:schemeClr val="bg1"/>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Straight Connector 73">
              <a:extLst>
                <a:ext uri="{FF2B5EF4-FFF2-40B4-BE49-F238E27FC236}">
                  <a16:creationId xmlns:a16="http://schemas.microsoft.com/office/drawing/2014/main" id="{EDB33EB5-77FA-BC44-832D-2B23C9402A00}"/>
                </a:ext>
              </a:extLst>
            </p:cNvPr>
            <p:cNvCxnSpPr>
              <a:cxnSpLocks/>
            </p:cNvCxnSpPr>
            <p:nvPr/>
          </p:nvCxnSpPr>
          <p:spPr bwMode="auto">
            <a:xfrm rot="3600000">
              <a:off x="6646942" y="2799603"/>
              <a:ext cx="0" cy="1321794"/>
            </a:xfrm>
            <a:prstGeom prst="line">
              <a:avLst/>
            </a:prstGeom>
            <a:solidFill>
              <a:schemeClr val="tx2"/>
            </a:solidFill>
            <a:ln w="38100" cap="flat" cmpd="sng" algn="ctr">
              <a:solidFill>
                <a:schemeClr val="bg1"/>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Straight Connector 74">
              <a:extLst>
                <a:ext uri="{FF2B5EF4-FFF2-40B4-BE49-F238E27FC236}">
                  <a16:creationId xmlns:a16="http://schemas.microsoft.com/office/drawing/2014/main" id="{25221A5C-DBAA-C04A-9888-827363C45D4D}"/>
                </a:ext>
              </a:extLst>
            </p:cNvPr>
            <p:cNvCxnSpPr>
              <a:cxnSpLocks/>
            </p:cNvCxnSpPr>
            <p:nvPr/>
          </p:nvCxnSpPr>
          <p:spPr bwMode="auto">
            <a:xfrm rot="3600000" flipH="1">
              <a:off x="4929881" y="3130051"/>
              <a:ext cx="1164849" cy="672526"/>
            </a:xfrm>
            <a:prstGeom prst="line">
              <a:avLst/>
            </a:prstGeom>
            <a:solidFill>
              <a:schemeClr val="tx2"/>
            </a:solidFill>
            <a:ln w="38100" cap="flat" cmpd="sng" algn="ctr">
              <a:solidFill>
                <a:schemeClr val="bg1"/>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39" name="Rectangle 35">
            <a:extLst>
              <a:ext uri="{FF2B5EF4-FFF2-40B4-BE49-F238E27FC236}">
                <a16:creationId xmlns:a16="http://schemas.microsoft.com/office/drawing/2014/main" id="{546F3BA4-EAC5-824A-966C-48D23D28BF13}"/>
              </a:ext>
            </a:extLst>
          </p:cNvPr>
          <p:cNvSpPr>
            <a:spLocks noChangeArrowheads="1"/>
          </p:cNvSpPr>
          <p:nvPr/>
        </p:nvSpPr>
        <p:spPr bwMode="gray">
          <a:xfrm>
            <a:off x="4425839" y="2111597"/>
            <a:ext cx="3348000" cy="3348000"/>
          </a:xfrm>
          <a:prstGeom prst="rect">
            <a:avLst/>
          </a:prstGeom>
          <a:noFill/>
          <a:ln w="9525">
            <a:noFill/>
            <a:miter lim="800000"/>
            <a:headEnd/>
            <a:tailEnd/>
          </a:ln>
        </p:spPr>
        <p:txBody>
          <a:bodyPr spcFirstLastPara="1" wrap="none" lIns="0" tIns="0" rIns="0" bIns="0" numCol="1">
            <a:prstTxWarp prst="textArchUp">
              <a:avLst>
                <a:gd name="adj" fmla="val 10800000"/>
              </a:avLst>
            </a:prstTxWarp>
            <a:sp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ctr">
              <a:spcBef>
                <a:spcPts val="0"/>
              </a:spcBef>
            </a:pPr>
            <a:r>
              <a:rPr lang="en-US" b="1" dirty="0">
                <a:solidFill>
                  <a:schemeClr val="bg1"/>
                </a:solidFill>
                <a:latin typeface="+mn-lt"/>
              </a:rPr>
              <a:t>Lorem ipsum</a:t>
            </a:r>
          </a:p>
        </p:txBody>
      </p:sp>
      <p:sp>
        <p:nvSpPr>
          <p:cNvPr id="42" name="Rectangle 35">
            <a:extLst>
              <a:ext uri="{FF2B5EF4-FFF2-40B4-BE49-F238E27FC236}">
                <a16:creationId xmlns:a16="http://schemas.microsoft.com/office/drawing/2014/main" id="{201400AA-F140-F848-8913-62F0135E9994}"/>
              </a:ext>
            </a:extLst>
          </p:cNvPr>
          <p:cNvSpPr>
            <a:spLocks noChangeArrowheads="1"/>
          </p:cNvSpPr>
          <p:nvPr/>
        </p:nvSpPr>
        <p:spPr bwMode="gray">
          <a:xfrm rot="19440000">
            <a:off x="4353839" y="2039597"/>
            <a:ext cx="3492000" cy="3492000"/>
          </a:xfrm>
          <a:prstGeom prst="rect">
            <a:avLst/>
          </a:prstGeom>
          <a:noFill/>
          <a:ln w="9525">
            <a:noFill/>
            <a:miter lim="800000"/>
            <a:headEnd/>
            <a:tailEnd/>
          </a:ln>
        </p:spPr>
        <p:txBody>
          <a:bodyPr spcFirstLastPara="1" wrap="none" lIns="0" tIns="0" rIns="0" bIns="0" numCol="1">
            <a:prstTxWarp prst="textArchDown">
              <a:avLst/>
            </a:prstTxWarp>
            <a:sp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ctr">
              <a:spcBef>
                <a:spcPts val="0"/>
              </a:spcBef>
            </a:pPr>
            <a:r>
              <a:rPr lang="en-US" b="1" dirty="0">
                <a:solidFill>
                  <a:schemeClr val="bg1"/>
                </a:solidFill>
                <a:latin typeface="+mn-lt"/>
              </a:rPr>
              <a:t>Dolore</a:t>
            </a:r>
          </a:p>
        </p:txBody>
      </p:sp>
      <p:sp>
        <p:nvSpPr>
          <p:cNvPr id="49" name="Ellipse 63">
            <a:extLst>
              <a:ext uri="{FF2B5EF4-FFF2-40B4-BE49-F238E27FC236}">
                <a16:creationId xmlns:a16="http://schemas.microsoft.com/office/drawing/2014/main" id="{6AC5A663-0B99-B541-B17C-0849A8700676}"/>
              </a:ext>
            </a:extLst>
          </p:cNvPr>
          <p:cNvSpPr>
            <a:spLocks/>
          </p:cNvSpPr>
          <p:nvPr/>
        </p:nvSpPr>
        <p:spPr bwMode="gray">
          <a:xfrm>
            <a:off x="5579854" y="3254373"/>
            <a:ext cx="965200" cy="965200"/>
          </a:xfrm>
          <a:prstGeom prst="ellipse">
            <a:avLst/>
          </a:prstGeom>
          <a:solidFill>
            <a:srgbClr val="41AAAA"/>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t>Change</a:t>
            </a:r>
          </a:p>
        </p:txBody>
      </p:sp>
      <p:sp>
        <p:nvSpPr>
          <p:cNvPr id="50" name="Rectangle 15">
            <a:extLst>
              <a:ext uri="{FF2B5EF4-FFF2-40B4-BE49-F238E27FC236}">
                <a16:creationId xmlns:a16="http://schemas.microsoft.com/office/drawing/2014/main" id="{17ECAAC6-097C-E242-ADCB-B4035B33C525}"/>
              </a:ext>
            </a:extLst>
          </p:cNvPr>
          <p:cNvSpPr/>
          <p:nvPr/>
        </p:nvSpPr>
        <p:spPr>
          <a:xfrm>
            <a:off x="5702474" y="2653208"/>
            <a:ext cx="838691" cy="369332"/>
          </a:xfrm>
          <a:prstGeom prst="rect">
            <a:avLst/>
          </a:prstGeom>
        </p:spPr>
        <p:txBody>
          <a:bodyPr wrap="none">
            <a:spAutoFit/>
          </a:bodyPr>
          <a:lstStyle/>
          <a:p>
            <a:pPr algn="ctr">
              <a:spcBef>
                <a:spcPts val="0"/>
              </a:spcBef>
            </a:pPr>
            <a:r>
              <a:rPr lang="en-US" dirty="0">
                <a:solidFill>
                  <a:srgbClr val="66667E"/>
                </a:solidFill>
              </a:rPr>
              <a:t>Lorem</a:t>
            </a:r>
          </a:p>
        </p:txBody>
      </p:sp>
      <p:sp>
        <p:nvSpPr>
          <p:cNvPr id="51" name="Rectangle 66">
            <a:extLst>
              <a:ext uri="{FF2B5EF4-FFF2-40B4-BE49-F238E27FC236}">
                <a16:creationId xmlns:a16="http://schemas.microsoft.com/office/drawing/2014/main" id="{30E5250D-71E0-C84E-B2AF-7A9F63436656}"/>
              </a:ext>
            </a:extLst>
          </p:cNvPr>
          <p:cNvSpPr/>
          <p:nvPr/>
        </p:nvSpPr>
        <p:spPr>
          <a:xfrm rot="18000000">
            <a:off x="6568488" y="4093224"/>
            <a:ext cx="813043" cy="369332"/>
          </a:xfrm>
          <a:prstGeom prst="rect">
            <a:avLst/>
          </a:prstGeom>
        </p:spPr>
        <p:txBody>
          <a:bodyPr wrap="none">
            <a:spAutoFit/>
          </a:bodyPr>
          <a:lstStyle/>
          <a:p>
            <a:pPr algn="ctr">
              <a:spcBef>
                <a:spcPts val="0"/>
              </a:spcBef>
            </a:pPr>
            <a:r>
              <a:rPr lang="en-US" dirty="0">
                <a:solidFill>
                  <a:srgbClr val="66667E"/>
                </a:solidFill>
              </a:rPr>
              <a:t>Ipsum</a:t>
            </a:r>
          </a:p>
        </p:txBody>
      </p:sp>
      <p:sp>
        <p:nvSpPr>
          <p:cNvPr id="52" name="Rectangle 67">
            <a:extLst>
              <a:ext uri="{FF2B5EF4-FFF2-40B4-BE49-F238E27FC236}">
                <a16:creationId xmlns:a16="http://schemas.microsoft.com/office/drawing/2014/main" id="{E2770ACA-4889-9048-96CE-1150EF5FC247}"/>
              </a:ext>
            </a:extLst>
          </p:cNvPr>
          <p:cNvSpPr/>
          <p:nvPr/>
        </p:nvSpPr>
        <p:spPr>
          <a:xfrm rot="3600000">
            <a:off x="4792499" y="4078725"/>
            <a:ext cx="864339" cy="369332"/>
          </a:xfrm>
          <a:prstGeom prst="rect">
            <a:avLst/>
          </a:prstGeom>
        </p:spPr>
        <p:txBody>
          <a:bodyPr wrap="none">
            <a:spAutoFit/>
          </a:bodyPr>
          <a:lstStyle/>
          <a:p>
            <a:pPr algn="ctr">
              <a:spcBef>
                <a:spcPts val="0"/>
              </a:spcBef>
            </a:pPr>
            <a:r>
              <a:rPr lang="en-US" dirty="0">
                <a:solidFill>
                  <a:srgbClr val="66667E"/>
                </a:solidFill>
              </a:rPr>
              <a:t>Dolore</a:t>
            </a:r>
          </a:p>
        </p:txBody>
      </p:sp>
      <p:sp>
        <p:nvSpPr>
          <p:cNvPr id="53" name="Ellipse 63">
            <a:extLst>
              <a:ext uri="{FF2B5EF4-FFF2-40B4-BE49-F238E27FC236}">
                <a16:creationId xmlns:a16="http://schemas.microsoft.com/office/drawing/2014/main" id="{897EA3C3-5DB4-A340-9AE6-47BFF1035F14}"/>
              </a:ext>
            </a:extLst>
          </p:cNvPr>
          <p:cNvSpPr>
            <a:spLocks/>
          </p:cNvSpPr>
          <p:nvPr/>
        </p:nvSpPr>
        <p:spPr bwMode="gray">
          <a:xfrm>
            <a:off x="5422365" y="3123339"/>
            <a:ext cx="1304445" cy="1304445"/>
          </a:xfrm>
          <a:prstGeom prst="ellipse">
            <a:avLst/>
          </a:prstGeom>
          <a:solidFill>
            <a:schemeClr val="bg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a:solidFill>
                  <a:srgbClr val="66667E"/>
                </a:solidFill>
              </a:rPr>
              <a:t>Lorem</a:t>
            </a:r>
            <a:br>
              <a:rPr lang="en-US" b="1" dirty="0">
                <a:solidFill>
                  <a:srgbClr val="66667E"/>
                </a:solidFill>
              </a:rPr>
            </a:br>
            <a:r>
              <a:rPr lang="en-US" b="1" dirty="0">
                <a:solidFill>
                  <a:srgbClr val="66667E"/>
                </a:solidFill>
              </a:rPr>
              <a:t>ipsum</a:t>
            </a:r>
          </a:p>
        </p:txBody>
      </p:sp>
      <p:sp>
        <p:nvSpPr>
          <p:cNvPr id="54" name="Rectangle 35">
            <a:extLst>
              <a:ext uri="{FF2B5EF4-FFF2-40B4-BE49-F238E27FC236}">
                <a16:creationId xmlns:a16="http://schemas.microsoft.com/office/drawing/2014/main" id="{323A338D-46AD-4240-AA34-8FC595E3DDC1}"/>
              </a:ext>
            </a:extLst>
          </p:cNvPr>
          <p:cNvSpPr>
            <a:spLocks noChangeArrowheads="1"/>
          </p:cNvSpPr>
          <p:nvPr/>
        </p:nvSpPr>
        <p:spPr bwMode="gray">
          <a:xfrm rot="4320000">
            <a:off x="4425839" y="2111597"/>
            <a:ext cx="3348000" cy="3348000"/>
          </a:xfrm>
          <a:prstGeom prst="rect">
            <a:avLst/>
          </a:prstGeom>
          <a:noFill/>
          <a:ln w="9525">
            <a:noFill/>
            <a:miter lim="800000"/>
            <a:headEnd/>
            <a:tailEnd/>
          </a:ln>
        </p:spPr>
        <p:txBody>
          <a:bodyPr spcFirstLastPara="1" wrap="none" lIns="0" tIns="0" rIns="0" bIns="0" numCol="1">
            <a:prstTxWarp prst="textArchUp">
              <a:avLst>
                <a:gd name="adj" fmla="val 10800000"/>
              </a:avLst>
            </a:prstTxWarp>
            <a:sp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ctr">
              <a:spcBef>
                <a:spcPts val="0"/>
              </a:spcBef>
            </a:pPr>
            <a:r>
              <a:rPr lang="en-US" b="1" dirty="0">
                <a:solidFill>
                  <a:schemeClr val="bg1"/>
                </a:solidFill>
                <a:latin typeface="+mn-lt"/>
              </a:rPr>
              <a:t>Ipsum delare</a:t>
            </a:r>
          </a:p>
        </p:txBody>
      </p:sp>
      <p:sp>
        <p:nvSpPr>
          <p:cNvPr id="57" name="Rectangle 35">
            <a:extLst>
              <a:ext uri="{FF2B5EF4-FFF2-40B4-BE49-F238E27FC236}">
                <a16:creationId xmlns:a16="http://schemas.microsoft.com/office/drawing/2014/main" id="{C5B21BB5-D6A2-4EFC-9FBA-D5E2CF1D97B6}"/>
              </a:ext>
            </a:extLst>
          </p:cNvPr>
          <p:cNvSpPr>
            <a:spLocks noChangeArrowheads="1"/>
          </p:cNvSpPr>
          <p:nvPr/>
        </p:nvSpPr>
        <p:spPr bwMode="gray">
          <a:xfrm rot="17280000">
            <a:off x="4425839" y="2111597"/>
            <a:ext cx="3348000" cy="3348000"/>
          </a:xfrm>
          <a:prstGeom prst="rect">
            <a:avLst/>
          </a:prstGeom>
          <a:noFill/>
          <a:ln w="9525">
            <a:noFill/>
            <a:miter lim="800000"/>
            <a:headEnd/>
            <a:tailEnd/>
          </a:ln>
        </p:spPr>
        <p:txBody>
          <a:bodyPr spcFirstLastPara="1" wrap="none" lIns="0" tIns="0" rIns="0" bIns="0" numCol="1">
            <a:prstTxWarp prst="textArchUp">
              <a:avLst>
                <a:gd name="adj" fmla="val 10800000"/>
              </a:avLst>
            </a:prstTxWarp>
            <a:sp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ctr">
              <a:spcBef>
                <a:spcPts val="0"/>
              </a:spcBef>
            </a:pPr>
            <a:r>
              <a:rPr lang="en-US" b="1" dirty="0">
                <a:solidFill>
                  <a:schemeClr val="bg1"/>
                </a:solidFill>
                <a:latin typeface="+mn-lt"/>
              </a:rPr>
              <a:t>Conses</a:t>
            </a:r>
          </a:p>
        </p:txBody>
      </p:sp>
      <p:sp>
        <p:nvSpPr>
          <p:cNvPr id="60" name="Rectangle 35">
            <a:extLst>
              <a:ext uri="{FF2B5EF4-FFF2-40B4-BE49-F238E27FC236}">
                <a16:creationId xmlns:a16="http://schemas.microsoft.com/office/drawing/2014/main" id="{AFBD2F34-095D-4AE8-B3C6-E21184B5879B}"/>
              </a:ext>
            </a:extLst>
          </p:cNvPr>
          <p:cNvSpPr>
            <a:spLocks noChangeArrowheads="1"/>
          </p:cNvSpPr>
          <p:nvPr/>
        </p:nvSpPr>
        <p:spPr bwMode="gray">
          <a:xfrm rot="2160000">
            <a:off x="4353839" y="2039597"/>
            <a:ext cx="3492000" cy="3492000"/>
          </a:xfrm>
          <a:prstGeom prst="rect">
            <a:avLst/>
          </a:prstGeom>
          <a:noFill/>
          <a:ln w="9525">
            <a:noFill/>
            <a:miter lim="800000"/>
            <a:headEnd/>
            <a:tailEnd/>
          </a:ln>
        </p:spPr>
        <p:txBody>
          <a:bodyPr spcFirstLastPara="1" wrap="none" lIns="0" tIns="0" rIns="0" bIns="0" numCol="1">
            <a:prstTxWarp prst="textArchDown">
              <a:avLst/>
            </a:prstTxWarp>
            <a:sp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ctr">
              <a:spcBef>
                <a:spcPts val="0"/>
              </a:spcBef>
            </a:pPr>
            <a:r>
              <a:rPr lang="en-US" b="1" dirty="0">
                <a:solidFill>
                  <a:schemeClr val="bg1"/>
                </a:solidFill>
                <a:latin typeface="+mn-lt"/>
              </a:rPr>
              <a:t>Esta respridate</a:t>
            </a:r>
          </a:p>
        </p:txBody>
      </p:sp>
    </p:spTree>
    <p:extLst>
      <p:ext uri="{BB962C8B-B14F-4D97-AF65-F5344CB8AC3E}">
        <p14:creationId xmlns:p14="http://schemas.microsoft.com/office/powerpoint/2010/main" val="212571120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uppieren 17">
            <a:extLst>
              <a:ext uri="{FF2B5EF4-FFF2-40B4-BE49-F238E27FC236}">
                <a16:creationId xmlns:a16="http://schemas.microsoft.com/office/drawing/2014/main" id="{F3F0E6A3-B696-9A41-A496-B84C25D7C386}"/>
              </a:ext>
            </a:extLst>
          </p:cNvPr>
          <p:cNvGrpSpPr/>
          <p:nvPr/>
        </p:nvGrpSpPr>
        <p:grpSpPr>
          <a:xfrm>
            <a:off x="411163" y="5338971"/>
            <a:ext cx="4550458" cy="827829"/>
            <a:chOff x="411163" y="5354970"/>
            <a:chExt cx="4550458" cy="827829"/>
          </a:xfrm>
        </p:grpSpPr>
        <p:sp>
          <p:nvSpPr>
            <p:cNvPr id="19" name="Freihandform 18">
              <a:extLst>
                <a:ext uri="{FF2B5EF4-FFF2-40B4-BE49-F238E27FC236}">
                  <a16:creationId xmlns:a16="http://schemas.microsoft.com/office/drawing/2014/main" id="{7F993AEA-7345-6648-BBD5-D6314BA2EFEC}"/>
                </a:ext>
              </a:extLst>
            </p:cNvPr>
            <p:cNvSpPr>
              <a:spLocks/>
            </p:cNvSpPr>
            <p:nvPr/>
          </p:nvSpPr>
          <p:spPr bwMode="gray">
            <a:xfrm flipV="1">
              <a:off x="3305963" y="5354970"/>
              <a:ext cx="1655658" cy="827829"/>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9999A9"/>
              </a:solidFill>
              <a:prstDash val="solid"/>
              <a:round/>
              <a:headEnd type="oval" w="lg" len="lg"/>
              <a:tailEnd type="none" w="med" len="med"/>
            </a:ln>
            <a:effectLst/>
          </p:spPr>
          <p:txBody>
            <a:bodyPr rtlCol="0" anchor="ctr"/>
            <a:lstStyle/>
            <a:p>
              <a:pPr algn="ctr"/>
              <a:endParaRPr lang="en-US" dirty="0">
                <a:ea typeface="Arial Unicode MS"/>
              </a:endParaRPr>
            </a:p>
          </p:txBody>
        </p:sp>
        <p:cxnSp>
          <p:nvCxnSpPr>
            <p:cNvPr id="20" name="Gerade Verbindung 19">
              <a:extLst>
                <a:ext uri="{FF2B5EF4-FFF2-40B4-BE49-F238E27FC236}">
                  <a16:creationId xmlns:a16="http://schemas.microsoft.com/office/drawing/2014/main" id="{840292C0-D50C-214D-AF73-CF712972C54A}"/>
                </a:ext>
              </a:extLst>
            </p:cNvPr>
            <p:cNvCxnSpPr>
              <a:cxnSpLocks/>
              <a:endCxn id="19" idx="2"/>
            </p:cNvCxnSpPr>
            <p:nvPr/>
          </p:nvCxnSpPr>
          <p:spPr bwMode="auto">
            <a:xfrm>
              <a:off x="411163" y="6182799"/>
              <a:ext cx="2894800" cy="0"/>
            </a:xfrm>
            <a:prstGeom prst="line">
              <a:avLst/>
            </a:prstGeom>
            <a:noFill/>
            <a:ln w="12700" cap="flat" cmpd="sng" algn="ctr">
              <a:solidFill>
                <a:srgbClr val="9999A9"/>
              </a:solidFill>
              <a:prstDash val="solid"/>
              <a:round/>
              <a:headEnd type="none" w="med" len="med"/>
              <a:tailEnd type="none" w="med" len="med"/>
            </a:ln>
            <a:effectLst/>
          </p:spPr>
        </p:cxnSp>
      </p:grpSp>
      <p:grpSp>
        <p:nvGrpSpPr>
          <p:cNvPr id="21" name="Gruppieren 20">
            <a:extLst>
              <a:ext uri="{FF2B5EF4-FFF2-40B4-BE49-F238E27FC236}">
                <a16:creationId xmlns:a16="http://schemas.microsoft.com/office/drawing/2014/main" id="{AD3B0D00-CCAA-8847-BE3B-FE42E5F1A72F}"/>
              </a:ext>
            </a:extLst>
          </p:cNvPr>
          <p:cNvGrpSpPr/>
          <p:nvPr/>
        </p:nvGrpSpPr>
        <p:grpSpPr>
          <a:xfrm>
            <a:off x="7180367" y="5338971"/>
            <a:ext cx="4606822" cy="840869"/>
            <a:chOff x="7180367" y="5354970"/>
            <a:chExt cx="4535383" cy="827829"/>
          </a:xfrm>
        </p:grpSpPr>
        <p:sp>
          <p:nvSpPr>
            <p:cNvPr id="22" name="Freihandform 21">
              <a:extLst>
                <a:ext uri="{FF2B5EF4-FFF2-40B4-BE49-F238E27FC236}">
                  <a16:creationId xmlns:a16="http://schemas.microsoft.com/office/drawing/2014/main" id="{72D62416-D230-9C40-B964-CEEA1B918F75}"/>
                </a:ext>
              </a:extLst>
            </p:cNvPr>
            <p:cNvSpPr>
              <a:spLocks/>
            </p:cNvSpPr>
            <p:nvPr/>
          </p:nvSpPr>
          <p:spPr bwMode="gray">
            <a:xfrm flipH="1" flipV="1">
              <a:off x="7180367" y="5354970"/>
              <a:ext cx="1655658" cy="827829"/>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9999A9"/>
              </a:solidFill>
              <a:prstDash val="solid"/>
              <a:round/>
              <a:headEnd type="oval" w="lg" len="lg"/>
              <a:tailEnd type="none" w="med" len="med"/>
            </a:ln>
            <a:effectLst/>
          </p:spPr>
          <p:txBody>
            <a:bodyPr rtlCol="0" anchor="ctr"/>
            <a:lstStyle/>
            <a:p>
              <a:pPr algn="ctr"/>
              <a:endParaRPr lang="en-US" dirty="0">
                <a:ea typeface="Arial Unicode MS"/>
              </a:endParaRPr>
            </a:p>
          </p:txBody>
        </p:sp>
        <p:cxnSp>
          <p:nvCxnSpPr>
            <p:cNvPr id="23" name="Gerade Verbindung 22">
              <a:extLst>
                <a:ext uri="{FF2B5EF4-FFF2-40B4-BE49-F238E27FC236}">
                  <a16:creationId xmlns:a16="http://schemas.microsoft.com/office/drawing/2014/main" id="{0CA87194-8D03-CE43-A746-D63325AE0E28}"/>
                </a:ext>
              </a:extLst>
            </p:cNvPr>
            <p:cNvCxnSpPr>
              <a:cxnSpLocks/>
              <a:stCxn id="22" idx="2"/>
            </p:cNvCxnSpPr>
            <p:nvPr/>
          </p:nvCxnSpPr>
          <p:spPr bwMode="auto">
            <a:xfrm>
              <a:off x="8836025" y="6182799"/>
              <a:ext cx="2879725" cy="0"/>
            </a:xfrm>
            <a:prstGeom prst="line">
              <a:avLst/>
            </a:prstGeom>
            <a:noFill/>
            <a:ln w="12700" cap="flat" cmpd="sng" algn="ctr">
              <a:solidFill>
                <a:srgbClr val="9999A9"/>
              </a:solidFill>
              <a:prstDash val="solid"/>
              <a:round/>
              <a:headEnd type="none" w="med" len="med"/>
              <a:tailEnd type="none" w="med" len="med"/>
            </a:ln>
            <a:effectLst/>
          </p:spPr>
        </p:cxnSp>
      </p:grpSp>
      <p:grpSp>
        <p:nvGrpSpPr>
          <p:cNvPr id="24" name="Gruppieren 23">
            <a:extLst>
              <a:ext uri="{FF2B5EF4-FFF2-40B4-BE49-F238E27FC236}">
                <a16:creationId xmlns:a16="http://schemas.microsoft.com/office/drawing/2014/main" id="{AA8526D3-8076-8241-BFFE-8A44B6429DFD}"/>
              </a:ext>
            </a:extLst>
          </p:cNvPr>
          <p:cNvGrpSpPr/>
          <p:nvPr/>
        </p:nvGrpSpPr>
        <p:grpSpPr>
          <a:xfrm>
            <a:off x="411163" y="2890800"/>
            <a:ext cx="3844688" cy="427961"/>
            <a:chOff x="2117249" y="3092509"/>
            <a:chExt cx="1989909" cy="140212"/>
          </a:xfrm>
        </p:grpSpPr>
        <p:sp>
          <p:nvSpPr>
            <p:cNvPr id="25" name="Freihandform 24">
              <a:extLst>
                <a:ext uri="{FF2B5EF4-FFF2-40B4-BE49-F238E27FC236}">
                  <a16:creationId xmlns:a16="http://schemas.microsoft.com/office/drawing/2014/main" id="{B27689ED-0E32-1845-9604-661E07A1CF09}"/>
                </a:ext>
              </a:extLst>
            </p:cNvPr>
            <p:cNvSpPr/>
            <p:nvPr/>
          </p:nvSpPr>
          <p:spPr bwMode="gray">
            <a:xfrm>
              <a:off x="3546309" y="3092509"/>
              <a:ext cx="560849" cy="140212"/>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9999A9"/>
              </a:solidFill>
              <a:prstDash val="solid"/>
              <a:round/>
              <a:headEnd type="oval" w="lg" len="lg"/>
              <a:tailEnd type="none" w="med" len="med"/>
            </a:ln>
            <a:effectLst/>
          </p:spPr>
          <p:txBody>
            <a:bodyPr rtlCol="0" anchor="ctr"/>
            <a:lstStyle/>
            <a:p>
              <a:pPr algn="ctr"/>
              <a:endParaRPr lang="en-US" dirty="0">
                <a:ea typeface="Arial Unicode MS"/>
              </a:endParaRPr>
            </a:p>
          </p:txBody>
        </p:sp>
        <p:cxnSp>
          <p:nvCxnSpPr>
            <p:cNvPr id="26" name="Gerade Verbindung 25">
              <a:extLst>
                <a:ext uri="{FF2B5EF4-FFF2-40B4-BE49-F238E27FC236}">
                  <a16:creationId xmlns:a16="http://schemas.microsoft.com/office/drawing/2014/main" id="{F2E20D22-C871-FC42-9757-3351C0304712}"/>
                </a:ext>
              </a:extLst>
            </p:cNvPr>
            <p:cNvCxnSpPr>
              <a:cxnSpLocks/>
            </p:cNvCxnSpPr>
            <p:nvPr/>
          </p:nvCxnSpPr>
          <p:spPr bwMode="auto">
            <a:xfrm>
              <a:off x="2117249" y="3092509"/>
              <a:ext cx="1429060" cy="0"/>
            </a:xfrm>
            <a:prstGeom prst="line">
              <a:avLst/>
            </a:prstGeom>
            <a:noFill/>
            <a:ln w="12700" cap="flat" cmpd="sng" algn="ctr">
              <a:solidFill>
                <a:srgbClr val="9999A9"/>
              </a:solidFill>
              <a:prstDash val="solid"/>
              <a:round/>
              <a:headEnd type="none" w="lg" len="lg"/>
              <a:tailEnd type="none" w="med" len="med"/>
            </a:ln>
            <a:effectLst/>
          </p:spPr>
        </p:cxnSp>
      </p:grpSp>
      <p:grpSp>
        <p:nvGrpSpPr>
          <p:cNvPr id="27" name="Gruppieren 26">
            <a:extLst>
              <a:ext uri="{FF2B5EF4-FFF2-40B4-BE49-F238E27FC236}">
                <a16:creationId xmlns:a16="http://schemas.microsoft.com/office/drawing/2014/main" id="{1DF6C121-9275-BB42-A850-BD2ECE7A8334}"/>
              </a:ext>
            </a:extLst>
          </p:cNvPr>
          <p:cNvGrpSpPr/>
          <p:nvPr/>
        </p:nvGrpSpPr>
        <p:grpSpPr>
          <a:xfrm flipH="1">
            <a:off x="8041102" y="3070800"/>
            <a:ext cx="3746086" cy="292078"/>
            <a:chOff x="8404139" y="3092509"/>
            <a:chExt cx="1798308" cy="140212"/>
          </a:xfrm>
        </p:grpSpPr>
        <p:sp>
          <p:nvSpPr>
            <p:cNvPr id="28" name="Freihandform 27">
              <a:extLst>
                <a:ext uri="{FF2B5EF4-FFF2-40B4-BE49-F238E27FC236}">
                  <a16:creationId xmlns:a16="http://schemas.microsoft.com/office/drawing/2014/main" id="{9F4743AB-9E2D-D543-BC26-40D67B480F9B}"/>
                </a:ext>
              </a:extLst>
            </p:cNvPr>
            <p:cNvSpPr/>
            <p:nvPr/>
          </p:nvSpPr>
          <p:spPr bwMode="gray">
            <a:xfrm>
              <a:off x="9641598" y="3092509"/>
              <a:ext cx="560849" cy="140212"/>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9999A9"/>
              </a:solidFill>
              <a:prstDash val="solid"/>
              <a:round/>
              <a:headEnd type="oval" w="lg" len="lg"/>
              <a:tailEnd type="none" w="med" len="med"/>
            </a:ln>
            <a:effectLst/>
          </p:spPr>
          <p:txBody>
            <a:bodyPr rtlCol="0" anchor="ctr"/>
            <a:lstStyle/>
            <a:p>
              <a:pPr algn="ctr"/>
              <a:endParaRPr lang="en-US" dirty="0">
                <a:ea typeface="Arial Unicode MS"/>
              </a:endParaRPr>
            </a:p>
          </p:txBody>
        </p:sp>
        <p:cxnSp>
          <p:nvCxnSpPr>
            <p:cNvPr id="29" name="Gerade Verbindung 28">
              <a:extLst>
                <a:ext uri="{FF2B5EF4-FFF2-40B4-BE49-F238E27FC236}">
                  <a16:creationId xmlns:a16="http://schemas.microsoft.com/office/drawing/2014/main" id="{04795F1F-4FD6-004E-88B9-CC11A3970FB3}"/>
                </a:ext>
              </a:extLst>
            </p:cNvPr>
            <p:cNvCxnSpPr>
              <a:cxnSpLocks/>
            </p:cNvCxnSpPr>
            <p:nvPr/>
          </p:nvCxnSpPr>
          <p:spPr bwMode="auto">
            <a:xfrm>
              <a:off x="8404139" y="3092509"/>
              <a:ext cx="1237460" cy="0"/>
            </a:xfrm>
            <a:prstGeom prst="line">
              <a:avLst/>
            </a:prstGeom>
            <a:noFill/>
            <a:ln w="12700" cap="flat" cmpd="sng" algn="ctr">
              <a:solidFill>
                <a:srgbClr val="9999A9"/>
              </a:solidFill>
              <a:prstDash val="solid"/>
              <a:round/>
              <a:headEnd type="none" w="med" len="med"/>
              <a:tailEnd type="none" w="med" len="med"/>
            </a:ln>
            <a:effectLst/>
          </p:spPr>
        </p:cxnSp>
      </p:grpSp>
      <p:grpSp>
        <p:nvGrpSpPr>
          <p:cNvPr id="30" name="Gruppieren 29">
            <a:extLst>
              <a:ext uri="{FF2B5EF4-FFF2-40B4-BE49-F238E27FC236}">
                <a16:creationId xmlns:a16="http://schemas.microsoft.com/office/drawing/2014/main" id="{A0A4BC45-C0BD-FB45-984A-2D75C1D106EF}"/>
              </a:ext>
            </a:extLst>
          </p:cNvPr>
          <p:cNvGrpSpPr/>
          <p:nvPr/>
        </p:nvGrpSpPr>
        <p:grpSpPr>
          <a:xfrm>
            <a:off x="2066400" y="1418401"/>
            <a:ext cx="4006477" cy="468000"/>
            <a:chOff x="2138400" y="1443039"/>
            <a:chExt cx="4006477" cy="468000"/>
          </a:xfrm>
        </p:grpSpPr>
        <p:sp>
          <p:nvSpPr>
            <p:cNvPr id="31" name="Freihandform 30">
              <a:extLst>
                <a:ext uri="{FF2B5EF4-FFF2-40B4-BE49-F238E27FC236}">
                  <a16:creationId xmlns:a16="http://schemas.microsoft.com/office/drawing/2014/main" id="{3540863D-63B4-5C44-84A5-D70066EC6F3F}"/>
                </a:ext>
              </a:extLst>
            </p:cNvPr>
            <p:cNvSpPr/>
            <p:nvPr/>
          </p:nvSpPr>
          <p:spPr bwMode="gray">
            <a:xfrm>
              <a:off x="4991173" y="1443039"/>
              <a:ext cx="1153704" cy="468000"/>
            </a:xfrm>
            <a:custGeom>
              <a:avLst/>
              <a:gdLst>
                <a:gd name="connsiteX0" fmla="*/ 1716505 w 1716505"/>
                <a:gd name="connsiteY0" fmla="*/ 1002631 h 1002631"/>
                <a:gd name="connsiteX1" fmla="*/ 713874 w 1716505"/>
                <a:gd name="connsiteY1" fmla="*/ 0 h 1002631"/>
                <a:gd name="connsiteX2" fmla="*/ 0 w 1716505"/>
                <a:gd name="connsiteY2" fmla="*/ 0 h 1002631"/>
                <a:gd name="connsiteX0" fmla="*/ 1716505 w 1716505"/>
                <a:gd name="connsiteY0" fmla="*/ 1002631 h 1002631"/>
                <a:gd name="connsiteX1" fmla="*/ 1034716 w 1716505"/>
                <a:gd name="connsiteY1" fmla="*/ 320842 h 1002631"/>
                <a:gd name="connsiteX2" fmla="*/ 713874 w 1716505"/>
                <a:gd name="connsiteY2" fmla="*/ 0 h 1002631"/>
                <a:gd name="connsiteX3" fmla="*/ 0 w 1716505"/>
                <a:gd name="connsiteY3" fmla="*/ 0 h 1002631"/>
                <a:gd name="connsiteX0" fmla="*/ 1034716 w 1034716"/>
                <a:gd name="connsiteY0" fmla="*/ 320842 h 320842"/>
                <a:gd name="connsiteX1" fmla="*/ 713874 w 1034716"/>
                <a:gd name="connsiteY1" fmla="*/ 0 h 320842"/>
                <a:gd name="connsiteX2" fmla="*/ 0 w 1034716"/>
                <a:gd name="connsiteY2" fmla="*/ 0 h 320842"/>
                <a:gd name="connsiteX0" fmla="*/ 1034716 w 1034716"/>
                <a:gd name="connsiteY0" fmla="*/ 320842 h 320842"/>
                <a:gd name="connsiteX1" fmla="*/ 713874 w 1034716"/>
                <a:gd name="connsiteY1" fmla="*/ 0 h 320842"/>
                <a:gd name="connsiteX2" fmla="*/ 393032 w 1034716"/>
                <a:gd name="connsiteY2" fmla="*/ 0 h 320842"/>
                <a:gd name="connsiteX3" fmla="*/ 0 w 1034716"/>
                <a:gd name="connsiteY3" fmla="*/ 0 h 320842"/>
                <a:gd name="connsiteX0" fmla="*/ 641684 w 641684"/>
                <a:gd name="connsiteY0" fmla="*/ 320842 h 320842"/>
                <a:gd name="connsiteX1" fmla="*/ 320842 w 641684"/>
                <a:gd name="connsiteY1" fmla="*/ 0 h 320842"/>
                <a:gd name="connsiteX2" fmla="*/ 0 w 641684"/>
                <a:gd name="connsiteY2" fmla="*/ 0 h 320842"/>
              </a:gdLst>
              <a:ahLst/>
              <a:cxnLst>
                <a:cxn ang="0">
                  <a:pos x="connsiteX0" y="connsiteY0"/>
                </a:cxn>
                <a:cxn ang="0">
                  <a:pos x="connsiteX1" y="connsiteY1"/>
                </a:cxn>
                <a:cxn ang="0">
                  <a:pos x="connsiteX2" y="connsiteY2"/>
                </a:cxn>
              </a:cxnLst>
              <a:rect l="l" t="t" r="r" b="b"/>
              <a:pathLst>
                <a:path w="641684" h="320842">
                  <a:moveTo>
                    <a:pt x="641684" y="320842"/>
                  </a:moveTo>
                  <a:lnTo>
                    <a:pt x="320842" y="0"/>
                  </a:lnTo>
                  <a:lnTo>
                    <a:pt x="0" y="0"/>
                  </a:lnTo>
                </a:path>
              </a:pathLst>
            </a:custGeom>
            <a:noFill/>
            <a:ln w="12700" cap="flat" cmpd="sng" algn="ctr">
              <a:solidFill>
                <a:srgbClr val="9999A9"/>
              </a:solidFill>
              <a:prstDash val="solid"/>
              <a:round/>
              <a:headEnd type="oval" w="lg" len="lg"/>
              <a:tailEnd type="none" w="med" len="med"/>
            </a:ln>
            <a:effectLst/>
          </p:spPr>
          <p:txBody>
            <a:bodyPr rtlCol="0" anchor="ctr"/>
            <a:lstStyle/>
            <a:p>
              <a:pPr algn="ctr"/>
              <a:endParaRPr lang="en-US" dirty="0">
                <a:ea typeface="Arial Unicode MS"/>
              </a:endParaRPr>
            </a:p>
          </p:txBody>
        </p:sp>
        <p:cxnSp>
          <p:nvCxnSpPr>
            <p:cNvPr id="32" name="Gerade Verbindung 31">
              <a:extLst>
                <a:ext uri="{FF2B5EF4-FFF2-40B4-BE49-F238E27FC236}">
                  <a16:creationId xmlns:a16="http://schemas.microsoft.com/office/drawing/2014/main" id="{1C654E5E-4D8F-9B4E-946B-6B51977A1740}"/>
                </a:ext>
              </a:extLst>
            </p:cNvPr>
            <p:cNvCxnSpPr>
              <a:cxnSpLocks/>
            </p:cNvCxnSpPr>
            <p:nvPr/>
          </p:nvCxnSpPr>
          <p:spPr bwMode="auto">
            <a:xfrm>
              <a:off x="2138400" y="1443039"/>
              <a:ext cx="2875398" cy="0"/>
            </a:xfrm>
            <a:prstGeom prst="line">
              <a:avLst/>
            </a:prstGeom>
            <a:noFill/>
            <a:ln w="12700" cap="flat" cmpd="sng" algn="ctr">
              <a:solidFill>
                <a:srgbClr val="9999A9"/>
              </a:solidFill>
              <a:prstDash val="solid"/>
              <a:round/>
              <a:headEnd type="none" w="med" len="med"/>
              <a:tailEnd type="none" w="med" len="med"/>
            </a:ln>
            <a:effectLst/>
          </p:spPr>
        </p:cxnSp>
      </p:grpSp>
      <p:sp>
        <p:nvSpPr>
          <p:cNvPr id="61" name="Oval 60">
            <a:extLst>
              <a:ext uri="{FF2B5EF4-FFF2-40B4-BE49-F238E27FC236}">
                <a16:creationId xmlns:a16="http://schemas.microsoft.com/office/drawing/2014/main" id="{2DA615D5-4662-47ED-A61E-C4A2FDE1BA15}"/>
              </a:ext>
            </a:extLst>
          </p:cNvPr>
          <p:cNvSpPr/>
          <p:nvPr/>
        </p:nvSpPr>
        <p:spPr bwMode="auto">
          <a:xfrm>
            <a:off x="4004029" y="1689788"/>
            <a:ext cx="4191620" cy="4191618"/>
          </a:xfrm>
          <a:prstGeom prst="ellipse">
            <a:avLst/>
          </a:prstGeom>
          <a:solidFill>
            <a:srgbClr val="00646E"/>
          </a:solidFill>
          <a:ln w="0">
            <a:solidFill>
              <a:schemeClr val="bg1"/>
            </a:solidFill>
          </a:ln>
        </p:spPr>
        <p:txBody>
          <a:bodyPr wrap="square">
            <a:noAutofit/>
          </a:bodyPr>
          <a:lstStyle/>
          <a:p>
            <a:endParaRPr lang="en-US" dirty="0"/>
          </a:p>
        </p:txBody>
      </p:sp>
      <p:sp>
        <p:nvSpPr>
          <p:cNvPr id="9" name="Titel 8">
            <a:extLst>
              <a:ext uri="{FF2B5EF4-FFF2-40B4-BE49-F238E27FC236}">
                <a16:creationId xmlns:a16="http://schemas.microsoft.com/office/drawing/2014/main" id="{30916218-0FE7-DA40-850A-7231E8C46B1B}"/>
              </a:ext>
            </a:extLst>
          </p:cNvPr>
          <p:cNvSpPr>
            <a:spLocks noGrp="1"/>
          </p:cNvSpPr>
          <p:nvPr>
            <p:ph type="title"/>
          </p:nvPr>
        </p:nvSpPr>
        <p:spPr/>
        <p:txBody>
          <a:bodyPr/>
          <a:lstStyle/>
          <a:p>
            <a:r>
              <a:rPr lang="en-US" dirty="0"/>
              <a:t>Change management</a:t>
            </a:r>
            <a:endParaRPr lang="de-DE" dirty="0"/>
          </a:p>
        </p:txBody>
      </p:sp>
      <p:sp>
        <p:nvSpPr>
          <p:cNvPr id="3" name="Fußzeilenplatzhalter 2">
            <a:extLst>
              <a:ext uri="{FF2B5EF4-FFF2-40B4-BE49-F238E27FC236}">
                <a16:creationId xmlns:a16="http://schemas.microsoft.com/office/drawing/2014/main" id="{6944935C-0A56-F643-B740-58DF1DF54D92}"/>
              </a:ext>
            </a:extLst>
          </p:cNvPr>
          <p:cNvSpPr>
            <a:spLocks noGrp="1"/>
          </p:cNvSpPr>
          <p:nvPr>
            <p:ph type="ftr" sz="quarter" idx="10"/>
          </p:nvPr>
        </p:nvSpPr>
        <p:spPr/>
        <p:txBody>
          <a:bodyPr/>
          <a:lstStyle/>
          <a:p>
            <a:r>
              <a:rPr lang="en-US" dirty="0"/>
              <a:t>Restricted | © Siemens 20XX | Author | Department | YYYY-MM-DD</a:t>
            </a:r>
          </a:p>
        </p:txBody>
      </p:sp>
      <p:sp>
        <p:nvSpPr>
          <p:cNvPr id="4" name="Foliennummernplatzhalter 3">
            <a:extLst>
              <a:ext uri="{FF2B5EF4-FFF2-40B4-BE49-F238E27FC236}">
                <a16:creationId xmlns:a16="http://schemas.microsoft.com/office/drawing/2014/main" id="{47EA469E-CFF4-9C45-9AEE-0BE7E3565C9B}"/>
              </a:ext>
            </a:extLst>
          </p:cNvPr>
          <p:cNvSpPr>
            <a:spLocks noGrp="1"/>
          </p:cNvSpPr>
          <p:nvPr>
            <p:ph type="sldNum" sz="quarter" idx="11"/>
          </p:nvPr>
        </p:nvSpPr>
        <p:spPr/>
        <p:txBody>
          <a:bodyPr/>
          <a:lstStyle/>
          <a:p>
            <a:r>
              <a:rPr lang="en-US" dirty="0"/>
              <a:t>Page </a:t>
            </a:r>
            <a:fld id="{15EBE321-CBB1-4E91-BD14-37C8D44326FB}" type="slidenum">
              <a:rPr lang="en-US" smtClean="0"/>
              <a:pPr/>
              <a:t>41</a:t>
            </a:fld>
            <a:endParaRPr lang="en-US" dirty="0"/>
          </a:p>
        </p:txBody>
      </p:sp>
      <p:sp>
        <p:nvSpPr>
          <p:cNvPr id="44" name="Rechteck 28">
            <a:extLst>
              <a:ext uri="{FF2B5EF4-FFF2-40B4-BE49-F238E27FC236}">
                <a16:creationId xmlns:a16="http://schemas.microsoft.com/office/drawing/2014/main" id="{F4E8E238-36F8-364B-98F5-78CE37B0BAA2}"/>
              </a:ext>
            </a:extLst>
          </p:cNvPr>
          <p:cNvSpPr/>
          <p:nvPr/>
        </p:nvSpPr>
        <p:spPr bwMode="gray">
          <a:xfrm>
            <a:off x="2066400" y="1418400"/>
            <a:ext cx="1871625" cy="860987"/>
          </a:xfrm>
          <a:prstGeom prst="rect">
            <a:avLst/>
          </a:prstGeom>
          <a:noFill/>
          <a:ln w="19050">
            <a:noFill/>
            <a:miter lim="800000"/>
          </a:ln>
          <a:effectLst/>
        </p:spPr>
        <p:txBody>
          <a:bodyPr wrap="square" lIns="0" tIns="72000" rIns="0" bIns="72000" numCol="1" spcCol="72000" rtlCol="0" anchor="t" anchorCtr="0">
            <a:spAutoFit/>
          </a:bodyPr>
          <a:lstStyle/>
          <a:p>
            <a:pPr>
              <a:spcBef>
                <a:spcPts val="0"/>
              </a:spcBef>
              <a:defRPr/>
            </a:pPr>
            <a:r>
              <a:rPr lang="en-US" altLang="de-DE" sz="1600" b="1" dirty="0">
                <a:solidFill>
                  <a:srgbClr val="00FFB9"/>
                </a:solidFill>
                <a:ea typeface="Arial Unicode MS"/>
              </a:rPr>
              <a:t>Duis arcu tortor, suscipit eget</a:t>
            </a:r>
          </a:p>
          <a:p>
            <a:pPr marL="0" lvl="1">
              <a:spcBef>
                <a:spcPts val="300"/>
              </a:spcBef>
              <a:buClr>
                <a:srgbClr val="3C464B"/>
              </a:buClr>
              <a:defRPr/>
            </a:pPr>
            <a:r>
              <a:rPr lang="en-US" altLang="de-DE" sz="1200" dirty="0">
                <a:solidFill>
                  <a:schemeClr val="tx1"/>
                </a:solidFill>
                <a:ea typeface="Arial Unicode MS"/>
                <a:cs typeface="Arial" pitchFamily="34" charset="0"/>
              </a:rPr>
              <a:t>At vero eos et accusam</a:t>
            </a:r>
          </a:p>
        </p:txBody>
      </p:sp>
      <p:sp>
        <p:nvSpPr>
          <p:cNvPr id="45" name="Rechteck 28">
            <a:extLst>
              <a:ext uri="{FF2B5EF4-FFF2-40B4-BE49-F238E27FC236}">
                <a16:creationId xmlns:a16="http://schemas.microsoft.com/office/drawing/2014/main" id="{CE3FE00B-1DAB-F940-8C47-8C17E6AE3623}"/>
              </a:ext>
            </a:extLst>
          </p:cNvPr>
          <p:cNvSpPr/>
          <p:nvPr/>
        </p:nvSpPr>
        <p:spPr bwMode="gray">
          <a:xfrm>
            <a:off x="411163" y="2890800"/>
            <a:ext cx="2520000" cy="984097"/>
          </a:xfrm>
          <a:prstGeom prst="rect">
            <a:avLst/>
          </a:prstGeom>
          <a:noFill/>
          <a:ln w="19050">
            <a:noFill/>
            <a:miter lim="800000"/>
          </a:ln>
          <a:effectLst/>
        </p:spPr>
        <p:txBody>
          <a:bodyPr wrap="square" lIns="0" tIns="72000" rIns="0" bIns="72000" numCol="1" spcCol="72000" rtlCol="0" anchor="t" anchorCtr="0">
            <a:spAutoFit/>
          </a:bodyPr>
          <a:lstStyle/>
          <a:p>
            <a:pPr>
              <a:spcBef>
                <a:spcPts val="0"/>
              </a:spcBef>
              <a:defRPr/>
            </a:pPr>
            <a:r>
              <a:rPr lang="en-US" altLang="de-DE" sz="1600" b="1" dirty="0">
                <a:solidFill>
                  <a:srgbClr val="00FFB9"/>
                </a:solidFill>
                <a:ea typeface="Arial Unicode MS"/>
              </a:rPr>
              <a:t>Phasellus nec sem</a:t>
            </a:r>
          </a:p>
          <a:p>
            <a:pPr marL="0" lvl="1">
              <a:spcBef>
                <a:spcPts val="300"/>
              </a:spcBef>
              <a:buClr>
                <a:srgbClr val="3C464B"/>
              </a:buClr>
              <a:defRPr/>
            </a:pPr>
            <a:r>
              <a:rPr lang="en-US" altLang="de-DE" sz="1200" dirty="0">
                <a:solidFill>
                  <a:schemeClr val="tx1"/>
                </a:solidFill>
                <a:ea typeface="Arial Unicode MS"/>
                <a:cs typeface="Arial" pitchFamily="34" charset="0"/>
              </a:rPr>
              <a:t>Cras ultricies mi eu</a:t>
            </a:r>
            <a:br>
              <a:rPr lang="en-US" altLang="de-DE" sz="1200" dirty="0">
                <a:solidFill>
                  <a:schemeClr val="tx1"/>
                </a:solidFill>
                <a:ea typeface="Arial Unicode MS"/>
                <a:cs typeface="Arial" pitchFamily="34" charset="0"/>
              </a:rPr>
            </a:br>
            <a:r>
              <a:rPr lang="en-US" altLang="de-DE" sz="1200" dirty="0">
                <a:solidFill>
                  <a:schemeClr val="tx1"/>
                </a:solidFill>
                <a:ea typeface="Arial Unicode MS"/>
                <a:cs typeface="Arial" pitchFamily="34" charset="0"/>
              </a:rPr>
              <a:t>At vero eos et accusam</a:t>
            </a:r>
            <a:br>
              <a:rPr lang="en-US" altLang="de-DE" sz="1200" dirty="0">
                <a:solidFill>
                  <a:schemeClr val="tx1"/>
                </a:solidFill>
                <a:ea typeface="Arial Unicode MS"/>
                <a:cs typeface="Arial" pitchFamily="34" charset="0"/>
              </a:rPr>
            </a:br>
            <a:r>
              <a:rPr lang="en-US" altLang="de-DE" sz="1200" dirty="0">
                <a:solidFill>
                  <a:schemeClr val="tx1"/>
                </a:solidFill>
                <a:ea typeface="Arial Unicode MS"/>
                <a:cs typeface="Arial" pitchFamily="34" charset="0"/>
              </a:rPr>
              <a:t>Duis arcu tortor, suscipit eget</a:t>
            </a:r>
          </a:p>
        </p:txBody>
      </p:sp>
      <p:sp>
        <p:nvSpPr>
          <p:cNvPr id="46" name="Rechteck 28">
            <a:extLst>
              <a:ext uri="{FF2B5EF4-FFF2-40B4-BE49-F238E27FC236}">
                <a16:creationId xmlns:a16="http://schemas.microsoft.com/office/drawing/2014/main" id="{F51A18EF-8818-BC45-A8DA-ACEFA39A0432}"/>
              </a:ext>
            </a:extLst>
          </p:cNvPr>
          <p:cNvSpPr/>
          <p:nvPr/>
        </p:nvSpPr>
        <p:spPr bwMode="gray">
          <a:xfrm>
            <a:off x="411163" y="5182703"/>
            <a:ext cx="2520000" cy="984097"/>
          </a:xfrm>
          <a:prstGeom prst="rect">
            <a:avLst/>
          </a:prstGeom>
          <a:noFill/>
          <a:ln w="19050">
            <a:noFill/>
            <a:miter lim="800000"/>
          </a:ln>
          <a:effectLst/>
        </p:spPr>
        <p:txBody>
          <a:bodyPr wrap="square" lIns="0" tIns="72000" rIns="0" bIns="72000" numCol="1" spcCol="72000" rtlCol="0" anchor="b" anchorCtr="0">
            <a:spAutoFit/>
          </a:bodyPr>
          <a:lstStyle/>
          <a:p>
            <a:pPr>
              <a:spcBef>
                <a:spcPts val="0"/>
              </a:spcBef>
              <a:defRPr/>
            </a:pPr>
            <a:r>
              <a:rPr lang="en-US" altLang="de-DE" sz="1600" b="1" dirty="0">
                <a:solidFill>
                  <a:srgbClr val="00FFB9"/>
                </a:solidFill>
                <a:ea typeface="Arial Unicode MS"/>
              </a:rPr>
              <a:t>Cras ultricies mi eu</a:t>
            </a:r>
          </a:p>
          <a:p>
            <a:pPr marL="0" lvl="1">
              <a:spcBef>
                <a:spcPts val="300"/>
              </a:spcBef>
              <a:buClr>
                <a:srgbClr val="3C464B"/>
              </a:buClr>
              <a:defRPr/>
            </a:pPr>
            <a:r>
              <a:rPr lang="en-US" altLang="de-DE" sz="1200" dirty="0">
                <a:solidFill>
                  <a:schemeClr val="tx1"/>
                </a:solidFill>
                <a:ea typeface="Arial Unicode MS"/>
                <a:cs typeface="Arial" pitchFamily="34" charset="0"/>
              </a:rPr>
              <a:t>Stet clita kasd gubergren, no sea takimata sanctus est lorem ipsum dolor sit amet</a:t>
            </a:r>
          </a:p>
        </p:txBody>
      </p:sp>
      <p:sp>
        <p:nvSpPr>
          <p:cNvPr id="47" name="Rechteck 28">
            <a:extLst>
              <a:ext uri="{FF2B5EF4-FFF2-40B4-BE49-F238E27FC236}">
                <a16:creationId xmlns:a16="http://schemas.microsoft.com/office/drawing/2014/main" id="{06D27EE0-9682-8946-9B8C-169826F64111}"/>
              </a:ext>
            </a:extLst>
          </p:cNvPr>
          <p:cNvSpPr/>
          <p:nvPr/>
        </p:nvSpPr>
        <p:spPr bwMode="gray">
          <a:xfrm>
            <a:off x="9266400" y="5182703"/>
            <a:ext cx="2520000" cy="984097"/>
          </a:xfrm>
          <a:prstGeom prst="rect">
            <a:avLst/>
          </a:prstGeom>
          <a:noFill/>
          <a:ln w="19050">
            <a:noFill/>
            <a:miter lim="800000"/>
          </a:ln>
          <a:effectLst/>
        </p:spPr>
        <p:txBody>
          <a:bodyPr wrap="square" lIns="0" tIns="72000" rIns="0" bIns="72000" numCol="1" spcCol="72000" rtlCol="0" anchor="b" anchorCtr="0">
            <a:spAutoFit/>
          </a:bodyPr>
          <a:lstStyle/>
          <a:p>
            <a:pPr algn="r">
              <a:spcBef>
                <a:spcPts val="0"/>
              </a:spcBef>
              <a:defRPr/>
            </a:pPr>
            <a:r>
              <a:rPr lang="en-US" altLang="de-DE" sz="1600" b="1" dirty="0">
                <a:solidFill>
                  <a:srgbClr val="00FFB9"/>
                </a:solidFill>
                <a:ea typeface="Arial Unicode MS"/>
              </a:rPr>
              <a:t>Phasellus nec sem</a:t>
            </a:r>
          </a:p>
          <a:p>
            <a:pPr marL="0" lvl="1" algn="r">
              <a:spcBef>
                <a:spcPts val="300"/>
              </a:spcBef>
              <a:buClr>
                <a:srgbClr val="3C464B"/>
              </a:buClr>
              <a:defRPr/>
            </a:pPr>
            <a:r>
              <a:rPr lang="en-US" altLang="de-DE" sz="1200" dirty="0">
                <a:solidFill>
                  <a:schemeClr val="tx1"/>
                </a:solidFill>
                <a:ea typeface="Arial Unicode MS"/>
                <a:cs typeface="Arial" pitchFamily="34" charset="0"/>
              </a:rPr>
              <a:t>Duis arcu tortor, suscipit eget, imperdiet nec, imperdiet </a:t>
            </a:r>
            <a:br>
              <a:rPr lang="en-US" altLang="de-DE" sz="1200" dirty="0">
                <a:solidFill>
                  <a:schemeClr val="tx1"/>
                </a:solidFill>
                <a:ea typeface="Arial Unicode MS"/>
                <a:cs typeface="Arial" pitchFamily="34" charset="0"/>
              </a:rPr>
            </a:br>
            <a:r>
              <a:rPr lang="en-US" altLang="de-DE" sz="1200" dirty="0">
                <a:solidFill>
                  <a:schemeClr val="tx1"/>
                </a:solidFill>
                <a:ea typeface="Arial Unicode MS"/>
                <a:cs typeface="Arial" pitchFamily="34" charset="0"/>
              </a:rPr>
              <a:t>iaculis, ipsum</a:t>
            </a:r>
          </a:p>
        </p:txBody>
      </p:sp>
      <p:sp>
        <p:nvSpPr>
          <p:cNvPr id="48" name="Rechteck 28">
            <a:extLst>
              <a:ext uri="{FF2B5EF4-FFF2-40B4-BE49-F238E27FC236}">
                <a16:creationId xmlns:a16="http://schemas.microsoft.com/office/drawing/2014/main" id="{0CAA6B90-2958-7345-8B02-D5316EB0A523}"/>
              </a:ext>
            </a:extLst>
          </p:cNvPr>
          <p:cNvSpPr/>
          <p:nvPr/>
        </p:nvSpPr>
        <p:spPr bwMode="gray">
          <a:xfrm>
            <a:off x="9266400" y="3067870"/>
            <a:ext cx="2520000" cy="799431"/>
          </a:xfrm>
          <a:prstGeom prst="rect">
            <a:avLst/>
          </a:prstGeom>
          <a:noFill/>
          <a:ln w="19050">
            <a:noFill/>
            <a:miter lim="800000"/>
          </a:ln>
          <a:effectLst/>
        </p:spPr>
        <p:txBody>
          <a:bodyPr wrap="square" lIns="0" tIns="72000" rIns="0" bIns="72000" numCol="1" spcCol="72000" rtlCol="0" anchor="t" anchorCtr="0">
            <a:spAutoFit/>
          </a:bodyPr>
          <a:lstStyle/>
          <a:p>
            <a:pPr algn="r">
              <a:spcBef>
                <a:spcPts val="0"/>
              </a:spcBef>
              <a:defRPr/>
            </a:pPr>
            <a:r>
              <a:rPr lang="en-US" altLang="de-DE" sz="1600" b="1" dirty="0">
                <a:solidFill>
                  <a:srgbClr val="00FFB9"/>
                </a:solidFill>
                <a:ea typeface="Arial Unicode MS"/>
              </a:rPr>
              <a:t>Cras ultricies mi eu</a:t>
            </a:r>
          </a:p>
          <a:p>
            <a:pPr marL="0" lvl="1" algn="r">
              <a:spcBef>
                <a:spcPts val="300"/>
              </a:spcBef>
              <a:buClr>
                <a:srgbClr val="3C464B"/>
              </a:buClr>
              <a:defRPr/>
            </a:pPr>
            <a:r>
              <a:rPr lang="en-US" altLang="de-DE" sz="1200" dirty="0">
                <a:solidFill>
                  <a:schemeClr val="tx1"/>
                </a:solidFill>
                <a:ea typeface="Arial Unicode MS"/>
                <a:cs typeface="Arial" pitchFamily="34" charset="0"/>
              </a:rPr>
              <a:t>At vero eos et accusam</a:t>
            </a:r>
            <a:br>
              <a:rPr lang="en-US" altLang="de-DE" sz="1200" dirty="0">
                <a:solidFill>
                  <a:schemeClr val="tx1"/>
                </a:solidFill>
                <a:ea typeface="Arial Unicode MS"/>
                <a:cs typeface="Arial" pitchFamily="34" charset="0"/>
              </a:rPr>
            </a:br>
            <a:r>
              <a:rPr lang="en-US" altLang="de-DE" sz="1200" dirty="0">
                <a:solidFill>
                  <a:schemeClr val="tx1"/>
                </a:solidFill>
                <a:ea typeface="Arial Unicode MS"/>
                <a:cs typeface="Arial" pitchFamily="34" charset="0"/>
              </a:rPr>
              <a:t>Cras ultricies mi eu</a:t>
            </a:r>
          </a:p>
        </p:txBody>
      </p:sp>
      <p:sp>
        <p:nvSpPr>
          <p:cNvPr id="56" name="Rectangle 35" hidden="1">
            <a:extLst>
              <a:ext uri="{FF2B5EF4-FFF2-40B4-BE49-F238E27FC236}">
                <a16:creationId xmlns:a16="http://schemas.microsoft.com/office/drawing/2014/main" id="{786C3AB0-E6DF-47EA-87DC-64588E45C6F7}"/>
              </a:ext>
            </a:extLst>
          </p:cNvPr>
          <p:cNvSpPr>
            <a:spLocks noChangeArrowheads="1"/>
          </p:cNvSpPr>
          <p:nvPr/>
        </p:nvSpPr>
        <p:spPr bwMode="gray">
          <a:xfrm rot="12960000">
            <a:off x="4527536" y="2083262"/>
            <a:ext cx="3348000" cy="3348000"/>
          </a:xfrm>
          <a:prstGeom prst="rect">
            <a:avLst/>
          </a:prstGeom>
          <a:noFill/>
          <a:ln w="9525">
            <a:noFill/>
            <a:miter lim="800000"/>
            <a:headEnd/>
            <a:tailEnd/>
          </a:ln>
        </p:spPr>
        <p:txBody>
          <a:bodyPr spcFirstLastPara="1" wrap="none" lIns="0" tIns="0" rIns="0" bIns="0" numCol="1">
            <a:prstTxWarp prst="textArchUp">
              <a:avLst>
                <a:gd name="adj" fmla="val 10800000"/>
              </a:avLst>
            </a:prstTxWarp>
            <a:sp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ctr">
              <a:spcBef>
                <a:spcPts val="0"/>
              </a:spcBef>
            </a:pPr>
            <a:r>
              <a:rPr lang="en-US" b="1" dirty="0">
                <a:solidFill>
                  <a:schemeClr val="bg1"/>
                </a:solidFill>
              </a:rPr>
              <a:t>Lorem ipsum</a:t>
            </a:r>
          </a:p>
        </p:txBody>
      </p:sp>
      <p:sp>
        <p:nvSpPr>
          <p:cNvPr id="17" name="Arc 45">
            <a:extLst>
              <a:ext uri="{FF2B5EF4-FFF2-40B4-BE49-F238E27FC236}">
                <a16:creationId xmlns:a16="http://schemas.microsoft.com/office/drawing/2014/main" id="{1C8AE969-3F80-5542-ADB5-16451FCFDB3B}"/>
              </a:ext>
            </a:extLst>
          </p:cNvPr>
          <p:cNvSpPr/>
          <p:nvPr/>
        </p:nvSpPr>
        <p:spPr bwMode="auto">
          <a:xfrm>
            <a:off x="3758568" y="1450950"/>
            <a:ext cx="4680000" cy="4680000"/>
          </a:xfrm>
          <a:prstGeom prst="arc">
            <a:avLst>
              <a:gd name="adj1" fmla="val 19112798"/>
              <a:gd name="adj2" fmla="val 18686695"/>
            </a:avLst>
          </a:prstGeom>
          <a:noFill/>
          <a:ln w="50800" cap="flat" cmpd="sng" algn="ctr">
            <a:gradFill>
              <a:gsLst>
                <a:gs pos="0">
                  <a:srgbClr val="00FFB9"/>
                </a:gs>
                <a:gs pos="100000">
                  <a:srgbClr val="00E6DC"/>
                </a:gs>
              </a:gsLst>
              <a:lin ang="5400000" scaled="1"/>
            </a:gradFill>
            <a:prstDash val="solid"/>
            <a:round/>
            <a:headEnd type="none" w="lg" len="lg"/>
            <a:tailEnd type="triangle" w="lg" len="med"/>
          </a:ln>
          <a:effectLst/>
        </p:spPr>
        <p:txBody>
          <a:bodyPr rtlCol="0" anchor="ctr"/>
          <a:lstStyle/>
          <a:p>
            <a:pPr algn="ctr"/>
            <a:endParaRPr lang="en-US" dirty="0"/>
          </a:p>
        </p:txBody>
      </p:sp>
      <p:sp>
        <p:nvSpPr>
          <p:cNvPr id="35" name="Oval 34">
            <a:extLst>
              <a:ext uri="{FF2B5EF4-FFF2-40B4-BE49-F238E27FC236}">
                <a16:creationId xmlns:a16="http://schemas.microsoft.com/office/drawing/2014/main" id="{97595ED7-3BB8-474C-AFCF-77DDFA68AD8D}"/>
              </a:ext>
            </a:extLst>
          </p:cNvPr>
          <p:cNvSpPr/>
          <p:nvPr/>
        </p:nvSpPr>
        <p:spPr bwMode="auto">
          <a:xfrm>
            <a:off x="4752793" y="2469154"/>
            <a:ext cx="2643590" cy="2643588"/>
          </a:xfrm>
          <a:prstGeom prst="ellipse">
            <a:avLst/>
          </a:prstGeom>
          <a:solidFill>
            <a:srgbClr val="333353"/>
          </a:solidFill>
          <a:ln w="38100">
            <a:solidFill>
              <a:schemeClr val="bg2"/>
            </a:solidFill>
          </a:ln>
        </p:spPr>
        <p:txBody>
          <a:bodyPr wrap="square">
            <a:noAutofit/>
          </a:bodyPr>
          <a:lstStyle/>
          <a:p>
            <a:endParaRPr lang="en-US" dirty="0"/>
          </a:p>
        </p:txBody>
      </p:sp>
      <p:cxnSp>
        <p:nvCxnSpPr>
          <p:cNvPr id="36" name="Straight Connector 72">
            <a:extLst>
              <a:ext uri="{FF2B5EF4-FFF2-40B4-BE49-F238E27FC236}">
                <a16:creationId xmlns:a16="http://schemas.microsoft.com/office/drawing/2014/main" id="{490B0691-654C-3441-913D-462A148163D2}"/>
              </a:ext>
            </a:extLst>
          </p:cNvPr>
          <p:cNvCxnSpPr>
            <a:cxnSpLocks/>
          </p:cNvCxnSpPr>
          <p:nvPr/>
        </p:nvCxnSpPr>
        <p:spPr bwMode="auto">
          <a:xfrm rot="3600000" flipH="1" flipV="1">
            <a:off x="5490292" y="4100711"/>
            <a:ext cx="1168592" cy="674687"/>
          </a:xfrm>
          <a:prstGeom prst="line">
            <a:avLst/>
          </a:prstGeom>
          <a:solidFill>
            <a:schemeClr val="tx2"/>
          </a:solidFill>
          <a:ln w="38100" cap="flat" cmpd="sng" algn="ctr">
            <a:solidFill>
              <a:schemeClr val="bg2"/>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Straight Connector 73">
            <a:extLst>
              <a:ext uri="{FF2B5EF4-FFF2-40B4-BE49-F238E27FC236}">
                <a16:creationId xmlns:a16="http://schemas.microsoft.com/office/drawing/2014/main" id="{EDB33EB5-77FA-BC44-832D-2B23C9402A00}"/>
              </a:ext>
            </a:extLst>
          </p:cNvPr>
          <p:cNvCxnSpPr>
            <a:cxnSpLocks/>
          </p:cNvCxnSpPr>
          <p:nvPr/>
        </p:nvCxnSpPr>
        <p:spPr bwMode="auto">
          <a:xfrm rot="3600000">
            <a:off x="6646942" y="2799603"/>
            <a:ext cx="0" cy="1321794"/>
          </a:xfrm>
          <a:prstGeom prst="line">
            <a:avLst/>
          </a:prstGeom>
          <a:solidFill>
            <a:schemeClr val="tx2"/>
          </a:solidFill>
          <a:ln w="38100" cap="flat" cmpd="sng" algn="ctr">
            <a:solidFill>
              <a:schemeClr val="bg2"/>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Straight Connector 74">
            <a:extLst>
              <a:ext uri="{FF2B5EF4-FFF2-40B4-BE49-F238E27FC236}">
                <a16:creationId xmlns:a16="http://schemas.microsoft.com/office/drawing/2014/main" id="{25221A5C-DBAA-C04A-9888-827363C45D4D}"/>
              </a:ext>
            </a:extLst>
          </p:cNvPr>
          <p:cNvCxnSpPr>
            <a:cxnSpLocks/>
          </p:cNvCxnSpPr>
          <p:nvPr/>
        </p:nvCxnSpPr>
        <p:spPr bwMode="auto">
          <a:xfrm rot="3600000" flipH="1">
            <a:off x="4929881" y="3130051"/>
            <a:ext cx="1164849" cy="672526"/>
          </a:xfrm>
          <a:prstGeom prst="line">
            <a:avLst/>
          </a:prstGeom>
          <a:solidFill>
            <a:schemeClr val="tx2"/>
          </a:solidFill>
          <a:ln w="38100" cap="flat" cmpd="sng" algn="ctr">
            <a:solidFill>
              <a:schemeClr val="bg2"/>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9" name="Rectangle 35">
            <a:extLst>
              <a:ext uri="{FF2B5EF4-FFF2-40B4-BE49-F238E27FC236}">
                <a16:creationId xmlns:a16="http://schemas.microsoft.com/office/drawing/2014/main" id="{546F3BA4-EAC5-824A-966C-48D23D28BF13}"/>
              </a:ext>
            </a:extLst>
          </p:cNvPr>
          <p:cNvSpPr>
            <a:spLocks noChangeArrowheads="1"/>
          </p:cNvSpPr>
          <p:nvPr/>
        </p:nvSpPr>
        <p:spPr bwMode="gray">
          <a:xfrm>
            <a:off x="4425839" y="2111597"/>
            <a:ext cx="3348000" cy="3348000"/>
          </a:xfrm>
          <a:prstGeom prst="rect">
            <a:avLst/>
          </a:prstGeom>
          <a:noFill/>
          <a:ln w="9525">
            <a:noFill/>
            <a:miter lim="800000"/>
            <a:headEnd/>
            <a:tailEnd/>
          </a:ln>
        </p:spPr>
        <p:txBody>
          <a:bodyPr spcFirstLastPara="1" wrap="none" lIns="0" tIns="0" rIns="0" bIns="0" numCol="1">
            <a:prstTxWarp prst="textArchUp">
              <a:avLst>
                <a:gd name="adj" fmla="val 10800000"/>
              </a:avLst>
            </a:prstTxWarp>
            <a:sp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ctr">
              <a:spcBef>
                <a:spcPts val="0"/>
              </a:spcBef>
            </a:pPr>
            <a:r>
              <a:rPr lang="en-US" b="1" dirty="0">
                <a:solidFill>
                  <a:schemeClr val="tx1"/>
                </a:solidFill>
                <a:latin typeface="+mn-lt"/>
              </a:rPr>
              <a:t>Lorem ipsum</a:t>
            </a:r>
          </a:p>
        </p:txBody>
      </p:sp>
      <p:sp>
        <p:nvSpPr>
          <p:cNvPr id="42" name="Rectangle 35">
            <a:extLst>
              <a:ext uri="{FF2B5EF4-FFF2-40B4-BE49-F238E27FC236}">
                <a16:creationId xmlns:a16="http://schemas.microsoft.com/office/drawing/2014/main" id="{201400AA-F140-F848-8913-62F0135E9994}"/>
              </a:ext>
            </a:extLst>
          </p:cNvPr>
          <p:cNvSpPr>
            <a:spLocks noChangeArrowheads="1"/>
          </p:cNvSpPr>
          <p:nvPr/>
        </p:nvSpPr>
        <p:spPr bwMode="gray">
          <a:xfrm rot="19440000">
            <a:off x="4353839" y="2039597"/>
            <a:ext cx="3492000" cy="3492000"/>
          </a:xfrm>
          <a:prstGeom prst="rect">
            <a:avLst/>
          </a:prstGeom>
          <a:noFill/>
          <a:ln w="9525">
            <a:noFill/>
            <a:miter lim="800000"/>
            <a:headEnd/>
            <a:tailEnd/>
          </a:ln>
        </p:spPr>
        <p:txBody>
          <a:bodyPr spcFirstLastPara="1" wrap="none" lIns="0" tIns="0" rIns="0" bIns="0" numCol="1">
            <a:prstTxWarp prst="textArchDown">
              <a:avLst/>
            </a:prstTxWarp>
            <a:sp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ctr">
              <a:spcBef>
                <a:spcPts val="0"/>
              </a:spcBef>
            </a:pPr>
            <a:r>
              <a:rPr lang="en-US" b="1" dirty="0">
                <a:solidFill>
                  <a:schemeClr val="tx1"/>
                </a:solidFill>
                <a:latin typeface="+mn-lt"/>
              </a:rPr>
              <a:t>Dolore</a:t>
            </a:r>
          </a:p>
        </p:txBody>
      </p:sp>
      <p:sp>
        <p:nvSpPr>
          <p:cNvPr id="49" name="Ellipse 63">
            <a:extLst>
              <a:ext uri="{FF2B5EF4-FFF2-40B4-BE49-F238E27FC236}">
                <a16:creationId xmlns:a16="http://schemas.microsoft.com/office/drawing/2014/main" id="{6AC5A663-0B99-B541-B17C-0849A8700676}"/>
              </a:ext>
            </a:extLst>
          </p:cNvPr>
          <p:cNvSpPr>
            <a:spLocks/>
          </p:cNvSpPr>
          <p:nvPr/>
        </p:nvSpPr>
        <p:spPr bwMode="gray">
          <a:xfrm>
            <a:off x="5579854" y="3254373"/>
            <a:ext cx="965200" cy="965200"/>
          </a:xfrm>
          <a:prstGeom prst="ellipse">
            <a:avLst/>
          </a:prstGeom>
          <a:solidFill>
            <a:srgbClr val="41AAAA"/>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t>Change</a:t>
            </a:r>
          </a:p>
        </p:txBody>
      </p:sp>
      <p:sp>
        <p:nvSpPr>
          <p:cNvPr id="50" name="Rectangle 15">
            <a:extLst>
              <a:ext uri="{FF2B5EF4-FFF2-40B4-BE49-F238E27FC236}">
                <a16:creationId xmlns:a16="http://schemas.microsoft.com/office/drawing/2014/main" id="{17ECAAC6-097C-E242-ADCB-B4035B33C525}"/>
              </a:ext>
            </a:extLst>
          </p:cNvPr>
          <p:cNvSpPr/>
          <p:nvPr/>
        </p:nvSpPr>
        <p:spPr>
          <a:xfrm>
            <a:off x="5702474" y="2653208"/>
            <a:ext cx="838691" cy="369332"/>
          </a:xfrm>
          <a:prstGeom prst="rect">
            <a:avLst/>
          </a:prstGeom>
        </p:spPr>
        <p:txBody>
          <a:bodyPr wrap="none">
            <a:spAutoFit/>
          </a:bodyPr>
          <a:lstStyle/>
          <a:p>
            <a:pPr algn="ctr">
              <a:spcBef>
                <a:spcPts val="0"/>
              </a:spcBef>
            </a:pPr>
            <a:r>
              <a:rPr lang="en-US" dirty="0"/>
              <a:t>Lorem</a:t>
            </a:r>
          </a:p>
        </p:txBody>
      </p:sp>
      <p:sp>
        <p:nvSpPr>
          <p:cNvPr id="51" name="Rectangle 66">
            <a:extLst>
              <a:ext uri="{FF2B5EF4-FFF2-40B4-BE49-F238E27FC236}">
                <a16:creationId xmlns:a16="http://schemas.microsoft.com/office/drawing/2014/main" id="{30E5250D-71E0-C84E-B2AF-7A9F63436656}"/>
              </a:ext>
            </a:extLst>
          </p:cNvPr>
          <p:cNvSpPr/>
          <p:nvPr/>
        </p:nvSpPr>
        <p:spPr>
          <a:xfrm rot="18000000">
            <a:off x="6568488" y="4093224"/>
            <a:ext cx="813043" cy="369332"/>
          </a:xfrm>
          <a:prstGeom prst="rect">
            <a:avLst/>
          </a:prstGeom>
        </p:spPr>
        <p:txBody>
          <a:bodyPr wrap="none">
            <a:spAutoFit/>
          </a:bodyPr>
          <a:lstStyle/>
          <a:p>
            <a:pPr algn="ctr">
              <a:spcBef>
                <a:spcPts val="0"/>
              </a:spcBef>
            </a:pPr>
            <a:r>
              <a:rPr lang="en-US" dirty="0"/>
              <a:t>Ipsum</a:t>
            </a:r>
          </a:p>
        </p:txBody>
      </p:sp>
      <p:sp>
        <p:nvSpPr>
          <p:cNvPr id="52" name="Rectangle 67">
            <a:extLst>
              <a:ext uri="{FF2B5EF4-FFF2-40B4-BE49-F238E27FC236}">
                <a16:creationId xmlns:a16="http://schemas.microsoft.com/office/drawing/2014/main" id="{E2770ACA-4889-9048-96CE-1150EF5FC247}"/>
              </a:ext>
            </a:extLst>
          </p:cNvPr>
          <p:cNvSpPr/>
          <p:nvPr/>
        </p:nvSpPr>
        <p:spPr>
          <a:xfrm rot="3600000">
            <a:off x="4792499" y="4078725"/>
            <a:ext cx="864339" cy="369332"/>
          </a:xfrm>
          <a:prstGeom prst="rect">
            <a:avLst/>
          </a:prstGeom>
        </p:spPr>
        <p:txBody>
          <a:bodyPr wrap="none">
            <a:spAutoFit/>
          </a:bodyPr>
          <a:lstStyle/>
          <a:p>
            <a:pPr algn="ctr">
              <a:spcBef>
                <a:spcPts val="0"/>
              </a:spcBef>
            </a:pPr>
            <a:r>
              <a:rPr lang="en-US" dirty="0"/>
              <a:t>Dolore</a:t>
            </a:r>
          </a:p>
        </p:txBody>
      </p:sp>
      <p:sp>
        <p:nvSpPr>
          <p:cNvPr id="53" name="Ellipse 63">
            <a:extLst>
              <a:ext uri="{FF2B5EF4-FFF2-40B4-BE49-F238E27FC236}">
                <a16:creationId xmlns:a16="http://schemas.microsoft.com/office/drawing/2014/main" id="{897EA3C3-5DB4-A340-9AE6-47BFF1035F14}"/>
              </a:ext>
            </a:extLst>
          </p:cNvPr>
          <p:cNvSpPr>
            <a:spLocks/>
          </p:cNvSpPr>
          <p:nvPr/>
        </p:nvSpPr>
        <p:spPr bwMode="gray">
          <a:xfrm>
            <a:off x="5422365" y="3123339"/>
            <a:ext cx="1304445" cy="1304445"/>
          </a:xfrm>
          <a:prstGeom prst="ellipse">
            <a:avLst/>
          </a:prstGeom>
          <a:solidFill>
            <a:schemeClr val="bg2"/>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a:solidFill>
                  <a:schemeClr val="tx1"/>
                </a:solidFill>
              </a:rPr>
              <a:t>Lorem</a:t>
            </a:r>
            <a:br>
              <a:rPr lang="en-US" b="1" dirty="0">
                <a:solidFill>
                  <a:schemeClr val="tx1"/>
                </a:solidFill>
              </a:rPr>
            </a:br>
            <a:r>
              <a:rPr lang="en-US" b="1" dirty="0">
                <a:solidFill>
                  <a:schemeClr val="tx1"/>
                </a:solidFill>
              </a:rPr>
              <a:t>ipsum</a:t>
            </a:r>
          </a:p>
        </p:txBody>
      </p:sp>
      <p:sp>
        <p:nvSpPr>
          <p:cNvPr id="54" name="Rectangle 35">
            <a:extLst>
              <a:ext uri="{FF2B5EF4-FFF2-40B4-BE49-F238E27FC236}">
                <a16:creationId xmlns:a16="http://schemas.microsoft.com/office/drawing/2014/main" id="{323A338D-46AD-4240-AA34-8FC595E3DDC1}"/>
              </a:ext>
            </a:extLst>
          </p:cNvPr>
          <p:cNvSpPr>
            <a:spLocks noChangeArrowheads="1"/>
          </p:cNvSpPr>
          <p:nvPr/>
        </p:nvSpPr>
        <p:spPr bwMode="gray">
          <a:xfrm rot="4320000">
            <a:off x="4425839" y="2111597"/>
            <a:ext cx="3348000" cy="3348000"/>
          </a:xfrm>
          <a:prstGeom prst="rect">
            <a:avLst/>
          </a:prstGeom>
          <a:noFill/>
          <a:ln w="9525">
            <a:noFill/>
            <a:miter lim="800000"/>
            <a:headEnd/>
            <a:tailEnd/>
          </a:ln>
        </p:spPr>
        <p:txBody>
          <a:bodyPr spcFirstLastPara="1" wrap="none" lIns="0" tIns="0" rIns="0" bIns="0" numCol="1">
            <a:prstTxWarp prst="textArchUp">
              <a:avLst>
                <a:gd name="adj" fmla="val 10800000"/>
              </a:avLst>
            </a:prstTxWarp>
            <a:sp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ctr">
              <a:spcBef>
                <a:spcPts val="0"/>
              </a:spcBef>
            </a:pPr>
            <a:r>
              <a:rPr lang="en-US" b="1" dirty="0">
                <a:solidFill>
                  <a:schemeClr val="tx1"/>
                </a:solidFill>
                <a:latin typeface="+mn-lt"/>
              </a:rPr>
              <a:t>Ipsum delare</a:t>
            </a:r>
          </a:p>
        </p:txBody>
      </p:sp>
      <p:sp>
        <p:nvSpPr>
          <p:cNvPr id="57" name="Rectangle 35">
            <a:extLst>
              <a:ext uri="{FF2B5EF4-FFF2-40B4-BE49-F238E27FC236}">
                <a16:creationId xmlns:a16="http://schemas.microsoft.com/office/drawing/2014/main" id="{C5B21BB5-D6A2-4EFC-9FBA-D5E2CF1D97B6}"/>
              </a:ext>
            </a:extLst>
          </p:cNvPr>
          <p:cNvSpPr>
            <a:spLocks noChangeArrowheads="1"/>
          </p:cNvSpPr>
          <p:nvPr/>
        </p:nvSpPr>
        <p:spPr bwMode="gray">
          <a:xfrm rot="17280000">
            <a:off x="4425839" y="2111597"/>
            <a:ext cx="3348000" cy="3348000"/>
          </a:xfrm>
          <a:prstGeom prst="rect">
            <a:avLst/>
          </a:prstGeom>
          <a:noFill/>
          <a:ln w="9525">
            <a:noFill/>
            <a:miter lim="800000"/>
            <a:headEnd/>
            <a:tailEnd/>
          </a:ln>
        </p:spPr>
        <p:txBody>
          <a:bodyPr spcFirstLastPara="1" wrap="none" lIns="0" tIns="0" rIns="0" bIns="0" numCol="1">
            <a:prstTxWarp prst="textArchUp">
              <a:avLst>
                <a:gd name="adj" fmla="val 10800000"/>
              </a:avLst>
            </a:prstTxWarp>
            <a:sp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ctr">
              <a:spcBef>
                <a:spcPts val="0"/>
              </a:spcBef>
            </a:pPr>
            <a:r>
              <a:rPr lang="en-US" b="1" dirty="0">
                <a:solidFill>
                  <a:schemeClr val="tx1"/>
                </a:solidFill>
                <a:latin typeface="+mn-lt"/>
              </a:rPr>
              <a:t>Conses</a:t>
            </a:r>
          </a:p>
        </p:txBody>
      </p:sp>
      <p:sp>
        <p:nvSpPr>
          <p:cNvPr id="60" name="Rectangle 35">
            <a:extLst>
              <a:ext uri="{FF2B5EF4-FFF2-40B4-BE49-F238E27FC236}">
                <a16:creationId xmlns:a16="http://schemas.microsoft.com/office/drawing/2014/main" id="{AFBD2F34-095D-4AE8-B3C6-E21184B5879B}"/>
              </a:ext>
            </a:extLst>
          </p:cNvPr>
          <p:cNvSpPr>
            <a:spLocks noChangeArrowheads="1"/>
          </p:cNvSpPr>
          <p:nvPr/>
        </p:nvSpPr>
        <p:spPr bwMode="gray">
          <a:xfrm rot="2160000">
            <a:off x="4353839" y="2039597"/>
            <a:ext cx="3492000" cy="3492000"/>
          </a:xfrm>
          <a:prstGeom prst="rect">
            <a:avLst/>
          </a:prstGeom>
          <a:noFill/>
          <a:ln w="9525">
            <a:noFill/>
            <a:miter lim="800000"/>
            <a:headEnd/>
            <a:tailEnd/>
          </a:ln>
        </p:spPr>
        <p:txBody>
          <a:bodyPr spcFirstLastPara="1" wrap="none" lIns="0" tIns="0" rIns="0" bIns="0" numCol="1">
            <a:prstTxWarp prst="textArchDown">
              <a:avLst/>
            </a:prstTxWarp>
            <a:sp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ctr">
              <a:spcBef>
                <a:spcPts val="0"/>
              </a:spcBef>
            </a:pPr>
            <a:r>
              <a:rPr lang="en-US" b="1" dirty="0">
                <a:solidFill>
                  <a:schemeClr val="tx1"/>
                </a:solidFill>
                <a:latin typeface="+mn-lt"/>
              </a:rPr>
              <a:t>Esta respridate</a:t>
            </a:r>
          </a:p>
        </p:txBody>
      </p:sp>
    </p:spTree>
    <p:extLst>
      <p:ext uri="{BB962C8B-B14F-4D97-AF65-F5344CB8AC3E}">
        <p14:creationId xmlns:p14="http://schemas.microsoft.com/office/powerpoint/2010/main" val="199809556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WOT</a:t>
            </a:r>
          </a:p>
        </p:txBody>
      </p:sp>
      <p:sp>
        <p:nvSpPr>
          <p:cNvPr id="13" name="Text Box 3"/>
          <p:cNvSpPr txBox="1">
            <a:spLocks noChangeArrowheads="1"/>
          </p:cNvSpPr>
          <p:nvPr>
            <p:custDataLst>
              <p:tags r:id="rId1"/>
            </p:custDataLst>
          </p:nvPr>
        </p:nvSpPr>
        <p:spPr bwMode="auto">
          <a:xfrm>
            <a:off x="4512186" y="1415849"/>
            <a:ext cx="3957939" cy="2303850"/>
          </a:xfrm>
          <a:prstGeom prst="rect">
            <a:avLst/>
          </a:prstGeom>
          <a:solidFill>
            <a:srgbClr val="E5E5E9"/>
          </a:solidFill>
          <a:ln w="12700">
            <a:noFill/>
          </a:ln>
          <a:effectLst/>
        </p:spPr>
        <p:txBody>
          <a:bodyPr lIns="863550" tIns="143925" rIns="215888" bIns="143925">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0" indent="0" algn="r">
              <a:lnSpc>
                <a:spcPct val="90000"/>
              </a:lnSpc>
              <a:buClr>
                <a:srgbClr val="879BAA"/>
              </a:buClr>
              <a:buSzPct val="120000"/>
            </a:pPr>
            <a:r>
              <a:rPr lang="en-US" sz="1799" b="1" dirty="0">
                <a:solidFill>
                  <a:schemeClr val="accent1"/>
                </a:solidFill>
                <a:latin typeface="+mn-lt"/>
              </a:rPr>
              <a:t>Weakness</a:t>
            </a:r>
          </a:p>
          <a:p>
            <a:pPr marL="179910" indent="-179910" algn="r">
              <a:lnSpc>
                <a:spcPct val="90000"/>
              </a:lnSpc>
              <a:spcBef>
                <a:spcPts val="600"/>
              </a:spcBef>
              <a:buClr>
                <a:schemeClr val="accent1"/>
              </a:buClr>
              <a:buSzPct val="100000"/>
              <a:buFont typeface="Arial" panose="020B0604020202020204" pitchFamily="34" charset="0"/>
              <a:buChar char="•"/>
            </a:pPr>
            <a:r>
              <a:rPr lang="en-US" sz="1799" dirty="0">
                <a:solidFill>
                  <a:srgbClr val="333353"/>
                </a:solidFill>
                <a:latin typeface="+mn-lt"/>
              </a:rPr>
              <a:t>At vero eos et accusam</a:t>
            </a:r>
          </a:p>
          <a:p>
            <a:pPr marL="179910" indent="-179910" algn="r">
              <a:lnSpc>
                <a:spcPct val="90000"/>
              </a:lnSpc>
              <a:spcBef>
                <a:spcPts val="600"/>
              </a:spcBef>
              <a:buClr>
                <a:schemeClr val="accent1"/>
              </a:buClr>
              <a:buSzPct val="100000"/>
              <a:buFont typeface="Arial" panose="020B0604020202020204" pitchFamily="34" charset="0"/>
              <a:buChar char="•"/>
            </a:pPr>
            <a:r>
              <a:rPr lang="en-US" sz="1799" dirty="0">
                <a:solidFill>
                  <a:srgbClr val="333353"/>
                </a:solidFill>
                <a:latin typeface="+mn-lt"/>
              </a:rPr>
              <a:t>Duis arcu tortor, </a:t>
            </a:r>
            <a:br>
              <a:rPr lang="en-US" sz="1799" dirty="0">
                <a:solidFill>
                  <a:srgbClr val="333353"/>
                </a:solidFill>
                <a:latin typeface="+mn-lt"/>
              </a:rPr>
            </a:br>
            <a:r>
              <a:rPr lang="en-US" sz="1799" dirty="0">
                <a:solidFill>
                  <a:srgbClr val="333353"/>
                </a:solidFill>
                <a:latin typeface="+mn-lt"/>
              </a:rPr>
              <a:t>suscipit eget</a:t>
            </a:r>
          </a:p>
        </p:txBody>
      </p:sp>
      <p:sp>
        <p:nvSpPr>
          <p:cNvPr id="14" name="Text Box 3"/>
          <p:cNvSpPr txBox="1">
            <a:spLocks noChangeArrowheads="1"/>
          </p:cNvSpPr>
          <p:nvPr>
            <p:custDataLst>
              <p:tags r:id="rId2"/>
            </p:custDataLst>
          </p:nvPr>
        </p:nvSpPr>
        <p:spPr bwMode="auto">
          <a:xfrm>
            <a:off x="4512186" y="3862574"/>
            <a:ext cx="3957939" cy="2303850"/>
          </a:xfrm>
          <a:prstGeom prst="rect">
            <a:avLst/>
          </a:prstGeom>
          <a:solidFill>
            <a:srgbClr val="E5E5E9"/>
          </a:solidFill>
          <a:ln w="12700">
            <a:noFill/>
          </a:ln>
          <a:effectLst/>
        </p:spPr>
        <p:txBody>
          <a:bodyPr lIns="863550" tIns="143925" rIns="215888" bIns="143925" anchor="b" anchorCtr="0">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0" indent="0" algn="r">
              <a:lnSpc>
                <a:spcPct val="90000"/>
              </a:lnSpc>
              <a:buClr>
                <a:srgbClr val="879BAA"/>
              </a:buClr>
              <a:buSzPct val="120000"/>
            </a:pPr>
            <a:r>
              <a:rPr lang="en-US" sz="1799" b="1" dirty="0">
                <a:solidFill>
                  <a:schemeClr val="accent1"/>
                </a:solidFill>
                <a:latin typeface="+mn-lt"/>
              </a:rPr>
              <a:t>Threats</a:t>
            </a:r>
          </a:p>
          <a:p>
            <a:pPr marL="179910" indent="-179910" algn="r">
              <a:lnSpc>
                <a:spcPct val="90000"/>
              </a:lnSpc>
              <a:spcBef>
                <a:spcPts val="600"/>
              </a:spcBef>
              <a:buClr>
                <a:schemeClr val="accent1"/>
              </a:buClr>
              <a:buSzPct val="100000"/>
              <a:buFont typeface="Arial" panose="020B0604020202020204" pitchFamily="34" charset="0"/>
              <a:buChar char="•"/>
            </a:pPr>
            <a:r>
              <a:rPr lang="en-US" sz="1799" dirty="0">
                <a:solidFill>
                  <a:srgbClr val="333353"/>
                </a:solidFill>
                <a:latin typeface="+mn-lt"/>
              </a:rPr>
              <a:t>Duis arcu tortor</a:t>
            </a:r>
          </a:p>
          <a:p>
            <a:pPr marL="179910" indent="-179910" algn="r">
              <a:lnSpc>
                <a:spcPct val="90000"/>
              </a:lnSpc>
              <a:spcBef>
                <a:spcPts val="600"/>
              </a:spcBef>
              <a:buClr>
                <a:schemeClr val="accent1"/>
              </a:buClr>
              <a:buSzPct val="100000"/>
              <a:buFont typeface="Arial" panose="020B0604020202020204" pitchFamily="34" charset="0"/>
              <a:buChar char="•"/>
            </a:pPr>
            <a:r>
              <a:rPr lang="en-US" sz="1799" dirty="0">
                <a:solidFill>
                  <a:srgbClr val="333353"/>
                </a:solidFill>
                <a:latin typeface="+mn-lt"/>
              </a:rPr>
              <a:t>At vero eos et accusam</a:t>
            </a:r>
          </a:p>
        </p:txBody>
      </p:sp>
      <p:sp>
        <p:nvSpPr>
          <p:cNvPr id="15" name="Text Box 3"/>
          <p:cNvSpPr txBox="1">
            <a:spLocks noChangeArrowheads="1"/>
          </p:cNvSpPr>
          <p:nvPr>
            <p:custDataLst>
              <p:tags r:id="rId3"/>
            </p:custDataLst>
          </p:nvPr>
        </p:nvSpPr>
        <p:spPr bwMode="auto">
          <a:xfrm>
            <a:off x="410400" y="3862574"/>
            <a:ext cx="3957939" cy="2303850"/>
          </a:xfrm>
          <a:prstGeom prst="rect">
            <a:avLst/>
          </a:prstGeom>
          <a:solidFill>
            <a:srgbClr val="E5E5E9"/>
          </a:solidFill>
          <a:ln w="12700">
            <a:noFill/>
          </a:ln>
          <a:effectLst/>
        </p:spPr>
        <p:txBody>
          <a:bodyPr lIns="215888" tIns="143925" rIns="863550" bIns="143925" anchor="b" anchorCtr="0">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0" indent="0">
              <a:lnSpc>
                <a:spcPct val="90000"/>
              </a:lnSpc>
              <a:buClr>
                <a:srgbClr val="879BAA"/>
              </a:buClr>
              <a:buSzPct val="120000"/>
            </a:pPr>
            <a:r>
              <a:rPr lang="en-US" sz="1799" b="1" dirty="0">
                <a:solidFill>
                  <a:schemeClr val="accent1"/>
                </a:solidFill>
                <a:latin typeface="+mn-lt"/>
              </a:rPr>
              <a:t>Opportunities</a:t>
            </a:r>
          </a:p>
          <a:p>
            <a:pPr marL="179910" indent="-179910">
              <a:lnSpc>
                <a:spcPct val="90000"/>
              </a:lnSpc>
              <a:spcBef>
                <a:spcPts val="600"/>
              </a:spcBef>
              <a:buClr>
                <a:schemeClr val="accent1"/>
              </a:buClr>
              <a:buSzPct val="100000"/>
              <a:buFont typeface="Arial" panose="020B0604020202020204" pitchFamily="34" charset="0"/>
              <a:buChar char="•"/>
            </a:pPr>
            <a:r>
              <a:rPr lang="en-US" sz="1799" dirty="0">
                <a:solidFill>
                  <a:srgbClr val="333353"/>
                </a:solidFill>
                <a:latin typeface="+mn-lt"/>
              </a:rPr>
              <a:t>Cras ultricies mi eu</a:t>
            </a:r>
          </a:p>
          <a:p>
            <a:pPr marL="179910" indent="-179910">
              <a:lnSpc>
                <a:spcPct val="90000"/>
              </a:lnSpc>
              <a:spcBef>
                <a:spcPts val="600"/>
              </a:spcBef>
              <a:buClr>
                <a:schemeClr val="accent1"/>
              </a:buClr>
              <a:buSzPct val="100000"/>
              <a:buFont typeface="Arial" panose="020B0604020202020204" pitchFamily="34" charset="0"/>
              <a:buChar char="•"/>
            </a:pPr>
            <a:r>
              <a:rPr lang="en-US" sz="1799" dirty="0">
                <a:solidFill>
                  <a:srgbClr val="333353"/>
                </a:solidFill>
                <a:latin typeface="+mn-lt"/>
              </a:rPr>
              <a:t>Duis arcu tortor, suscipit eget, imperdiet nec</a:t>
            </a:r>
          </a:p>
        </p:txBody>
      </p:sp>
      <p:sp>
        <p:nvSpPr>
          <p:cNvPr id="17" name="Text Box 3"/>
          <p:cNvSpPr txBox="1">
            <a:spLocks noChangeArrowheads="1"/>
          </p:cNvSpPr>
          <p:nvPr>
            <p:custDataLst>
              <p:tags r:id="rId4"/>
            </p:custDataLst>
          </p:nvPr>
        </p:nvSpPr>
        <p:spPr bwMode="auto">
          <a:xfrm>
            <a:off x="410400" y="1415849"/>
            <a:ext cx="3957939" cy="2303850"/>
          </a:xfrm>
          <a:prstGeom prst="rect">
            <a:avLst/>
          </a:prstGeom>
          <a:solidFill>
            <a:srgbClr val="E5E5E9"/>
          </a:solidFill>
          <a:ln w="12700">
            <a:noFill/>
          </a:ln>
          <a:effectLst/>
        </p:spPr>
        <p:txBody>
          <a:bodyPr lIns="215888" tIns="143925" rIns="863550" bIns="143925">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0" indent="0">
              <a:lnSpc>
                <a:spcPct val="90000"/>
              </a:lnSpc>
              <a:buClr>
                <a:srgbClr val="879BAA"/>
              </a:buClr>
              <a:buSzPct val="120000"/>
            </a:pPr>
            <a:r>
              <a:rPr lang="en-US" sz="1799" b="1" dirty="0">
                <a:solidFill>
                  <a:schemeClr val="accent1"/>
                </a:solidFill>
                <a:latin typeface="+mn-lt"/>
              </a:rPr>
              <a:t>Strengths</a:t>
            </a:r>
          </a:p>
          <a:p>
            <a:pPr marL="179910" indent="-179910">
              <a:lnSpc>
                <a:spcPct val="90000"/>
              </a:lnSpc>
              <a:spcBef>
                <a:spcPts val="600"/>
              </a:spcBef>
              <a:buClr>
                <a:schemeClr val="accent1"/>
              </a:buClr>
              <a:buSzPct val="100000"/>
              <a:buFont typeface="Arial" panose="020B0604020202020204" pitchFamily="34" charset="0"/>
              <a:buChar char="•"/>
            </a:pPr>
            <a:r>
              <a:rPr lang="en-US" sz="1799" dirty="0">
                <a:solidFill>
                  <a:srgbClr val="333353"/>
                </a:solidFill>
                <a:latin typeface="+mn-lt"/>
              </a:rPr>
              <a:t>Phasellus nec sem</a:t>
            </a:r>
          </a:p>
          <a:p>
            <a:pPr marL="179910" indent="-179910">
              <a:lnSpc>
                <a:spcPct val="90000"/>
              </a:lnSpc>
              <a:spcBef>
                <a:spcPts val="600"/>
              </a:spcBef>
              <a:buClr>
                <a:schemeClr val="accent1"/>
              </a:buClr>
              <a:buSzPct val="100000"/>
              <a:buFont typeface="Arial" panose="020B0604020202020204" pitchFamily="34" charset="0"/>
              <a:buChar char="•"/>
            </a:pPr>
            <a:r>
              <a:rPr lang="en-US" sz="1799" dirty="0">
                <a:solidFill>
                  <a:srgbClr val="333353"/>
                </a:solidFill>
                <a:latin typeface="+mn-lt"/>
              </a:rPr>
              <a:t>Duis arcu tortor, suscipit eget</a:t>
            </a:r>
          </a:p>
        </p:txBody>
      </p:sp>
      <p:sp>
        <p:nvSpPr>
          <p:cNvPr id="9" name="Flowchart: Or 8"/>
          <p:cNvSpPr>
            <a:spLocks noChangeAspect="1"/>
          </p:cNvSpPr>
          <p:nvPr/>
        </p:nvSpPr>
        <p:spPr bwMode="auto">
          <a:xfrm>
            <a:off x="3108771" y="2459830"/>
            <a:ext cx="2662983" cy="2662613"/>
          </a:xfrm>
          <a:prstGeom prst="flowChartOr">
            <a:avLst/>
          </a:prstGeom>
          <a:solidFill>
            <a:schemeClr val="bg1"/>
          </a:solidFill>
          <a:ln>
            <a:noFill/>
          </a:ln>
          <a:effectLst/>
        </p:spPr>
        <p:txBody>
          <a:bodyPr wrap="square" lIns="143925" tIns="71963" rIns="143925" bIns="71963" numCol="1" spcCol="72000" rtlCol="0" anchor="ctr">
            <a:noAutofit/>
          </a:bodyPr>
          <a:lstStyle/>
          <a:p>
            <a:pPr algn="ctr">
              <a:lnSpc>
                <a:spcPct val="110000"/>
              </a:lnSpc>
              <a:spcBef>
                <a:spcPct val="0"/>
              </a:spcBef>
              <a:buFont typeface="Wingdings" charset="0"/>
              <a:buNone/>
            </a:pPr>
            <a:endParaRPr lang="en-US" sz="1999" b="1" dirty="0">
              <a:solidFill>
                <a:srgbClr val="3C464B"/>
              </a:solidFill>
              <a:ea typeface="Arial Unicode MS" panose="020B0604020202020204" pitchFamily="34" charset="-128"/>
              <a:cs typeface="Arial Unicode MS" panose="020B0604020202020204" pitchFamily="34" charset="-128"/>
            </a:endParaRPr>
          </a:p>
        </p:txBody>
      </p:sp>
      <p:sp>
        <p:nvSpPr>
          <p:cNvPr id="12" name="Flowchart: Or 11"/>
          <p:cNvSpPr>
            <a:spLocks noChangeAspect="1"/>
          </p:cNvSpPr>
          <p:nvPr/>
        </p:nvSpPr>
        <p:spPr bwMode="auto">
          <a:xfrm>
            <a:off x="3252716" y="2603755"/>
            <a:ext cx="2375093" cy="2374763"/>
          </a:xfrm>
          <a:prstGeom prst="flowChartOr">
            <a:avLst/>
          </a:prstGeom>
          <a:gradFill flip="none" rotWithShape="1">
            <a:gsLst>
              <a:gs pos="0">
                <a:srgbClr val="00FFB9"/>
              </a:gs>
              <a:gs pos="100000">
                <a:srgbClr val="00E6DC"/>
              </a:gs>
            </a:gsLst>
            <a:lin ang="0" scaled="1"/>
            <a:tileRect/>
          </a:gradFill>
          <a:ln>
            <a:noFill/>
          </a:ln>
          <a:effectLst/>
        </p:spPr>
        <p:txBody>
          <a:bodyPr wrap="square" lIns="143925" tIns="71963" rIns="143925" bIns="71963" numCol="1" spcCol="72000" rtlCol="0" anchor="ctr">
            <a:noAutofit/>
          </a:bodyPr>
          <a:lstStyle/>
          <a:p>
            <a:pPr algn="ctr">
              <a:lnSpc>
                <a:spcPct val="90000"/>
              </a:lnSpc>
              <a:spcBef>
                <a:spcPct val="0"/>
              </a:spcBef>
              <a:buFont typeface="Wingdings" charset="0"/>
              <a:buNone/>
            </a:pPr>
            <a:r>
              <a:rPr lang="en-US" sz="3198" b="1" dirty="0">
                <a:solidFill>
                  <a:schemeClr val="tx2"/>
                </a:solidFill>
                <a:ea typeface="Arial Unicode MS" panose="020B0604020202020204" pitchFamily="34" charset="-128"/>
                <a:cs typeface="Arial Unicode MS" panose="020B0604020202020204" pitchFamily="34" charset="-128"/>
              </a:rPr>
              <a:t>SWOT</a:t>
            </a:r>
          </a:p>
        </p:txBody>
      </p:sp>
      <p:sp>
        <p:nvSpPr>
          <p:cNvPr id="3" name="Footer Placeholder 2">
            <a:extLst>
              <a:ext uri="{FF2B5EF4-FFF2-40B4-BE49-F238E27FC236}">
                <a16:creationId xmlns:a16="http://schemas.microsoft.com/office/drawing/2014/main" id="{0CB0F14F-4C49-402C-A089-3D89B853FB81}"/>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0013ADBB-93B5-42CB-B559-F6107C269670}"/>
              </a:ext>
            </a:extLst>
          </p:cNvPr>
          <p:cNvSpPr>
            <a:spLocks noGrp="1"/>
          </p:cNvSpPr>
          <p:nvPr>
            <p:ph type="sldNum" sz="quarter" idx="11"/>
          </p:nvPr>
        </p:nvSpPr>
        <p:spPr/>
        <p:txBody>
          <a:bodyPr/>
          <a:lstStyle/>
          <a:p>
            <a:r>
              <a:rPr lang="en-US" dirty="0"/>
              <a:t>Page </a:t>
            </a:r>
            <a:fld id="{15EBE321-CBB1-4E91-BD14-37C8D44326FB}" type="slidenum">
              <a:rPr lang="en-US" smtClean="0"/>
              <a:pPr/>
              <a:t>42</a:t>
            </a:fld>
            <a:endParaRPr lang="en-US" dirty="0"/>
          </a:p>
        </p:txBody>
      </p:sp>
    </p:spTree>
    <p:extLst>
      <p:ext uri="{BB962C8B-B14F-4D97-AF65-F5344CB8AC3E}">
        <p14:creationId xmlns:p14="http://schemas.microsoft.com/office/powerpoint/2010/main" val="43502350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WOT</a:t>
            </a:r>
          </a:p>
        </p:txBody>
      </p:sp>
      <p:sp>
        <p:nvSpPr>
          <p:cNvPr id="3" name="Footer Placeholder 2">
            <a:extLst>
              <a:ext uri="{FF2B5EF4-FFF2-40B4-BE49-F238E27FC236}">
                <a16:creationId xmlns:a16="http://schemas.microsoft.com/office/drawing/2014/main" id="{0CB0F14F-4C49-402C-A089-3D89B853FB81}"/>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0013ADBB-93B5-42CB-B559-F6107C269670}"/>
              </a:ext>
            </a:extLst>
          </p:cNvPr>
          <p:cNvSpPr>
            <a:spLocks noGrp="1"/>
          </p:cNvSpPr>
          <p:nvPr>
            <p:ph type="sldNum" sz="quarter" idx="11"/>
          </p:nvPr>
        </p:nvSpPr>
        <p:spPr/>
        <p:txBody>
          <a:bodyPr/>
          <a:lstStyle/>
          <a:p>
            <a:r>
              <a:rPr lang="en-US" dirty="0"/>
              <a:t>Page </a:t>
            </a:r>
            <a:fld id="{15EBE321-CBB1-4E91-BD14-37C8D44326FB}" type="slidenum">
              <a:rPr lang="en-US" smtClean="0"/>
              <a:pPr/>
              <a:t>43</a:t>
            </a:fld>
            <a:endParaRPr lang="en-US" dirty="0"/>
          </a:p>
        </p:txBody>
      </p:sp>
      <p:sp>
        <p:nvSpPr>
          <p:cNvPr id="13" name="Text Box 3"/>
          <p:cNvSpPr txBox="1">
            <a:spLocks noChangeArrowheads="1"/>
          </p:cNvSpPr>
          <p:nvPr>
            <p:custDataLst>
              <p:tags r:id="rId1"/>
            </p:custDataLst>
          </p:nvPr>
        </p:nvSpPr>
        <p:spPr bwMode="auto">
          <a:xfrm>
            <a:off x="4512186" y="1415849"/>
            <a:ext cx="3957939" cy="2303850"/>
          </a:xfrm>
          <a:prstGeom prst="rect">
            <a:avLst/>
          </a:prstGeom>
          <a:solidFill>
            <a:srgbClr val="333353"/>
          </a:solidFill>
          <a:ln w="12700">
            <a:noFill/>
          </a:ln>
          <a:effectLst/>
        </p:spPr>
        <p:txBody>
          <a:bodyPr lIns="863550" tIns="143925" rIns="215888" bIns="143925">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0" indent="0" algn="r">
              <a:lnSpc>
                <a:spcPct val="90000"/>
              </a:lnSpc>
              <a:buClr>
                <a:srgbClr val="879BAA"/>
              </a:buClr>
              <a:buSzPct val="120000"/>
            </a:pPr>
            <a:r>
              <a:rPr lang="en-US" sz="1799" b="1" dirty="0">
                <a:solidFill>
                  <a:srgbClr val="00FFB9"/>
                </a:solidFill>
                <a:latin typeface="+mn-lt"/>
              </a:rPr>
              <a:t>Weakness</a:t>
            </a:r>
          </a:p>
          <a:p>
            <a:pPr marL="179910" indent="-179910" algn="r">
              <a:lnSpc>
                <a:spcPct val="90000"/>
              </a:lnSpc>
              <a:spcBef>
                <a:spcPts val="600"/>
              </a:spcBef>
              <a:buSzPct val="100000"/>
              <a:buFont typeface="Arial" panose="020B0604020202020204" pitchFamily="34" charset="0"/>
              <a:buChar char="•"/>
            </a:pPr>
            <a:r>
              <a:rPr lang="en-US" sz="1799" dirty="0">
                <a:latin typeface="+mn-lt"/>
              </a:rPr>
              <a:t>At vero eos et accusam</a:t>
            </a:r>
          </a:p>
          <a:p>
            <a:pPr marL="179910" indent="-179910" algn="r">
              <a:lnSpc>
                <a:spcPct val="90000"/>
              </a:lnSpc>
              <a:spcBef>
                <a:spcPts val="600"/>
              </a:spcBef>
              <a:buSzPct val="100000"/>
              <a:buFont typeface="Arial" panose="020B0604020202020204" pitchFamily="34" charset="0"/>
              <a:buChar char="•"/>
            </a:pPr>
            <a:r>
              <a:rPr lang="en-US" sz="1799" dirty="0">
                <a:latin typeface="+mn-lt"/>
              </a:rPr>
              <a:t>Duis arcu tortor, </a:t>
            </a:r>
            <a:br>
              <a:rPr lang="en-US" sz="1799" dirty="0">
                <a:latin typeface="+mn-lt"/>
              </a:rPr>
            </a:br>
            <a:r>
              <a:rPr lang="en-US" sz="1799" dirty="0">
                <a:latin typeface="+mn-lt"/>
              </a:rPr>
              <a:t>suscipit eget</a:t>
            </a:r>
          </a:p>
        </p:txBody>
      </p:sp>
      <p:sp>
        <p:nvSpPr>
          <p:cNvPr id="14" name="Text Box 3"/>
          <p:cNvSpPr txBox="1">
            <a:spLocks noChangeArrowheads="1"/>
          </p:cNvSpPr>
          <p:nvPr>
            <p:custDataLst>
              <p:tags r:id="rId2"/>
            </p:custDataLst>
          </p:nvPr>
        </p:nvSpPr>
        <p:spPr bwMode="auto">
          <a:xfrm>
            <a:off x="4512186" y="3862574"/>
            <a:ext cx="3957939" cy="2303850"/>
          </a:xfrm>
          <a:prstGeom prst="rect">
            <a:avLst/>
          </a:prstGeom>
          <a:solidFill>
            <a:srgbClr val="333353"/>
          </a:solidFill>
          <a:ln w="12700">
            <a:noFill/>
          </a:ln>
          <a:effectLst/>
        </p:spPr>
        <p:txBody>
          <a:bodyPr lIns="863550" tIns="143925" rIns="215888" bIns="143925" anchor="b" anchorCtr="0">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0" indent="0" algn="r">
              <a:lnSpc>
                <a:spcPct val="90000"/>
              </a:lnSpc>
              <a:buClr>
                <a:srgbClr val="879BAA"/>
              </a:buClr>
              <a:buSzPct val="120000"/>
            </a:pPr>
            <a:r>
              <a:rPr lang="en-US" sz="1799" b="1" dirty="0">
                <a:solidFill>
                  <a:srgbClr val="00FFB9"/>
                </a:solidFill>
                <a:latin typeface="+mn-lt"/>
              </a:rPr>
              <a:t>Threats</a:t>
            </a:r>
          </a:p>
          <a:p>
            <a:pPr marL="179910" indent="-179910" algn="r">
              <a:lnSpc>
                <a:spcPct val="90000"/>
              </a:lnSpc>
              <a:spcBef>
                <a:spcPts val="600"/>
              </a:spcBef>
              <a:buSzPct val="100000"/>
              <a:buFont typeface="Arial" panose="020B0604020202020204" pitchFamily="34" charset="0"/>
              <a:buChar char="•"/>
            </a:pPr>
            <a:r>
              <a:rPr lang="en-US" sz="1799" dirty="0">
                <a:latin typeface="+mn-lt"/>
              </a:rPr>
              <a:t>Duis arcu tortor</a:t>
            </a:r>
          </a:p>
          <a:p>
            <a:pPr marL="179910" indent="-179910" algn="r">
              <a:lnSpc>
                <a:spcPct val="90000"/>
              </a:lnSpc>
              <a:spcBef>
                <a:spcPts val="600"/>
              </a:spcBef>
              <a:buSzPct val="100000"/>
              <a:buFont typeface="Arial" panose="020B0604020202020204" pitchFamily="34" charset="0"/>
              <a:buChar char="•"/>
            </a:pPr>
            <a:r>
              <a:rPr lang="en-US" sz="1799" dirty="0">
                <a:latin typeface="+mn-lt"/>
              </a:rPr>
              <a:t>At vero eos et accusam</a:t>
            </a:r>
          </a:p>
        </p:txBody>
      </p:sp>
      <p:sp>
        <p:nvSpPr>
          <p:cNvPr id="15" name="Text Box 3"/>
          <p:cNvSpPr txBox="1">
            <a:spLocks noChangeArrowheads="1"/>
          </p:cNvSpPr>
          <p:nvPr>
            <p:custDataLst>
              <p:tags r:id="rId3"/>
            </p:custDataLst>
          </p:nvPr>
        </p:nvSpPr>
        <p:spPr bwMode="auto">
          <a:xfrm>
            <a:off x="410400" y="3862574"/>
            <a:ext cx="3957939" cy="2303850"/>
          </a:xfrm>
          <a:prstGeom prst="rect">
            <a:avLst/>
          </a:prstGeom>
          <a:solidFill>
            <a:srgbClr val="333353"/>
          </a:solidFill>
          <a:ln w="12700">
            <a:noFill/>
          </a:ln>
          <a:effectLst/>
        </p:spPr>
        <p:txBody>
          <a:bodyPr lIns="215888" tIns="143925" rIns="863550" bIns="143925" anchor="b" anchorCtr="0">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0" indent="0">
              <a:lnSpc>
                <a:spcPct val="90000"/>
              </a:lnSpc>
              <a:buClr>
                <a:srgbClr val="879BAA"/>
              </a:buClr>
              <a:buSzPct val="120000"/>
            </a:pPr>
            <a:r>
              <a:rPr lang="en-US" sz="1799" b="1" dirty="0">
                <a:solidFill>
                  <a:srgbClr val="00FFB9"/>
                </a:solidFill>
                <a:latin typeface="+mn-lt"/>
              </a:rPr>
              <a:t>Opportunities</a:t>
            </a:r>
          </a:p>
          <a:p>
            <a:pPr marL="179910" indent="-179910">
              <a:lnSpc>
                <a:spcPct val="90000"/>
              </a:lnSpc>
              <a:spcBef>
                <a:spcPts val="600"/>
              </a:spcBef>
              <a:buSzPct val="100000"/>
              <a:buFont typeface="Arial" panose="020B0604020202020204" pitchFamily="34" charset="0"/>
              <a:buChar char="•"/>
            </a:pPr>
            <a:r>
              <a:rPr lang="en-US" sz="1799" dirty="0">
                <a:latin typeface="+mn-lt"/>
              </a:rPr>
              <a:t>Cras ultricies mi eu</a:t>
            </a:r>
          </a:p>
          <a:p>
            <a:pPr marL="179910" indent="-179910">
              <a:lnSpc>
                <a:spcPct val="90000"/>
              </a:lnSpc>
              <a:spcBef>
                <a:spcPts val="600"/>
              </a:spcBef>
              <a:buSzPct val="100000"/>
              <a:buFont typeface="Arial" panose="020B0604020202020204" pitchFamily="34" charset="0"/>
              <a:buChar char="•"/>
            </a:pPr>
            <a:r>
              <a:rPr lang="en-US" sz="1799" dirty="0">
                <a:latin typeface="+mn-lt"/>
              </a:rPr>
              <a:t>Duis arcu tortor, suscipit eget, imperdiet nec</a:t>
            </a:r>
          </a:p>
        </p:txBody>
      </p:sp>
      <p:sp>
        <p:nvSpPr>
          <p:cNvPr id="17" name="Text Box 3"/>
          <p:cNvSpPr txBox="1">
            <a:spLocks noChangeArrowheads="1"/>
          </p:cNvSpPr>
          <p:nvPr>
            <p:custDataLst>
              <p:tags r:id="rId4"/>
            </p:custDataLst>
          </p:nvPr>
        </p:nvSpPr>
        <p:spPr bwMode="auto">
          <a:xfrm>
            <a:off x="410400" y="1415849"/>
            <a:ext cx="3957939" cy="2303850"/>
          </a:xfrm>
          <a:prstGeom prst="rect">
            <a:avLst/>
          </a:prstGeom>
          <a:solidFill>
            <a:srgbClr val="333353"/>
          </a:solidFill>
          <a:ln w="12700">
            <a:noFill/>
          </a:ln>
          <a:effectLst/>
        </p:spPr>
        <p:txBody>
          <a:bodyPr lIns="215888" tIns="143925" rIns="863550" bIns="143925">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0" indent="0">
              <a:lnSpc>
                <a:spcPct val="90000"/>
              </a:lnSpc>
              <a:buClr>
                <a:srgbClr val="879BAA"/>
              </a:buClr>
              <a:buSzPct val="120000"/>
            </a:pPr>
            <a:r>
              <a:rPr lang="en-US" sz="1799" b="1" dirty="0">
                <a:solidFill>
                  <a:srgbClr val="00FFB9"/>
                </a:solidFill>
                <a:latin typeface="+mn-lt"/>
              </a:rPr>
              <a:t>Strengths</a:t>
            </a:r>
          </a:p>
          <a:p>
            <a:pPr marL="179910" indent="-179910">
              <a:lnSpc>
                <a:spcPct val="90000"/>
              </a:lnSpc>
              <a:spcBef>
                <a:spcPts val="600"/>
              </a:spcBef>
              <a:buSzPct val="100000"/>
              <a:buFont typeface="Arial" panose="020B0604020202020204" pitchFamily="34" charset="0"/>
              <a:buChar char="•"/>
            </a:pPr>
            <a:r>
              <a:rPr lang="en-US" sz="1799" dirty="0">
                <a:latin typeface="+mn-lt"/>
              </a:rPr>
              <a:t>Phasellus nec sem</a:t>
            </a:r>
          </a:p>
          <a:p>
            <a:pPr marL="179910" indent="-179910">
              <a:lnSpc>
                <a:spcPct val="90000"/>
              </a:lnSpc>
              <a:spcBef>
                <a:spcPts val="600"/>
              </a:spcBef>
              <a:buSzPct val="100000"/>
              <a:buFont typeface="Arial" panose="020B0604020202020204" pitchFamily="34" charset="0"/>
              <a:buChar char="•"/>
            </a:pPr>
            <a:r>
              <a:rPr lang="en-US" sz="1799" dirty="0">
                <a:latin typeface="+mn-lt"/>
              </a:rPr>
              <a:t>Duis arcu tortor, suscipit eget</a:t>
            </a:r>
          </a:p>
        </p:txBody>
      </p:sp>
      <p:sp>
        <p:nvSpPr>
          <p:cNvPr id="9" name="Flowchart: Or 8"/>
          <p:cNvSpPr>
            <a:spLocks noChangeAspect="1"/>
          </p:cNvSpPr>
          <p:nvPr/>
        </p:nvSpPr>
        <p:spPr bwMode="auto">
          <a:xfrm>
            <a:off x="3108771" y="2459830"/>
            <a:ext cx="2662983" cy="2662613"/>
          </a:xfrm>
          <a:prstGeom prst="flowChartOr">
            <a:avLst/>
          </a:prstGeom>
          <a:solidFill>
            <a:schemeClr val="bg2"/>
          </a:solidFill>
          <a:ln>
            <a:noFill/>
          </a:ln>
          <a:effectLst/>
        </p:spPr>
        <p:txBody>
          <a:bodyPr wrap="square" lIns="143925" tIns="71963" rIns="143925" bIns="71963" numCol="1" spcCol="72000" rtlCol="0" anchor="ctr">
            <a:noAutofit/>
          </a:bodyPr>
          <a:lstStyle/>
          <a:p>
            <a:pPr algn="ctr">
              <a:lnSpc>
                <a:spcPct val="110000"/>
              </a:lnSpc>
              <a:spcBef>
                <a:spcPct val="0"/>
              </a:spcBef>
              <a:buFont typeface="Wingdings" charset="0"/>
              <a:buNone/>
            </a:pPr>
            <a:endParaRPr lang="en-US" sz="1999" b="1" dirty="0">
              <a:solidFill>
                <a:srgbClr val="3C464B"/>
              </a:solidFill>
              <a:ea typeface="Arial Unicode MS" panose="020B0604020202020204" pitchFamily="34" charset="-128"/>
              <a:cs typeface="Arial Unicode MS" panose="020B0604020202020204" pitchFamily="34" charset="-128"/>
            </a:endParaRPr>
          </a:p>
        </p:txBody>
      </p:sp>
      <p:sp>
        <p:nvSpPr>
          <p:cNvPr id="12" name="Flowchart: Or 11"/>
          <p:cNvSpPr>
            <a:spLocks noChangeAspect="1"/>
          </p:cNvSpPr>
          <p:nvPr/>
        </p:nvSpPr>
        <p:spPr bwMode="auto">
          <a:xfrm>
            <a:off x="3252716" y="2603755"/>
            <a:ext cx="2375093" cy="2374763"/>
          </a:xfrm>
          <a:prstGeom prst="flowChartOr">
            <a:avLst/>
          </a:prstGeom>
          <a:gradFill>
            <a:gsLst>
              <a:gs pos="0">
                <a:srgbClr val="00FFB9"/>
              </a:gs>
              <a:gs pos="100000">
                <a:srgbClr val="00E6DC"/>
              </a:gs>
            </a:gsLst>
            <a:lin ang="0" scaled="1"/>
          </a:gradFill>
          <a:ln>
            <a:noFill/>
          </a:ln>
          <a:effectLst/>
        </p:spPr>
        <p:txBody>
          <a:bodyPr wrap="square" lIns="143925" tIns="71963" rIns="143925" bIns="71963" numCol="1" spcCol="72000" rtlCol="0" anchor="ctr">
            <a:noAutofit/>
          </a:bodyPr>
          <a:lstStyle/>
          <a:p>
            <a:pPr algn="ctr">
              <a:lnSpc>
                <a:spcPct val="90000"/>
              </a:lnSpc>
              <a:spcBef>
                <a:spcPct val="0"/>
              </a:spcBef>
              <a:buFont typeface="Wingdings" charset="0"/>
              <a:buNone/>
            </a:pPr>
            <a:r>
              <a:rPr lang="en-US" sz="3198" b="1" dirty="0">
                <a:solidFill>
                  <a:schemeClr val="bg2"/>
                </a:solidFill>
                <a:ea typeface="Arial Unicode MS" panose="020B0604020202020204" pitchFamily="34" charset="-128"/>
                <a:cs typeface="Arial Unicode MS" panose="020B0604020202020204" pitchFamily="34" charset="-128"/>
              </a:rPr>
              <a:t>SWOT</a:t>
            </a:r>
          </a:p>
        </p:txBody>
      </p:sp>
    </p:spTree>
    <p:extLst>
      <p:ext uri="{BB962C8B-B14F-4D97-AF65-F5344CB8AC3E}">
        <p14:creationId xmlns:p14="http://schemas.microsoft.com/office/powerpoint/2010/main" val="125457235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WOT – colored</a:t>
            </a:r>
          </a:p>
        </p:txBody>
      </p:sp>
      <p:sp>
        <p:nvSpPr>
          <p:cNvPr id="13" name="Text Box 3"/>
          <p:cNvSpPr txBox="1">
            <a:spLocks noChangeArrowheads="1"/>
          </p:cNvSpPr>
          <p:nvPr>
            <p:custDataLst>
              <p:tags r:id="rId1"/>
            </p:custDataLst>
          </p:nvPr>
        </p:nvSpPr>
        <p:spPr bwMode="auto">
          <a:xfrm>
            <a:off x="4512949" y="1415849"/>
            <a:ext cx="3957939" cy="2303850"/>
          </a:xfrm>
          <a:prstGeom prst="rect">
            <a:avLst/>
          </a:prstGeom>
          <a:solidFill>
            <a:schemeClr val="accent2"/>
          </a:solidFill>
          <a:ln w="12700">
            <a:noFill/>
          </a:ln>
          <a:effectLst/>
        </p:spPr>
        <p:txBody>
          <a:bodyPr lIns="863550" tIns="143925" rIns="215888" bIns="143925">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0" indent="0" algn="r">
              <a:lnSpc>
                <a:spcPct val="90000"/>
              </a:lnSpc>
              <a:buClr>
                <a:srgbClr val="879BAA"/>
              </a:buClr>
              <a:buSzPct val="120000"/>
            </a:pPr>
            <a:r>
              <a:rPr lang="en-US" sz="1799" b="1" dirty="0">
                <a:solidFill>
                  <a:schemeClr val="tx2"/>
                </a:solidFill>
                <a:latin typeface="+mn-lt"/>
              </a:rPr>
              <a:t>Weakness</a:t>
            </a:r>
          </a:p>
          <a:p>
            <a:pPr marL="179910" indent="-179910" algn="r">
              <a:lnSpc>
                <a:spcPct val="90000"/>
              </a:lnSpc>
              <a:spcBef>
                <a:spcPts val="600"/>
              </a:spcBef>
              <a:buSzPct val="100000"/>
              <a:buFont typeface="Arial" panose="020B0604020202020204" pitchFamily="34" charset="0"/>
              <a:buChar char="•"/>
            </a:pPr>
            <a:r>
              <a:rPr lang="en-US" sz="1799" dirty="0">
                <a:solidFill>
                  <a:schemeClr val="tx2"/>
                </a:solidFill>
                <a:latin typeface="+mn-lt"/>
              </a:rPr>
              <a:t>At vero eos et accusam</a:t>
            </a:r>
          </a:p>
          <a:p>
            <a:pPr marL="179910" indent="-179910" algn="r">
              <a:lnSpc>
                <a:spcPct val="90000"/>
              </a:lnSpc>
              <a:spcBef>
                <a:spcPts val="600"/>
              </a:spcBef>
              <a:buSzPct val="100000"/>
              <a:buFont typeface="Arial" panose="020B0604020202020204" pitchFamily="34" charset="0"/>
              <a:buChar char="•"/>
            </a:pPr>
            <a:r>
              <a:rPr lang="en-US" sz="1799" dirty="0">
                <a:solidFill>
                  <a:schemeClr val="tx2"/>
                </a:solidFill>
                <a:latin typeface="+mn-lt"/>
              </a:rPr>
              <a:t>Duis arcu tortor, </a:t>
            </a:r>
            <a:br>
              <a:rPr lang="en-US" sz="1799" dirty="0">
                <a:solidFill>
                  <a:schemeClr val="tx2"/>
                </a:solidFill>
                <a:latin typeface="+mn-lt"/>
              </a:rPr>
            </a:br>
            <a:r>
              <a:rPr lang="en-US" sz="1799" dirty="0">
                <a:solidFill>
                  <a:schemeClr val="tx2"/>
                </a:solidFill>
                <a:latin typeface="+mn-lt"/>
              </a:rPr>
              <a:t>suscipit eget</a:t>
            </a:r>
          </a:p>
        </p:txBody>
      </p:sp>
      <p:sp>
        <p:nvSpPr>
          <p:cNvPr id="14" name="Text Box 3"/>
          <p:cNvSpPr txBox="1">
            <a:spLocks noChangeArrowheads="1"/>
          </p:cNvSpPr>
          <p:nvPr>
            <p:custDataLst>
              <p:tags r:id="rId2"/>
            </p:custDataLst>
          </p:nvPr>
        </p:nvSpPr>
        <p:spPr bwMode="auto">
          <a:xfrm>
            <a:off x="4512949" y="3862574"/>
            <a:ext cx="3957939" cy="2303850"/>
          </a:xfrm>
          <a:prstGeom prst="rect">
            <a:avLst/>
          </a:prstGeom>
          <a:solidFill>
            <a:srgbClr val="00AF8E"/>
          </a:solidFill>
          <a:ln w="12700">
            <a:noFill/>
          </a:ln>
          <a:effectLst/>
        </p:spPr>
        <p:txBody>
          <a:bodyPr lIns="863550" tIns="143925" rIns="215888" bIns="143925" anchor="b" anchorCtr="0">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0" indent="0" algn="r">
              <a:lnSpc>
                <a:spcPct val="90000"/>
              </a:lnSpc>
              <a:buClr>
                <a:srgbClr val="879BAA"/>
              </a:buClr>
              <a:buSzPct val="120000"/>
            </a:pPr>
            <a:r>
              <a:rPr lang="en-US" sz="1799" b="1" dirty="0">
                <a:solidFill>
                  <a:schemeClr val="bg1"/>
                </a:solidFill>
                <a:latin typeface="+mn-lt"/>
              </a:rPr>
              <a:t>Threats</a:t>
            </a:r>
          </a:p>
          <a:p>
            <a:pPr marL="179910" indent="-179910" algn="r">
              <a:lnSpc>
                <a:spcPct val="90000"/>
              </a:lnSpc>
              <a:spcBef>
                <a:spcPts val="600"/>
              </a:spcBef>
              <a:buSzPct val="100000"/>
              <a:buFont typeface="Arial" panose="020B0604020202020204" pitchFamily="34" charset="0"/>
              <a:buChar char="•"/>
            </a:pPr>
            <a:r>
              <a:rPr lang="en-US" sz="1799" dirty="0">
                <a:solidFill>
                  <a:schemeClr val="bg1"/>
                </a:solidFill>
                <a:latin typeface="+mn-lt"/>
              </a:rPr>
              <a:t>Duis arcu tortor</a:t>
            </a:r>
          </a:p>
          <a:p>
            <a:pPr marL="179910" indent="-179910" algn="r">
              <a:lnSpc>
                <a:spcPct val="90000"/>
              </a:lnSpc>
              <a:spcBef>
                <a:spcPts val="600"/>
              </a:spcBef>
              <a:buSzPct val="100000"/>
              <a:buFont typeface="Arial" panose="020B0604020202020204" pitchFamily="34" charset="0"/>
              <a:buChar char="•"/>
            </a:pPr>
            <a:r>
              <a:rPr lang="en-US" sz="1799" dirty="0">
                <a:solidFill>
                  <a:schemeClr val="bg1"/>
                </a:solidFill>
                <a:latin typeface="+mn-lt"/>
              </a:rPr>
              <a:t>At vero eos et accusam</a:t>
            </a:r>
          </a:p>
        </p:txBody>
      </p:sp>
      <p:sp>
        <p:nvSpPr>
          <p:cNvPr id="15" name="Text Box 3"/>
          <p:cNvSpPr txBox="1">
            <a:spLocks noChangeArrowheads="1"/>
          </p:cNvSpPr>
          <p:nvPr>
            <p:custDataLst>
              <p:tags r:id="rId3"/>
            </p:custDataLst>
          </p:nvPr>
        </p:nvSpPr>
        <p:spPr bwMode="auto">
          <a:xfrm>
            <a:off x="411163" y="3862574"/>
            <a:ext cx="3957939" cy="2303850"/>
          </a:xfrm>
          <a:prstGeom prst="rect">
            <a:avLst/>
          </a:prstGeom>
          <a:solidFill>
            <a:srgbClr val="00FFB9"/>
          </a:solidFill>
          <a:ln w="12700">
            <a:noFill/>
          </a:ln>
          <a:effectLst/>
        </p:spPr>
        <p:txBody>
          <a:bodyPr lIns="215888" tIns="143925" rIns="863550" bIns="143925" anchor="b" anchorCtr="0">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0" indent="0">
              <a:lnSpc>
                <a:spcPct val="90000"/>
              </a:lnSpc>
              <a:buClr>
                <a:srgbClr val="879BAA"/>
              </a:buClr>
              <a:buSzPct val="120000"/>
            </a:pPr>
            <a:r>
              <a:rPr lang="en-US" sz="1799" b="1" dirty="0">
                <a:solidFill>
                  <a:schemeClr val="tx2"/>
                </a:solidFill>
                <a:latin typeface="+mn-lt"/>
              </a:rPr>
              <a:t>Opportunities</a:t>
            </a:r>
          </a:p>
          <a:p>
            <a:pPr marL="179910" indent="-179910">
              <a:lnSpc>
                <a:spcPct val="90000"/>
              </a:lnSpc>
              <a:spcBef>
                <a:spcPts val="600"/>
              </a:spcBef>
              <a:buSzPct val="100000"/>
              <a:buFont typeface="Arial" panose="020B0604020202020204" pitchFamily="34" charset="0"/>
              <a:buChar char="•"/>
            </a:pPr>
            <a:r>
              <a:rPr lang="en-US" sz="1799" dirty="0">
                <a:solidFill>
                  <a:schemeClr val="tx2"/>
                </a:solidFill>
                <a:latin typeface="+mn-lt"/>
              </a:rPr>
              <a:t>Cras ultricies mi eu</a:t>
            </a:r>
          </a:p>
          <a:p>
            <a:pPr marL="179910" indent="-179910">
              <a:lnSpc>
                <a:spcPct val="90000"/>
              </a:lnSpc>
              <a:spcBef>
                <a:spcPts val="600"/>
              </a:spcBef>
              <a:buSzPct val="100000"/>
              <a:buFont typeface="Arial" panose="020B0604020202020204" pitchFamily="34" charset="0"/>
              <a:buChar char="•"/>
            </a:pPr>
            <a:r>
              <a:rPr lang="en-US" sz="1799" dirty="0">
                <a:solidFill>
                  <a:schemeClr val="tx2"/>
                </a:solidFill>
                <a:latin typeface="+mn-lt"/>
              </a:rPr>
              <a:t>Duis arcu tortor, suscipit eget, imperdiet nec</a:t>
            </a:r>
          </a:p>
        </p:txBody>
      </p:sp>
      <p:sp>
        <p:nvSpPr>
          <p:cNvPr id="17" name="Text Box 3"/>
          <p:cNvSpPr txBox="1">
            <a:spLocks noChangeArrowheads="1"/>
          </p:cNvSpPr>
          <p:nvPr>
            <p:custDataLst>
              <p:tags r:id="rId4"/>
            </p:custDataLst>
          </p:nvPr>
        </p:nvSpPr>
        <p:spPr bwMode="auto">
          <a:xfrm>
            <a:off x="411163" y="1415849"/>
            <a:ext cx="3957939" cy="2303850"/>
          </a:xfrm>
          <a:prstGeom prst="rect">
            <a:avLst/>
          </a:prstGeom>
          <a:solidFill>
            <a:srgbClr val="00646E"/>
          </a:solidFill>
          <a:ln w="12700">
            <a:noFill/>
          </a:ln>
          <a:effectLst/>
        </p:spPr>
        <p:txBody>
          <a:bodyPr lIns="215888" tIns="143925" rIns="863550" bIns="143925">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0" indent="0">
              <a:lnSpc>
                <a:spcPct val="90000"/>
              </a:lnSpc>
              <a:buClr>
                <a:srgbClr val="879BAA"/>
              </a:buClr>
              <a:buSzPct val="120000"/>
            </a:pPr>
            <a:r>
              <a:rPr lang="en-US" sz="1799" b="1" dirty="0">
                <a:solidFill>
                  <a:srgbClr val="FFFFFF"/>
                </a:solidFill>
                <a:latin typeface="+mn-lt"/>
              </a:rPr>
              <a:t>Strengths</a:t>
            </a:r>
          </a:p>
          <a:p>
            <a:pPr marL="179910" indent="-179910">
              <a:lnSpc>
                <a:spcPct val="90000"/>
              </a:lnSpc>
              <a:spcBef>
                <a:spcPts val="600"/>
              </a:spcBef>
              <a:buSzPct val="100000"/>
              <a:buFont typeface="Arial" panose="020B0604020202020204" pitchFamily="34" charset="0"/>
              <a:buChar char="•"/>
            </a:pPr>
            <a:r>
              <a:rPr lang="en-US" sz="1799" dirty="0">
                <a:solidFill>
                  <a:srgbClr val="FFFFFF"/>
                </a:solidFill>
                <a:latin typeface="+mn-lt"/>
              </a:rPr>
              <a:t>Phasellus nec sem</a:t>
            </a:r>
          </a:p>
          <a:p>
            <a:pPr marL="179910" indent="-179910">
              <a:lnSpc>
                <a:spcPct val="90000"/>
              </a:lnSpc>
              <a:spcBef>
                <a:spcPts val="600"/>
              </a:spcBef>
              <a:buSzPct val="100000"/>
              <a:buFont typeface="Arial" panose="020B0604020202020204" pitchFamily="34" charset="0"/>
              <a:buChar char="•"/>
            </a:pPr>
            <a:r>
              <a:rPr lang="en-US" sz="1799" dirty="0">
                <a:solidFill>
                  <a:srgbClr val="FFFFFF"/>
                </a:solidFill>
                <a:latin typeface="+mn-lt"/>
              </a:rPr>
              <a:t>Duis arcu tortor, suscipit eget</a:t>
            </a:r>
          </a:p>
        </p:txBody>
      </p:sp>
      <p:sp>
        <p:nvSpPr>
          <p:cNvPr id="9" name="Flowchart: Or 8"/>
          <p:cNvSpPr>
            <a:spLocks noChangeAspect="1"/>
          </p:cNvSpPr>
          <p:nvPr/>
        </p:nvSpPr>
        <p:spPr bwMode="auto">
          <a:xfrm>
            <a:off x="3109534" y="2459830"/>
            <a:ext cx="2662983" cy="2662613"/>
          </a:xfrm>
          <a:prstGeom prst="flowChartOr">
            <a:avLst/>
          </a:prstGeom>
          <a:solidFill>
            <a:schemeClr val="bg1"/>
          </a:solidFill>
          <a:ln>
            <a:noFill/>
          </a:ln>
          <a:effectLst/>
        </p:spPr>
        <p:txBody>
          <a:bodyPr wrap="square" lIns="143925" tIns="71963" rIns="143925" bIns="71963" numCol="1" spcCol="72000" rtlCol="0" anchor="ctr">
            <a:noAutofit/>
          </a:bodyPr>
          <a:lstStyle/>
          <a:p>
            <a:pPr algn="ctr">
              <a:lnSpc>
                <a:spcPct val="110000"/>
              </a:lnSpc>
              <a:spcBef>
                <a:spcPct val="0"/>
              </a:spcBef>
              <a:buFont typeface="Wingdings" charset="0"/>
              <a:buNone/>
            </a:pPr>
            <a:endParaRPr lang="en-US" sz="1999" b="1" dirty="0">
              <a:solidFill>
                <a:srgbClr val="3C464B"/>
              </a:solidFill>
              <a:ea typeface="Arial Unicode MS" panose="020B0604020202020204" pitchFamily="34" charset="-128"/>
              <a:cs typeface="Arial Unicode MS" panose="020B0604020202020204" pitchFamily="34" charset="-128"/>
            </a:endParaRPr>
          </a:p>
        </p:txBody>
      </p:sp>
      <p:sp>
        <p:nvSpPr>
          <p:cNvPr id="12" name="Flowchart: Or 11"/>
          <p:cNvSpPr>
            <a:spLocks noChangeAspect="1"/>
          </p:cNvSpPr>
          <p:nvPr/>
        </p:nvSpPr>
        <p:spPr bwMode="auto">
          <a:xfrm>
            <a:off x="3253479" y="2603755"/>
            <a:ext cx="2375093" cy="2374763"/>
          </a:xfrm>
          <a:prstGeom prst="flowChartOr">
            <a:avLst/>
          </a:prstGeom>
          <a:solidFill>
            <a:srgbClr val="FFFFFF"/>
          </a:solidFill>
          <a:ln>
            <a:noFill/>
          </a:ln>
          <a:effectLst/>
        </p:spPr>
        <p:txBody>
          <a:bodyPr wrap="square" lIns="143925" tIns="71963" rIns="143925" bIns="71963" numCol="1" spcCol="72000" rtlCol="0" anchor="ctr">
            <a:noAutofit/>
          </a:bodyPr>
          <a:lstStyle/>
          <a:p>
            <a:pPr algn="ctr">
              <a:lnSpc>
                <a:spcPct val="90000"/>
              </a:lnSpc>
              <a:spcBef>
                <a:spcPct val="0"/>
              </a:spcBef>
              <a:buFont typeface="Wingdings" charset="0"/>
              <a:buNone/>
            </a:pPr>
            <a:r>
              <a:rPr lang="en-US" sz="3198" b="1" dirty="0">
                <a:solidFill>
                  <a:schemeClr val="tx2"/>
                </a:solidFill>
                <a:ea typeface="Arial Unicode MS" panose="020B0604020202020204" pitchFamily="34" charset="-128"/>
                <a:cs typeface="Arial Unicode MS" panose="020B0604020202020204" pitchFamily="34" charset="-128"/>
              </a:rPr>
              <a:t>SWOT</a:t>
            </a:r>
          </a:p>
        </p:txBody>
      </p:sp>
      <p:sp>
        <p:nvSpPr>
          <p:cNvPr id="3" name="Footer Placeholder 2">
            <a:extLst>
              <a:ext uri="{FF2B5EF4-FFF2-40B4-BE49-F238E27FC236}">
                <a16:creationId xmlns:a16="http://schemas.microsoft.com/office/drawing/2014/main" id="{33D5447C-BD84-4E37-AF22-66D3ABE60C30}"/>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DCE94F47-2EAF-48E8-B076-7A63D3BDBD8C}"/>
              </a:ext>
            </a:extLst>
          </p:cNvPr>
          <p:cNvSpPr>
            <a:spLocks noGrp="1"/>
          </p:cNvSpPr>
          <p:nvPr>
            <p:ph type="sldNum" sz="quarter" idx="11"/>
          </p:nvPr>
        </p:nvSpPr>
        <p:spPr/>
        <p:txBody>
          <a:bodyPr/>
          <a:lstStyle/>
          <a:p>
            <a:r>
              <a:rPr lang="en-US" dirty="0"/>
              <a:t>Page </a:t>
            </a:r>
            <a:fld id="{15EBE321-CBB1-4E91-BD14-37C8D44326FB}" type="slidenum">
              <a:rPr lang="en-US" smtClean="0"/>
              <a:pPr/>
              <a:t>44</a:t>
            </a:fld>
            <a:endParaRPr lang="en-US" dirty="0"/>
          </a:p>
        </p:txBody>
      </p:sp>
    </p:spTree>
    <p:extLst>
      <p:ext uri="{BB962C8B-B14F-4D97-AF65-F5344CB8AC3E}">
        <p14:creationId xmlns:p14="http://schemas.microsoft.com/office/powerpoint/2010/main" val="358734966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WOT – colored</a:t>
            </a:r>
          </a:p>
        </p:txBody>
      </p:sp>
      <p:sp>
        <p:nvSpPr>
          <p:cNvPr id="3" name="Footer Placeholder 2">
            <a:extLst>
              <a:ext uri="{FF2B5EF4-FFF2-40B4-BE49-F238E27FC236}">
                <a16:creationId xmlns:a16="http://schemas.microsoft.com/office/drawing/2014/main" id="{33D5447C-BD84-4E37-AF22-66D3ABE60C30}"/>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DCE94F47-2EAF-48E8-B076-7A63D3BDBD8C}"/>
              </a:ext>
            </a:extLst>
          </p:cNvPr>
          <p:cNvSpPr>
            <a:spLocks noGrp="1"/>
          </p:cNvSpPr>
          <p:nvPr>
            <p:ph type="sldNum" sz="quarter" idx="11"/>
          </p:nvPr>
        </p:nvSpPr>
        <p:spPr/>
        <p:txBody>
          <a:bodyPr/>
          <a:lstStyle/>
          <a:p>
            <a:r>
              <a:rPr lang="en-US" dirty="0"/>
              <a:t>Page </a:t>
            </a:r>
            <a:fld id="{15EBE321-CBB1-4E91-BD14-37C8D44326FB}" type="slidenum">
              <a:rPr lang="en-US" smtClean="0"/>
              <a:pPr/>
              <a:t>45</a:t>
            </a:fld>
            <a:endParaRPr lang="en-US" dirty="0"/>
          </a:p>
        </p:txBody>
      </p:sp>
      <p:sp>
        <p:nvSpPr>
          <p:cNvPr id="13" name="Text Box 3"/>
          <p:cNvSpPr txBox="1">
            <a:spLocks noChangeArrowheads="1"/>
          </p:cNvSpPr>
          <p:nvPr>
            <p:custDataLst>
              <p:tags r:id="rId1"/>
            </p:custDataLst>
          </p:nvPr>
        </p:nvSpPr>
        <p:spPr bwMode="auto">
          <a:xfrm>
            <a:off x="4512949" y="1415849"/>
            <a:ext cx="3957939" cy="2303850"/>
          </a:xfrm>
          <a:prstGeom prst="rect">
            <a:avLst/>
          </a:prstGeom>
          <a:solidFill>
            <a:schemeClr val="accent2"/>
          </a:solidFill>
          <a:ln w="12700">
            <a:noFill/>
          </a:ln>
          <a:effectLst/>
        </p:spPr>
        <p:txBody>
          <a:bodyPr lIns="863550" tIns="143925" rIns="215888" bIns="143925">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0" indent="0" algn="r">
              <a:lnSpc>
                <a:spcPct val="90000"/>
              </a:lnSpc>
              <a:buClr>
                <a:srgbClr val="879BAA"/>
              </a:buClr>
              <a:buSzPct val="120000"/>
            </a:pPr>
            <a:r>
              <a:rPr lang="en-US" sz="1799" b="1" dirty="0">
                <a:solidFill>
                  <a:schemeClr val="bg2"/>
                </a:solidFill>
                <a:latin typeface="+mn-lt"/>
              </a:rPr>
              <a:t>Weakness</a:t>
            </a:r>
          </a:p>
          <a:p>
            <a:pPr marL="179910" indent="-179910" algn="r">
              <a:lnSpc>
                <a:spcPct val="90000"/>
              </a:lnSpc>
              <a:spcBef>
                <a:spcPts val="600"/>
              </a:spcBef>
              <a:buSzPct val="100000"/>
              <a:buFont typeface="Arial" panose="020B0604020202020204" pitchFamily="34" charset="0"/>
              <a:buChar char="•"/>
            </a:pPr>
            <a:r>
              <a:rPr lang="en-US" sz="1799" dirty="0">
                <a:solidFill>
                  <a:schemeClr val="bg2"/>
                </a:solidFill>
                <a:latin typeface="+mn-lt"/>
              </a:rPr>
              <a:t>At vero eos et accusam</a:t>
            </a:r>
          </a:p>
          <a:p>
            <a:pPr marL="179910" indent="-179910" algn="r">
              <a:lnSpc>
                <a:spcPct val="90000"/>
              </a:lnSpc>
              <a:spcBef>
                <a:spcPts val="600"/>
              </a:spcBef>
              <a:buSzPct val="100000"/>
              <a:buFont typeface="Arial" panose="020B0604020202020204" pitchFamily="34" charset="0"/>
              <a:buChar char="•"/>
            </a:pPr>
            <a:r>
              <a:rPr lang="en-US" sz="1799" dirty="0">
                <a:solidFill>
                  <a:schemeClr val="bg2"/>
                </a:solidFill>
                <a:latin typeface="+mn-lt"/>
              </a:rPr>
              <a:t>Duis arcu tortor, </a:t>
            </a:r>
            <a:br>
              <a:rPr lang="en-US" sz="1799" dirty="0">
                <a:solidFill>
                  <a:schemeClr val="bg2"/>
                </a:solidFill>
                <a:latin typeface="+mn-lt"/>
              </a:rPr>
            </a:br>
            <a:r>
              <a:rPr lang="en-US" sz="1799" dirty="0">
                <a:solidFill>
                  <a:schemeClr val="bg2"/>
                </a:solidFill>
                <a:latin typeface="+mn-lt"/>
              </a:rPr>
              <a:t>suscipit eget</a:t>
            </a:r>
          </a:p>
        </p:txBody>
      </p:sp>
      <p:sp>
        <p:nvSpPr>
          <p:cNvPr id="14" name="Text Box 3"/>
          <p:cNvSpPr txBox="1">
            <a:spLocks noChangeArrowheads="1"/>
          </p:cNvSpPr>
          <p:nvPr>
            <p:custDataLst>
              <p:tags r:id="rId2"/>
            </p:custDataLst>
          </p:nvPr>
        </p:nvSpPr>
        <p:spPr bwMode="auto">
          <a:xfrm>
            <a:off x="4512949" y="3862574"/>
            <a:ext cx="3957939" cy="2303850"/>
          </a:xfrm>
          <a:prstGeom prst="rect">
            <a:avLst/>
          </a:prstGeom>
          <a:solidFill>
            <a:srgbClr val="00AF8E"/>
          </a:solidFill>
          <a:ln w="12700">
            <a:noFill/>
          </a:ln>
          <a:effectLst/>
        </p:spPr>
        <p:txBody>
          <a:bodyPr lIns="863550" tIns="143925" rIns="215888" bIns="143925" anchor="b" anchorCtr="0">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0" indent="0" algn="r">
              <a:lnSpc>
                <a:spcPct val="90000"/>
              </a:lnSpc>
              <a:buClr>
                <a:srgbClr val="879BAA"/>
              </a:buClr>
              <a:buSzPct val="120000"/>
            </a:pPr>
            <a:r>
              <a:rPr lang="en-US" sz="1799" b="1" dirty="0">
                <a:latin typeface="+mn-lt"/>
              </a:rPr>
              <a:t>Threats</a:t>
            </a:r>
          </a:p>
          <a:p>
            <a:pPr marL="179910" indent="-179910" algn="r">
              <a:lnSpc>
                <a:spcPct val="90000"/>
              </a:lnSpc>
              <a:spcBef>
                <a:spcPts val="600"/>
              </a:spcBef>
              <a:buSzPct val="100000"/>
              <a:buFont typeface="Arial" panose="020B0604020202020204" pitchFamily="34" charset="0"/>
              <a:buChar char="•"/>
            </a:pPr>
            <a:r>
              <a:rPr lang="en-US" sz="1799" dirty="0">
                <a:latin typeface="+mn-lt"/>
              </a:rPr>
              <a:t>Duis arcu tortor</a:t>
            </a:r>
          </a:p>
          <a:p>
            <a:pPr marL="179910" indent="-179910" algn="r">
              <a:lnSpc>
                <a:spcPct val="90000"/>
              </a:lnSpc>
              <a:spcBef>
                <a:spcPts val="600"/>
              </a:spcBef>
              <a:buSzPct val="100000"/>
              <a:buFont typeface="Arial" panose="020B0604020202020204" pitchFamily="34" charset="0"/>
              <a:buChar char="•"/>
            </a:pPr>
            <a:r>
              <a:rPr lang="en-US" sz="1799" dirty="0">
                <a:latin typeface="+mn-lt"/>
              </a:rPr>
              <a:t>At vero eos et accusam</a:t>
            </a:r>
          </a:p>
        </p:txBody>
      </p:sp>
      <p:sp>
        <p:nvSpPr>
          <p:cNvPr id="15" name="Text Box 3"/>
          <p:cNvSpPr txBox="1">
            <a:spLocks noChangeArrowheads="1"/>
          </p:cNvSpPr>
          <p:nvPr>
            <p:custDataLst>
              <p:tags r:id="rId3"/>
            </p:custDataLst>
          </p:nvPr>
        </p:nvSpPr>
        <p:spPr bwMode="auto">
          <a:xfrm>
            <a:off x="411163" y="3862574"/>
            <a:ext cx="3957939" cy="2303850"/>
          </a:xfrm>
          <a:prstGeom prst="rect">
            <a:avLst/>
          </a:prstGeom>
          <a:solidFill>
            <a:srgbClr val="00FFB9"/>
          </a:solidFill>
          <a:ln w="12700">
            <a:noFill/>
          </a:ln>
          <a:effectLst/>
        </p:spPr>
        <p:txBody>
          <a:bodyPr lIns="215888" tIns="143925" rIns="863550" bIns="143925" anchor="b" anchorCtr="0">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0" indent="0">
              <a:lnSpc>
                <a:spcPct val="90000"/>
              </a:lnSpc>
              <a:buClr>
                <a:srgbClr val="879BAA"/>
              </a:buClr>
              <a:buSzPct val="120000"/>
            </a:pPr>
            <a:r>
              <a:rPr lang="en-US" sz="1799" b="1" dirty="0">
                <a:solidFill>
                  <a:schemeClr val="bg2"/>
                </a:solidFill>
              </a:rPr>
              <a:t>Opportunities</a:t>
            </a:r>
          </a:p>
          <a:p>
            <a:pPr marL="179910" indent="-179910">
              <a:lnSpc>
                <a:spcPct val="90000"/>
              </a:lnSpc>
              <a:spcBef>
                <a:spcPts val="600"/>
              </a:spcBef>
              <a:buSzPct val="100000"/>
              <a:buFont typeface="Arial" panose="020B0604020202020204" pitchFamily="34" charset="0"/>
              <a:buChar char="•"/>
            </a:pPr>
            <a:r>
              <a:rPr lang="en-US" sz="1799" dirty="0">
                <a:solidFill>
                  <a:schemeClr val="bg2"/>
                </a:solidFill>
              </a:rPr>
              <a:t>Cras ultricies mi eu</a:t>
            </a:r>
          </a:p>
          <a:p>
            <a:pPr marL="179910" indent="-179910">
              <a:lnSpc>
                <a:spcPct val="90000"/>
              </a:lnSpc>
              <a:spcBef>
                <a:spcPts val="600"/>
              </a:spcBef>
              <a:buSzPct val="100000"/>
              <a:buFont typeface="Arial" panose="020B0604020202020204" pitchFamily="34" charset="0"/>
              <a:buChar char="•"/>
            </a:pPr>
            <a:r>
              <a:rPr lang="en-US" sz="1799" dirty="0">
                <a:solidFill>
                  <a:schemeClr val="bg2"/>
                </a:solidFill>
              </a:rPr>
              <a:t>Duis arcu tortor, suscipit eget, imperdiet nec</a:t>
            </a:r>
          </a:p>
        </p:txBody>
      </p:sp>
      <p:sp>
        <p:nvSpPr>
          <p:cNvPr id="17" name="Text Box 3"/>
          <p:cNvSpPr txBox="1">
            <a:spLocks noChangeArrowheads="1"/>
          </p:cNvSpPr>
          <p:nvPr>
            <p:custDataLst>
              <p:tags r:id="rId4"/>
            </p:custDataLst>
          </p:nvPr>
        </p:nvSpPr>
        <p:spPr bwMode="auto">
          <a:xfrm>
            <a:off x="411163" y="1415849"/>
            <a:ext cx="3957939" cy="2303850"/>
          </a:xfrm>
          <a:prstGeom prst="rect">
            <a:avLst/>
          </a:prstGeom>
          <a:solidFill>
            <a:srgbClr val="00646E"/>
          </a:solidFill>
          <a:ln w="12700">
            <a:noFill/>
          </a:ln>
          <a:effectLst/>
        </p:spPr>
        <p:txBody>
          <a:bodyPr lIns="215888" tIns="143925" rIns="863550" bIns="143925">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0" indent="0">
              <a:lnSpc>
                <a:spcPct val="90000"/>
              </a:lnSpc>
              <a:buClr>
                <a:srgbClr val="879BAA"/>
              </a:buClr>
              <a:buSzPct val="120000"/>
            </a:pPr>
            <a:r>
              <a:rPr lang="en-US" sz="1799" b="1" dirty="0">
                <a:solidFill>
                  <a:srgbClr val="FFFFFF"/>
                </a:solidFill>
                <a:latin typeface="+mn-lt"/>
              </a:rPr>
              <a:t>Strengths</a:t>
            </a:r>
          </a:p>
          <a:p>
            <a:pPr marL="179910" indent="-179910">
              <a:lnSpc>
                <a:spcPct val="90000"/>
              </a:lnSpc>
              <a:spcBef>
                <a:spcPts val="600"/>
              </a:spcBef>
              <a:buSzPct val="100000"/>
              <a:buFont typeface="Arial" panose="020B0604020202020204" pitchFamily="34" charset="0"/>
              <a:buChar char="•"/>
            </a:pPr>
            <a:r>
              <a:rPr lang="en-US" sz="1799" dirty="0">
                <a:solidFill>
                  <a:srgbClr val="FFFFFF"/>
                </a:solidFill>
                <a:latin typeface="+mn-lt"/>
              </a:rPr>
              <a:t>Phasellus nec sem</a:t>
            </a:r>
          </a:p>
          <a:p>
            <a:pPr marL="179910" indent="-179910">
              <a:lnSpc>
                <a:spcPct val="90000"/>
              </a:lnSpc>
              <a:spcBef>
                <a:spcPts val="600"/>
              </a:spcBef>
              <a:buSzPct val="100000"/>
              <a:buFont typeface="Arial" panose="020B0604020202020204" pitchFamily="34" charset="0"/>
              <a:buChar char="•"/>
            </a:pPr>
            <a:r>
              <a:rPr lang="en-US" sz="1799" dirty="0">
                <a:solidFill>
                  <a:srgbClr val="FFFFFF"/>
                </a:solidFill>
                <a:latin typeface="+mn-lt"/>
              </a:rPr>
              <a:t>Duis arcu tortor, suscipit eget</a:t>
            </a:r>
          </a:p>
        </p:txBody>
      </p:sp>
      <p:sp>
        <p:nvSpPr>
          <p:cNvPr id="9" name="Flowchart: Or 8"/>
          <p:cNvSpPr>
            <a:spLocks noChangeAspect="1"/>
          </p:cNvSpPr>
          <p:nvPr/>
        </p:nvSpPr>
        <p:spPr bwMode="auto">
          <a:xfrm>
            <a:off x="3109534" y="2459830"/>
            <a:ext cx="2662983" cy="2662613"/>
          </a:xfrm>
          <a:prstGeom prst="flowChartOr">
            <a:avLst/>
          </a:prstGeom>
          <a:solidFill>
            <a:schemeClr val="bg2"/>
          </a:solidFill>
          <a:ln>
            <a:noFill/>
          </a:ln>
          <a:effectLst/>
        </p:spPr>
        <p:txBody>
          <a:bodyPr wrap="square" lIns="143925" tIns="71963" rIns="143925" bIns="71963" numCol="1" spcCol="72000" rtlCol="0" anchor="ctr">
            <a:noAutofit/>
          </a:bodyPr>
          <a:lstStyle/>
          <a:p>
            <a:pPr algn="ctr">
              <a:lnSpc>
                <a:spcPct val="110000"/>
              </a:lnSpc>
              <a:spcBef>
                <a:spcPct val="0"/>
              </a:spcBef>
              <a:buFont typeface="Wingdings" charset="0"/>
              <a:buNone/>
            </a:pPr>
            <a:endParaRPr lang="en-US" sz="1999" b="1" dirty="0">
              <a:solidFill>
                <a:srgbClr val="3C464B"/>
              </a:solidFill>
              <a:ea typeface="Arial Unicode MS" panose="020B0604020202020204" pitchFamily="34" charset="-128"/>
              <a:cs typeface="Arial Unicode MS" panose="020B0604020202020204" pitchFamily="34" charset="-128"/>
            </a:endParaRPr>
          </a:p>
        </p:txBody>
      </p:sp>
      <p:sp>
        <p:nvSpPr>
          <p:cNvPr id="12" name="Flowchart: Or 11"/>
          <p:cNvSpPr>
            <a:spLocks noChangeAspect="1"/>
          </p:cNvSpPr>
          <p:nvPr/>
        </p:nvSpPr>
        <p:spPr bwMode="auto">
          <a:xfrm>
            <a:off x="3253479" y="2603755"/>
            <a:ext cx="2375093" cy="2374763"/>
          </a:xfrm>
          <a:prstGeom prst="flowChartOr">
            <a:avLst/>
          </a:prstGeom>
          <a:solidFill>
            <a:schemeClr val="bg2"/>
          </a:solidFill>
          <a:ln>
            <a:noFill/>
          </a:ln>
          <a:effectLst/>
        </p:spPr>
        <p:txBody>
          <a:bodyPr wrap="square" lIns="143925" tIns="71963" rIns="143925" bIns="71963" numCol="1" spcCol="72000" rtlCol="0" anchor="ctr">
            <a:noAutofit/>
          </a:bodyPr>
          <a:lstStyle/>
          <a:p>
            <a:pPr algn="ctr">
              <a:lnSpc>
                <a:spcPct val="90000"/>
              </a:lnSpc>
              <a:spcBef>
                <a:spcPct val="0"/>
              </a:spcBef>
              <a:buFont typeface="Wingdings" charset="0"/>
              <a:buNone/>
            </a:pPr>
            <a:r>
              <a:rPr lang="en-US" sz="3198" b="1" dirty="0">
                <a:solidFill>
                  <a:schemeClr val="tx2"/>
                </a:solidFill>
                <a:ea typeface="Arial Unicode MS" panose="020B0604020202020204" pitchFamily="34" charset="-128"/>
                <a:cs typeface="Arial Unicode MS" panose="020B0604020202020204" pitchFamily="34" charset="-128"/>
              </a:rPr>
              <a:t>SWOT</a:t>
            </a:r>
          </a:p>
        </p:txBody>
      </p:sp>
    </p:spTree>
    <p:extLst>
      <p:ext uri="{BB962C8B-B14F-4D97-AF65-F5344CB8AC3E}">
        <p14:creationId xmlns:p14="http://schemas.microsoft.com/office/powerpoint/2010/main" val="74106114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14" imgW="360" imgH="360" progId="">
                  <p:embed/>
                </p:oleObj>
              </mc:Choice>
              <mc:Fallback>
                <p:oleObj name="think-cell Folie" r:id="rId14" imgW="360" imgH="360" progId="">
                  <p:embed/>
                  <p:pic>
                    <p:nvPicPr>
                      <p:cNvPr id="6" name="Objekt 5"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en-US" noProof="0" dirty="0"/>
              <a:t>Project timeline – simple overview</a:t>
            </a:r>
          </a:p>
        </p:txBody>
      </p:sp>
      <p:graphicFrame>
        <p:nvGraphicFramePr>
          <p:cNvPr id="5" name="Content Placeholder 3"/>
          <p:cNvGraphicFramePr>
            <a:graphicFrameLocks/>
          </p:cNvGraphicFramePr>
          <p:nvPr>
            <p:extLst>
              <p:ext uri="{D42A27DB-BD31-4B8C-83A1-F6EECF244321}">
                <p14:modId xmlns:p14="http://schemas.microsoft.com/office/powerpoint/2010/main" val="1134014882"/>
              </p:ext>
            </p:extLst>
          </p:nvPr>
        </p:nvGraphicFramePr>
        <p:xfrm>
          <a:off x="410400" y="1415849"/>
          <a:ext cx="11371272" cy="4371723"/>
        </p:xfrm>
        <a:graphic>
          <a:graphicData uri="http://schemas.openxmlformats.org/drawingml/2006/table">
            <a:tbl>
              <a:tblPr firstRow="1" bandCol="1">
                <a:tableStyleId>{0E3FDE45-AF77-4B5C-9715-49D594BDF05E}</a:tableStyleId>
              </a:tblPr>
              <a:tblGrid>
                <a:gridCol w="2304000">
                  <a:extLst>
                    <a:ext uri="{9D8B030D-6E8A-4147-A177-3AD203B41FA5}">
                      <a16:colId xmlns:a16="http://schemas.microsoft.com/office/drawing/2014/main" val="20000"/>
                    </a:ext>
                  </a:extLst>
                </a:gridCol>
                <a:gridCol w="755606">
                  <a:extLst>
                    <a:ext uri="{9D8B030D-6E8A-4147-A177-3AD203B41FA5}">
                      <a16:colId xmlns:a16="http://schemas.microsoft.com/office/drawing/2014/main" val="20001"/>
                    </a:ext>
                  </a:extLst>
                </a:gridCol>
                <a:gridCol w="755606">
                  <a:extLst>
                    <a:ext uri="{9D8B030D-6E8A-4147-A177-3AD203B41FA5}">
                      <a16:colId xmlns:a16="http://schemas.microsoft.com/office/drawing/2014/main" val="20002"/>
                    </a:ext>
                  </a:extLst>
                </a:gridCol>
                <a:gridCol w="755606">
                  <a:extLst>
                    <a:ext uri="{9D8B030D-6E8A-4147-A177-3AD203B41FA5}">
                      <a16:colId xmlns:a16="http://schemas.microsoft.com/office/drawing/2014/main" val="20003"/>
                    </a:ext>
                  </a:extLst>
                </a:gridCol>
                <a:gridCol w="755606">
                  <a:extLst>
                    <a:ext uri="{9D8B030D-6E8A-4147-A177-3AD203B41FA5}">
                      <a16:colId xmlns:a16="http://schemas.microsoft.com/office/drawing/2014/main" val="20004"/>
                    </a:ext>
                  </a:extLst>
                </a:gridCol>
                <a:gridCol w="755606">
                  <a:extLst>
                    <a:ext uri="{9D8B030D-6E8A-4147-A177-3AD203B41FA5}">
                      <a16:colId xmlns:a16="http://schemas.microsoft.com/office/drawing/2014/main" val="20005"/>
                    </a:ext>
                  </a:extLst>
                </a:gridCol>
                <a:gridCol w="755606">
                  <a:extLst>
                    <a:ext uri="{9D8B030D-6E8A-4147-A177-3AD203B41FA5}">
                      <a16:colId xmlns:a16="http://schemas.microsoft.com/office/drawing/2014/main" val="20006"/>
                    </a:ext>
                  </a:extLst>
                </a:gridCol>
                <a:gridCol w="755606">
                  <a:extLst>
                    <a:ext uri="{9D8B030D-6E8A-4147-A177-3AD203B41FA5}">
                      <a16:colId xmlns:a16="http://schemas.microsoft.com/office/drawing/2014/main" val="20007"/>
                    </a:ext>
                  </a:extLst>
                </a:gridCol>
                <a:gridCol w="755606">
                  <a:extLst>
                    <a:ext uri="{9D8B030D-6E8A-4147-A177-3AD203B41FA5}">
                      <a16:colId xmlns:a16="http://schemas.microsoft.com/office/drawing/2014/main" val="20008"/>
                    </a:ext>
                  </a:extLst>
                </a:gridCol>
                <a:gridCol w="755606">
                  <a:extLst>
                    <a:ext uri="{9D8B030D-6E8A-4147-A177-3AD203B41FA5}">
                      <a16:colId xmlns:a16="http://schemas.microsoft.com/office/drawing/2014/main" val="20009"/>
                    </a:ext>
                  </a:extLst>
                </a:gridCol>
                <a:gridCol w="755606">
                  <a:extLst>
                    <a:ext uri="{9D8B030D-6E8A-4147-A177-3AD203B41FA5}">
                      <a16:colId xmlns:a16="http://schemas.microsoft.com/office/drawing/2014/main" val="20010"/>
                    </a:ext>
                  </a:extLst>
                </a:gridCol>
                <a:gridCol w="755606">
                  <a:extLst>
                    <a:ext uri="{9D8B030D-6E8A-4147-A177-3AD203B41FA5}">
                      <a16:colId xmlns:a16="http://schemas.microsoft.com/office/drawing/2014/main" val="20011"/>
                    </a:ext>
                  </a:extLst>
                </a:gridCol>
                <a:gridCol w="755606">
                  <a:extLst>
                    <a:ext uri="{9D8B030D-6E8A-4147-A177-3AD203B41FA5}">
                      <a16:colId xmlns:a16="http://schemas.microsoft.com/office/drawing/2014/main" val="20012"/>
                    </a:ext>
                  </a:extLst>
                </a:gridCol>
              </a:tblGrid>
              <a:tr h="485747">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s-ES" sz="1400" u="none" strike="noStrike" cap="none" normalizeH="0" baseline="0" noProof="0" dirty="0">
                          <a:ln>
                            <a:noFill/>
                          </a:ln>
                          <a:solidFill>
                            <a:srgbClr val="66667E"/>
                          </a:solidFill>
                          <a:effectLst/>
                        </a:rPr>
                        <a:t>Duis arcu eget</a:t>
                      </a:r>
                      <a:endParaRPr kumimoji="0" lang="en-US" sz="1400" b="1" i="0" u="none" strike="noStrike" cap="none" normalizeH="0" baseline="0" noProof="0" dirty="0">
                        <a:ln>
                          <a:noFill/>
                        </a:ln>
                        <a:solidFill>
                          <a:srgbClr val="66667E"/>
                        </a:solidFill>
                        <a:effectLst/>
                        <a:latin typeface="Arial" charset="0"/>
                      </a:endParaRPr>
                    </a:p>
                  </a:txBody>
                  <a:tcPr marL="0" marR="72000" marT="71963" marB="71963" anchor="ctr">
                    <a:lnB w="28575" cap="flat" cmpd="sng" algn="ctr">
                      <a:solidFill>
                        <a:srgbClr val="66667E"/>
                      </a:solidFill>
                      <a:prstDash val="solid"/>
                      <a:round/>
                      <a:headEnd type="none" w="med" len="med"/>
                      <a:tailEnd type="none" w="med" len="med"/>
                    </a:lnB>
                  </a:tcPr>
                </a:tc>
                <a:tc>
                  <a:txBody>
                    <a:bodyPr/>
                    <a:lstStyle/>
                    <a:p>
                      <a:pPr algn="ctr" fontAlgn="b"/>
                      <a:r>
                        <a:rPr lang="en-US" sz="1400" u="none" strike="noStrike" dirty="0">
                          <a:solidFill>
                            <a:srgbClr val="66667E"/>
                          </a:solidFill>
                          <a:effectLst/>
                        </a:rPr>
                        <a:t>Jan</a:t>
                      </a:r>
                      <a:endParaRPr lang="en-US" sz="1400" b="1" i="0" u="none" strike="noStrike" dirty="0">
                        <a:solidFill>
                          <a:srgbClr val="66667E"/>
                        </a:solidFill>
                        <a:effectLst/>
                        <a:latin typeface="Arial" panose="020B0604020202020204" pitchFamily="34" charset="0"/>
                        <a:cs typeface="Arial" panose="020B0604020202020204" pitchFamily="34" charset="0"/>
                      </a:endParaRPr>
                    </a:p>
                  </a:txBody>
                  <a:tcPr marL="71963" marR="71963" marT="71963" marB="71963" anchor="ctr">
                    <a:lnB w="28575" cap="flat" cmpd="sng" algn="ctr">
                      <a:solidFill>
                        <a:srgbClr val="66667E"/>
                      </a:solidFill>
                      <a:prstDash val="solid"/>
                      <a:round/>
                      <a:headEnd type="none" w="med" len="med"/>
                      <a:tailEnd type="none" w="med" len="med"/>
                    </a:lnB>
                  </a:tcPr>
                </a:tc>
                <a:tc>
                  <a:txBody>
                    <a:bodyPr/>
                    <a:lstStyle/>
                    <a:p>
                      <a:pPr algn="ctr" fontAlgn="b"/>
                      <a:r>
                        <a:rPr lang="en-US" sz="1400" u="none" strike="noStrike" dirty="0">
                          <a:solidFill>
                            <a:srgbClr val="66667E"/>
                          </a:solidFill>
                          <a:effectLst/>
                        </a:rPr>
                        <a:t>Feb</a:t>
                      </a:r>
                      <a:endParaRPr lang="en-US" sz="1400" b="1" i="0" u="none" strike="noStrike" dirty="0">
                        <a:solidFill>
                          <a:srgbClr val="66667E"/>
                        </a:solidFill>
                        <a:effectLst/>
                        <a:latin typeface="Arial" panose="020B0604020202020204" pitchFamily="34" charset="0"/>
                        <a:cs typeface="Arial" panose="020B0604020202020204" pitchFamily="34" charset="0"/>
                      </a:endParaRPr>
                    </a:p>
                  </a:txBody>
                  <a:tcPr marL="71963" marR="71963" marT="71963" marB="71963" anchor="ctr">
                    <a:lnB w="28575" cap="flat" cmpd="sng" algn="ctr">
                      <a:solidFill>
                        <a:srgbClr val="66667E"/>
                      </a:solidFill>
                      <a:prstDash val="solid"/>
                      <a:round/>
                      <a:headEnd type="none" w="med" len="med"/>
                      <a:tailEnd type="none" w="med" len="med"/>
                    </a:lnB>
                  </a:tcPr>
                </a:tc>
                <a:tc>
                  <a:txBody>
                    <a:bodyPr/>
                    <a:lstStyle/>
                    <a:p>
                      <a:pPr algn="ctr" fontAlgn="b"/>
                      <a:r>
                        <a:rPr lang="en-US" sz="1400" u="none" strike="noStrike" dirty="0">
                          <a:solidFill>
                            <a:srgbClr val="66667E"/>
                          </a:solidFill>
                          <a:effectLst/>
                        </a:rPr>
                        <a:t>Mar</a:t>
                      </a:r>
                      <a:endParaRPr lang="en-US" sz="1400" b="1" i="0" u="none" strike="noStrike" dirty="0">
                        <a:solidFill>
                          <a:srgbClr val="66667E"/>
                        </a:solidFill>
                        <a:effectLst/>
                        <a:latin typeface="Arial" panose="020B0604020202020204" pitchFamily="34" charset="0"/>
                        <a:cs typeface="Arial" panose="020B0604020202020204" pitchFamily="34" charset="0"/>
                      </a:endParaRPr>
                    </a:p>
                  </a:txBody>
                  <a:tcPr marL="71963" marR="71963" marT="71963" marB="71963" anchor="ctr">
                    <a:lnB w="28575" cap="flat" cmpd="sng" algn="ctr">
                      <a:solidFill>
                        <a:srgbClr val="66667E"/>
                      </a:solidFill>
                      <a:prstDash val="solid"/>
                      <a:round/>
                      <a:headEnd type="none" w="med" len="med"/>
                      <a:tailEnd type="none" w="med" len="med"/>
                    </a:lnB>
                  </a:tcPr>
                </a:tc>
                <a:tc>
                  <a:txBody>
                    <a:bodyPr/>
                    <a:lstStyle/>
                    <a:p>
                      <a:pPr algn="ctr" fontAlgn="b"/>
                      <a:r>
                        <a:rPr lang="en-US" sz="1400" u="none" strike="noStrike" dirty="0">
                          <a:solidFill>
                            <a:srgbClr val="66667E"/>
                          </a:solidFill>
                          <a:effectLst/>
                        </a:rPr>
                        <a:t>Apr</a:t>
                      </a:r>
                      <a:endParaRPr lang="en-US" sz="1400" b="1" i="0" u="none" strike="noStrike" dirty="0">
                        <a:solidFill>
                          <a:srgbClr val="66667E"/>
                        </a:solidFill>
                        <a:effectLst/>
                        <a:latin typeface="Arial" panose="020B0604020202020204" pitchFamily="34" charset="0"/>
                        <a:cs typeface="Arial" panose="020B0604020202020204" pitchFamily="34" charset="0"/>
                      </a:endParaRPr>
                    </a:p>
                  </a:txBody>
                  <a:tcPr marL="71963" marR="71963" marT="71963" marB="71963" anchor="ctr">
                    <a:lnB w="28575" cap="flat" cmpd="sng" algn="ctr">
                      <a:solidFill>
                        <a:srgbClr val="66667E"/>
                      </a:solidFill>
                      <a:prstDash val="solid"/>
                      <a:round/>
                      <a:headEnd type="none" w="med" len="med"/>
                      <a:tailEnd type="none" w="med" len="med"/>
                    </a:lnB>
                  </a:tcPr>
                </a:tc>
                <a:tc>
                  <a:txBody>
                    <a:bodyPr/>
                    <a:lstStyle/>
                    <a:p>
                      <a:pPr algn="ctr" fontAlgn="b"/>
                      <a:r>
                        <a:rPr lang="en-US" sz="1400" u="none" strike="noStrike" dirty="0">
                          <a:solidFill>
                            <a:srgbClr val="66667E"/>
                          </a:solidFill>
                          <a:effectLst/>
                        </a:rPr>
                        <a:t>May</a:t>
                      </a:r>
                      <a:endParaRPr lang="en-US" sz="1400" b="1" i="0" u="none" strike="noStrike" dirty="0">
                        <a:solidFill>
                          <a:srgbClr val="66667E"/>
                        </a:solidFill>
                        <a:effectLst/>
                        <a:latin typeface="Arial" panose="020B0604020202020204" pitchFamily="34" charset="0"/>
                        <a:cs typeface="Arial" panose="020B0604020202020204" pitchFamily="34" charset="0"/>
                      </a:endParaRPr>
                    </a:p>
                  </a:txBody>
                  <a:tcPr marL="71963" marR="71963" marT="71963" marB="71963" anchor="ctr">
                    <a:lnB w="28575" cap="flat" cmpd="sng" algn="ctr">
                      <a:solidFill>
                        <a:srgbClr val="66667E"/>
                      </a:solidFill>
                      <a:prstDash val="solid"/>
                      <a:round/>
                      <a:headEnd type="none" w="med" len="med"/>
                      <a:tailEnd type="none" w="med" len="med"/>
                    </a:lnB>
                  </a:tcPr>
                </a:tc>
                <a:tc>
                  <a:txBody>
                    <a:bodyPr/>
                    <a:lstStyle/>
                    <a:p>
                      <a:pPr algn="ctr" fontAlgn="b"/>
                      <a:r>
                        <a:rPr lang="en-US" sz="1400" u="none" strike="noStrike" dirty="0">
                          <a:solidFill>
                            <a:srgbClr val="66667E"/>
                          </a:solidFill>
                          <a:effectLst/>
                        </a:rPr>
                        <a:t>Jun</a:t>
                      </a:r>
                      <a:endParaRPr lang="en-US" sz="1400" b="1" i="0" u="none" strike="noStrike" dirty="0">
                        <a:solidFill>
                          <a:srgbClr val="66667E"/>
                        </a:solidFill>
                        <a:effectLst/>
                        <a:latin typeface="Arial" panose="020B0604020202020204" pitchFamily="34" charset="0"/>
                        <a:cs typeface="Arial" panose="020B0604020202020204" pitchFamily="34" charset="0"/>
                      </a:endParaRPr>
                    </a:p>
                  </a:txBody>
                  <a:tcPr marL="71963" marR="71963" marT="71963" marB="71963" anchor="ctr">
                    <a:lnB w="28575" cap="flat" cmpd="sng" algn="ctr">
                      <a:solidFill>
                        <a:srgbClr val="66667E"/>
                      </a:solidFill>
                      <a:prstDash val="solid"/>
                      <a:round/>
                      <a:headEnd type="none" w="med" len="med"/>
                      <a:tailEnd type="none" w="med" len="med"/>
                    </a:lnB>
                  </a:tcPr>
                </a:tc>
                <a:tc>
                  <a:txBody>
                    <a:bodyPr/>
                    <a:lstStyle/>
                    <a:p>
                      <a:pPr algn="ctr" fontAlgn="b"/>
                      <a:r>
                        <a:rPr lang="en-US" sz="1400" u="none" strike="noStrike" dirty="0">
                          <a:solidFill>
                            <a:srgbClr val="66667E"/>
                          </a:solidFill>
                          <a:effectLst/>
                        </a:rPr>
                        <a:t>Jul</a:t>
                      </a:r>
                      <a:endParaRPr lang="en-US" sz="1400" b="1" i="0" u="none" strike="noStrike" dirty="0">
                        <a:solidFill>
                          <a:srgbClr val="66667E"/>
                        </a:solidFill>
                        <a:effectLst/>
                        <a:latin typeface="Arial" panose="020B0604020202020204" pitchFamily="34" charset="0"/>
                        <a:cs typeface="Arial" panose="020B0604020202020204" pitchFamily="34" charset="0"/>
                      </a:endParaRPr>
                    </a:p>
                  </a:txBody>
                  <a:tcPr marL="71963" marR="71963" marT="71963" marB="71963" anchor="ctr">
                    <a:lnB w="28575" cap="flat" cmpd="sng" algn="ctr">
                      <a:solidFill>
                        <a:srgbClr val="66667E"/>
                      </a:solidFill>
                      <a:prstDash val="solid"/>
                      <a:round/>
                      <a:headEnd type="none" w="med" len="med"/>
                      <a:tailEnd type="none" w="med" len="med"/>
                    </a:lnB>
                  </a:tcPr>
                </a:tc>
                <a:tc>
                  <a:txBody>
                    <a:bodyPr/>
                    <a:lstStyle/>
                    <a:p>
                      <a:pPr algn="ctr" fontAlgn="b"/>
                      <a:r>
                        <a:rPr lang="en-US" sz="1400" u="none" strike="noStrike" dirty="0">
                          <a:solidFill>
                            <a:srgbClr val="66667E"/>
                          </a:solidFill>
                          <a:effectLst/>
                        </a:rPr>
                        <a:t>Aug</a:t>
                      </a:r>
                      <a:endParaRPr lang="en-US" sz="1400" b="1" i="0" u="none" strike="noStrike" dirty="0">
                        <a:solidFill>
                          <a:srgbClr val="66667E"/>
                        </a:solidFill>
                        <a:effectLst/>
                        <a:latin typeface="Arial" panose="020B0604020202020204" pitchFamily="34" charset="0"/>
                        <a:cs typeface="Arial" panose="020B0604020202020204" pitchFamily="34" charset="0"/>
                      </a:endParaRPr>
                    </a:p>
                  </a:txBody>
                  <a:tcPr marL="71963" marR="71963" marT="71963" marB="71963" anchor="ctr">
                    <a:lnB w="28575" cap="flat" cmpd="sng" algn="ctr">
                      <a:solidFill>
                        <a:srgbClr val="66667E"/>
                      </a:solidFill>
                      <a:prstDash val="solid"/>
                      <a:round/>
                      <a:headEnd type="none" w="med" len="med"/>
                      <a:tailEnd type="none" w="med" len="med"/>
                    </a:lnB>
                  </a:tcPr>
                </a:tc>
                <a:tc>
                  <a:txBody>
                    <a:bodyPr/>
                    <a:lstStyle/>
                    <a:p>
                      <a:pPr algn="ctr" fontAlgn="b"/>
                      <a:r>
                        <a:rPr lang="en-US" sz="1400" u="none" strike="noStrike" dirty="0">
                          <a:solidFill>
                            <a:srgbClr val="66667E"/>
                          </a:solidFill>
                          <a:effectLst/>
                        </a:rPr>
                        <a:t>Sep</a:t>
                      </a:r>
                      <a:endParaRPr lang="en-US" sz="1400" b="1" i="0" u="none" strike="noStrike" dirty="0">
                        <a:solidFill>
                          <a:srgbClr val="66667E"/>
                        </a:solidFill>
                        <a:effectLst/>
                        <a:latin typeface="Arial" panose="020B0604020202020204" pitchFamily="34" charset="0"/>
                        <a:cs typeface="Arial" panose="020B0604020202020204" pitchFamily="34" charset="0"/>
                      </a:endParaRPr>
                    </a:p>
                  </a:txBody>
                  <a:tcPr marL="71963" marR="71963" marT="71963" marB="71963" anchor="ctr">
                    <a:lnB w="28575" cap="flat" cmpd="sng" algn="ctr">
                      <a:solidFill>
                        <a:srgbClr val="66667E"/>
                      </a:solidFill>
                      <a:prstDash val="solid"/>
                      <a:round/>
                      <a:headEnd type="none" w="med" len="med"/>
                      <a:tailEnd type="none" w="med" len="med"/>
                    </a:lnB>
                  </a:tcPr>
                </a:tc>
                <a:tc>
                  <a:txBody>
                    <a:bodyPr/>
                    <a:lstStyle/>
                    <a:p>
                      <a:pPr algn="ctr" fontAlgn="b"/>
                      <a:r>
                        <a:rPr lang="en-US" sz="1400" u="none" strike="noStrike" dirty="0">
                          <a:solidFill>
                            <a:srgbClr val="66667E"/>
                          </a:solidFill>
                          <a:effectLst/>
                        </a:rPr>
                        <a:t>Oct</a:t>
                      </a:r>
                      <a:endParaRPr lang="en-US" sz="1400" b="1" i="0" u="none" strike="noStrike" dirty="0">
                        <a:solidFill>
                          <a:srgbClr val="66667E"/>
                        </a:solidFill>
                        <a:effectLst/>
                        <a:latin typeface="Arial" panose="020B0604020202020204" pitchFamily="34" charset="0"/>
                        <a:cs typeface="Arial" panose="020B0604020202020204" pitchFamily="34" charset="0"/>
                      </a:endParaRPr>
                    </a:p>
                  </a:txBody>
                  <a:tcPr marL="71963" marR="71963" marT="71963" marB="71963" anchor="ctr">
                    <a:lnB w="28575" cap="flat" cmpd="sng" algn="ctr">
                      <a:solidFill>
                        <a:srgbClr val="66667E"/>
                      </a:solidFill>
                      <a:prstDash val="solid"/>
                      <a:round/>
                      <a:headEnd type="none" w="med" len="med"/>
                      <a:tailEnd type="none" w="med" len="med"/>
                    </a:lnB>
                  </a:tcPr>
                </a:tc>
                <a:tc>
                  <a:txBody>
                    <a:bodyPr/>
                    <a:lstStyle/>
                    <a:p>
                      <a:pPr algn="ctr" fontAlgn="b"/>
                      <a:r>
                        <a:rPr lang="en-US" sz="1400" u="none" strike="noStrike" dirty="0">
                          <a:solidFill>
                            <a:srgbClr val="66667E"/>
                          </a:solidFill>
                          <a:effectLst/>
                        </a:rPr>
                        <a:t>Nov</a:t>
                      </a:r>
                      <a:endParaRPr lang="en-US" sz="1400" b="1" i="0" u="none" strike="noStrike" dirty="0">
                        <a:solidFill>
                          <a:srgbClr val="66667E"/>
                        </a:solidFill>
                        <a:effectLst/>
                        <a:latin typeface="Arial" panose="020B0604020202020204" pitchFamily="34" charset="0"/>
                        <a:cs typeface="Arial" panose="020B0604020202020204" pitchFamily="34" charset="0"/>
                      </a:endParaRPr>
                    </a:p>
                  </a:txBody>
                  <a:tcPr marL="71963" marR="71963" marT="71963" marB="71963" anchor="ctr">
                    <a:lnB w="28575" cap="flat" cmpd="sng" algn="ctr">
                      <a:solidFill>
                        <a:srgbClr val="66667E"/>
                      </a:solidFill>
                      <a:prstDash val="solid"/>
                      <a:round/>
                      <a:headEnd type="none" w="med" len="med"/>
                      <a:tailEnd type="none" w="med" len="med"/>
                    </a:lnB>
                  </a:tcPr>
                </a:tc>
                <a:tc>
                  <a:txBody>
                    <a:bodyPr/>
                    <a:lstStyle/>
                    <a:p>
                      <a:pPr algn="ctr" fontAlgn="b"/>
                      <a:r>
                        <a:rPr lang="en-US" sz="1400" u="none" strike="noStrike" dirty="0">
                          <a:solidFill>
                            <a:srgbClr val="66667E"/>
                          </a:solidFill>
                          <a:effectLst/>
                        </a:rPr>
                        <a:t>Dec</a:t>
                      </a:r>
                      <a:endParaRPr lang="en-US" sz="1400" b="1" i="0" u="none" strike="noStrike" dirty="0">
                        <a:solidFill>
                          <a:srgbClr val="66667E"/>
                        </a:solidFill>
                        <a:effectLst/>
                        <a:latin typeface="Arial" panose="020B0604020202020204" pitchFamily="34" charset="0"/>
                        <a:cs typeface="Arial" panose="020B0604020202020204" pitchFamily="34" charset="0"/>
                      </a:endParaRPr>
                    </a:p>
                  </a:txBody>
                  <a:tcPr marL="71963" marR="71963" marT="71963" marB="71963" anchor="ctr">
                    <a:lnB w="28575"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0"/>
                  </a:ext>
                </a:extLst>
              </a:tr>
              <a:tr h="485747">
                <a:tc>
                  <a:txBody>
                    <a:bodyPr/>
                    <a:lstStyle/>
                    <a:p>
                      <a:r>
                        <a:rPr kumimoji="0" lang="en-US" sz="1400" u="none" strike="noStrike" kern="1200" cap="none" spc="0" normalizeH="0" baseline="0" noProof="0" dirty="0">
                          <a:ln>
                            <a:noFill/>
                          </a:ln>
                          <a:solidFill>
                            <a:srgbClr val="66667E"/>
                          </a:solidFill>
                          <a:effectLst/>
                          <a:uLnTx/>
                          <a:uFillTx/>
                        </a:rPr>
                        <a:t>At vero eos et accusam</a:t>
                      </a:r>
                      <a:endParaRPr lang="en-US" sz="1400" b="0" dirty="0">
                        <a:solidFill>
                          <a:srgbClr val="66667E"/>
                        </a:solidFill>
                      </a:endParaRPr>
                    </a:p>
                  </a:txBody>
                  <a:tcPr marL="0" marR="72000" marT="71963" marB="71963" anchor="ct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endParaRPr lang="en-US" sz="1800" dirty="0">
                        <a:solidFill>
                          <a:srgbClr val="66667E"/>
                        </a:solidFill>
                      </a:endParaRPr>
                    </a:p>
                  </a:txBody>
                  <a:tcPr marL="71963" marR="71963" marT="71963" marB="71963">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endParaRPr lang="en-US" sz="1800" dirty="0">
                        <a:solidFill>
                          <a:srgbClr val="66667E"/>
                        </a:solidFill>
                      </a:endParaRPr>
                    </a:p>
                  </a:txBody>
                  <a:tcPr marL="71963" marR="71963" marT="71963" marB="71963">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1"/>
                  </a:ext>
                </a:extLst>
              </a:tr>
              <a:tr h="48574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rgbClr val="66667E"/>
                          </a:solidFill>
                          <a:effectLst/>
                          <a:uLnTx/>
                          <a:uFillTx/>
                        </a:rPr>
                        <a:t>Cras ultricies mi eu</a:t>
                      </a:r>
                      <a:endParaRPr lang="en-US" sz="1400" b="0" dirty="0">
                        <a:solidFill>
                          <a:srgbClr val="66667E"/>
                        </a:solidFill>
                      </a:endParaRPr>
                    </a:p>
                  </a:txBody>
                  <a:tcPr marL="0" marR="7200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a:endParaRPr lang="de-DE" sz="1200" kern="1200" dirty="0">
                        <a:solidFill>
                          <a:srgbClr val="66667E"/>
                        </a:solidFill>
                        <a:latin typeface="+mn-lt"/>
                        <a:ea typeface="+mn-ea"/>
                        <a:cs typeface="+mn-cs"/>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2"/>
                  </a:ext>
                </a:extLst>
              </a:tr>
              <a:tr h="48574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s-ES" sz="1400" u="none" strike="noStrike" kern="1200" cap="none" spc="0" normalizeH="0" baseline="0" noProof="0" dirty="0">
                          <a:ln>
                            <a:noFill/>
                          </a:ln>
                          <a:solidFill>
                            <a:srgbClr val="66667E"/>
                          </a:solidFill>
                          <a:effectLst/>
                          <a:uLnTx/>
                          <a:uFillTx/>
                        </a:rPr>
                        <a:t>Duis arcu tortor, eget</a:t>
                      </a:r>
                      <a:endParaRPr lang="en-US" sz="1400" b="0" dirty="0">
                        <a:solidFill>
                          <a:srgbClr val="66667E"/>
                        </a:solidFill>
                      </a:endParaRPr>
                    </a:p>
                  </a:txBody>
                  <a:tcPr marL="0" marR="7200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a:endParaRPr lang="de-DE" sz="1200" kern="1200" dirty="0">
                        <a:solidFill>
                          <a:srgbClr val="66667E"/>
                        </a:solidFill>
                        <a:latin typeface="+mn-lt"/>
                        <a:ea typeface="+mn-ea"/>
                        <a:cs typeface="+mn-cs"/>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3"/>
                  </a:ext>
                </a:extLst>
              </a:tr>
              <a:tr h="48574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rgbClr val="66667E"/>
                          </a:solidFill>
                          <a:effectLst/>
                          <a:uLnTx/>
                          <a:uFillTx/>
                        </a:rPr>
                        <a:t>Phasellus nec sem</a:t>
                      </a:r>
                      <a:endParaRPr lang="en-US" sz="1400" b="0" dirty="0">
                        <a:solidFill>
                          <a:srgbClr val="66667E"/>
                        </a:solidFill>
                      </a:endParaRPr>
                    </a:p>
                  </a:txBody>
                  <a:tcPr marL="0" marR="7200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4"/>
                  </a:ext>
                </a:extLst>
              </a:tr>
              <a:tr h="48574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rgbClr val="66667E"/>
                          </a:solidFill>
                          <a:effectLst/>
                          <a:uLnTx/>
                          <a:uFillTx/>
                        </a:rPr>
                        <a:t>At vero eos et accusam</a:t>
                      </a:r>
                      <a:endParaRPr lang="en-US" sz="1400" b="0" dirty="0">
                        <a:solidFill>
                          <a:srgbClr val="66667E"/>
                        </a:solidFill>
                      </a:endParaRPr>
                    </a:p>
                  </a:txBody>
                  <a:tcPr marL="0" marR="7200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endParaRPr lang="en-US" sz="18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5"/>
                  </a:ext>
                </a:extLst>
              </a:tr>
              <a:tr h="48574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rgbClr val="66667E"/>
                          </a:solidFill>
                          <a:effectLst/>
                          <a:uLnTx/>
                          <a:uFillTx/>
                        </a:rPr>
                        <a:t>At vero eos et accusam</a:t>
                      </a:r>
                      <a:endParaRPr lang="en-US" sz="1400" b="0" dirty="0">
                        <a:solidFill>
                          <a:srgbClr val="66667E"/>
                        </a:solidFill>
                      </a:endParaRPr>
                    </a:p>
                  </a:txBody>
                  <a:tcPr marL="0" marR="7200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6"/>
                  </a:ext>
                </a:extLst>
              </a:tr>
              <a:tr h="48574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rgbClr val="66667E"/>
                          </a:solidFill>
                          <a:effectLst/>
                          <a:uLnTx/>
                          <a:uFillTx/>
                        </a:rPr>
                        <a:t>Cras ultricies mi eu</a:t>
                      </a:r>
                      <a:endParaRPr lang="en-US" sz="1400" b="0" dirty="0">
                        <a:solidFill>
                          <a:srgbClr val="66667E"/>
                        </a:solidFill>
                      </a:endParaRPr>
                    </a:p>
                  </a:txBody>
                  <a:tcPr marL="0" marR="7200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8"/>
                  </a:ext>
                </a:extLst>
              </a:tr>
              <a:tr h="48574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rgbClr val="66667E"/>
                          </a:solidFill>
                          <a:effectLst/>
                          <a:uLnTx/>
                          <a:uFillTx/>
                        </a:rPr>
                        <a:t>Phasellus nec sem</a:t>
                      </a:r>
                      <a:endParaRPr lang="en-US" sz="1400" b="0" dirty="0">
                        <a:solidFill>
                          <a:srgbClr val="66667E"/>
                        </a:solidFill>
                      </a:endParaRPr>
                    </a:p>
                  </a:txBody>
                  <a:tcPr marL="0" marR="7200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66667E"/>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9"/>
                  </a:ext>
                </a:extLst>
              </a:tr>
            </a:tbl>
          </a:graphicData>
        </a:graphic>
      </p:graphicFrame>
      <p:sp>
        <p:nvSpPr>
          <p:cNvPr id="27" name="Rectangle 66">
            <a:extLst>
              <a:ext uri="{FF2B5EF4-FFF2-40B4-BE49-F238E27FC236}">
                <a16:creationId xmlns:a16="http://schemas.microsoft.com/office/drawing/2014/main" id="{8CB4731E-35D9-4555-A630-876CA9678B9D}"/>
              </a:ext>
            </a:extLst>
          </p:cNvPr>
          <p:cNvSpPr>
            <a:spLocks noChangeArrowheads="1"/>
          </p:cNvSpPr>
          <p:nvPr>
            <p:custDataLst>
              <p:tags r:id="rId2"/>
            </p:custDataLst>
          </p:nvPr>
        </p:nvSpPr>
        <p:spPr bwMode="auto">
          <a:xfrm>
            <a:off x="3830400" y="2557800"/>
            <a:ext cx="1512000" cy="144000"/>
          </a:xfrm>
          <a:prstGeom prst="rect">
            <a:avLst/>
          </a:prstGeom>
          <a:solidFill>
            <a:srgbClr val="9999A9"/>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sp>
        <p:nvSpPr>
          <p:cNvPr id="28" name="Rectangle 72">
            <a:extLst>
              <a:ext uri="{FF2B5EF4-FFF2-40B4-BE49-F238E27FC236}">
                <a16:creationId xmlns:a16="http://schemas.microsoft.com/office/drawing/2014/main" id="{DCAB21F4-1107-4F6B-B689-02D1806D70FB}"/>
              </a:ext>
            </a:extLst>
          </p:cNvPr>
          <p:cNvSpPr>
            <a:spLocks noChangeArrowheads="1"/>
          </p:cNvSpPr>
          <p:nvPr>
            <p:custDataLst>
              <p:tags r:id="rId3"/>
            </p:custDataLst>
          </p:nvPr>
        </p:nvSpPr>
        <p:spPr bwMode="auto">
          <a:xfrm>
            <a:off x="2714400" y="2071800"/>
            <a:ext cx="1728240" cy="144000"/>
          </a:xfrm>
          <a:prstGeom prst="rect">
            <a:avLst/>
          </a:prstGeom>
          <a:solidFill>
            <a:srgbClr val="9999A9"/>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sp>
        <p:nvSpPr>
          <p:cNvPr id="30" name="Rectangle 72">
            <a:extLst>
              <a:ext uri="{FF2B5EF4-FFF2-40B4-BE49-F238E27FC236}">
                <a16:creationId xmlns:a16="http://schemas.microsoft.com/office/drawing/2014/main" id="{DD03C479-603A-45B6-9BA8-86890850CCA7}"/>
              </a:ext>
            </a:extLst>
          </p:cNvPr>
          <p:cNvSpPr>
            <a:spLocks noChangeArrowheads="1"/>
          </p:cNvSpPr>
          <p:nvPr>
            <p:custDataLst>
              <p:tags r:id="rId4"/>
            </p:custDataLst>
          </p:nvPr>
        </p:nvSpPr>
        <p:spPr bwMode="auto">
          <a:xfrm>
            <a:off x="4226400" y="3043800"/>
            <a:ext cx="1728240" cy="144000"/>
          </a:xfrm>
          <a:prstGeom prst="rect">
            <a:avLst/>
          </a:prstGeom>
          <a:solidFill>
            <a:srgbClr val="9999A9"/>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sp>
        <p:nvSpPr>
          <p:cNvPr id="31" name="Rectangle 72">
            <a:extLst>
              <a:ext uri="{FF2B5EF4-FFF2-40B4-BE49-F238E27FC236}">
                <a16:creationId xmlns:a16="http://schemas.microsoft.com/office/drawing/2014/main" id="{6B43E4D5-ED62-44BC-8C55-5A67DA21A669}"/>
              </a:ext>
            </a:extLst>
          </p:cNvPr>
          <p:cNvSpPr>
            <a:spLocks noChangeArrowheads="1"/>
          </p:cNvSpPr>
          <p:nvPr>
            <p:custDataLst>
              <p:tags r:id="rId5"/>
            </p:custDataLst>
          </p:nvPr>
        </p:nvSpPr>
        <p:spPr bwMode="auto">
          <a:xfrm>
            <a:off x="4226400" y="3529800"/>
            <a:ext cx="1728240" cy="144000"/>
          </a:xfrm>
          <a:prstGeom prst="rect">
            <a:avLst/>
          </a:prstGeom>
          <a:solidFill>
            <a:srgbClr val="9999A9"/>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sp>
        <p:nvSpPr>
          <p:cNvPr id="32" name="Rectangle 72">
            <a:extLst>
              <a:ext uri="{FF2B5EF4-FFF2-40B4-BE49-F238E27FC236}">
                <a16:creationId xmlns:a16="http://schemas.microsoft.com/office/drawing/2014/main" id="{22E740B7-40B9-4F86-BD62-01CC17EB7403}"/>
              </a:ext>
            </a:extLst>
          </p:cNvPr>
          <p:cNvSpPr>
            <a:spLocks noChangeArrowheads="1"/>
          </p:cNvSpPr>
          <p:nvPr>
            <p:custDataLst>
              <p:tags r:id="rId6"/>
            </p:custDataLst>
          </p:nvPr>
        </p:nvSpPr>
        <p:spPr bwMode="auto">
          <a:xfrm>
            <a:off x="4226400" y="4015800"/>
            <a:ext cx="1728240" cy="144000"/>
          </a:xfrm>
          <a:prstGeom prst="rect">
            <a:avLst/>
          </a:prstGeom>
          <a:solidFill>
            <a:srgbClr val="9999A9"/>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sp>
        <p:nvSpPr>
          <p:cNvPr id="33" name="Rectangle 72">
            <a:extLst>
              <a:ext uri="{FF2B5EF4-FFF2-40B4-BE49-F238E27FC236}">
                <a16:creationId xmlns:a16="http://schemas.microsoft.com/office/drawing/2014/main" id="{A9591CF8-A1D2-4696-A111-2556261A2CEB}"/>
              </a:ext>
            </a:extLst>
          </p:cNvPr>
          <p:cNvSpPr>
            <a:spLocks noChangeArrowheads="1"/>
          </p:cNvSpPr>
          <p:nvPr>
            <p:custDataLst>
              <p:tags r:id="rId7"/>
            </p:custDataLst>
          </p:nvPr>
        </p:nvSpPr>
        <p:spPr bwMode="auto">
          <a:xfrm>
            <a:off x="5520766" y="4501800"/>
            <a:ext cx="1728240" cy="144000"/>
          </a:xfrm>
          <a:prstGeom prst="rect">
            <a:avLst/>
          </a:prstGeom>
          <a:solidFill>
            <a:schemeClr val="accent1"/>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sp>
        <p:nvSpPr>
          <p:cNvPr id="34" name="Rectangle 72">
            <a:extLst>
              <a:ext uri="{FF2B5EF4-FFF2-40B4-BE49-F238E27FC236}">
                <a16:creationId xmlns:a16="http://schemas.microsoft.com/office/drawing/2014/main" id="{C0556F4F-FD5A-40C8-9E55-62EE351DC59B}"/>
              </a:ext>
            </a:extLst>
          </p:cNvPr>
          <p:cNvSpPr>
            <a:spLocks noChangeArrowheads="1"/>
          </p:cNvSpPr>
          <p:nvPr>
            <p:custDataLst>
              <p:tags r:id="rId8"/>
            </p:custDataLst>
          </p:nvPr>
        </p:nvSpPr>
        <p:spPr bwMode="auto">
          <a:xfrm>
            <a:off x="6671780" y="4987800"/>
            <a:ext cx="2268000" cy="144000"/>
          </a:xfrm>
          <a:prstGeom prst="rect">
            <a:avLst/>
          </a:prstGeom>
          <a:solidFill>
            <a:srgbClr val="9999A9"/>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sp>
        <p:nvSpPr>
          <p:cNvPr id="35" name="Rectangle 72">
            <a:extLst>
              <a:ext uri="{FF2B5EF4-FFF2-40B4-BE49-F238E27FC236}">
                <a16:creationId xmlns:a16="http://schemas.microsoft.com/office/drawing/2014/main" id="{C6EDF3DF-A41C-4356-A29F-7B34311FE8D0}"/>
              </a:ext>
            </a:extLst>
          </p:cNvPr>
          <p:cNvSpPr>
            <a:spLocks noChangeArrowheads="1"/>
          </p:cNvSpPr>
          <p:nvPr>
            <p:custDataLst>
              <p:tags r:id="rId9"/>
            </p:custDataLst>
          </p:nvPr>
        </p:nvSpPr>
        <p:spPr bwMode="auto">
          <a:xfrm>
            <a:off x="9140400" y="5473800"/>
            <a:ext cx="1134000" cy="144000"/>
          </a:xfrm>
          <a:prstGeom prst="rect">
            <a:avLst/>
          </a:prstGeom>
          <a:solidFill>
            <a:schemeClr val="accent1"/>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grpSp>
        <p:nvGrpSpPr>
          <p:cNvPr id="20" name="Group 24">
            <a:extLst>
              <a:ext uri="{FF2B5EF4-FFF2-40B4-BE49-F238E27FC236}">
                <a16:creationId xmlns:a16="http://schemas.microsoft.com/office/drawing/2014/main" id="{264C6BA6-A6C0-4147-A0F6-871E3DE11A37}"/>
              </a:ext>
            </a:extLst>
          </p:cNvPr>
          <p:cNvGrpSpPr/>
          <p:nvPr/>
        </p:nvGrpSpPr>
        <p:grpSpPr>
          <a:xfrm>
            <a:off x="3462225" y="1914525"/>
            <a:ext cx="735326" cy="4315371"/>
            <a:chOff x="3906629" y="1934986"/>
            <a:chExt cx="721352" cy="4190803"/>
          </a:xfrm>
        </p:grpSpPr>
        <p:sp>
          <p:nvSpPr>
            <p:cNvPr id="21" name="Rectangle 76">
              <a:extLst>
                <a:ext uri="{FF2B5EF4-FFF2-40B4-BE49-F238E27FC236}">
                  <a16:creationId xmlns:a16="http://schemas.microsoft.com/office/drawing/2014/main" id="{DB1E2C8F-0746-4C20-B694-35C3CF664582}"/>
                </a:ext>
              </a:extLst>
            </p:cNvPr>
            <p:cNvSpPr>
              <a:spLocks noChangeArrowheads="1"/>
            </p:cNvSpPr>
            <p:nvPr>
              <p:custDataLst>
                <p:tags r:id="rId10"/>
              </p:custDataLst>
            </p:nvPr>
          </p:nvSpPr>
          <p:spPr bwMode="auto">
            <a:xfrm>
              <a:off x="3906629" y="5899198"/>
              <a:ext cx="721352" cy="226591"/>
            </a:xfrm>
            <a:prstGeom prst="rect">
              <a:avLst/>
            </a:prstGeom>
            <a:noFill/>
            <a:ln>
              <a:noFill/>
            </a:ln>
            <a:effectLst/>
          </p:spPr>
          <p:txBody>
            <a:bodyPr wrap="none" lIns="0" tIns="72000" rIns="0" bIns="0" anchor="ctr">
              <a:spAutoFit/>
            </a:bodyP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spcBef>
                  <a:spcPct val="0"/>
                </a:spcBef>
                <a:buClrTx/>
                <a:buFontTx/>
                <a:buNone/>
              </a:pPr>
              <a:r>
                <a:rPr lang="en-US" altLang="de-DE" sz="1000" dirty="0">
                  <a:latin typeface="+mn-lt"/>
                </a:rPr>
                <a:t>XX.XX.20XX</a:t>
              </a:r>
            </a:p>
          </p:txBody>
        </p:sp>
        <p:grpSp>
          <p:nvGrpSpPr>
            <p:cNvPr id="22" name="Group 26">
              <a:extLst>
                <a:ext uri="{FF2B5EF4-FFF2-40B4-BE49-F238E27FC236}">
                  <a16:creationId xmlns:a16="http://schemas.microsoft.com/office/drawing/2014/main" id="{0E017786-2EB6-485B-B431-821FBF97F2A0}"/>
                </a:ext>
              </a:extLst>
            </p:cNvPr>
            <p:cNvGrpSpPr/>
            <p:nvPr/>
          </p:nvGrpSpPr>
          <p:grpSpPr>
            <a:xfrm>
              <a:off x="4183715" y="1934986"/>
              <a:ext cx="160950" cy="3954687"/>
              <a:chOff x="4183715" y="1934986"/>
              <a:chExt cx="160950" cy="3954687"/>
            </a:xfrm>
          </p:grpSpPr>
          <p:sp>
            <p:nvSpPr>
              <p:cNvPr id="23" name="Line 64">
                <a:extLst>
                  <a:ext uri="{FF2B5EF4-FFF2-40B4-BE49-F238E27FC236}">
                    <a16:creationId xmlns:a16="http://schemas.microsoft.com/office/drawing/2014/main" id="{9BA20331-4FCE-4FB9-AEF8-CBB5584C030A}"/>
                  </a:ext>
                </a:extLst>
              </p:cNvPr>
              <p:cNvSpPr>
                <a:spLocks noChangeShapeType="1"/>
              </p:cNvSpPr>
              <p:nvPr>
                <p:custDataLst>
                  <p:tags r:id="rId11"/>
                </p:custDataLst>
              </p:nvPr>
            </p:nvSpPr>
            <p:spPr bwMode="gray">
              <a:xfrm flipH="1">
                <a:off x="4263375" y="1934986"/>
                <a:ext cx="0" cy="3861869"/>
              </a:xfrm>
              <a:prstGeom prst="line">
                <a:avLst/>
              </a:prstGeom>
              <a:noFill/>
              <a:ln w="19050">
                <a:solidFill>
                  <a:schemeClr val="tx1"/>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24" name="AutoShape 74">
                <a:extLst>
                  <a:ext uri="{FF2B5EF4-FFF2-40B4-BE49-F238E27FC236}">
                    <a16:creationId xmlns:a16="http://schemas.microsoft.com/office/drawing/2014/main" id="{1A756046-56A0-4E87-8FC6-7C8F7F265D61}"/>
                  </a:ext>
                </a:extLst>
              </p:cNvPr>
              <p:cNvSpPr>
                <a:spLocks noChangeArrowheads="1"/>
              </p:cNvSpPr>
              <p:nvPr>
                <p:custDataLst>
                  <p:tags r:id="rId12"/>
                </p:custDataLst>
              </p:nvPr>
            </p:nvSpPr>
            <p:spPr bwMode="auto">
              <a:xfrm>
                <a:off x="4183715" y="5784898"/>
                <a:ext cx="160950" cy="104775"/>
              </a:xfrm>
              <a:prstGeom prst="triangle">
                <a:avLst>
                  <a:gd name="adj" fmla="val 50000"/>
                </a:avLst>
              </a:prstGeom>
              <a:solidFill>
                <a:schemeClr val="tx1"/>
              </a:solidFill>
              <a:ln w="19050">
                <a:noFill/>
                <a:miter lim="800000"/>
                <a:headEnd/>
                <a:tailEnd/>
              </a:ln>
              <a:effectLst/>
            </p:spPr>
            <p:txBody>
              <a:bodyPr wrap="none"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grpSp>
      </p:grpSp>
      <p:sp>
        <p:nvSpPr>
          <p:cNvPr id="4" name="Footer Placeholder 3">
            <a:extLst>
              <a:ext uri="{FF2B5EF4-FFF2-40B4-BE49-F238E27FC236}">
                <a16:creationId xmlns:a16="http://schemas.microsoft.com/office/drawing/2014/main" id="{875F1103-47AF-4A7D-87BC-BFC0CD17DC58}"/>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8" name="Slide Number Placeholder 47">
            <a:extLst>
              <a:ext uri="{FF2B5EF4-FFF2-40B4-BE49-F238E27FC236}">
                <a16:creationId xmlns:a16="http://schemas.microsoft.com/office/drawing/2014/main" id="{5CD440BA-20A4-48F1-BB01-CA6148DFD618}"/>
              </a:ext>
            </a:extLst>
          </p:cNvPr>
          <p:cNvSpPr>
            <a:spLocks noGrp="1"/>
          </p:cNvSpPr>
          <p:nvPr>
            <p:ph type="sldNum" sz="quarter" idx="11"/>
          </p:nvPr>
        </p:nvSpPr>
        <p:spPr/>
        <p:txBody>
          <a:bodyPr/>
          <a:lstStyle/>
          <a:p>
            <a:r>
              <a:rPr lang="en-US" dirty="0"/>
              <a:t>Page </a:t>
            </a:r>
            <a:fld id="{15EBE321-CBB1-4E91-BD14-37C8D44326FB}" type="slidenum">
              <a:rPr lang="en-US" smtClean="0"/>
              <a:pPr/>
              <a:t>46</a:t>
            </a:fld>
            <a:endParaRPr lang="en-US" dirty="0"/>
          </a:p>
        </p:txBody>
      </p:sp>
    </p:spTree>
    <p:extLst>
      <p:ext uri="{BB962C8B-B14F-4D97-AF65-F5344CB8AC3E}">
        <p14:creationId xmlns:p14="http://schemas.microsoft.com/office/powerpoint/2010/main" val="21962685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14" imgW="360" imgH="360" progId="">
                  <p:embed/>
                </p:oleObj>
              </mc:Choice>
              <mc:Fallback>
                <p:oleObj name="think-cell Folie" r:id="rId14" imgW="360" imgH="360" progId="">
                  <p:embed/>
                  <p:pic>
                    <p:nvPicPr>
                      <p:cNvPr id="6" name="Objekt 5"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en-US" noProof="0" dirty="0"/>
              <a:t>Project timeline – simple overview</a:t>
            </a:r>
          </a:p>
        </p:txBody>
      </p:sp>
      <p:sp>
        <p:nvSpPr>
          <p:cNvPr id="4" name="Footer Placeholder 3">
            <a:extLst>
              <a:ext uri="{FF2B5EF4-FFF2-40B4-BE49-F238E27FC236}">
                <a16:creationId xmlns:a16="http://schemas.microsoft.com/office/drawing/2014/main" id="{875F1103-47AF-4A7D-87BC-BFC0CD17DC58}"/>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8" name="Slide Number Placeholder 47">
            <a:extLst>
              <a:ext uri="{FF2B5EF4-FFF2-40B4-BE49-F238E27FC236}">
                <a16:creationId xmlns:a16="http://schemas.microsoft.com/office/drawing/2014/main" id="{5CD440BA-20A4-48F1-BB01-CA6148DFD618}"/>
              </a:ext>
            </a:extLst>
          </p:cNvPr>
          <p:cNvSpPr>
            <a:spLocks noGrp="1"/>
          </p:cNvSpPr>
          <p:nvPr>
            <p:ph type="sldNum" sz="quarter" idx="11"/>
          </p:nvPr>
        </p:nvSpPr>
        <p:spPr/>
        <p:txBody>
          <a:bodyPr/>
          <a:lstStyle/>
          <a:p>
            <a:r>
              <a:rPr lang="en-US" dirty="0"/>
              <a:t>Page </a:t>
            </a:r>
            <a:fld id="{15EBE321-CBB1-4E91-BD14-37C8D44326FB}" type="slidenum">
              <a:rPr lang="en-US" smtClean="0"/>
              <a:pPr/>
              <a:t>47</a:t>
            </a:fld>
            <a:endParaRPr lang="en-US" dirty="0"/>
          </a:p>
        </p:txBody>
      </p:sp>
      <p:graphicFrame>
        <p:nvGraphicFramePr>
          <p:cNvPr id="5" name="Content Placeholder 3"/>
          <p:cNvGraphicFramePr>
            <a:graphicFrameLocks/>
          </p:cNvGraphicFramePr>
          <p:nvPr>
            <p:extLst>
              <p:ext uri="{D42A27DB-BD31-4B8C-83A1-F6EECF244321}">
                <p14:modId xmlns:p14="http://schemas.microsoft.com/office/powerpoint/2010/main" val="1555506653"/>
              </p:ext>
            </p:extLst>
          </p:nvPr>
        </p:nvGraphicFramePr>
        <p:xfrm>
          <a:off x="410400" y="1415849"/>
          <a:ext cx="11371272" cy="4371723"/>
        </p:xfrm>
        <a:graphic>
          <a:graphicData uri="http://schemas.openxmlformats.org/drawingml/2006/table">
            <a:tbl>
              <a:tblPr firstRow="1" bandCol="1">
                <a:tableStyleId>{0E3FDE45-AF77-4B5C-9715-49D594BDF05E}</a:tableStyleId>
              </a:tblPr>
              <a:tblGrid>
                <a:gridCol w="2304000">
                  <a:extLst>
                    <a:ext uri="{9D8B030D-6E8A-4147-A177-3AD203B41FA5}">
                      <a16:colId xmlns:a16="http://schemas.microsoft.com/office/drawing/2014/main" val="20000"/>
                    </a:ext>
                  </a:extLst>
                </a:gridCol>
                <a:gridCol w="755606">
                  <a:extLst>
                    <a:ext uri="{9D8B030D-6E8A-4147-A177-3AD203B41FA5}">
                      <a16:colId xmlns:a16="http://schemas.microsoft.com/office/drawing/2014/main" val="20001"/>
                    </a:ext>
                  </a:extLst>
                </a:gridCol>
                <a:gridCol w="755606">
                  <a:extLst>
                    <a:ext uri="{9D8B030D-6E8A-4147-A177-3AD203B41FA5}">
                      <a16:colId xmlns:a16="http://schemas.microsoft.com/office/drawing/2014/main" val="20002"/>
                    </a:ext>
                  </a:extLst>
                </a:gridCol>
                <a:gridCol w="755606">
                  <a:extLst>
                    <a:ext uri="{9D8B030D-6E8A-4147-A177-3AD203B41FA5}">
                      <a16:colId xmlns:a16="http://schemas.microsoft.com/office/drawing/2014/main" val="20003"/>
                    </a:ext>
                  </a:extLst>
                </a:gridCol>
                <a:gridCol w="755606">
                  <a:extLst>
                    <a:ext uri="{9D8B030D-6E8A-4147-A177-3AD203B41FA5}">
                      <a16:colId xmlns:a16="http://schemas.microsoft.com/office/drawing/2014/main" val="20004"/>
                    </a:ext>
                  </a:extLst>
                </a:gridCol>
                <a:gridCol w="755606">
                  <a:extLst>
                    <a:ext uri="{9D8B030D-6E8A-4147-A177-3AD203B41FA5}">
                      <a16:colId xmlns:a16="http://schemas.microsoft.com/office/drawing/2014/main" val="20005"/>
                    </a:ext>
                  </a:extLst>
                </a:gridCol>
                <a:gridCol w="755606">
                  <a:extLst>
                    <a:ext uri="{9D8B030D-6E8A-4147-A177-3AD203B41FA5}">
                      <a16:colId xmlns:a16="http://schemas.microsoft.com/office/drawing/2014/main" val="20006"/>
                    </a:ext>
                  </a:extLst>
                </a:gridCol>
                <a:gridCol w="755606">
                  <a:extLst>
                    <a:ext uri="{9D8B030D-6E8A-4147-A177-3AD203B41FA5}">
                      <a16:colId xmlns:a16="http://schemas.microsoft.com/office/drawing/2014/main" val="20007"/>
                    </a:ext>
                  </a:extLst>
                </a:gridCol>
                <a:gridCol w="755606">
                  <a:extLst>
                    <a:ext uri="{9D8B030D-6E8A-4147-A177-3AD203B41FA5}">
                      <a16:colId xmlns:a16="http://schemas.microsoft.com/office/drawing/2014/main" val="20008"/>
                    </a:ext>
                  </a:extLst>
                </a:gridCol>
                <a:gridCol w="755606">
                  <a:extLst>
                    <a:ext uri="{9D8B030D-6E8A-4147-A177-3AD203B41FA5}">
                      <a16:colId xmlns:a16="http://schemas.microsoft.com/office/drawing/2014/main" val="20009"/>
                    </a:ext>
                  </a:extLst>
                </a:gridCol>
                <a:gridCol w="755606">
                  <a:extLst>
                    <a:ext uri="{9D8B030D-6E8A-4147-A177-3AD203B41FA5}">
                      <a16:colId xmlns:a16="http://schemas.microsoft.com/office/drawing/2014/main" val="20010"/>
                    </a:ext>
                  </a:extLst>
                </a:gridCol>
                <a:gridCol w="755606">
                  <a:extLst>
                    <a:ext uri="{9D8B030D-6E8A-4147-A177-3AD203B41FA5}">
                      <a16:colId xmlns:a16="http://schemas.microsoft.com/office/drawing/2014/main" val="20011"/>
                    </a:ext>
                  </a:extLst>
                </a:gridCol>
                <a:gridCol w="755606">
                  <a:extLst>
                    <a:ext uri="{9D8B030D-6E8A-4147-A177-3AD203B41FA5}">
                      <a16:colId xmlns:a16="http://schemas.microsoft.com/office/drawing/2014/main" val="20012"/>
                    </a:ext>
                  </a:extLst>
                </a:gridCol>
              </a:tblGrid>
              <a:tr h="485747">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s-ES" sz="1400" u="none" strike="noStrike" cap="none" normalizeH="0" baseline="0" noProof="0" dirty="0">
                          <a:ln>
                            <a:noFill/>
                          </a:ln>
                          <a:solidFill>
                            <a:srgbClr val="9999A9"/>
                          </a:solidFill>
                          <a:effectLst/>
                        </a:rPr>
                        <a:t>Duis arcu eget</a:t>
                      </a:r>
                      <a:endParaRPr kumimoji="0" lang="en-US" sz="1400" b="1" i="0" u="none" strike="noStrike" cap="none" normalizeH="0" baseline="0" noProof="0" dirty="0">
                        <a:ln>
                          <a:noFill/>
                        </a:ln>
                        <a:solidFill>
                          <a:srgbClr val="9999A9"/>
                        </a:solidFill>
                        <a:effectLst/>
                        <a:latin typeface="Arial" charset="0"/>
                      </a:endParaRPr>
                    </a:p>
                  </a:txBody>
                  <a:tcPr marL="0" marR="72000" marT="71963" marB="71963" anchor="ctr">
                    <a:lnB w="28575" cap="flat" cmpd="sng" algn="ctr">
                      <a:solidFill>
                        <a:srgbClr val="9999A9"/>
                      </a:solidFill>
                      <a:prstDash val="solid"/>
                      <a:round/>
                      <a:headEnd type="none" w="med" len="med"/>
                      <a:tailEnd type="none" w="med" len="med"/>
                    </a:lnB>
                  </a:tcPr>
                </a:tc>
                <a:tc>
                  <a:txBody>
                    <a:bodyPr/>
                    <a:lstStyle/>
                    <a:p>
                      <a:pPr algn="ctr" fontAlgn="b"/>
                      <a:r>
                        <a:rPr lang="en-US" sz="1400" u="none" strike="noStrike" dirty="0">
                          <a:solidFill>
                            <a:srgbClr val="9999A9"/>
                          </a:solidFill>
                          <a:effectLst/>
                        </a:rPr>
                        <a:t>Jan</a:t>
                      </a:r>
                      <a:endParaRPr lang="en-US" sz="1400" b="1" i="0" u="none" strike="noStrike" dirty="0">
                        <a:solidFill>
                          <a:srgbClr val="9999A9"/>
                        </a:solidFill>
                        <a:effectLst/>
                        <a:latin typeface="Arial" panose="020B0604020202020204" pitchFamily="34" charset="0"/>
                        <a:cs typeface="Arial" panose="020B0604020202020204" pitchFamily="34" charset="0"/>
                      </a:endParaRPr>
                    </a:p>
                  </a:txBody>
                  <a:tcPr marL="71963" marR="71963" marT="71963" marB="71963" anchor="ctr">
                    <a:lnB w="28575" cap="flat" cmpd="sng" algn="ctr">
                      <a:solidFill>
                        <a:srgbClr val="9999A9"/>
                      </a:solidFill>
                      <a:prstDash val="solid"/>
                      <a:round/>
                      <a:headEnd type="none" w="med" len="med"/>
                      <a:tailEnd type="none" w="med" len="med"/>
                    </a:lnB>
                  </a:tcPr>
                </a:tc>
                <a:tc>
                  <a:txBody>
                    <a:bodyPr/>
                    <a:lstStyle/>
                    <a:p>
                      <a:pPr algn="ctr" fontAlgn="b"/>
                      <a:r>
                        <a:rPr lang="en-US" sz="1400" u="none" strike="noStrike" dirty="0">
                          <a:solidFill>
                            <a:srgbClr val="9999A9"/>
                          </a:solidFill>
                          <a:effectLst/>
                        </a:rPr>
                        <a:t>Feb</a:t>
                      </a:r>
                      <a:endParaRPr lang="en-US" sz="1400" b="1" i="0" u="none" strike="noStrike" dirty="0">
                        <a:solidFill>
                          <a:srgbClr val="9999A9"/>
                        </a:solidFill>
                        <a:effectLst/>
                        <a:latin typeface="Arial" panose="020B0604020202020204" pitchFamily="34" charset="0"/>
                        <a:cs typeface="Arial" panose="020B0604020202020204" pitchFamily="34" charset="0"/>
                      </a:endParaRPr>
                    </a:p>
                  </a:txBody>
                  <a:tcPr marL="71963" marR="71963" marT="71963" marB="71963" anchor="ctr">
                    <a:lnB w="28575" cap="flat" cmpd="sng" algn="ctr">
                      <a:solidFill>
                        <a:srgbClr val="9999A9"/>
                      </a:solidFill>
                      <a:prstDash val="solid"/>
                      <a:round/>
                      <a:headEnd type="none" w="med" len="med"/>
                      <a:tailEnd type="none" w="med" len="med"/>
                    </a:lnB>
                  </a:tcPr>
                </a:tc>
                <a:tc>
                  <a:txBody>
                    <a:bodyPr/>
                    <a:lstStyle/>
                    <a:p>
                      <a:pPr algn="ctr" fontAlgn="b"/>
                      <a:r>
                        <a:rPr lang="en-US" sz="1400" u="none" strike="noStrike" dirty="0">
                          <a:solidFill>
                            <a:srgbClr val="9999A9"/>
                          </a:solidFill>
                          <a:effectLst/>
                        </a:rPr>
                        <a:t>Mar</a:t>
                      </a:r>
                      <a:endParaRPr lang="en-US" sz="1400" b="1" i="0" u="none" strike="noStrike" dirty="0">
                        <a:solidFill>
                          <a:srgbClr val="9999A9"/>
                        </a:solidFill>
                        <a:effectLst/>
                        <a:latin typeface="Arial" panose="020B0604020202020204" pitchFamily="34" charset="0"/>
                        <a:cs typeface="Arial" panose="020B0604020202020204" pitchFamily="34" charset="0"/>
                      </a:endParaRPr>
                    </a:p>
                  </a:txBody>
                  <a:tcPr marL="71963" marR="71963" marT="71963" marB="71963" anchor="ctr">
                    <a:lnB w="28575" cap="flat" cmpd="sng" algn="ctr">
                      <a:solidFill>
                        <a:srgbClr val="9999A9"/>
                      </a:solidFill>
                      <a:prstDash val="solid"/>
                      <a:round/>
                      <a:headEnd type="none" w="med" len="med"/>
                      <a:tailEnd type="none" w="med" len="med"/>
                    </a:lnB>
                  </a:tcPr>
                </a:tc>
                <a:tc>
                  <a:txBody>
                    <a:bodyPr/>
                    <a:lstStyle/>
                    <a:p>
                      <a:pPr algn="ctr" fontAlgn="b"/>
                      <a:r>
                        <a:rPr lang="en-US" sz="1400" u="none" strike="noStrike" dirty="0">
                          <a:solidFill>
                            <a:srgbClr val="9999A9"/>
                          </a:solidFill>
                          <a:effectLst/>
                        </a:rPr>
                        <a:t>Apr</a:t>
                      </a:r>
                      <a:endParaRPr lang="en-US" sz="1400" b="1" i="0" u="none" strike="noStrike" dirty="0">
                        <a:solidFill>
                          <a:srgbClr val="9999A9"/>
                        </a:solidFill>
                        <a:effectLst/>
                        <a:latin typeface="Arial" panose="020B0604020202020204" pitchFamily="34" charset="0"/>
                        <a:cs typeface="Arial" panose="020B0604020202020204" pitchFamily="34" charset="0"/>
                      </a:endParaRPr>
                    </a:p>
                  </a:txBody>
                  <a:tcPr marL="71963" marR="71963" marT="71963" marB="71963" anchor="ctr">
                    <a:lnB w="28575" cap="flat" cmpd="sng" algn="ctr">
                      <a:solidFill>
                        <a:srgbClr val="9999A9"/>
                      </a:solidFill>
                      <a:prstDash val="solid"/>
                      <a:round/>
                      <a:headEnd type="none" w="med" len="med"/>
                      <a:tailEnd type="none" w="med" len="med"/>
                    </a:lnB>
                  </a:tcPr>
                </a:tc>
                <a:tc>
                  <a:txBody>
                    <a:bodyPr/>
                    <a:lstStyle/>
                    <a:p>
                      <a:pPr algn="ctr" fontAlgn="b"/>
                      <a:r>
                        <a:rPr lang="en-US" sz="1400" u="none" strike="noStrike" dirty="0">
                          <a:solidFill>
                            <a:srgbClr val="9999A9"/>
                          </a:solidFill>
                          <a:effectLst/>
                        </a:rPr>
                        <a:t>May</a:t>
                      </a:r>
                      <a:endParaRPr lang="en-US" sz="1400" b="1" i="0" u="none" strike="noStrike" dirty="0">
                        <a:solidFill>
                          <a:srgbClr val="9999A9"/>
                        </a:solidFill>
                        <a:effectLst/>
                        <a:latin typeface="Arial" panose="020B0604020202020204" pitchFamily="34" charset="0"/>
                        <a:cs typeface="Arial" panose="020B0604020202020204" pitchFamily="34" charset="0"/>
                      </a:endParaRPr>
                    </a:p>
                  </a:txBody>
                  <a:tcPr marL="71963" marR="71963" marT="71963" marB="71963" anchor="ctr">
                    <a:lnB w="28575" cap="flat" cmpd="sng" algn="ctr">
                      <a:solidFill>
                        <a:srgbClr val="9999A9"/>
                      </a:solidFill>
                      <a:prstDash val="solid"/>
                      <a:round/>
                      <a:headEnd type="none" w="med" len="med"/>
                      <a:tailEnd type="none" w="med" len="med"/>
                    </a:lnB>
                  </a:tcPr>
                </a:tc>
                <a:tc>
                  <a:txBody>
                    <a:bodyPr/>
                    <a:lstStyle/>
                    <a:p>
                      <a:pPr algn="ctr" fontAlgn="b"/>
                      <a:r>
                        <a:rPr lang="en-US" sz="1400" u="none" strike="noStrike" dirty="0">
                          <a:solidFill>
                            <a:srgbClr val="9999A9"/>
                          </a:solidFill>
                          <a:effectLst/>
                        </a:rPr>
                        <a:t>Jun</a:t>
                      </a:r>
                      <a:endParaRPr lang="en-US" sz="1400" b="1" i="0" u="none" strike="noStrike" dirty="0">
                        <a:solidFill>
                          <a:srgbClr val="9999A9"/>
                        </a:solidFill>
                        <a:effectLst/>
                        <a:latin typeface="Arial" panose="020B0604020202020204" pitchFamily="34" charset="0"/>
                        <a:cs typeface="Arial" panose="020B0604020202020204" pitchFamily="34" charset="0"/>
                      </a:endParaRPr>
                    </a:p>
                  </a:txBody>
                  <a:tcPr marL="71963" marR="71963" marT="71963" marB="71963" anchor="ctr">
                    <a:lnB w="28575" cap="flat" cmpd="sng" algn="ctr">
                      <a:solidFill>
                        <a:srgbClr val="9999A9"/>
                      </a:solidFill>
                      <a:prstDash val="solid"/>
                      <a:round/>
                      <a:headEnd type="none" w="med" len="med"/>
                      <a:tailEnd type="none" w="med" len="med"/>
                    </a:lnB>
                  </a:tcPr>
                </a:tc>
                <a:tc>
                  <a:txBody>
                    <a:bodyPr/>
                    <a:lstStyle/>
                    <a:p>
                      <a:pPr algn="ctr" fontAlgn="b"/>
                      <a:r>
                        <a:rPr lang="en-US" sz="1400" u="none" strike="noStrike" dirty="0">
                          <a:solidFill>
                            <a:srgbClr val="9999A9"/>
                          </a:solidFill>
                          <a:effectLst/>
                        </a:rPr>
                        <a:t>Jul</a:t>
                      </a:r>
                      <a:endParaRPr lang="en-US" sz="1400" b="1" i="0" u="none" strike="noStrike" dirty="0">
                        <a:solidFill>
                          <a:srgbClr val="9999A9"/>
                        </a:solidFill>
                        <a:effectLst/>
                        <a:latin typeface="Arial" panose="020B0604020202020204" pitchFamily="34" charset="0"/>
                        <a:cs typeface="Arial" panose="020B0604020202020204" pitchFamily="34" charset="0"/>
                      </a:endParaRPr>
                    </a:p>
                  </a:txBody>
                  <a:tcPr marL="71963" marR="71963" marT="71963" marB="71963" anchor="ctr">
                    <a:lnB w="28575" cap="flat" cmpd="sng" algn="ctr">
                      <a:solidFill>
                        <a:srgbClr val="9999A9"/>
                      </a:solidFill>
                      <a:prstDash val="solid"/>
                      <a:round/>
                      <a:headEnd type="none" w="med" len="med"/>
                      <a:tailEnd type="none" w="med" len="med"/>
                    </a:lnB>
                  </a:tcPr>
                </a:tc>
                <a:tc>
                  <a:txBody>
                    <a:bodyPr/>
                    <a:lstStyle/>
                    <a:p>
                      <a:pPr algn="ctr" fontAlgn="b"/>
                      <a:r>
                        <a:rPr lang="en-US" sz="1400" u="none" strike="noStrike" dirty="0">
                          <a:solidFill>
                            <a:srgbClr val="9999A9"/>
                          </a:solidFill>
                          <a:effectLst/>
                        </a:rPr>
                        <a:t>Aug</a:t>
                      </a:r>
                      <a:endParaRPr lang="en-US" sz="1400" b="1" i="0" u="none" strike="noStrike" dirty="0">
                        <a:solidFill>
                          <a:srgbClr val="9999A9"/>
                        </a:solidFill>
                        <a:effectLst/>
                        <a:latin typeface="Arial" panose="020B0604020202020204" pitchFamily="34" charset="0"/>
                        <a:cs typeface="Arial" panose="020B0604020202020204" pitchFamily="34" charset="0"/>
                      </a:endParaRPr>
                    </a:p>
                  </a:txBody>
                  <a:tcPr marL="71963" marR="71963" marT="71963" marB="71963" anchor="ctr">
                    <a:lnB w="28575" cap="flat" cmpd="sng" algn="ctr">
                      <a:solidFill>
                        <a:srgbClr val="9999A9"/>
                      </a:solidFill>
                      <a:prstDash val="solid"/>
                      <a:round/>
                      <a:headEnd type="none" w="med" len="med"/>
                      <a:tailEnd type="none" w="med" len="med"/>
                    </a:lnB>
                  </a:tcPr>
                </a:tc>
                <a:tc>
                  <a:txBody>
                    <a:bodyPr/>
                    <a:lstStyle/>
                    <a:p>
                      <a:pPr algn="ctr" fontAlgn="b"/>
                      <a:r>
                        <a:rPr lang="en-US" sz="1400" u="none" strike="noStrike" dirty="0">
                          <a:solidFill>
                            <a:srgbClr val="9999A9"/>
                          </a:solidFill>
                          <a:effectLst/>
                        </a:rPr>
                        <a:t>Sep</a:t>
                      </a:r>
                      <a:endParaRPr lang="en-US" sz="1400" b="1" i="0" u="none" strike="noStrike" dirty="0">
                        <a:solidFill>
                          <a:srgbClr val="9999A9"/>
                        </a:solidFill>
                        <a:effectLst/>
                        <a:latin typeface="Arial" panose="020B0604020202020204" pitchFamily="34" charset="0"/>
                        <a:cs typeface="Arial" panose="020B0604020202020204" pitchFamily="34" charset="0"/>
                      </a:endParaRPr>
                    </a:p>
                  </a:txBody>
                  <a:tcPr marL="71963" marR="71963" marT="71963" marB="71963" anchor="ctr">
                    <a:lnB w="28575" cap="flat" cmpd="sng" algn="ctr">
                      <a:solidFill>
                        <a:srgbClr val="9999A9"/>
                      </a:solidFill>
                      <a:prstDash val="solid"/>
                      <a:round/>
                      <a:headEnd type="none" w="med" len="med"/>
                      <a:tailEnd type="none" w="med" len="med"/>
                    </a:lnB>
                  </a:tcPr>
                </a:tc>
                <a:tc>
                  <a:txBody>
                    <a:bodyPr/>
                    <a:lstStyle/>
                    <a:p>
                      <a:pPr algn="ctr" fontAlgn="b"/>
                      <a:r>
                        <a:rPr lang="en-US" sz="1400" u="none" strike="noStrike" dirty="0">
                          <a:solidFill>
                            <a:srgbClr val="9999A9"/>
                          </a:solidFill>
                          <a:effectLst/>
                        </a:rPr>
                        <a:t>Oct</a:t>
                      </a:r>
                      <a:endParaRPr lang="en-US" sz="1400" b="1" i="0" u="none" strike="noStrike" dirty="0">
                        <a:solidFill>
                          <a:srgbClr val="9999A9"/>
                        </a:solidFill>
                        <a:effectLst/>
                        <a:latin typeface="Arial" panose="020B0604020202020204" pitchFamily="34" charset="0"/>
                        <a:cs typeface="Arial" panose="020B0604020202020204" pitchFamily="34" charset="0"/>
                      </a:endParaRPr>
                    </a:p>
                  </a:txBody>
                  <a:tcPr marL="71963" marR="71963" marT="71963" marB="71963" anchor="ctr">
                    <a:lnB w="28575" cap="flat" cmpd="sng" algn="ctr">
                      <a:solidFill>
                        <a:srgbClr val="9999A9"/>
                      </a:solidFill>
                      <a:prstDash val="solid"/>
                      <a:round/>
                      <a:headEnd type="none" w="med" len="med"/>
                      <a:tailEnd type="none" w="med" len="med"/>
                    </a:lnB>
                  </a:tcPr>
                </a:tc>
                <a:tc>
                  <a:txBody>
                    <a:bodyPr/>
                    <a:lstStyle/>
                    <a:p>
                      <a:pPr algn="ctr" fontAlgn="b"/>
                      <a:r>
                        <a:rPr lang="en-US" sz="1400" u="none" strike="noStrike" dirty="0">
                          <a:solidFill>
                            <a:srgbClr val="9999A9"/>
                          </a:solidFill>
                          <a:effectLst/>
                        </a:rPr>
                        <a:t>Nov</a:t>
                      </a:r>
                      <a:endParaRPr lang="en-US" sz="1400" b="1" i="0" u="none" strike="noStrike" dirty="0">
                        <a:solidFill>
                          <a:srgbClr val="9999A9"/>
                        </a:solidFill>
                        <a:effectLst/>
                        <a:latin typeface="Arial" panose="020B0604020202020204" pitchFamily="34" charset="0"/>
                        <a:cs typeface="Arial" panose="020B0604020202020204" pitchFamily="34" charset="0"/>
                      </a:endParaRPr>
                    </a:p>
                  </a:txBody>
                  <a:tcPr marL="71963" marR="71963" marT="71963" marB="71963" anchor="ctr">
                    <a:lnB w="28575" cap="flat" cmpd="sng" algn="ctr">
                      <a:solidFill>
                        <a:srgbClr val="9999A9"/>
                      </a:solidFill>
                      <a:prstDash val="solid"/>
                      <a:round/>
                      <a:headEnd type="none" w="med" len="med"/>
                      <a:tailEnd type="none" w="med" len="med"/>
                    </a:lnB>
                  </a:tcPr>
                </a:tc>
                <a:tc>
                  <a:txBody>
                    <a:bodyPr/>
                    <a:lstStyle/>
                    <a:p>
                      <a:pPr algn="ctr" fontAlgn="b"/>
                      <a:r>
                        <a:rPr lang="en-US" sz="1400" u="none" strike="noStrike" dirty="0">
                          <a:solidFill>
                            <a:srgbClr val="9999A9"/>
                          </a:solidFill>
                          <a:effectLst/>
                        </a:rPr>
                        <a:t>Dec</a:t>
                      </a:r>
                      <a:endParaRPr lang="en-US" sz="1400" b="1" i="0" u="none" strike="noStrike" dirty="0">
                        <a:solidFill>
                          <a:srgbClr val="9999A9"/>
                        </a:solidFill>
                        <a:effectLst/>
                        <a:latin typeface="Arial" panose="020B0604020202020204" pitchFamily="34" charset="0"/>
                        <a:cs typeface="Arial" panose="020B0604020202020204" pitchFamily="34" charset="0"/>
                      </a:endParaRPr>
                    </a:p>
                  </a:txBody>
                  <a:tcPr marL="71963" marR="71963" marT="71963" marB="71963" anchor="ctr">
                    <a:lnB w="28575" cap="flat" cmpd="sng" algn="ctr">
                      <a:solidFill>
                        <a:srgbClr val="9999A9"/>
                      </a:solidFill>
                      <a:prstDash val="solid"/>
                      <a:round/>
                      <a:headEnd type="none" w="med" len="med"/>
                      <a:tailEnd type="none" w="med" len="med"/>
                    </a:lnB>
                  </a:tcPr>
                </a:tc>
                <a:extLst>
                  <a:ext uri="{0D108BD9-81ED-4DB2-BD59-A6C34878D82A}">
                    <a16:rowId xmlns:a16="http://schemas.microsoft.com/office/drawing/2014/main" val="10000"/>
                  </a:ext>
                </a:extLst>
              </a:tr>
              <a:tr h="485747">
                <a:tc>
                  <a:txBody>
                    <a:bodyPr/>
                    <a:lstStyle/>
                    <a:p>
                      <a:r>
                        <a:rPr kumimoji="0" lang="en-US" sz="1400" u="none" strike="noStrike" kern="1200" cap="none" spc="0" normalizeH="0" baseline="0" noProof="0" dirty="0">
                          <a:ln>
                            <a:noFill/>
                          </a:ln>
                          <a:solidFill>
                            <a:srgbClr val="9999A9"/>
                          </a:solidFill>
                          <a:effectLst/>
                          <a:uLnTx/>
                          <a:uFillTx/>
                        </a:rPr>
                        <a:t>At vero eos et accusam</a:t>
                      </a:r>
                      <a:endParaRPr lang="en-US" sz="1400" b="0" dirty="0">
                        <a:solidFill>
                          <a:srgbClr val="9999A9"/>
                        </a:solidFill>
                      </a:endParaRPr>
                    </a:p>
                  </a:txBody>
                  <a:tcPr marL="0" marR="72000" marT="71963" marB="71963" anchor="ctr">
                    <a:lnT w="28575" cap="flat" cmpd="sng" algn="ctr">
                      <a:solidFill>
                        <a:srgbClr val="9999A9"/>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endParaRPr lang="en-US" sz="1800" dirty="0">
                        <a:solidFill>
                          <a:srgbClr val="9999A9"/>
                        </a:solidFill>
                      </a:endParaRPr>
                    </a:p>
                  </a:txBody>
                  <a:tcPr marL="71963" marR="71963" marT="71963" marB="71963">
                    <a:lnT w="28575" cap="flat" cmpd="sng" algn="ctr">
                      <a:solidFill>
                        <a:srgbClr val="9999A9"/>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9999A9"/>
                        </a:solidFill>
                      </a:endParaRPr>
                    </a:p>
                  </a:txBody>
                  <a:tcPr marL="71963" marR="71963" marT="71963" marB="71963">
                    <a:lnT w="28575" cap="flat" cmpd="sng" algn="ctr">
                      <a:solidFill>
                        <a:srgbClr val="9999A9"/>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endParaRPr lang="en-US" sz="1800" dirty="0">
                        <a:solidFill>
                          <a:srgbClr val="9999A9"/>
                        </a:solidFill>
                      </a:endParaRPr>
                    </a:p>
                  </a:txBody>
                  <a:tcPr marL="71963" marR="71963" marT="71963" marB="71963">
                    <a:lnT w="28575" cap="flat" cmpd="sng" algn="ctr">
                      <a:solidFill>
                        <a:srgbClr val="9999A9"/>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9999A9"/>
                        </a:solidFill>
                      </a:endParaRPr>
                    </a:p>
                  </a:txBody>
                  <a:tcPr marL="71963" marR="71963" marT="71963" marB="71963">
                    <a:lnT w="28575" cap="flat" cmpd="sng" algn="ctr">
                      <a:solidFill>
                        <a:srgbClr val="9999A9"/>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endParaRPr lang="de-DE" sz="1200" dirty="0">
                        <a:solidFill>
                          <a:srgbClr val="9999A9"/>
                        </a:solidFill>
                      </a:endParaRPr>
                    </a:p>
                  </a:txBody>
                  <a:tcPr marL="71963" marR="71963" marT="71963" marB="71963">
                    <a:lnT w="28575" cap="flat" cmpd="sng" algn="ctr">
                      <a:solidFill>
                        <a:srgbClr val="9999A9"/>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9999A9"/>
                        </a:solidFill>
                      </a:endParaRPr>
                    </a:p>
                  </a:txBody>
                  <a:tcPr marL="71963" marR="71963" marT="71963" marB="71963">
                    <a:lnT w="28575" cap="flat" cmpd="sng" algn="ctr">
                      <a:solidFill>
                        <a:srgbClr val="9999A9"/>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endParaRPr lang="de-DE" sz="1200" dirty="0">
                        <a:solidFill>
                          <a:srgbClr val="9999A9"/>
                        </a:solidFill>
                      </a:endParaRPr>
                    </a:p>
                  </a:txBody>
                  <a:tcPr marL="71963" marR="71963" marT="71963" marB="71963">
                    <a:lnT w="28575" cap="flat" cmpd="sng" algn="ctr">
                      <a:solidFill>
                        <a:srgbClr val="9999A9"/>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9999A9"/>
                        </a:solidFill>
                      </a:endParaRPr>
                    </a:p>
                  </a:txBody>
                  <a:tcPr marL="71963" marR="71963" marT="71963" marB="71963">
                    <a:lnT w="28575" cap="flat" cmpd="sng" algn="ctr">
                      <a:solidFill>
                        <a:srgbClr val="9999A9"/>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endParaRPr lang="de-DE" sz="1200" dirty="0">
                        <a:solidFill>
                          <a:srgbClr val="9999A9"/>
                        </a:solidFill>
                      </a:endParaRPr>
                    </a:p>
                  </a:txBody>
                  <a:tcPr marL="71963" marR="71963" marT="71963" marB="71963">
                    <a:lnT w="28575" cap="flat" cmpd="sng" algn="ctr">
                      <a:solidFill>
                        <a:srgbClr val="9999A9"/>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9999A9"/>
                        </a:solidFill>
                      </a:endParaRPr>
                    </a:p>
                  </a:txBody>
                  <a:tcPr marL="71963" marR="71963" marT="71963" marB="71963">
                    <a:lnT w="28575" cap="flat" cmpd="sng" algn="ctr">
                      <a:solidFill>
                        <a:srgbClr val="9999A9"/>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endParaRPr lang="de-DE" sz="1200" dirty="0">
                        <a:solidFill>
                          <a:srgbClr val="9999A9"/>
                        </a:solidFill>
                      </a:endParaRPr>
                    </a:p>
                  </a:txBody>
                  <a:tcPr marL="71963" marR="71963" marT="71963" marB="71963">
                    <a:lnT w="28575" cap="flat" cmpd="sng" algn="ctr">
                      <a:solidFill>
                        <a:srgbClr val="9999A9"/>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9999A9"/>
                        </a:solidFill>
                      </a:endParaRPr>
                    </a:p>
                  </a:txBody>
                  <a:tcPr marL="71963" marR="71963" marT="71963" marB="71963">
                    <a:lnT w="28575" cap="flat" cmpd="sng" algn="ctr">
                      <a:solidFill>
                        <a:srgbClr val="9999A9"/>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extLst>
                  <a:ext uri="{0D108BD9-81ED-4DB2-BD59-A6C34878D82A}">
                    <a16:rowId xmlns:a16="http://schemas.microsoft.com/office/drawing/2014/main" val="10001"/>
                  </a:ext>
                </a:extLst>
              </a:tr>
              <a:tr h="48574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rgbClr val="9999A9"/>
                          </a:solidFill>
                          <a:effectLst/>
                          <a:uLnTx/>
                          <a:uFillTx/>
                        </a:rPr>
                        <a:t>Cras ultricies mi eu</a:t>
                      </a:r>
                      <a:endParaRPr lang="en-US" sz="1400" b="0" dirty="0">
                        <a:solidFill>
                          <a:srgbClr val="9999A9"/>
                        </a:solidFill>
                      </a:endParaRPr>
                    </a:p>
                  </a:txBody>
                  <a:tcPr marL="0" marR="7200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a:endParaRPr lang="de-DE" sz="1200" kern="1200" dirty="0">
                        <a:solidFill>
                          <a:srgbClr val="9999A9"/>
                        </a:solidFill>
                        <a:latin typeface="+mn-lt"/>
                        <a:ea typeface="+mn-ea"/>
                        <a:cs typeface="+mn-cs"/>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extLst>
                  <a:ext uri="{0D108BD9-81ED-4DB2-BD59-A6C34878D82A}">
                    <a16:rowId xmlns:a16="http://schemas.microsoft.com/office/drawing/2014/main" val="10002"/>
                  </a:ext>
                </a:extLst>
              </a:tr>
              <a:tr h="48574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s-ES" sz="1400" u="none" strike="noStrike" kern="1200" cap="none" spc="0" normalizeH="0" baseline="0" noProof="0" dirty="0">
                          <a:ln>
                            <a:noFill/>
                          </a:ln>
                          <a:solidFill>
                            <a:srgbClr val="9999A9"/>
                          </a:solidFill>
                          <a:effectLst/>
                          <a:uLnTx/>
                          <a:uFillTx/>
                        </a:rPr>
                        <a:t>Duis arcu tortor, eget</a:t>
                      </a:r>
                      <a:endParaRPr lang="en-US" sz="1400" b="0" dirty="0">
                        <a:solidFill>
                          <a:srgbClr val="9999A9"/>
                        </a:solidFill>
                      </a:endParaRPr>
                    </a:p>
                  </a:txBody>
                  <a:tcPr marL="0" marR="7200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a:endParaRPr lang="de-DE" sz="1200" kern="1200" dirty="0">
                        <a:solidFill>
                          <a:srgbClr val="9999A9"/>
                        </a:solidFill>
                        <a:latin typeface="+mn-lt"/>
                        <a:ea typeface="+mn-ea"/>
                        <a:cs typeface="+mn-cs"/>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extLst>
                  <a:ext uri="{0D108BD9-81ED-4DB2-BD59-A6C34878D82A}">
                    <a16:rowId xmlns:a16="http://schemas.microsoft.com/office/drawing/2014/main" val="10003"/>
                  </a:ext>
                </a:extLst>
              </a:tr>
              <a:tr h="48574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rgbClr val="9999A9"/>
                          </a:solidFill>
                          <a:effectLst/>
                          <a:uLnTx/>
                          <a:uFillTx/>
                        </a:rPr>
                        <a:t>Phasellus nec sem</a:t>
                      </a:r>
                      <a:endParaRPr lang="en-US" sz="1400" b="0" dirty="0">
                        <a:solidFill>
                          <a:srgbClr val="9999A9"/>
                        </a:solidFill>
                      </a:endParaRPr>
                    </a:p>
                  </a:txBody>
                  <a:tcPr marL="0" marR="7200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extLst>
                  <a:ext uri="{0D108BD9-81ED-4DB2-BD59-A6C34878D82A}">
                    <a16:rowId xmlns:a16="http://schemas.microsoft.com/office/drawing/2014/main" val="10004"/>
                  </a:ext>
                </a:extLst>
              </a:tr>
              <a:tr h="48574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rgbClr val="9999A9"/>
                          </a:solidFill>
                          <a:effectLst/>
                          <a:uLnTx/>
                          <a:uFillTx/>
                        </a:rPr>
                        <a:t>At vero eos et accusam</a:t>
                      </a:r>
                      <a:endParaRPr lang="en-US" sz="1400" b="0" dirty="0">
                        <a:solidFill>
                          <a:srgbClr val="9999A9"/>
                        </a:solidFill>
                      </a:endParaRPr>
                    </a:p>
                  </a:txBody>
                  <a:tcPr marL="0" marR="7200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endParaRPr lang="en-US" sz="18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extLst>
                  <a:ext uri="{0D108BD9-81ED-4DB2-BD59-A6C34878D82A}">
                    <a16:rowId xmlns:a16="http://schemas.microsoft.com/office/drawing/2014/main" val="10005"/>
                  </a:ext>
                </a:extLst>
              </a:tr>
              <a:tr h="48574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rgbClr val="9999A9"/>
                          </a:solidFill>
                          <a:effectLst/>
                          <a:uLnTx/>
                          <a:uFillTx/>
                        </a:rPr>
                        <a:t>At vero eos et accusam</a:t>
                      </a:r>
                      <a:endParaRPr lang="en-US" sz="1400" b="0" dirty="0">
                        <a:solidFill>
                          <a:srgbClr val="9999A9"/>
                        </a:solidFill>
                      </a:endParaRPr>
                    </a:p>
                  </a:txBody>
                  <a:tcPr marL="0" marR="7200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extLst>
                  <a:ext uri="{0D108BD9-81ED-4DB2-BD59-A6C34878D82A}">
                    <a16:rowId xmlns:a16="http://schemas.microsoft.com/office/drawing/2014/main" val="10006"/>
                  </a:ext>
                </a:extLst>
              </a:tr>
              <a:tr h="48574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rgbClr val="9999A9"/>
                          </a:solidFill>
                          <a:effectLst/>
                          <a:uLnTx/>
                          <a:uFillTx/>
                        </a:rPr>
                        <a:t>Cras ultricies mi eu</a:t>
                      </a:r>
                      <a:endParaRPr lang="en-US" sz="1400" b="0" dirty="0">
                        <a:solidFill>
                          <a:srgbClr val="9999A9"/>
                        </a:solidFill>
                      </a:endParaRPr>
                    </a:p>
                  </a:txBody>
                  <a:tcPr marL="0" marR="7200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extLst>
                  <a:ext uri="{0D108BD9-81ED-4DB2-BD59-A6C34878D82A}">
                    <a16:rowId xmlns:a16="http://schemas.microsoft.com/office/drawing/2014/main" val="10008"/>
                  </a:ext>
                </a:extLst>
              </a:tr>
              <a:tr h="48574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rgbClr val="9999A9"/>
                          </a:solidFill>
                          <a:effectLst/>
                          <a:uLnTx/>
                          <a:uFillTx/>
                        </a:rPr>
                        <a:t>Phasellus nec sem</a:t>
                      </a:r>
                      <a:endParaRPr lang="en-US" sz="1400" b="0" dirty="0">
                        <a:solidFill>
                          <a:srgbClr val="9999A9"/>
                        </a:solidFill>
                      </a:endParaRPr>
                    </a:p>
                  </a:txBody>
                  <a:tcPr marL="0" marR="7200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algn="ctr"/>
                      <a:endParaRPr lang="de-DE" sz="120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333353"/>
                    </a:solidFill>
                  </a:tcPr>
                </a:tc>
                <a:extLst>
                  <a:ext uri="{0D108BD9-81ED-4DB2-BD59-A6C34878D82A}">
                    <a16:rowId xmlns:a16="http://schemas.microsoft.com/office/drawing/2014/main" val="10009"/>
                  </a:ext>
                </a:extLst>
              </a:tr>
            </a:tbl>
          </a:graphicData>
        </a:graphic>
      </p:graphicFrame>
      <p:sp>
        <p:nvSpPr>
          <p:cNvPr id="27" name="Rectangle 66">
            <a:extLst>
              <a:ext uri="{FF2B5EF4-FFF2-40B4-BE49-F238E27FC236}">
                <a16:creationId xmlns:a16="http://schemas.microsoft.com/office/drawing/2014/main" id="{8CB4731E-35D9-4555-A630-876CA9678B9D}"/>
              </a:ext>
            </a:extLst>
          </p:cNvPr>
          <p:cNvSpPr>
            <a:spLocks noChangeArrowheads="1"/>
          </p:cNvSpPr>
          <p:nvPr>
            <p:custDataLst>
              <p:tags r:id="rId2"/>
            </p:custDataLst>
          </p:nvPr>
        </p:nvSpPr>
        <p:spPr bwMode="auto">
          <a:xfrm>
            <a:off x="3830400" y="2557800"/>
            <a:ext cx="1512000" cy="144000"/>
          </a:xfrm>
          <a:prstGeom prst="rect">
            <a:avLst/>
          </a:prstGeom>
          <a:solidFill>
            <a:srgbClr val="66667E"/>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sp>
        <p:nvSpPr>
          <p:cNvPr id="28" name="Rectangle 72">
            <a:extLst>
              <a:ext uri="{FF2B5EF4-FFF2-40B4-BE49-F238E27FC236}">
                <a16:creationId xmlns:a16="http://schemas.microsoft.com/office/drawing/2014/main" id="{DCAB21F4-1107-4F6B-B689-02D1806D70FB}"/>
              </a:ext>
            </a:extLst>
          </p:cNvPr>
          <p:cNvSpPr>
            <a:spLocks noChangeArrowheads="1"/>
          </p:cNvSpPr>
          <p:nvPr>
            <p:custDataLst>
              <p:tags r:id="rId3"/>
            </p:custDataLst>
          </p:nvPr>
        </p:nvSpPr>
        <p:spPr bwMode="auto">
          <a:xfrm>
            <a:off x="2714400" y="2071800"/>
            <a:ext cx="1728240" cy="144000"/>
          </a:xfrm>
          <a:prstGeom prst="rect">
            <a:avLst/>
          </a:prstGeom>
          <a:solidFill>
            <a:srgbClr val="66667E"/>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sp>
        <p:nvSpPr>
          <p:cNvPr id="30" name="Rectangle 72">
            <a:extLst>
              <a:ext uri="{FF2B5EF4-FFF2-40B4-BE49-F238E27FC236}">
                <a16:creationId xmlns:a16="http://schemas.microsoft.com/office/drawing/2014/main" id="{DD03C479-603A-45B6-9BA8-86890850CCA7}"/>
              </a:ext>
            </a:extLst>
          </p:cNvPr>
          <p:cNvSpPr>
            <a:spLocks noChangeArrowheads="1"/>
          </p:cNvSpPr>
          <p:nvPr>
            <p:custDataLst>
              <p:tags r:id="rId4"/>
            </p:custDataLst>
          </p:nvPr>
        </p:nvSpPr>
        <p:spPr bwMode="auto">
          <a:xfrm>
            <a:off x="4226400" y="3043800"/>
            <a:ext cx="1728240" cy="144000"/>
          </a:xfrm>
          <a:prstGeom prst="rect">
            <a:avLst/>
          </a:prstGeom>
          <a:solidFill>
            <a:srgbClr val="66667E"/>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sp>
        <p:nvSpPr>
          <p:cNvPr id="31" name="Rectangle 72">
            <a:extLst>
              <a:ext uri="{FF2B5EF4-FFF2-40B4-BE49-F238E27FC236}">
                <a16:creationId xmlns:a16="http://schemas.microsoft.com/office/drawing/2014/main" id="{6B43E4D5-ED62-44BC-8C55-5A67DA21A669}"/>
              </a:ext>
            </a:extLst>
          </p:cNvPr>
          <p:cNvSpPr>
            <a:spLocks noChangeArrowheads="1"/>
          </p:cNvSpPr>
          <p:nvPr>
            <p:custDataLst>
              <p:tags r:id="rId5"/>
            </p:custDataLst>
          </p:nvPr>
        </p:nvSpPr>
        <p:spPr bwMode="auto">
          <a:xfrm>
            <a:off x="4226400" y="3529800"/>
            <a:ext cx="1728240" cy="144000"/>
          </a:xfrm>
          <a:prstGeom prst="rect">
            <a:avLst/>
          </a:prstGeom>
          <a:solidFill>
            <a:srgbClr val="66667E"/>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sp>
        <p:nvSpPr>
          <p:cNvPr id="32" name="Rectangle 72">
            <a:extLst>
              <a:ext uri="{FF2B5EF4-FFF2-40B4-BE49-F238E27FC236}">
                <a16:creationId xmlns:a16="http://schemas.microsoft.com/office/drawing/2014/main" id="{22E740B7-40B9-4F86-BD62-01CC17EB7403}"/>
              </a:ext>
            </a:extLst>
          </p:cNvPr>
          <p:cNvSpPr>
            <a:spLocks noChangeArrowheads="1"/>
          </p:cNvSpPr>
          <p:nvPr>
            <p:custDataLst>
              <p:tags r:id="rId6"/>
            </p:custDataLst>
          </p:nvPr>
        </p:nvSpPr>
        <p:spPr bwMode="auto">
          <a:xfrm>
            <a:off x="4226400" y="4015800"/>
            <a:ext cx="1728240" cy="144000"/>
          </a:xfrm>
          <a:prstGeom prst="rect">
            <a:avLst/>
          </a:prstGeom>
          <a:solidFill>
            <a:srgbClr val="66667E"/>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sp>
        <p:nvSpPr>
          <p:cNvPr id="33" name="Rectangle 72">
            <a:extLst>
              <a:ext uri="{FF2B5EF4-FFF2-40B4-BE49-F238E27FC236}">
                <a16:creationId xmlns:a16="http://schemas.microsoft.com/office/drawing/2014/main" id="{A9591CF8-A1D2-4696-A111-2556261A2CEB}"/>
              </a:ext>
            </a:extLst>
          </p:cNvPr>
          <p:cNvSpPr>
            <a:spLocks noChangeArrowheads="1"/>
          </p:cNvSpPr>
          <p:nvPr>
            <p:custDataLst>
              <p:tags r:id="rId7"/>
            </p:custDataLst>
          </p:nvPr>
        </p:nvSpPr>
        <p:spPr bwMode="auto">
          <a:xfrm>
            <a:off x="5520766" y="4501800"/>
            <a:ext cx="1728240" cy="144000"/>
          </a:xfrm>
          <a:prstGeom prst="rect">
            <a:avLst/>
          </a:prstGeom>
          <a:solidFill>
            <a:srgbClr val="00FFB9"/>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sp>
        <p:nvSpPr>
          <p:cNvPr id="34" name="Rectangle 72">
            <a:extLst>
              <a:ext uri="{FF2B5EF4-FFF2-40B4-BE49-F238E27FC236}">
                <a16:creationId xmlns:a16="http://schemas.microsoft.com/office/drawing/2014/main" id="{C0556F4F-FD5A-40C8-9E55-62EE351DC59B}"/>
              </a:ext>
            </a:extLst>
          </p:cNvPr>
          <p:cNvSpPr>
            <a:spLocks noChangeArrowheads="1"/>
          </p:cNvSpPr>
          <p:nvPr>
            <p:custDataLst>
              <p:tags r:id="rId8"/>
            </p:custDataLst>
          </p:nvPr>
        </p:nvSpPr>
        <p:spPr bwMode="auto">
          <a:xfrm>
            <a:off x="6671780" y="4987800"/>
            <a:ext cx="2268000" cy="144000"/>
          </a:xfrm>
          <a:prstGeom prst="rect">
            <a:avLst/>
          </a:prstGeom>
          <a:solidFill>
            <a:srgbClr val="66667E"/>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sp>
        <p:nvSpPr>
          <p:cNvPr id="35" name="Rectangle 72">
            <a:extLst>
              <a:ext uri="{FF2B5EF4-FFF2-40B4-BE49-F238E27FC236}">
                <a16:creationId xmlns:a16="http://schemas.microsoft.com/office/drawing/2014/main" id="{C6EDF3DF-A41C-4356-A29F-7B34311FE8D0}"/>
              </a:ext>
            </a:extLst>
          </p:cNvPr>
          <p:cNvSpPr>
            <a:spLocks noChangeArrowheads="1"/>
          </p:cNvSpPr>
          <p:nvPr>
            <p:custDataLst>
              <p:tags r:id="rId9"/>
            </p:custDataLst>
          </p:nvPr>
        </p:nvSpPr>
        <p:spPr bwMode="auto">
          <a:xfrm>
            <a:off x="9140400" y="5473800"/>
            <a:ext cx="1134000" cy="144000"/>
          </a:xfrm>
          <a:prstGeom prst="rect">
            <a:avLst/>
          </a:prstGeom>
          <a:solidFill>
            <a:srgbClr val="00FFB9"/>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grpSp>
        <p:nvGrpSpPr>
          <p:cNvPr id="20" name="Group 24">
            <a:extLst>
              <a:ext uri="{FF2B5EF4-FFF2-40B4-BE49-F238E27FC236}">
                <a16:creationId xmlns:a16="http://schemas.microsoft.com/office/drawing/2014/main" id="{264C6BA6-A6C0-4147-A0F6-871E3DE11A37}"/>
              </a:ext>
            </a:extLst>
          </p:cNvPr>
          <p:cNvGrpSpPr/>
          <p:nvPr/>
        </p:nvGrpSpPr>
        <p:grpSpPr>
          <a:xfrm>
            <a:off x="3462225" y="1914525"/>
            <a:ext cx="735326" cy="4315371"/>
            <a:chOff x="3906629" y="1934986"/>
            <a:chExt cx="721352" cy="4190803"/>
          </a:xfrm>
        </p:grpSpPr>
        <p:sp>
          <p:nvSpPr>
            <p:cNvPr id="21" name="Rectangle 76">
              <a:extLst>
                <a:ext uri="{FF2B5EF4-FFF2-40B4-BE49-F238E27FC236}">
                  <a16:creationId xmlns:a16="http://schemas.microsoft.com/office/drawing/2014/main" id="{DB1E2C8F-0746-4C20-B694-35C3CF664582}"/>
                </a:ext>
              </a:extLst>
            </p:cNvPr>
            <p:cNvSpPr>
              <a:spLocks noChangeArrowheads="1"/>
            </p:cNvSpPr>
            <p:nvPr>
              <p:custDataLst>
                <p:tags r:id="rId10"/>
              </p:custDataLst>
            </p:nvPr>
          </p:nvSpPr>
          <p:spPr bwMode="auto">
            <a:xfrm>
              <a:off x="3906629" y="5899198"/>
              <a:ext cx="721352" cy="226591"/>
            </a:xfrm>
            <a:prstGeom prst="rect">
              <a:avLst/>
            </a:prstGeom>
            <a:noFill/>
            <a:ln>
              <a:noFill/>
            </a:ln>
            <a:effectLst/>
          </p:spPr>
          <p:txBody>
            <a:bodyPr wrap="none" lIns="0" tIns="72000" rIns="0" bIns="0" anchor="ctr">
              <a:spAutoFit/>
            </a:bodyP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spcBef>
                  <a:spcPct val="0"/>
                </a:spcBef>
                <a:buClrTx/>
                <a:buFontTx/>
                <a:buNone/>
              </a:pPr>
              <a:r>
                <a:rPr lang="en-US" altLang="de-DE" sz="1000" dirty="0">
                  <a:latin typeface="+mn-lt"/>
                </a:rPr>
                <a:t>XX.XX.20XX</a:t>
              </a:r>
            </a:p>
          </p:txBody>
        </p:sp>
        <p:grpSp>
          <p:nvGrpSpPr>
            <p:cNvPr id="22" name="Group 26">
              <a:extLst>
                <a:ext uri="{FF2B5EF4-FFF2-40B4-BE49-F238E27FC236}">
                  <a16:creationId xmlns:a16="http://schemas.microsoft.com/office/drawing/2014/main" id="{0E017786-2EB6-485B-B431-821FBF97F2A0}"/>
                </a:ext>
              </a:extLst>
            </p:cNvPr>
            <p:cNvGrpSpPr/>
            <p:nvPr/>
          </p:nvGrpSpPr>
          <p:grpSpPr>
            <a:xfrm>
              <a:off x="4183715" y="1934986"/>
              <a:ext cx="160950" cy="3954687"/>
              <a:chOff x="4183715" y="1934986"/>
              <a:chExt cx="160950" cy="3954687"/>
            </a:xfrm>
          </p:grpSpPr>
          <p:sp>
            <p:nvSpPr>
              <p:cNvPr id="23" name="Line 64">
                <a:extLst>
                  <a:ext uri="{FF2B5EF4-FFF2-40B4-BE49-F238E27FC236}">
                    <a16:creationId xmlns:a16="http://schemas.microsoft.com/office/drawing/2014/main" id="{9BA20331-4FCE-4FB9-AEF8-CBB5584C030A}"/>
                  </a:ext>
                </a:extLst>
              </p:cNvPr>
              <p:cNvSpPr>
                <a:spLocks noChangeShapeType="1"/>
              </p:cNvSpPr>
              <p:nvPr>
                <p:custDataLst>
                  <p:tags r:id="rId11"/>
                </p:custDataLst>
              </p:nvPr>
            </p:nvSpPr>
            <p:spPr bwMode="gray">
              <a:xfrm flipH="1">
                <a:off x="4263375" y="1934986"/>
                <a:ext cx="0" cy="3861869"/>
              </a:xfrm>
              <a:prstGeom prst="line">
                <a:avLst/>
              </a:prstGeom>
              <a:noFill/>
              <a:ln w="19050">
                <a:solidFill>
                  <a:schemeClr val="tx1"/>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24" name="AutoShape 74">
                <a:extLst>
                  <a:ext uri="{FF2B5EF4-FFF2-40B4-BE49-F238E27FC236}">
                    <a16:creationId xmlns:a16="http://schemas.microsoft.com/office/drawing/2014/main" id="{1A756046-56A0-4E87-8FC6-7C8F7F265D61}"/>
                  </a:ext>
                </a:extLst>
              </p:cNvPr>
              <p:cNvSpPr>
                <a:spLocks noChangeArrowheads="1"/>
              </p:cNvSpPr>
              <p:nvPr>
                <p:custDataLst>
                  <p:tags r:id="rId12"/>
                </p:custDataLst>
              </p:nvPr>
            </p:nvSpPr>
            <p:spPr bwMode="auto">
              <a:xfrm>
                <a:off x="4183715" y="5784898"/>
                <a:ext cx="160950" cy="104775"/>
              </a:xfrm>
              <a:prstGeom prst="triangle">
                <a:avLst>
                  <a:gd name="adj" fmla="val 50000"/>
                </a:avLst>
              </a:prstGeom>
              <a:solidFill>
                <a:schemeClr val="tx1"/>
              </a:solidFill>
              <a:ln w="19050">
                <a:noFill/>
                <a:miter lim="800000"/>
                <a:headEnd/>
                <a:tailEnd/>
              </a:ln>
              <a:effectLst/>
            </p:spPr>
            <p:txBody>
              <a:bodyPr wrap="none"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grpSp>
      </p:grpSp>
    </p:spTree>
    <p:extLst>
      <p:ext uri="{BB962C8B-B14F-4D97-AF65-F5344CB8AC3E}">
        <p14:creationId xmlns:p14="http://schemas.microsoft.com/office/powerpoint/2010/main" val="360381069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2"/>
          <p:cNvSpPr>
            <a:spLocks noGrp="1" noChangeArrowheads="1"/>
          </p:cNvSpPr>
          <p:nvPr>
            <p:ph type="title"/>
            <p:custDataLst>
              <p:tags r:id="rId1"/>
            </p:custDataLst>
          </p:nvPr>
        </p:nvSpPr>
        <p:spPr>
          <a:xfrm>
            <a:off x="410400" y="478800"/>
            <a:ext cx="9863997" cy="576000"/>
          </a:xfrm>
        </p:spPr>
        <p:txBody>
          <a:bodyPr/>
          <a:lstStyle/>
          <a:p>
            <a:r>
              <a:rPr lang="en-US" dirty="0"/>
              <a:t>Project timeline – detailed</a:t>
            </a:r>
            <a:endParaRPr lang="en-US" altLang="de-DE" dirty="0"/>
          </a:p>
        </p:txBody>
      </p:sp>
      <p:graphicFrame>
        <p:nvGraphicFramePr>
          <p:cNvPr id="88153" name="Rectangle 90" hidden="1"/>
          <p:cNvGraphicFramePr>
            <a:graphicFrameLocks/>
          </p:cNvGraphicFramePr>
          <p:nvPr>
            <p:custDataLst>
              <p:tags r:id="rId2"/>
            </p:custDataLst>
          </p:nvPr>
        </p:nvGraphicFramePr>
        <p:xfrm>
          <a:off x="0" y="1785"/>
          <a:ext cx="211667" cy="158667"/>
        </p:xfrm>
        <a:graphic>
          <a:graphicData uri="http://schemas.openxmlformats.org/presentationml/2006/ole">
            <mc:AlternateContent xmlns:mc="http://schemas.openxmlformats.org/markup-compatibility/2006">
              <mc:Choice xmlns:v="urn:schemas-microsoft-com:vml" Requires="v">
                <p:oleObj r:id="rId20" imgW="0" imgH="0" progId="">
                  <p:embed/>
                </p:oleObj>
              </mc:Choice>
              <mc:Fallback>
                <p:oleObj r:id="rId20" imgW="0" imgH="0" progId="">
                  <p:embed/>
                  <p:pic>
                    <p:nvPicPr>
                      <p:cNvPr id="88153" name="Rectangle 90"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785"/>
                        <a:ext cx="211667" cy="15866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8154" name="Rectangle 91" hidden="1"/>
          <p:cNvSpPr>
            <a:spLocks noChangeArrowheads="1"/>
          </p:cNvSpPr>
          <p:nvPr>
            <p:custDataLst>
              <p:tags r:id="rId3"/>
            </p:custDataLst>
          </p:nvPr>
        </p:nvSpPr>
        <p:spPr bwMode="auto">
          <a:xfrm>
            <a:off x="0" y="1785"/>
            <a:ext cx="211667" cy="158667"/>
          </a:xfrm>
          <a:prstGeom prst="rect">
            <a:avLst/>
          </a:prstGeom>
          <a:solidFill>
            <a:srgbClr val="99CC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6493" tIns="0" rIns="36493"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lnSpc>
                <a:spcPct val="90000"/>
              </a:lnSpc>
              <a:spcBef>
                <a:spcPct val="0"/>
              </a:spcBef>
              <a:buClrTx/>
              <a:buFontTx/>
              <a:buNone/>
            </a:pPr>
            <a:r>
              <a:rPr lang="de-DE" altLang="de-DE" sz="999" dirty="0">
                <a:latin typeface="ArialS" pitchFamily="34" charset="0"/>
              </a:rPr>
              <a:t>19%</a:t>
            </a:r>
          </a:p>
        </p:txBody>
      </p:sp>
      <p:graphicFrame>
        <p:nvGraphicFramePr>
          <p:cNvPr id="91" name="Group 3"/>
          <p:cNvGraphicFramePr>
            <a:graphicFrameLocks noGrp="1"/>
          </p:cNvGraphicFramePr>
          <p:nvPr>
            <p:extLst>
              <p:ext uri="{D42A27DB-BD31-4B8C-83A1-F6EECF244321}">
                <p14:modId xmlns:p14="http://schemas.microsoft.com/office/powerpoint/2010/main" val="849099783"/>
              </p:ext>
            </p:extLst>
          </p:nvPr>
        </p:nvGraphicFramePr>
        <p:xfrm>
          <a:off x="410400" y="1415849"/>
          <a:ext cx="11376000" cy="4497658"/>
        </p:xfrm>
        <a:graphic>
          <a:graphicData uri="http://schemas.openxmlformats.org/drawingml/2006/table">
            <a:tbl>
              <a:tblPr>
                <a:tableStyleId>{0E3FDE45-AF77-4B5C-9715-49D594BDF05E}</a:tableStyleId>
              </a:tblPr>
              <a:tblGrid>
                <a:gridCol w="2016000">
                  <a:extLst>
                    <a:ext uri="{9D8B030D-6E8A-4147-A177-3AD203B41FA5}">
                      <a16:colId xmlns:a16="http://schemas.microsoft.com/office/drawing/2014/main" val="20000"/>
                    </a:ext>
                  </a:extLst>
                </a:gridCol>
                <a:gridCol w="360000">
                  <a:extLst>
                    <a:ext uri="{9D8B030D-6E8A-4147-A177-3AD203B41FA5}">
                      <a16:colId xmlns:a16="http://schemas.microsoft.com/office/drawing/2014/main" val="20001"/>
                    </a:ext>
                  </a:extLst>
                </a:gridCol>
                <a:gridCol w="360000">
                  <a:extLst>
                    <a:ext uri="{9D8B030D-6E8A-4147-A177-3AD203B41FA5}">
                      <a16:colId xmlns:a16="http://schemas.microsoft.com/office/drawing/2014/main" val="20002"/>
                    </a:ext>
                  </a:extLst>
                </a:gridCol>
                <a:gridCol w="360000">
                  <a:extLst>
                    <a:ext uri="{9D8B030D-6E8A-4147-A177-3AD203B41FA5}">
                      <a16:colId xmlns:a16="http://schemas.microsoft.com/office/drawing/2014/main" val="20003"/>
                    </a:ext>
                  </a:extLst>
                </a:gridCol>
                <a:gridCol w="360000">
                  <a:extLst>
                    <a:ext uri="{9D8B030D-6E8A-4147-A177-3AD203B41FA5}">
                      <a16:colId xmlns:a16="http://schemas.microsoft.com/office/drawing/2014/main" val="20004"/>
                    </a:ext>
                  </a:extLst>
                </a:gridCol>
                <a:gridCol w="360000">
                  <a:extLst>
                    <a:ext uri="{9D8B030D-6E8A-4147-A177-3AD203B41FA5}">
                      <a16:colId xmlns:a16="http://schemas.microsoft.com/office/drawing/2014/main" val="20006"/>
                    </a:ext>
                  </a:extLst>
                </a:gridCol>
                <a:gridCol w="360000">
                  <a:extLst>
                    <a:ext uri="{9D8B030D-6E8A-4147-A177-3AD203B41FA5}">
                      <a16:colId xmlns:a16="http://schemas.microsoft.com/office/drawing/2014/main" val="20007"/>
                    </a:ext>
                  </a:extLst>
                </a:gridCol>
                <a:gridCol w="360000">
                  <a:extLst>
                    <a:ext uri="{9D8B030D-6E8A-4147-A177-3AD203B41FA5}">
                      <a16:colId xmlns:a16="http://schemas.microsoft.com/office/drawing/2014/main" val="20008"/>
                    </a:ext>
                  </a:extLst>
                </a:gridCol>
                <a:gridCol w="360000">
                  <a:extLst>
                    <a:ext uri="{9D8B030D-6E8A-4147-A177-3AD203B41FA5}">
                      <a16:colId xmlns:a16="http://schemas.microsoft.com/office/drawing/2014/main" val="3003269114"/>
                    </a:ext>
                  </a:extLst>
                </a:gridCol>
                <a:gridCol w="360000">
                  <a:extLst>
                    <a:ext uri="{9D8B030D-6E8A-4147-A177-3AD203B41FA5}">
                      <a16:colId xmlns:a16="http://schemas.microsoft.com/office/drawing/2014/main" val="20009"/>
                    </a:ext>
                  </a:extLst>
                </a:gridCol>
                <a:gridCol w="360000">
                  <a:extLst>
                    <a:ext uri="{9D8B030D-6E8A-4147-A177-3AD203B41FA5}">
                      <a16:colId xmlns:a16="http://schemas.microsoft.com/office/drawing/2014/main" val="20010"/>
                    </a:ext>
                  </a:extLst>
                </a:gridCol>
                <a:gridCol w="360000">
                  <a:extLst>
                    <a:ext uri="{9D8B030D-6E8A-4147-A177-3AD203B41FA5}">
                      <a16:colId xmlns:a16="http://schemas.microsoft.com/office/drawing/2014/main" val="20011"/>
                    </a:ext>
                  </a:extLst>
                </a:gridCol>
                <a:gridCol w="360000">
                  <a:extLst>
                    <a:ext uri="{9D8B030D-6E8A-4147-A177-3AD203B41FA5}">
                      <a16:colId xmlns:a16="http://schemas.microsoft.com/office/drawing/2014/main" val="20012"/>
                    </a:ext>
                  </a:extLst>
                </a:gridCol>
                <a:gridCol w="360000">
                  <a:extLst>
                    <a:ext uri="{9D8B030D-6E8A-4147-A177-3AD203B41FA5}">
                      <a16:colId xmlns:a16="http://schemas.microsoft.com/office/drawing/2014/main" val="20013"/>
                    </a:ext>
                  </a:extLst>
                </a:gridCol>
                <a:gridCol w="360000">
                  <a:extLst>
                    <a:ext uri="{9D8B030D-6E8A-4147-A177-3AD203B41FA5}">
                      <a16:colId xmlns:a16="http://schemas.microsoft.com/office/drawing/2014/main" val="20014"/>
                    </a:ext>
                  </a:extLst>
                </a:gridCol>
                <a:gridCol w="360000">
                  <a:extLst>
                    <a:ext uri="{9D8B030D-6E8A-4147-A177-3AD203B41FA5}">
                      <a16:colId xmlns:a16="http://schemas.microsoft.com/office/drawing/2014/main" val="516571828"/>
                    </a:ext>
                  </a:extLst>
                </a:gridCol>
                <a:gridCol w="360000">
                  <a:extLst>
                    <a:ext uri="{9D8B030D-6E8A-4147-A177-3AD203B41FA5}">
                      <a16:colId xmlns:a16="http://schemas.microsoft.com/office/drawing/2014/main" val="2676584514"/>
                    </a:ext>
                  </a:extLst>
                </a:gridCol>
                <a:gridCol w="360000">
                  <a:extLst>
                    <a:ext uri="{9D8B030D-6E8A-4147-A177-3AD203B41FA5}">
                      <a16:colId xmlns:a16="http://schemas.microsoft.com/office/drawing/2014/main" val="3366357171"/>
                    </a:ext>
                  </a:extLst>
                </a:gridCol>
                <a:gridCol w="360000">
                  <a:extLst>
                    <a:ext uri="{9D8B030D-6E8A-4147-A177-3AD203B41FA5}">
                      <a16:colId xmlns:a16="http://schemas.microsoft.com/office/drawing/2014/main" val="1837459430"/>
                    </a:ext>
                  </a:extLst>
                </a:gridCol>
                <a:gridCol w="360000">
                  <a:extLst>
                    <a:ext uri="{9D8B030D-6E8A-4147-A177-3AD203B41FA5}">
                      <a16:colId xmlns:a16="http://schemas.microsoft.com/office/drawing/2014/main" val="428055916"/>
                    </a:ext>
                  </a:extLst>
                </a:gridCol>
                <a:gridCol w="360000">
                  <a:extLst>
                    <a:ext uri="{9D8B030D-6E8A-4147-A177-3AD203B41FA5}">
                      <a16:colId xmlns:a16="http://schemas.microsoft.com/office/drawing/2014/main" val="520531829"/>
                    </a:ext>
                  </a:extLst>
                </a:gridCol>
                <a:gridCol w="360000">
                  <a:extLst>
                    <a:ext uri="{9D8B030D-6E8A-4147-A177-3AD203B41FA5}">
                      <a16:colId xmlns:a16="http://schemas.microsoft.com/office/drawing/2014/main" val="938072656"/>
                    </a:ext>
                  </a:extLst>
                </a:gridCol>
                <a:gridCol w="360000">
                  <a:extLst>
                    <a:ext uri="{9D8B030D-6E8A-4147-A177-3AD203B41FA5}">
                      <a16:colId xmlns:a16="http://schemas.microsoft.com/office/drawing/2014/main" val="3544878487"/>
                    </a:ext>
                  </a:extLst>
                </a:gridCol>
                <a:gridCol w="360000">
                  <a:extLst>
                    <a:ext uri="{9D8B030D-6E8A-4147-A177-3AD203B41FA5}">
                      <a16:colId xmlns:a16="http://schemas.microsoft.com/office/drawing/2014/main" val="139179865"/>
                    </a:ext>
                  </a:extLst>
                </a:gridCol>
                <a:gridCol w="360000">
                  <a:extLst>
                    <a:ext uri="{9D8B030D-6E8A-4147-A177-3AD203B41FA5}">
                      <a16:colId xmlns:a16="http://schemas.microsoft.com/office/drawing/2014/main" val="1703050402"/>
                    </a:ext>
                  </a:extLst>
                </a:gridCol>
                <a:gridCol w="360000">
                  <a:extLst>
                    <a:ext uri="{9D8B030D-6E8A-4147-A177-3AD203B41FA5}">
                      <a16:colId xmlns:a16="http://schemas.microsoft.com/office/drawing/2014/main" val="3279812485"/>
                    </a:ext>
                  </a:extLst>
                </a:gridCol>
                <a:gridCol w="360000">
                  <a:extLst>
                    <a:ext uri="{9D8B030D-6E8A-4147-A177-3AD203B41FA5}">
                      <a16:colId xmlns:a16="http://schemas.microsoft.com/office/drawing/2014/main" val="1904613750"/>
                    </a:ext>
                  </a:extLst>
                </a:gridCol>
              </a:tblGrid>
              <a:tr h="305841">
                <a:tc rowSpan="2">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797050" algn="r"/>
                        </a:tabLst>
                      </a:pPr>
                      <a:r>
                        <a:rPr kumimoji="0" lang="es-ES" sz="1100" b="1" u="none" strike="noStrike" cap="none" normalizeH="0" baseline="0" noProof="0" dirty="0">
                          <a:ln>
                            <a:noFill/>
                          </a:ln>
                          <a:effectLst/>
                        </a:rPr>
                        <a:t>Duis arcu eget</a:t>
                      </a:r>
                      <a:endParaRPr kumimoji="0" lang="en-US" sz="1100" b="1" i="0" u="none" strike="noStrike" cap="none" normalizeH="0" baseline="0" noProof="0" dirty="0">
                        <a:ln>
                          <a:noFill/>
                        </a:ln>
                        <a:solidFill>
                          <a:srgbClr val="3C464B"/>
                        </a:solidFill>
                        <a:effectLst/>
                        <a:latin typeface="Arial" charset="0"/>
                      </a:endParaRPr>
                    </a:p>
                  </a:txBody>
                  <a:tcPr marL="72000" marR="71963" marT="71963" marB="71963" anchor="b" horzOverflow="overflow">
                    <a:lnR w="9525" cap="flat" cmpd="sng" algn="ctr">
                      <a:solidFill>
                        <a:srgbClr val="CCCCD4"/>
                      </a:solidFill>
                      <a:prstDash val="solid"/>
                      <a:round/>
                      <a:headEnd type="none" w="med" len="med"/>
                      <a:tailEnd type="none" w="med" len="med"/>
                    </a:lnR>
                    <a:lnB w="9525" cap="flat" cmpd="sng" algn="ctr">
                      <a:noFill/>
                      <a:prstDash val="solid"/>
                      <a:round/>
                      <a:headEnd type="none" w="med" len="med"/>
                      <a:tailEnd type="none" w="med" len="med"/>
                    </a:lnB>
                    <a:solidFill>
                      <a:srgbClr val="E5E5E9"/>
                    </a:solidFill>
                  </a:tcPr>
                </a:tc>
                <a:tc gridSpan="4">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b="1" u="none" strike="noStrike" cap="none" normalizeH="0" baseline="0" noProof="0" dirty="0">
                          <a:ln>
                            <a:noFill/>
                          </a:ln>
                          <a:effectLst/>
                        </a:rPr>
                        <a:t>Oct 20XX</a:t>
                      </a:r>
                      <a:endParaRPr kumimoji="0" lang="en-US" sz="1100" b="1" i="0" u="none" strike="noStrike" cap="none" normalizeH="0" baseline="0" noProof="0" dirty="0">
                        <a:ln>
                          <a:noFill/>
                        </a:ln>
                        <a:solidFill>
                          <a:schemeClr val="bg1"/>
                        </a:solidFill>
                        <a:effectLst/>
                        <a:latin typeface="Arial" charset="0"/>
                      </a:endParaRPr>
                    </a:p>
                  </a:txBody>
                  <a:tcPr marL="71963" marR="71963" marT="0" marB="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B w="12700" cap="flat" cmpd="sng" algn="ctr">
                      <a:noFill/>
                      <a:prstDash val="solid"/>
                      <a:round/>
                      <a:headEnd type="none" w="med" len="med"/>
                      <a:tailEnd type="none" w="med" len="med"/>
                    </a:lnB>
                    <a:solidFill>
                      <a:srgbClr val="E5E5E9"/>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1" i="0" u="none" strike="noStrike" cap="none" normalizeH="0" baseline="0" noProof="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1" i="0" u="none" strike="noStrike" cap="none" normalizeH="0" baseline="0" noProof="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1" i="0" u="none" strike="noStrike" cap="none" normalizeH="0" baseline="0" noProof="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tc gridSpan="5">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b="1" u="none" strike="noStrike" cap="none" normalizeH="0" baseline="0" noProof="0" dirty="0">
                          <a:ln>
                            <a:noFill/>
                          </a:ln>
                          <a:effectLst/>
                        </a:rPr>
                        <a:t>Nov</a:t>
                      </a:r>
                      <a:endParaRPr kumimoji="0" lang="en-US" sz="1100" b="1" i="0" u="none" strike="noStrike" cap="none" normalizeH="0" baseline="0" noProof="0" dirty="0">
                        <a:ln>
                          <a:noFill/>
                        </a:ln>
                        <a:solidFill>
                          <a:schemeClr val="bg1"/>
                        </a:solidFill>
                        <a:effectLst/>
                        <a:latin typeface="Arial" charset="0"/>
                      </a:endParaRPr>
                    </a:p>
                  </a:txBody>
                  <a:tcPr marL="71963" marR="71963" marT="0" marB="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B w="12700" cap="flat" cmpd="sng" algn="ctr">
                      <a:noFill/>
                      <a:prstDash val="solid"/>
                      <a:round/>
                      <a:headEnd type="none" w="med" len="med"/>
                      <a:tailEnd type="none" w="med" len="med"/>
                    </a:lnB>
                    <a:solidFill>
                      <a:srgbClr val="E5E5E9"/>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1" i="0" u="none" strike="noStrike" cap="none" normalizeH="0" baseline="0" noProof="0" dirty="0">
                        <a:ln>
                          <a:noFill/>
                        </a:ln>
                        <a:solidFill>
                          <a:schemeClr val="bg1"/>
                        </a:solidFill>
                        <a:effectLst/>
                        <a:latin typeface="Arial" charset="0"/>
                      </a:endParaRPr>
                    </a:p>
                  </a:txBody>
                  <a:tcPr marL="91373" marR="91373" marT="47514" marB="47514" anchor="ctr" horzOverflow="overflow">
                    <a:lnL w="9525" cap="flat" cmpd="sng" algn="ctr">
                      <a:solidFill>
                        <a:srgbClr val="CCCCD4"/>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646E"/>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1" i="0" u="none" strike="noStrike" cap="none" normalizeH="0" baseline="0" noProof="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646E"/>
                    </a:solidFill>
                  </a:tcPr>
                </a:tc>
                <a:tc hMerge="1">
                  <a:txBody>
                    <a:bodyPr/>
                    <a:lstStyle/>
                    <a:p>
                      <a:endParaRPr lang="en-US"/>
                    </a:p>
                  </a:txBody>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1" i="0" u="none" strike="noStrike" cap="none" normalizeH="0" baseline="0" noProof="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646E"/>
                    </a:solidFill>
                  </a:tcPr>
                </a:tc>
                <a:tc gridSpan="4">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b="1" u="none" strike="noStrike" cap="none" normalizeH="0" baseline="0" noProof="0" dirty="0">
                          <a:ln>
                            <a:noFill/>
                          </a:ln>
                          <a:effectLst/>
                        </a:rPr>
                        <a:t>Dec</a:t>
                      </a:r>
                      <a:endParaRPr kumimoji="0" lang="en-US" sz="1100" b="1" i="0" u="none" strike="noStrike" cap="none" normalizeH="0" baseline="0" noProof="0" dirty="0">
                        <a:ln>
                          <a:noFill/>
                        </a:ln>
                        <a:solidFill>
                          <a:schemeClr val="bg1"/>
                        </a:solidFill>
                        <a:effectLst/>
                        <a:latin typeface="Arial" charset="0"/>
                      </a:endParaRPr>
                    </a:p>
                  </a:txBody>
                  <a:tcPr marL="71963" marR="71963" marT="0" marB="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B w="12700" cap="flat" cmpd="sng" algn="ctr">
                      <a:noFill/>
                      <a:prstDash val="solid"/>
                      <a:round/>
                      <a:headEnd type="none" w="med" len="med"/>
                      <a:tailEnd type="none" w="med" len="med"/>
                    </a:lnB>
                    <a:solidFill>
                      <a:srgbClr val="E5E5E9"/>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1" i="0" u="none" strike="noStrike" cap="none" normalizeH="0" baseline="0" noProof="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646E"/>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1" i="0" u="none" strike="noStrike" cap="none" normalizeH="0" baseline="0" noProof="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646E"/>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1" i="0" u="none" strike="noStrike" cap="none" normalizeH="0" baseline="0" noProof="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646E"/>
                    </a:solidFill>
                  </a:tcPr>
                </a:tc>
                <a:tc gridSpan="5">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r>
                        <a:rPr kumimoji="0" lang="en-US" sz="1100" b="1" u="none" strike="noStrike" cap="none" normalizeH="0" baseline="0" noProof="0" dirty="0">
                          <a:ln>
                            <a:noFill/>
                          </a:ln>
                          <a:effectLst/>
                        </a:rPr>
                        <a:t>Jan 20XX</a:t>
                      </a:r>
                      <a:endParaRPr kumimoji="0" lang="en-US" sz="1100" b="1" i="0" u="none" strike="noStrike" cap="none" normalizeH="0" baseline="0" noProof="0" dirty="0">
                        <a:ln>
                          <a:noFill/>
                        </a:ln>
                        <a:solidFill>
                          <a:schemeClr val="bg1"/>
                        </a:solidFill>
                        <a:effectLst/>
                        <a:latin typeface="Arial" charset="0"/>
                      </a:endParaRPr>
                    </a:p>
                  </a:txBody>
                  <a:tcPr marL="71963" marR="71963" marT="0" marB="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B w="12700" cap="flat" cmpd="sng" algn="ctr">
                      <a:noFill/>
                      <a:prstDash val="solid"/>
                      <a:round/>
                      <a:headEnd type="none" w="med" len="med"/>
                      <a:tailEnd type="none" w="med" len="med"/>
                    </a:lnB>
                    <a:solidFill>
                      <a:srgbClr val="E5E5E9"/>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1" i="0" u="none" strike="noStrike" cap="none" normalizeH="0" baseline="0" noProof="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646E"/>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1" i="0" u="none" strike="noStrike" cap="none" normalizeH="0" baseline="0" noProof="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646E"/>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1" i="0" u="none" strike="noStrike" cap="none" normalizeH="0" baseline="0" noProof="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646E"/>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1" i="0" u="none" strike="noStrike" cap="none" normalizeH="0" baseline="0" noProof="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646E"/>
                    </a:solidFill>
                  </a:tcPr>
                </a:tc>
                <a:tc gridSpan="4">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r>
                        <a:rPr kumimoji="0" lang="en-US" sz="1100" b="1" u="none" strike="noStrike" cap="none" normalizeH="0" baseline="0" noProof="0" dirty="0">
                          <a:ln>
                            <a:noFill/>
                          </a:ln>
                          <a:effectLst/>
                        </a:rPr>
                        <a:t>Feb</a:t>
                      </a:r>
                      <a:endParaRPr kumimoji="0" lang="en-US" sz="1100" b="1" i="0" u="none" strike="noStrike" cap="none" normalizeH="0" baseline="0" noProof="0" dirty="0">
                        <a:ln>
                          <a:noFill/>
                        </a:ln>
                        <a:solidFill>
                          <a:schemeClr val="bg1"/>
                        </a:solidFill>
                        <a:effectLst/>
                        <a:latin typeface="Arial" charset="0"/>
                      </a:endParaRPr>
                    </a:p>
                  </a:txBody>
                  <a:tcPr marL="71963" marR="71963" marT="0" marB="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B w="12700" cap="flat" cmpd="sng" algn="ctr">
                      <a:noFill/>
                      <a:prstDash val="solid"/>
                      <a:round/>
                      <a:headEnd type="none" w="med" len="med"/>
                      <a:tailEnd type="none" w="med" len="med"/>
                    </a:lnB>
                    <a:solidFill>
                      <a:srgbClr val="E5E5E9"/>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1" i="0" u="none" strike="noStrike" cap="none" normalizeH="0" baseline="0" noProof="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646E"/>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1" i="0" u="none" strike="noStrike" cap="none" normalizeH="0" baseline="0" noProof="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646E"/>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1" i="0" u="none" strike="noStrike" cap="none" normalizeH="0" baseline="0" noProof="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646E"/>
                    </a:solidFill>
                  </a:tcPr>
                </a:tc>
                <a:tc gridSpan="4">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r>
                        <a:rPr kumimoji="0" lang="en-US" sz="1100" b="1" u="none" strike="noStrike" cap="none" normalizeH="0" baseline="0" noProof="0" dirty="0">
                          <a:ln>
                            <a:noFill/>
                          </a:ln>
                          <a:effectLst/>
                        </a:rPr>
                        <a:t>Mar</a:t>
                      </a:r>
                      <a:endParaRPr kumimoji="0" lang="en-US" sz="1100" b="1" i="0" u="none" strike="noStrike" cap="none" normalizeH="0" baseline="0" noProof="0" dirty="0">
                        <a:ln>
                          <a:noFill/>
                        </a:ln>
                        <a:solidFill>
                          <a:schemeClr val="bg1"/>
                        </a:solidFill>
                        <a:effectLst/>
                        <a:latin typeface="Arial" charset="0"/>
                      </a:endParaRPr>
                    </a:p>
                  </a:txBody>
                  <a:tcPr marL="71963" marR="71963" marT="0" marB="0" anchor="ctr" horzOverflow="overflow">
                    <a:lnL w="9525" cap="flat" cmpd="sng" algn="ctr">
                      <a:solidFill>
                        <a:srgbClr val="CCCCD4"/>
                      </a:solidFill>
                      <a:prstDash val="solid"/>
                      <a:round/>
                      <a:headEnd type="none" w="med" len="med"/>
                      <a:tailEnd type="none" w="med" len="med"/>
                    </a:lnL>
                    <a:lnB w="12700" cap="flat" cmpd="sng" algn="ctr">
                      <a:noFill/>
                      <a:prstDash val="solid"/>
                      <a:round/>
                      <a:headEnd type="none" w="med" len="med"/>
                      <a:tailEnd type="none" w="med" len="med"/>
                    </a:lnB>
                    <a:solidFill>
                      <a:srgbClr val="E5E5E9"/>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1" i="0" u="none" strike="noStrike" cap="none" normalizeH="0" baseline="0" noProof="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646E"/>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1" i="0" u="none" strike="noStrike" cap="none" normalizeH="0" baseline="0" noProof="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646E"/>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1" i="0" u="none" strike="noStrike" cap="none" normalizeH="0" baseline="0" noProof="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646E"/>
                    </a:solidFill>
                  </a:tcPr>
                </a:tc>
                <a:extLst>
                  <a:ext uri="{0D108BD9-81ED-4DB2-BD59-A6C34878D82A}">
                    <a16:rowId xmlns:a16="http://schemas.microsoft.com/office/drawing/2014/main" val="10000"/>
                  </a:ext>
                </a:extLst>
              </a:tr>
              <a:tr h="305841">
                <a:tc v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de-DE" sz="1200" b="1" i="0" u="none" strike="noStrike" cap="none" normalizeH="0" baseline="0" dirty="0">
                        <a:ln>
                          <a:noFill/>
                        </a:ln>
                        <a:solidFill>
                          <a:schemeClr val="tx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40</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L w="9525" cap="flat" cmpd="sng" algn="ctr">
                      <a:solidFill>
                        <a:srgbClr val="CCCCD4"/>
                      </a:solidFill>
                      <a:prstDash val="solid"/>
                      <a:round/>
                      <a:headEnd type="none" w="med" len="med"/>
                      <a:tailEnd type="none" w="med" len="med"/>
                    </a:lnL>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41</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42</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43</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44</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L w="9525" cap="flat" cmpd="sng" algn="ctr">
                      <a:solidFill>
                        <a:srgbClr val="CCCCD4"/>
                      </a:solidFill>
                      <a:prstDash val="solid"/>
                      <a:round/>
                      <a:headEnd type="none" w="med" len="med"/>
                      <a:tailEnd type="none" w="med" len="med"/>
                    </a:lnL>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45</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46</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47</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48</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49</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L w="9525" cap="flat" cmpd="sng" algn="ctr">
                      <a:solidFill>
                        <a:srgbClr val="CCCCD4"/>
                      </a:solidFill>
                      <a:prstDash val="solid"/>
                      <a:round/>
                      <a:headEnd type="none" w="med" len="med"/>
                      <a:tailEnd type="none" w="med" len="med"/>
                    </a:lnL>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50</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51</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52</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01</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L w="9525" cap="flat" cmpd="sng" algn="ctr">
                      <a:solidFill>
                        <a:srgbClr val="CCCCD4"/>
                      </a:solidFill>
                      <a:prstDash val="solid"/>
                      <a:round/>
                      <a:headEnd type="none" w="med" len="med"/>
                      <a:tailEnd type="none" w="med" len="med"/>
                    </a:lnL>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02</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03</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04</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05</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06</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L w="9525" cap="flat" cmpd="sng" algn="ctr">
                      <a:solidFill>
                        <a:srgbClr val="CCCCD4"/>
                      </a:solidFill>
                      <a:prstDash val="solid"/>
                      <a:round/>
                      <a:headEnd type="none" w="med" len="med"/>
                      <a:tailEnd type="none" w="med" len="med"/>
                    </a:lnL>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07</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08</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09</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10</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L w="9525" cap="flat" cmpd="sng" algn="ctr">
                      <a:solidFill>
                        <a:srgbClr val="CCCCD4"/>
                      </a:solidFill>
                      <a:prstDash val="solid"/>
                      <a:round/>
                      <a:headEnd type="none" w="med" len="med"/>
                      <a:tailEnd type="none" w="med" len="med"/>
                    </a:lnL>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11</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12</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13</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extLst>
                  <a:ext uri="{0D108BD9-81ED-4DB2-BD59-A6C34878D82A}">
                    <a16:rowId xmlns:a16="http://schemas.microsoft.com/office/drawing/2014/main" val="10001"/>
                  </a:ext>
                </a:extLst>
              </a:tr>
              <a:tr h="485747">
                <a:tc>
                  <a:txBody>
                    <a:bodyPr/>
                    <a:lstStyle/>
                    <a:p>
                      <a:pPr marL="0" marR="0" lvl="0" indent="0" algn="l" defTabSz="914400" rtl="0" eaLnBrk="1" fontAlgn="base" latinLnBrk="0" hangingPunct="1">
                        <a:lnSpc>
                          <a:spcPct val="100000"/>
                        </a:lnSpc>
                        <a:spcBef>
                          <a:spcPct val="50000"/>
                        </a:spcBef>
                        <a:spcAft>
                          <a:spcPct val="0"/>
                        </a:spcAft>
                        <a:buClr>
                          <a:schemeClr val="bg1"/>
                        </a:buClr>
                        <a:buSzTx/>
                        <a:buFont typeface="Arial" pitchFamily="34" charset="0"/>
                        <a:buNone/>
                        <a:tabLst>
                          <a:tab pos="1611313" algn="l"/>
                        </a:tabLst>
                      </a:pPr>
                      <a:r>
                        <a:rPr kumimoji="0" lang="en-US" sz="1200" u="none" strike="noStrike" kern="1200" cap="none" spc="0" normalizeH="0" baseline="0" noProof="0" dirty="0">
                          <a:ln>
                            <a:noFill/>
                          </a:ln>
                          <a:effectLst/>
                          <a:uLnTx/>
                          <a:uFillTx/>
                        </a:rPr>
                        <a:t>Cras ultricies mi eu</a:t>
                      </a:r>
                      <a:endParaRPr kumimoji="0" lang="en-US" sz="1200" b="0" i="0" u="none" strike="noStrike" cap="none" normalizeH="0" baseline="0" noProof="0" dirty="0">
                        <a:ln>
                          <a:noFill/>
                        </a:ln>
                        <a:solidFill>
                          <a:srgbClr val="3C464B"/>
                        </a:solidFill>
                        <a:effectLst/>
                        <a:latin typeface="Arial" charset="0"/>
                      </a:endParaRPr>
                    </a:p>
                  </a:txBody>
                  <a:tcPr marL="72000" marR="71963" marT="71963" marB="71963" anchor="ctr" horzOverflow="overflow">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extLst>
                  <a:ext uri="{0D108BD9-81ED-4DB2-BD59-A6C34878D82A}">
                    <a16:rowId xmlns:a16="http://schemas.microsoft.com/office/drawing/2014/main" val="10002"/>
                  </a:ext>
                </a:extLst>
              </a:tr>
              <a:tr h="485747">
                <a:tc>
                  <a:txBody>
                    <a:bodyPr/>
                    <a:lstStyle/>
                    <a:p>
                      <a:pPr marL="0" marR="0" lvl="0" indent="0" algn="l" defTabSz="914400" rtl="0" eaLnBrk="1" fontAlgn="base" latinLnBrk="0" hangingPunct="1">
                        <a:lnSpc>
                          <a:spcPct val="100000"/>
                        </a:lnSpc>
                        <a:spcBef>
                          <a:spcPct val="50000"/>
                        </a:spcBef>
                        <a:spcAft>
                          <a:spcPct val="0"/>
                        </a:spcAft>
                        <a:buClr>
                          <a:schemeClr val="bg1"/>
                        </a:buClr>
                        <a:buSzTx/>
                        <a:buFont typeface="Arial" pitchFamily="34" charset="0"/>
                        <a:buNone/>
                        <a:tabLst>
                          <a:tab pos="1611313" algn="l"/>
                        </a:tabLst>
                      </a:pPr>
                      <a:r>
                        <a:rPr kumimoji="0" lang="en-US" sz="1200" u="none" strike="noStrike" kern="1200" cap="none" spc="0" normalizeH="0" baseline="0" noProof="0" dirty="0">
                          <a:ln>
                            <a:noFill/>
                          </a:ln>
                          <a:effectLst/>
                          <a:uLnTx/>
                          <a:uFillTx/>
                        </a:rPr>
                        <a:t>Phasellus nec sem</a:t>
                      </a:r>
                      <a:endParaRPr kumimoji="0" lang="en-US" sz="1200" b="0" i="0" u="none" strike="noStrike" cap="none" normalizeH="0" baseline="0" noProof="0" dirty="0">
                        <a:ln>
                          <a:noFill/>
                        </a:ln>
                        <a:solidFill>
                          <a:srgbClr val="3C464B"/>
                        </a:solidFill>
                        <a:effectLst/>
                        <a:latin typeface="Arial" charset="0"/>
                      </a:endParaRPr>
                    </a:p>
                  </a:txBody>
                  <a:tcPr marL="72000" marR="71963" marT="71963" marB="71963" anchor="ctr" horzOverflow="overflow">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extLst>
                  <a:ext uri="{0D108BD9-81ED-4DB2-BD59-A6C34878D82A}">
                    <a16:rowId xmlns:a16="http://schemas.microsoft.com/office/drawing/2014/main" val="10003"/>
                  </a:ext>
                </a:extLst>
              </a:tr>
              <a:tr h="485747">
                <a:tc>
                  <a:txBody>
                    <a:bodyPr/>
                    <a:lstStyle/>
                    <a:p>
                      <a:pPr marL="0" marR="0" lvl="0" indent="0" algn="l" defTabSz="914400" rtl="0" eaLnBrk="1" fontAlgn="base" latinLnBrk="0" hangingPunct="1">
                        <a:lnSpc>
                          <a:spcPct val="100000"/>
                        </a:lnSpc>
                        <a:spcBef>
                          <a:spcPct val="50000"/>
                        </a:spcBef>
                        <a:spcAft>
                          <a:spcPct val="0"/>
                        </a:spcAft>
                        <a:buClr>
                          <a:schemeClr val="bg1"/>
                        </a:buClr>
                        <a:buSzTx/>
                        <a:buFont typeface="Arial" pitchFamily="34" charset="0"/>
                        <a:buNone/>
                        <a:tabLst>
                          <a:tab pos="1611313" algn="l"/>
                        </a:tabLst>
                      </a:pPr>
                      <a:r>
                        <a:rPr kumimoji="0" lang="es-ES" sz="1200" u="none" strike="noStrike" kern="1200" cap="none" spc="0" normalizeH="0" baseline="0" noProof="0" dirty="0">
                          <a:ln>
                            <a:noFill/>
                          </a:ln>
                          <a:effectLst/>
                          <a:uLnTx/>
                          <a:uFillTx/>
                        </a:rPr>
                        <a:t>Tortor, suscipit eget</a:t>
                      </a:r>
                      <a:endParaRPr kumimoji="0" lang="en-US" sz="1200" b="0" i="0" u="none" strike="noStrike" cap="none" normalizeH="0" baseline="0" noProof="0" dirty="0">
                        <a:ln>
                          <a:noFill/>
                        </a:ln>
                        <a:solidFill>
                          <a:srgbClr val="3C464B"/>
                        </a:solidFill>
                        <a:effectLst/>
                        <a:latin typeface="Arial" charset="0"/>
                      </a:endParaRPr>
                    </a:p>
                  </a:txBody>
                  <a:tcPr marL="72000" marR="71963" marT="71963" marB="71963" anchor="ctr" horzOverflow="overflow">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extLst>
                  <a:ext uri="{0D108BD9-81ED-4DB2-BD59-A6C34878D82A}">
                    <a16:rowId xmlns:a16="http://schemas.microsoft.com/office/drawing/2014/main" val="10004"/>
                  </a:ext>
                </a:extLst>
              </a:tr>
              <a:tr h="485747">
                <a:tc>
                  <a:txBody>
                    <a:bodyPr/>
                    <a:lstStyle/>
                    <a:p>
                      <a:pPr marL="0" marR="0" lvl="0" indent="0" algn="l" defTabSz="914400" rtl="0" eaLnBrk="1" fontAlgn="base" latinLnBrk="0" hangingPunct="1">
                        <a:lnSpc>
                          <a:spcPct val="100000"/>
                        </a:lnSpc>
                        <a:spcBef>
                          <a:spcPct val="50000"/>
                        </a:spcBef>
                        <a:spcAft>
                          <a:spcPct val="0"/>
                        </a:spcAft>
                        <a:buClr>
                          <a:schemeClr val="bg1"/>
                        </a:buClr>
                        <a:buSzTx/>
                        <a:buFont typeface="Arial" pitchFamily="34" charset="0"/>
                        <a:buNone/>
                        <a:tabLst>
                          <a:tab pos="1611313" algn="l"/>
                        </a:tabLst>
                      </a:pPr>
                      <a:r>
                        <a:rPr kumimoji="0" lang="en-US" sz="1200" u="none" strike="noStrike" kern="1200" cap="none" spc="0" normalizeH="0" baseline="0" noProof="0" dirty="0">
                          <a:ln>
                            <a:noFill/>
                          </a:ln>
                          <a:effectLst/>
                          <a:uLnTx/>
                          <a:uFillTx/>
                        </a:rPr>
                        <a:t>Cras ultricies mi eu</a:t>
                      </a:r>
                      <a:endParaRPr kumimoji="0" lang="en-US" sz="1200" b="0" i="0" u="none" strike="noStrike" cap="none" normalizeH="0" baseline="0" noProof="0" dirty="0">
                        <a:ln>
                          <a:noFill/>
                        </a:ln>
                        <a:solidFill>
                          <a:srgbClr val="3C464B"/>
                        </a:solidFill>
                        <a:effectLst/>
                        <a:latin typeface="Arial" charset="0"/>
                      </a:endParaRPr>
                    </a:p>
                  </a:txBody>
                  <a:tcPr marL="72000" marR="71963" marT="71963" marB="71963" anchor="ctr" horzOverflow="overflow">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extLst>
                  <a:ext uri="{0D108BD9-81ED-4DB2-BD59-A6C34878D82A}">
                    <a16:rowId xmlns:a16="http://schemas.microsoft.com/office/drawing/2014/main" val="10005"/>
                  </a:ext>
                </a:extLst>
              </a:tr>
              <a:tr h="485747">
                <a:tc>
                  <a:txBody>
                    <a:bodyPr/>
                    <a:lstStyle/>
                    <a:p>
                      <a:pPr marL="0" marR="0" lvl="0" indent="0" algn="l" defTabSz="914400" rtl="0" eaLnBrk="1" fontAlgn="base" latinLnBrk="0" hangingPunct="1">
                        <a:lnSpc>
                          <a:spcPct val="100000"/>
                        </a:lnSpc>
                        <a:spcBef>
                          <a:spcPct val="50000"/>
                        </a:spcBef>
                        <a:spcAft>
                          <a:spcPct val="0"/>
                        </a:spcAft>
                        <a:buClr>
                          <a:schemeClr val="bg1"/>
                        </a:buClr>
                        <a:buSzTx/>
                        <a:buFont typeface="Arial" pitchFamily="34" charset="0"/>
                        <a:buNone/>
                        <a:tabLst>
                          <a:tab pos="1611313" algn="l"/>
                        </a:tabLst>
                      </a:pPr>
                      <a:r>
                        <a:rPr kumimoji="0" lang="en-US" sz="1200" u="none" strike="noStrike" kern="1200" cap="none" spc="0" normalizeH="0" baseline="0" noProof="0" dirty="0">
                          <a:ln>
                            <a:noFill/>
                          </a:ln>
                          <a:effectLst/>
                          <a:uLnTx/>
                          <a:uFillTx/>
                        </a:rPr>
                        <a:t>Phasellus nec sem</a:t>
                      </a:r>
                      <a:endParaRPr kumimoji="0" lang="en-US" sz="1200" b="0" i="0" u="none" strike="noStrike" cap="none" normalizeH="0" baseline="0" noProof="0" dirty="0">
                        <a:ln>
                          <a:noFill/>
                        </a:ln>
                        <a:solidFill>
                          <a:srgbClr val="3C464B"/>
                        </a:solidFill>
                        <a:effectLst/>
                        <a:latin typeface="Arial" charset="0"/>
                      </a:endParaRPr>
                    </a:p>
                  </a:txBody>
                  <a:tcPr marL="72000" marR="71963" marT="71963" marB="71963" anchor="ctr" horzOverflow="overflow">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extLst>
                  <a:ext uri="{0D108BD9-81ED-4DB2-BD59-A6C34878D82A}">
                    <a16:rowId xmlns:a16="http://schemas.microsoft.com/office/drawing/2014/main" val="10006"/>
                  </a:ext>
                </a:extLst>
              </a:tr>
              <a:tr h="485747">
                <a:tc>
                  <a:txBody>
                    <a:bodyPr/>
                    <a:lstStyle/>
                    <a:p>
                      <a:pPr marL="0" marR="0" lvl="0" indent="0" algn="l" defTabSz="914400" rtl="0" eaLnBrk="1" fontAlgn="base" latinLnBrk="0" hangingPunct="1">
                        <a:lnSpc>
                          <a:spcPct val="100000"/>
                        </a:lnSpc>
                        <a:spcBef>
                          <a:spcPct val="50000"/>
                        </a:spcBef>
                        <a:spcAft>
                          <a:spcPct val="0"/>
                        </a:spcAft>
                        <a:buClr>
                          <a:schemeClr val="bg1"/>
                        </a:buClr>
                        <a:buSzTx/>
                        <a:buFont typeface="Arial" pitchFamily="34" charset="0"/>
                        <a:buNone/>
                        <a:tabLst>
                          <a:tab pos="1611313" algn="l"/>
                        </a:tabLst>
                      </a:pPr>
                      <a:r>
                        <a:rPr kumimoji="0" lang="es-ES" sz="1200" u="none" strike="noStrike" kern="1200" cap="none" spc="0" normalizeH="0" baseline="0" noProof="0" dirty="0">
                          <a:ln>
                            <a:noFill/>
                          </a:ln>
                          <a:effectLst/>
                          <a:uLnTx/>
                          <a:uFillTx/>
                        </a:rPr>
                        <a:t>Duis arcu tortor</a:t>
                      </a:r>
                      <a:endParaRPr kumimoji="0" lang="en-US" sz="1200" b="0" i="0" u="none" strike="noStrike" cap="none" normalizeH="0" baseline="0" noProof="0" dirty="0">
                        <a:ln>
                          <a:noFill/>
                        </a:ln>
                        <a:solidFill>
                          <a:srgbClr val="3C464B"/>
                        </a:solidFill>
                        <a:effectLst/>
                        <a:latin typeface="Arial" charset="0"/>
                      </a:endParaRPr>
                    </a:p>
                  </a:txBody>
                  <a:tcPr marL="72000" marR="71963" marT="71963" marB="71963" anchor="ctr" horzOverflow="overflow">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extLst>
                  <a:ext uri="{0D108BD9-81ED-4DB2-BD59-A6C34878D82A}">
                    <a16:rowId xmlns:a16="http://schemas.microsoft.com/office/drawing/2014/main" val="10007"/>
                  </a:ext>
                </a:extLst>
              </a:tr>
              <a:tr h="485747">
                <a:tc>
                  <a:txBody>
                    <a:bodyPr/>
                    <a:lstStyle/>
                    <a:p>
                      <a:pPr marL="0" marR="0" lvl="0" indent="0" algn="l" defTabSz="914400" rtl="0" eaLnBrk="1" fontAlgn="base" latinLnBrk="0" hangingPunct="1">
                        <a:lnSpc>
                          <a:spcPct val="100000"/>
                        </a:lnSpc>
                        <a:spcBef>
                          <a:spcPct val="50000"/>
                        </a:spcBef>
                        <a:spcAft>
                          <a:spcPct val="0"/>
                        </a:spcAft>
                        <a:buClr>
                          <a:schemeClr val="bg1"/>
                        </a:buClr>
                        <a:buSzTx/>
                        <a:buFont typeface="Arial" pitchFamily="34" charset="0"/>
                        <a:buNone/>
                        <a:tabLst>
                          <a:tab pos="1611313" algn="l"/>
                        </a:tabLst>
                      </a:pPr>
                      <a:r>
                        <a:rPr kumimoji="0" lang="en-US" sz="1200" u="none" strike="noStrike" kern="1200" cap="none" spc="0" normalizeH="0" baseline="0" noProof="0" dirty="0">
                          <a:ln>
                            <a:noFill/>
                          </a:ln>
                          <a:effectLst/>
                          <a:uLnTx/>
                          <a:uFillTx/>
                        </a:rPr>
                        <a:t>Cras ultricies mi eu</a:t>
                      </a:r>
                      <a:endParaRPr kumimoji="0" lang="en-US" sz="1200" b="0" i="0" u="none" strike="noStrike" cap="none" normalizeH="0" baseline="0" noProof="0" dirty="0">
                        <a:ln>
                          <a:noFill/>
                        </a:ln>
                        <a:solidFill>
                          <a:srgbClr val="3C464B"/>
                        </a:solidFill>
                        <a:effectLst/>
                        <a:latin typeface="Arial" charset="0"/>
                      </a:endParaRPr>
                    </a:p>
                  </a:txBody>
                  <a:tcPr marL="72000" marR="71963" marT="71963" marB="71963" anchor="ctr" horzOverflow="overflow">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extLst>
                  <a:ext uri="{0D108BD9-81ED-4DB2-BD59-A6C34878D82A}">
                    <a16:rowId xmlns:a16="http://schemas.microsoft.com/office/drawing/2014/main" val="10008"/>
                  </a:ext>
                </a:extLst>
              </a:tr>
              <a:tr h="485747">
                <a:tc>
                  <a:txBody>
                    <a:bodyPr/>
                    <a:lstStyle/>
                    <a:p>
                      <a:pPr marL="0" marR="0" lvl="0" indent="0" algn="l" defTabSz="914400" rtl="0" eaLnBrk="1" fontAlgn="base" latinLnBrk="0" hangingPunct="1">
                        <a:lnSpc>
                          <a:spcPct val="100000"/>
                        </a:lnSpc>
                        <a:spcBef>
                          <a:spcPct val="50000"/>
                        </a:spcBef>
                        <a:spcAft>
                          <a:spcPct val="0"/>
                        </a:spcAft>
                        <a:buClr>
                          <a:schemeClr val="bg1"/>
                        </a:buClr>
                        <a:buSzTx/>
                        <a:buFont typeface="Arial" pitchFamily="34" charset="0"/>
                        <a:buNone/>
                        <a:tabLst>
                          <a:tab pos="1611313" algn="l"/>
                        </a:tabLst>
                      </a:pPr>
                      <a:r>
                        <a:rPr kumimoji="0" lang="en-US" sz="1200" u="none" strike="noStrike" kern="1200" cap="none" spc="0" normalizeH="0" baseline="0" noProof="0" dirty="0">
                          <a:ln>
                            <a:noFill/>
                          </a:ln>
                          <a:effectLst/>
                          <a:uLnTx/>
                          <a:uFillTx/>
                        </a:rPr>
                        <a:t>Phasellus nec sem</a:t>
                      </a:r>
                      <a:endParaRPr kumimoji="0" lang="en-US" sz="1200" b="0" i="0" u="none" strike="noStrike" cap="none" normalizeH="0" baseline="0" noProof="0" dirty="0">
                        <a:ln>
                          <a:noFill/>
                        </a:ln>
                        <a:solidFill>
                          <a:srgbClr val="3C464B"/>
                        </a:solidFill>
                        <a:effectLst/>
                        <a:latin typeface="Arial" charset="0"/>
                      </a:endParaRPr>
                    </a:p>
                  </a:txBody>
                  <a:tcPr marL="72000" marR="71963" marT="71963" marB="71963" anchor="ctr" horzOverflow="overflow">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9525" cap="flat" cmpd="sng" algn="ctr">
                      <a:solidFill>
                        <a:srgbClr val="CCCCD4"/>
                      </a:solidFill>
                      <a:prstDash val="solid"/>
                      <a:round/>
                      <a:headEnd type="none" w="med" len="med"/>
                      <a:tailEnd type="none" w="med" len="med"/>
                    </a:lnL>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E5E5E9"/>
                    </a:solidFill>
                  </a:tcPr>
                </a:tc>
                <a:extLst>
                  <a:ext uri="{0D108BD9-81ED-4DB2-BD59-A6C34878D82A}">
                    <a16:rowId xmlns:a16="http://schemas.microsoft.com/office/drawing/2014/main" val="10010"/>
                  </a:ext>
                </a:extLst>
              </a:tr>
            </a:tbl>
          </a:graphicData>
        </a:graphic>
      </p:graphicFrame>
      <p:sp>
        <p:nvSpPr>
          <p:cNvPr id="58" name="Rectangle 66">
            <a:extLst>
              <a:ext uri="{FF2B5EF4-FFF2-40B4-BE49-F238E27FC236}">
                <a16:creationId xmlns:a16="http://schemas.microsoft.com/office/drawing/2014/main" id="{AAD65345-5C09-44DA-8B60-1D9DC2BAE233}"/>
              </a:ext>
            </a:extLst>
          </p:cNvPr>
          <p:cNvSpPr>
            <a:spLocks noChangeArrowheads="1"/>
          </p:cNvSpPr>
          <p:nvPr>
            <p:custDataLst>
              <p:tags r:id="rId4"/>
            </p:custDataLst>
          </p:nvPr>
        </p:nvSpPr>
        <p:spPr bwMode="auto">
          <a:xfrm>
            <a:off x="6746400" y="4140000"/>
            <a:ext cx="1080000" cy="144000"/>
          </a:xfrm>
          <a:prstGeom prst="rect">
            <a:avLst/>
          </a:prstGeom>
          <a:solidFill>
            <a:srgbClr val="9999A9"/>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sp>
        <p:nvSpPr>
          <p:cNvPr id="59" name="Rectangle 69">
            <a:extLst>
              <a:ext uri="{FF2B5EF4-FFF2-40B4-BE49-F238E27FC236}">
                <a16:creationId xmlns:a16="http://schemas.microsoft.com/office/drawing/2014/main" id="{A7AA83B3-2301-4622-BAA7-FC7921E2C757}"/>
              </a:ext>
            </a:extLst>
          </p:cNvPr>
          <p:cNvSpPr>
            <a:spLocks noChangeArrowheads="1"/>
          </p:cNvSpPr>
          <p:nvPr>
            <p:custDataLst>
              <p:tags r:id="rId5"/>
            </p:custDataLst>
          </p:nvPr>
        </p:nvSpPr>
        <p:spPr bwMode="auto">
          <a:xfrm>
            <a:off x="8186400" y="4626000"/>
            <a:ext cx="1080000" cy="144000"/>
          </a:xfrm>
          <a:prstGeom prst="rect">
            <a:avLst/>
          </a:prstGeom>
          <a:solidFill>
            <a:srgbClr val="9999A9"/>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sp>
        <p:nvSpPr>
          <p:cNvPr id="60" name="Rectangle 72">
            <a:extLst>
              <a:ext uri="{FF2B5EF4-FFF2-40B4-BE49-F238E27FC236}">
                <a16:creationId xmlns:a16="http://schemas.microsoft.com/office/drawing/2014/main" id="{6E71B1E5-7D58-47C3-91B4-7BFB912B5274}"/>
              </a:ext>
            </a:extLst>
          </p:cNvPr>
          <p:cNvSpPr>
            <a:spLocks noChangeArrowheads="1"/>
          </p:cNvSpPr>
          <p:nvPr>
            <p:custDataLst>
              <p:tags r:id="rId6"/>
            </p:custDataLst>
          </p:nvPr>
        </p:nvSpPr>
        <p:spPr bwMode="auto">
          <a:xfrm>
            <a:off x="5306400" y="3654000"/>
            <a:ext cx="2160000" cy="144000"/>
          </a:xfrm>
          <a:prstGeom prst="rect">
            <a:avLst/>
          </a:prstGeom>
          <a:solidFill>
            <a:srgbClr val="9999A9"/>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sp>
        <p:nvSpPr>
          <p:cNvPr id="61" name="Rectangle 66">
            <a:extLst>
              <a:ext uri="{FF2B5EF4-FFF2-40B4-BE49-F238E27FC236}">
                <a16:creationId xmlns:a16="http://schemas.microsoft.com/office/drawing/2014/main" id="{E48C658F-0280-433D-A781-C8DB3095D3CF}"/>
              </a:ext>
            </a:extLst>
          </p:cNvPr>
          <p:cNvSpPr>
            <a:spLocks noChangeArrowheads="1"/>
          </p:cNvSpPr>
          <p:nvPr>
            <p:custDataLst>
              <p:tags r:id="rId7"/>
            </p:custDataLst>
          </p:nvPr>
        </p:nvSpPr>
        <p:spPr bwMode="auto">
          <a:xfrm>
            <a:off x="4046400" y="2682000"/>
            <a:ext cx="1800000" cy="144000"/>
          </a:xfrm>
          <a:prstGeom prst="rect">
            <a:avLst/>
          </a:prstGeom>
          <a:solidFill>
            <a:srgbClr val="9999A9"/>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sp>
        <p:nvSpPr>
          <p:cNvPr id="62" name="Rectangle 69">
            <a:extLst>
              <a:ext uri="{FF2B5EF4-FFF2-40B4-BE49-F238E27FC236}">
                <a16:creationId xmlns:a16="http://schemas.microsoft.com/office/drawing/2014/main" id="{B1F866A8-E86F-4230-901A-5022A0692C22}"/>
              </a:ext>
            </a:extLst>
          </p:cNvPr>
          <p:cNvSpPr>
            <a:spLocks noChangeArrowheads="1"/>
          </p:cNvSpPr>
          <p:nvPr>
            <p:custDataLst>
              <p:tags r:id="rId8"/>
            </p:custDataLst>
          </p:nvPr>
        </p:nvSpPr>
        <p:spPr bwMode="auto">
          <a:xfrm>
            <a:off x="5306400" y="3168000"/>
            <a:ext cx="1440000" cy="144000"/>
          </a:xfrm>
          <a:prstGeom prst="rect">
            <a:avLst/>
          </a:prstGeom>
          <a:solidFill>
            <a:srgbClr val="9999A9"/>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grpSp>
        <p:nvGrpSpPr>
          <p:cNvPr id="3" name="Group 2">
            <a:extLst>
              <a:ext uri="{FF2B5EF4-FFF2-40B4-BE49-F238E27FC236}">
                <a16:creationId xmlns:a16="http://schemas.microsoft.com/office/drawing/2014/main" id="{0BCA5F0C-55FA-4698-932A-C9F0E025A733}"/>
              </a:ext>
            </a:extLst>
          </p:cNvPr>
          <p:cNvGrpSpPr/>
          <p:nvPr/>
        </p:nvGrpSpPr>
        <p:grpSpPr>
          <a:xfrm>
            <a:off x="2786400" y="2196000"/>
            <a:ext cx="1440000" cy="144000"/>
            <a:chOff x="2786400" y="2196000"/>
            <a:chExt cx="1440000" cy="144000"/>
          </a:xfrm>
        </p:grpSpPr>
        <p:sp>
          <p:nvSpPr>
            <p:cNvPr id="63" name="Rectangle 72">
              <a:extLst>
                <a:ext uri="{FF2B5EF4-FFF2-40B4-BE49-F238E27FC236}">
                  <a16:creationId xmlns:a16="http://schemas.microsoft.com/office/drawing/2014/main" id="{61D0D3E8-63E4-43CA-8802-255082AC49F5}"/>
                </a:ext>
              </a:extLst>
            </p:cNvPr>
            <p:cNvSpPr>
              <a:spLocks noChangeArrowheads="1"/>
            </p:cNvSpPr>
            <p:nvPr>
              <p:custDataLst>
                <p:tags r:id="rId16"/>
              </p:custDataLst>
            </p:nvPr>
          </p:nvSpPr>
          <p:spPr bwMode="auto">
            <a:xfrm>
              <a:off x="2786400" y="2196000"/>
              <a:ext cx="1440000" cy="144000"/>
            </a:xfrm>
            <a:prstGeom prst="rect">
              <a:avLst/>
            </a:prstGeom>
            <a:solidFill>
              <a:srgbClr val="9999A9"/>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sp>
          <p:nvSpPr>
            <p:cNvPr id="65" name="Rectangle 72">
              <a:extLst>
                <a:ext uri="{FF2B5EF4-FFF2-40B4-BE49-F238E27FC236}">
                  <a16:creationId xmlns:a16="http://schemas.microsoft.com/office/drawing/2014/main" id="{295EE5E5-6870-400C-819A-FF39BFCA8049}"/>
                </a:ext>
              </a:extLst>
            </p:cNvPr>
            <p:cNvSpPr>
              <a:spLocks noChangeArrowheads="1"/>
            </p:cNvSpPr>
            <p:nvPr>
              <p:custDataLst>
                <p:tags r:id="rId17"/>
              </p:custDataLst>
            </p:nvPr>
          </p:nvSpPr>
          <p:spPr bwMode="auto">
            <a:xfrm>
              <a:off x="4154400" y="2196000"/>
              <a:ext cx="72000" cy="144000"/>
            </a:xfrm>
            <a:prstGeom prst="rect">
              <a:avLst/>
            </a:prstGeom>
            <a:solidFill>
              <a:srgbClr val="00FFB9"/>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grpSp>
      <p:grpSp>
        <p:nvGrpSpPr>
          <p:cNvPr id="66" name="Group 65">
            <a:extLst>
              <a:ext uri="{FF2B5EF4-FFF2-40B4-BE49-F238E27FC236}">
                <a16:creationId xmlns:a16="http://schemas.microsoft.com/office/drawing/2014/main" id="{9C1AE93A-FFCF-42C2-A4FA-12AB8F3B6C4B}"/>
              </a:ext>
            </a:extLst>
          </p:cNvPr>
          <p:cNvGrpSpPr/>
          <p:nvPr/>
        </p:nvGrpSpPr>
        <p:grpSpPr>
          <a:xfrm>
            <a:off x="7466062" y="5112000"/>
            <a:ext cx="1800338" cy="144000"/>
            <a:chOff x="2426062" y="2196000"/>
            <a:chExt cx="1800338" cy="144000"/>
          </a:xfrm>
        </p:grpSpPr>
        <p:sp>
          <p:nvSpPr>
            <p:cNvPr id="67" name="Rectangle 72">
              <a:extLst>
                <a:ext uri="{FF2B5EF4-FFF2-40B4-BE49-F238E27FC236}">
                  <a16:creationId xmlns:a16="http://schemas.microsoft.com/office/drawing/2014/main" id="{0A0A81FA-DB86-40EB-899F-6767B855E17D}"/>
                </a:ext>
              </a:extLst>
            </p:cNvPr>
            <p:cNvSpPr>
              <a:spLocks noChangeArrowheads="1"/>
            </p:cNvSpPr>
            <p:nvPr>
              <p:custDataLst>
                <p:tags r:id="rId14"/>
              </p:custDataLst>
            </p:nvPr>
          </p:nvSpPr>
          <p:spPr bwMode="auto">
            <a:xfrm>
              <a:off x="2426062" y="2196000"/>
              <a:ext cx="1800000" cy="144000"/>
            </a:xfrm>
            <a:prstGeom prst="rect">
              <a:avLst/>
            </a:prstGeom>
            <a:solidFill>
              <a:srgbClr val="9999A9"/>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sp>
          <p:nvSpPr>
            <p:cNvPr id="68" name="Rectangle 72">
              <a:extLst>
                <a:ext uri="{FF2B5EF4-FFF2-40B4-BE49-F238E27FC236}">
                  <a16:creationId xmlns:a16="http://schemas.microsoft.com/office/drawing/2014/main" id="{69D29459-2DBD-494D-A721-3229ADA07389}"/>
                </a:ext>
              </a:extLst>
            </p:cNvPr>
            <p:cNvSpPr>
              <a:spLocks noChangeArrowheads="1"/>
            </p:cNvSpPr>
            <p:nvPr>
              <p:custDataLst>
                <p:tags r:id="rId15"/>
              </p:custDataLst>
            </p:nvPr>
          </p:nvSpPr>
          <p:spPr bwMode="auto">
            <a:xfrm>
              <a:off x="4154400" y="2196000"/>
              <a:ext cx="72000" cy="144000"/>
            </a:xfrm>
            <a:prstGeom prst="rect">
              <a:avLst/>
            </a:prstGeom>
            <a:solidFill>
              <a:srgbClr val="00FFB9"/>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grpSp>
      <p:grpSp>
        <p:nvGrpSpPr>
          <p:cNvPr id="72" name="Group 71">
            <a:extLst>
              <a:ext uri="{FF2B5EF4-FFF2-40B4-BE49-F238E27FC236}">
                <a16:creationId xmlns:a16="http://schemas.microsoft.com/office/drawing/2014/main" id="{1B7F658E-21E2-4F4A-80F6-84C5713BBAC4}"/>
              </a:ext>
            </a:extLst>
          </p:cNvPr>
          <p:cNvGrpSpPr/>
          <p:nvPr/>
        </p:nvGrpSpPr>
        <p:grpSpPr>
          <a:xfrm>
            <a:off x="9981262" y="5598000"/>
            <a:ext cx="1080000" cy="144000"/>
            <a:chOff x="2426062" y="2196000"/>
            <a:chExt cx="1080000" cy="144000"/>
          </a:xfrm>
        </p:grpSpPr>
        <p:sp>
          <p:nvSpPr>
            <p:cNvPr id="73" name="Rectangle 72">
              <a:extLst>
                <a:ext uri="{FF2B5EF4-FFF2-40B4-BE49-F238E27FC236}">
                  <a16:creationId xmlns:a16="http://schemas.microsoft.com/office/drawing/2014/main" id="{56683E7A-0CD7-40ED-8395-459A0FF21A74}"/>
                </a:ext>
              </a:extLst>
            </p:cNvPr>
            <p:cNvSpPr>
              <a:spLocks noChangeArrowheads="1"/>
            </p:cNvSpPr>
            <p:nvPr>
              <p:custDataLst>
                <p:tags r:id="rId12"/>
              </p:custDataLst>
            </p:nvPr>
          </p:nvSpPr>
          <p:spPr bwMode="auto">
            <a:xfrm>
              <a:off x="2426062" y="2196000"/>
              <a:ext cx="1080000" cy="144000"/>
            </a:xfrm>
            <a:prstGeom prst="rect">
              <a:avLst/>
            </a:prstGeom>
            <a:solidFill>
              <a:srgbClr val="9999A9"/>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sp>
          <p:nvSpPr>
            <p:cNvPr id="74" name="Rectangle 72">
              <a:extLst>
                <a:ext uri="{FF2B5EF4-FFF2-40B4-BE49-F238E27FC236}">
                  <a16:creationId xmlns:a16="http://schemas.microsoft.com/office/drawing/2014/main" id="{4296438B-A256-46A7-8AB2-2C09F7AA7C74}"/>
                </a:ext>
              </a:extLst>
            </p:cNvPr>
            <p:cNvSpPr>
              <a:spLocks noChangeArrowheads="1"/>
            </p:cNvSpPr>
            <p:nvPr>
              <p:custDataLst>
                <p:tags r:id="rId13"/>
              </p:custDataLst>
            </p:nvPr>
          </p:nvSpPr>
          <p:spPr bwMode="auto">
            <a:xfrm>
              <a:off x="3434062" y="2196000"/>
              <a:ext cx="72000" cy="144000"/>
            </a:xfrm>
            <a:prstGeom prst="rect">
              <a:avLst/>
            </a:prstGeom>
            <a:solidFill>
              <a:srgbClr val="00FFB9"/>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grpSp>
      <p:grpSp>
        <p:nvGrpSpPr>
          <p:cNvPr id="38" name="Group 24">
            <a:extLst>
              <a:ext uri="{FF2B5EF4-FFF2-40B4-BE49-F238E27FC236}">
                <a16:creationId xmlns:a16="http://schemas.microsoft.com/office/drawing/2014/main" id="{1F8B07CC-6EDF-4907-A300-EFDAB6F79720}"/>
              </a:ext>
            </a:extLst>
          </p:cNvPr>
          <p:cNvGrpSpPr/>
          <p:nvPr/>
        </p:nvGrpSpPr>
        <p:grpSpPr>
          <a:xfrm>
            <a:off x="3208259" y="2025764"/>
            <a:ext cx="735326" cy="4204132"/>
            <a:chOff x="3906629" y="1921657"/>
            <a:chExt cx="721352" cy="4204132"/>
          </a:xfrm>
        </p:grpSpPr>
        <p:sp>
          <p:nvSpPr>
            <p:cNvPr id="39" name="Rectangle 76">
              <a:extLst>
                <a:ext uri="{FF2B5EF4-FFF2-40B4-BE49-F238E27FC236}">
                  <a16:creationId xmlns:a16="http://schemas.microsoft.com/office/drawing/2014/main" id="{BB804D1F-10D7-4600-B0FD-27AADB5051C1}"/>
                </a:ext>
              </a:extLst>
            </p:cNvPr>
            <p:cNvSpPr>
              <a:spLocks noChangeArrowheads="1"/>
            </p:cNvSpPr>
            <p:nvPr>
              <p:custDataLst>
                <p:tags r:id="rId9"/>
              </p:custDataLst>
            </p:nvPr>
          </p:nvSpPr>
          <p:spPr bwMode="auto">
            <a:xfrm>
              <a:off x="3906629" y="5899198"/>
              <a:ext cx="721352" cy="226591"/>
            </a:xfrm>
            <a:prstGeom prst="rect">
              <a:avLst/>
            </a:prstGeom>
            <a:noFill/>
            <a:ln>
              <a:noFill/>
            </a:ln>
            <a:effectLst/>
          </p:spPr>
          <p:txBody>
            <a:bodyPr wrap="none" lIns="0" tIns="72000" rIns="0" bIns="0" anchor="ctr">
              <a:spAutoFit/>
            </a:bodyP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spcBef>
                  <a:spcPct val="0"/>
                </a:spcBef>
                <a:buClrTx/>
                <a:buFontTx/>
                <a:buNone/>
              </a:pPr>
              <a:r>
                <a:rPr lang="en-US" altLang="de-DE" sz="1000" dirty="0">
                  <a:latin typeface="+mn-lt"/>
                </a:rPr>
                <a:t>XX.XX.20XX</a:t>
              </a:r>
            </a:p>
          </p:txBody>
        </p:sp>
        <p:grpSp>
          <p:nvGrpSpPr>
            <p:cNvPr id="40" name="Group 26">
              <a:extLst>
                <a:ext uri="{FF2B5EF4-FFF2-40B4-BE49-F238E27FC236}">
                  <a16:creationId xmlns:a16="http://schemas.microsoft.com/office/drawing/2014/main" id="{452CDB98-CFBE-4357-AD08-08D952D7DD98}"/>
                </a:ext>
              </a:extLst>
            </p:cNvPr>
            <p:cNvGrpSpPr/>
            <p:nvPr/>
          </p:nvGrpSpPr>
          <p:grpSpPr>
            <a:xfrm>
              <a:off x="4183715" y="1921657"/>
              <a:ext cx="160950" cy="3968016"/>
              <a:chOff x="4183715" y="1921657"/>
              <a:chExt cx="160950" cy="3968016"/>
            </a:xfrm>
          </p:grpSpPr>
          <p:sp>
            <p:nvSpPr>
              <p:cNvPr id="41" name="Line 64">
                <a:extLst>
                  <a:ext uri="{FF2B5EF4-FFF2-40B4-BE49-F238E27FC236}">
                    <a16:creationId xmlns:a16="http://schemas.microsoft.com/office/drawing/2014/main" id="{263EC847-277C-4578-91E5-D647154AA00E}"/>
                  </a:ext>
                </a:extLst>
              </p:cNvPr>
              <p:cNvSpPr>
                <a:spLocks noChangeShapeType="1"/>
              </p:cNvSpPr>
              <p:nvPr>
                <p:custDataLst>
                  <p:tags r:id="rId10"/>
                </p:custDataLst>
              </p:nvPr>
            </p:nvSpPr>
            <p:spPr bwMode="gray">
              <a:xfrm flipH="1">
                <a:off x="4263375" y="1921657"/>
                <a:ext cx="0" cy="3875198"/>
              </a:xfrm>
              <a:prstGeom prst="line">
                <a:avLst/>
              </a:prstGeom>
              <a:noFill/>
              <a:ln w="19050">
                <a:solidFill>
                  <a:schemeClr val="tx1"/>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2" name="AutoShape 74">
                <a:extLst>
                  <a:ext uri="{FF2B5EF4-FFF2-40B4-BE49-F238E27FC236}">
                    <a16:creationId xmlns:a16="http://schemas.microsoft.com/office/drawing/2014/main" id="{2420331D-A16E-43AC-A8F4-4386F26E273E}"/>
                  </a:ext>
                </a:extLst>
              </p:cNvPr>
              <p:cNvSpPr>
                <a:spLocks noChangeArrowheads="1"/>
              </p:cNvSpPr>
              <p:nvPr>
                <p:custDataLst>
                  <p:tags r:id="rId11"/>
                </p:custDataLst>
              </p:nvPr>
            </p:nvSpPr>
            <p:spPr bwMode="auto">
              <a:xfrm>
                <a:off x="4183715" y="5784898"/>
                <a:ext cx="160950" cy="104775"/>
              </a:xfrm>
              <a:prstGeom prst="triangle">
                <a:avLst>
                  <a:gd name="adj" fmla="val 50000"/>
                </a:avLst>
              </a:prstGeom>
              <a:solidFill>
                <a:schemeClr val="tx2"/>
              </a:solidFill>
              <a:ln w="19050">
                <a:noFill/>
                <a:miter lim="800000"/>
                <a:headEnd/>
                <a:tailEnd/>
              </a:ln>
              <a:effectLst/>
            </p:spPr>
            <p:txBody>
              <a:bodyPr wrap="none"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grpSp>
      </p:grpSp>
      <p:sp>
        <p:nvSpPr>
          <p:cNvPr id="4" name="Footer Placeholder 3">
            <a:extLst>
              <a:ext uri="{FF2B5EF4-FFF2-40B4-BE49-F238E27FC236}">
                <a16:creationId xmlns:a16="http://schemas.microsoft.com/office/drawing/2014/main" id="{E26A4382-1A04-4819-96C9-E2B1C82390E2}"/>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5" name="Slide Number Placeholder 4">
            <a:extLst>
              <a:ext uri="{FF2B5EF4-FFF2-40B4-BE49-F238E27FC236}">
                <a16:creationId xmlns:a16="http://schemas.microsoft.com/office/drawing/2014/main" id="{28CBD0F7-F08E-4C07-A98A-C829A219546C}"/>
              </a:ext>
            </a:extLst>
          </p:cNvPr>
          <p:cNvSpPr>
            <a:spLocks noGrp="1"/>
          </p:cNvSpPr>
          <p:nvPr>
            <p:ph type="sldNum" sz="quarter" idx="11"/>
          </p:nvPr>
        </p:nvSpPr>
        <p:spPr/>
        <p:txBody>
          <a:bodyPr/>
          <a:lstStyle/>
          <a:p>
            <a:r>
              <a:rPr lang="en-US" dirty="0"/>
              <a:t>Page </a:t>
            </a:r>
            <a:fld id="{15EBE321-CBB1-4E91-BD14-37C8D44326FB}" type="slidenum">
              <a:rPr lang="en-US" smtClean="0"/>
              <a:pPr/>
              <a:t>48</a:t>
            </a:fld>
            <a:endParaRPr lang="en-US" dirty="0"/>
          </a:p>
        </p:txBody>
      </p:sp>
    </p:spTree>
    <p:extLst>
      <p:ext uri="{BB962C8B-B14F-4D97-AF65-F5344CB8AC3E}">
        <p14:creationId xmlns:p14="http://schemas.microsoft.com/office/powerpoint/2010/main" val="3077076432"/>
      </p:ext>
    </p:extLst>
  </p:cSld>
  <p:clrMapOvr>
    <a:masterClrMapping/>
  </p:clrMapOv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2"/>
          <p:cNvSpPr>
            <a:spLocks noGrp="1" noChangeArrowheads="1"/>
          </p:cNvSpPr>
          <p:nvPr>
            <p:ph type="title"/>
            <p:custDataLst>
              <p:tags r:id="rId1"/>
            </p:custDataLst>
          </p:nvPr>
        </p:nvSpPr>
        <p:spPr/>
        <p:txBody>
          <a:bodyPr/>
          <a:lstStyle/>
          <a:p>
            <a:r>
              <a:rPr lang="en-US" dirty="0"/>
              <a:t>Project timeline – detailed</a:t>
            </a:r>
            <a:endParaRPr lang="en-US" altLang="de-DE" dirty="0"/>
          </a:p>
        </p:txBody>
      </p:sp>
      <p:sp>
        <p:nvSpPr>
          <p:cNvPr id="4" name="Footer Placeholder 3">
            <a:extLst>
              <a:ext uri="{FF2B5EF4-FFF2-40B4-BE49-F238E27FC236}">
                <a16:creationId xmlns:a16="http://schemas.microsoft.com/office/drawing/2014/main" id="{E26A4382-1A04-4819-96C9-E2B1C82390E2}"/>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5" name="Slide Number Placeholder 4">
            <a:extLst>
              <a:ext uri="{FF2B5EF4-FFF2-40B4-BE49-F238E27FC236}">
                <a16:creationId xmlns:a16="http://schemas.microsoft.com/office/drawing/2014/main" id="{28CBD0F7-F08E-4C07-A98A-C829A219546C}"/>
              </a:ext>
            </a:extLst>
          </p:cNvPr>
          <p:cNvSpPr>
            <a:spLocks noGrp="1"/>
          </p:cNvSpPr>
          <p:nvPr>
            <p:ph type="sldNum" sz="quarter" idx="11"/>
          </p:nvPr>
        </p:nvSpPr>
        <p:spPr/>
        <p:txBody>
          <a:bodyPr/>
          <a:lstStyle/>
          <a:p>
            <a:r>
              <a:rPr lang="en-US" dirty="0"/>
              <a:t>Page </a:t>
            </a:r>
            <a:fld id="{15EBE321-CBB1-4E91-BD14-37C8D44326FB}" type="slidenum">
              <a:rPr lang="en-US" smtClean="0"/>
              <a:pPr/>
              <a:t>49</a:t>
            </a:fld>
            <a:endParaRPr lang="en-US" dirty="0"/>
          </a:p>
        </p:txBody>
      </p:sp>
      <p:graphicFrame>
        <p:nvGraphicFramePr>
          <p:cNvPr id="88153" name="Rectangle 90" hidden="1"/>
          <p:cNvGraphicFramePr>
            <a:graphicFrameLocks/>
          </p:cNvGraphicFramePr>
          <p:nvPr>
            <p:custDataLst>
              <p:tags r:id="rId2"/>
            </p:custDataLst>
          </p:nvPr>
        </p:nvGraphicFramePr>
        <p:xfrm>
          <a:off x="0" y="1785"/>
          <a:ext cx="211667" cy="158667"/>
        </p:xfrm>
        <a:graphic>
          <a:graphicData uri="http://schemas.openxmlformats.org/presentationml/2006/ole">
            <mc:AlternateContent xmlns:mc="http://schemas.openxmlformats.org/markup-compatibility/2006">
              <mc:Choice xmlns:v="urn:schemas-microsoft-com:vml" Requires="v">
                <p:oleObj r:id="rId20" imgW="0" imgH="0" progId="">
                  <p:embed/>
                </p:oleObj>
              </mc:Choice>
              <mc:Fallback>
                <p:oleObj r:id="rId20" imgW="0" imgH="0" progId="">
                  <p:embed/>
                  <p:pic>
                    <p:nvPicPr>
                      <p:cNvPr id="88153" name="Rectangle 90"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785"/>
                        <a:ext cx="211667" cy="15866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8154" name="Rectangle 91" hidden="1"/>
          <p:cNvSpPr>
            <a:spLocks noChangeArrowheads="1"/>
          </p:cNvSpPr>
          <p:nvPr>
            <p:custDataLst>
              <p:tags r:id="rId3"/>
            </p:custDataLst>
          </p:nvPr>
        </p:nvSpPr>
        <p:spPr bwMode="auto">
          <a:xfrm>
            <a:off x="0" y="1785"/>
            <a:ext cx="211667" cy="158667"/>
          </a:xfrm>
          <a:prstGeom prst="rect">
            <a:avLst/>
          </a:prstGeom>
          <a:solidFill>
            <a:srgbClr val="99CC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6493" tIns="0" rIns="36493"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lnSpc>
                <a:spcPct val="90000"/>
              </a:lnSpc>
              <a:spcBef>
                <a:spcPct val="0"/>
              </a:spcBef>
              <a:buClrTx/>
              <a:buFontTx/>
              <a:buNone/>
            </a:pPr>
            <a:r>
              <a:rPr lang="de-DE" altLang="de-DE" sz="999" dirty="0">
                <a:latin typeface="ArialS" pitchFamily="34" charset="0"/>
              </a:rPr>
              <a:t>19%</a:t>
            </a:r>
          </a:p>
        </p:txBody>
      </p:sp>
      <p:graphicFrame>
        <p:nvGraphicFramePr>
          <p:cNvPr id="91" name="Group 3"/>
          <p:cNvGraphicFramePr>
            <a:graphicFrameLocks noGrp="1"/>
          </p:cNvGraphicFramePr>
          <p:nvPr>
            <p:extLst>
              <p:ext uri="{D42A27DB-BD31-4B8C-83A1-F6EECF244321}">
                <p14:modId xmlns:p14="http://schemas.microsoft.com/office/powerpoint/2010/main" val="793752766"/>
              </p:ext>
            </p:extLst>
          </p:nvPr>
        </p:nvGraphicFramePr>
        <p:xfrm>
          <a:off x="410400" y="1415849"/>
          <a:ext cx="11376000" cy="4497658"/>
        </p:xfrm>
        <a:graphic>
          <a:graphicData uri="http://schemas.openxmlformats.org/drawingml/2006/table">
            <a:tbl>
              <a:tblPr>
                <a:tableStyleId>{0E3FDE45-AF77-4B5C-9715-49D594BDF05E}</a:tableStyleId>
              </a:tblPr>
              <a:tblGrid>
                <a:gridCol w="2016000">
                  <a:extLst>
                    <a:ext uri="{9D8B030D-6E8A-4147-A177-3AD203B41FA5}">
                      <a16:colId xmlns:a16="http://schemas.microsoft.com/office/drawing/2014/main" val="20000"/>
                    </a:ext>
                  </a:extLst>
                </a:gridCol>
                <a:gridCol w="360000">
                  <a:extLst>
                    <a:ext uri="{9D8B030D-6E8A-4147-A177-3AD203B41FA5}">
                      <a16:colId xmlns:a16="http://schemas.microsoft.com/office/drawing/2014/main" val="20001"/>
                    </a:ext>
                  </a:extLst>
                </a:gridCol>
                <a:gridCol w="360000">
                  <a:extLst>
                    <a:ext uri="{9D8B030D-6E8A-4147-A177-3AD203B41FA5}">
                      <a16:colId xmlns:a16="http://schemas.microsoft.com/office/drawing/2014/main" val="20002"/>
                    </a:ext>
                  </a:extLst>
                </a:gridCol>
                <a:gridCol w="360000">
                  <a:extLst>
                    <a:ext uri="{9D8B030D-6E8A-4147-A177-3AD203B41FA5}">
                      <a16:colId xmlns:a16="http://schemas.microsoft.com/office/drawing/2014/main" val="20003"/>
                    </a:ext>
                  </a:extLst>
                </a:gridCol>
                <a:gridCol w="360000">
                  <a:extLst>
                    <a:ext uri="{9D8B030D-6E8A-4147-A177-3AD203B41FA5}">
                      <a16:colId xmlns:a16="http://schemas.microsoft.com/office/drawing/2014/main" val="20004"/>
                    </a:ext>
                  </a:extLst>
                </a:gridCol>
                <a:gridCol w="360000">
                  <a:extLst>
                    <a:ext uri="{9D8B030D-6E8A-4147-A177-3AD203B41FA5}">
                      <a16:colId xmlns:a16="http://schemas.microsoft.com/office/drawing/2014/main" val="20006"/>
                    </a:ext>
                  </a:extLst>
                </a:gridCol>
                <a:gridCol w="360000">
                  <a:extLst>
                    <a:ext uri="{9D8B030D-6E8A-4147-A177-3AD203B41FA5}">
                      <a16:colId xmlns:a16="http://schemas.microsoft.com/office/drawing/2014/main" val="20007"/>
                    </a:ext>
                  </a:extLst>
                </a:gridCol>
                <a:gridCol w="360000">
                  <a:extLst>
                    <a:ext uri="{9D8B030D-6E8A-4147-A177-3AD203B41FA5}">
                      <a16:colId xmlns:a16="http://schemas.microsoft.com/office/drawing/2014/main" val="20008"/>
                    </a:ext>
                  </a:extLst>
                </a:gridCol>
                <a:gridCol w="360000">
                  <a:extLst>
                    <a:ext uri="{9D8B030D-6E8A-4147-A177-3AD203B41FA5}">
                      <a16:colId xmlns:a16="http://schemas.microsoft.com/office/drawing/2014/main" val="3003269114"/>
                    </a:ext>
                  </a:extLst>
                </a:gridCol>
                <a:gridCol w="360000">
                  <a:extLst>
                    <a:ext uri="{9D8B030D-6E8A-4147-A177-3AD203B41FA5}">
                      <a16:colId xmlns:a16="http://schemas.microsoft.com/office/drawing/2014/main" val="20009"/>
                    </a:ext>
                  </a:extLst>
                </a:gridCol>
                <a:gridCol w="360000">
                  <a:extLst>
                    <a:ext uri="{9D8B030D-6E8A-4147-A177-3AD203B41FA5}">
                      <a16:colId xmlns:a16="http://schemas.microsoft.com/office/drawing/2014/main" val="20010"/>
                    </a:ext>
                  </a:extLst>
                </a:gridCol>
                <a:gridCol w="360000">
                  <a:extLst>
                    <a:ext uri="{9D8B030D-6E8A-4147-A177-3AD203B41FA5}">
                      <a16:colId xmlns:a16="http://schemas.microsoft.com/office/drawing/2014/main" val="20011"/>
                    </a:ext>
                  </a:extLst>
                </a:gridCol>
                <a:gridCol w="360000">
                  <a:extLst>
                    <a:ext uri="{9D8B030D-6E8A-4147-A177-3AD203B41FA5}">
                      <a16:colId xmlns:a16="http://schemas.microsoft.com/office/drawing/2014/main" val="20012"/>
                    </a:ext>
                  </a:extLst>
                </a:gridCol>
                <a:gridCol w="360000">
                  <a:extLst>
                    <a:ext uri="{9D8B030D-6E8A-4147-A177-3AD203B41FA5}">
                      <a16:colId xmlns:a16="http://schemas.microsoft.com/office/drawing/2014/main" val="20013"/>
                    </a:ext>
                  </a:extLst>
                </a:gridCol>
                <a:gridCol w="360000">
                  <a:extLst>
                    <a:ext uri="{9D8B030D-6E8A-4147-A177-3AD203B41FA5}">
                      <a16:colId xmlns:a16="http://schemas.microsoft.com/office/drawing/2014/main" val="20014"/>
                    </a:ext>
                  </a:extLst>
                </a:gridCol>
                <a:gridCol w="360000">
                  <a:extLst>
                    <a:ext uri="{9D8B030D-6E8A-4147-A177-3AD203B41FA5}">
                      <a16:colId xmlns:a16="http://schemas.microsoft.com/office/drawing/2014/main" val="516571828"/>
                    </a:ext>
                  </a:extLst>
                </a:gridCol>
                <a:gridCol w="360000">
                  <a:extLst>
                    <a:ext uri="{9D8B030D-6E8A-4147-A177-3AD203B41FA5}">
                      <a16:colId xmlns:a16="http://schemas.microsoft.com/office/drawing/2014/main" val="2676584514"/>
                    </a:ext>
                  </a:extLst>
                </a:gridCol>
                <a:gridCol w="360000">
                  <a:extLst>
                    <a:ext uri="{9D8B030D-6E8A-4147-A177-3AD203B41FA5}">
                      <a16:colId xmlns:a16="http://schemas.microsoft.com/office/drawing/2014/main" val="3366357171"/>
                    </a:ext>
                  </a:extLst>
                </a:gridCol>
                <a:gridCol w="360000">
                  <a:extLst>
                    <a:ext uri="{9D8B030D-6E8A-4147-A177-3AD203B41FA5}">
                      <a16:colId xmlns:a16="http://schemas.microsoft.com/office/drawing/2014/main" val="1837459430"/>
                    </a:ext>
                  </a:extLst>
                </a:gridCol>
                <a:gridCol w="360000">
                  <a:extLst>
                    <a:ext uri="{9D8B030D-6E8A-4147-A177-3AD203B41FA5}">
                      <a16:colId xmlns:a16="http://schemas.microsoft.com/office/drawing/2014/main" val="428055916"/>
                    </a:ext>
                  </a:extLst>
                </a:gridCol>
                <a:gridCol w="360000">
                  <a:extLst>
                    <a:ext uri="{9D8B030D-6E8A-4147-A177-3AD203B41FA5}">
                      <a16:colId xmlns:a16="http://schemas.microsoft.com/office/drawing/2014/main" val="520531829"/>
                    </a:ext>
                  </a:extLst>
                </a:gridCol>
                <a:gridCol w="360000">
                  <a:extLst>
                    <a:ext uri="{9D8B030D-6E8A-4147-A177-3AD203B41FA5}">
                      <a16:colId xmlns:a16="http://schemas.microsoft.com/office/drawing/2014/main" val="938072656"/>
                    </a:ext>
                  </a:extLst>
                </a:gridCol>
                <a:gridCol w="360000">
                  <a:extLst>
                    <a:ext uri="{9D8B030D-6E8A-4147-A177-3AD203B41FA5}">
                      <a16:colId xmlns:a16="http://schemas.microsoft.com/office/drawing/2014/main" val="3544878487"/>
                    </a:ext>
                  </a:extLst>
                </a:gridCol>
                <a:gridCol w="360000">
                  <a:extLst>
                    <a:ext uri="{9D8B030D-6E8A-4147-A177-3AD203B41FA5}">
                      <a16:colId xmlns:a16="http://schemas.microsoft.com/office/drawing/2014/main" val="139179865"/>
                    </a:ext>
                  </a:extLst>
                </a:gridCol>
                <a:gridCol w="360000">
                  <a:extLst>
                    <a:ext uri="{9D8B030D-6E8A-4147-A177-3AD203B41FA5}">
                      <a16:colId xmlns:a16="http://schemas.microsoft.com/office/drawing/2014/main" val="1703050402"/>
                    </a:ext>
                  </a:extLst>
                </a:gridCol>
                <a:gridCol w="360000">
                  <a:extLst>
                    <a:ext uri="{9D8B030D-6E8A-4147-A177-3AD203B41FA5}">
                      <a16:colId xmlns:a16="http://schemas.microsoft.com/office/drawing/2014/main" val="3279812485"/>
                    </a:ext>
                  </a:extLst>
                </a:gridCol>
                <a:gridCol w="360000">
                  <a:extLst>
                    <a:ext uri="{9D8B030D-6E8A-4147-A177-3AD203B41FA5}">
                      <a16:colId xmlns:a16="http://schemas.microsoft.com/office/drawing/2014/main" val="1904613750"/>
                    </a:ext>
                  </a:extLst>
                </a:gridCol>
              </a:tblGrid>
              <a:tr h="305841">
                <a:tc rowSpan="2">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797050" algn="r"/>
                        </a:tabLst>
                      </a:pPr>
                      <a:r>
                        <a:rPr kumimoji="0" lang="es-ES" sz="1100" b="1" u="none" strike="noStrike" cap="none" normalizeH="0" baseline="0" noProof="0" dirty="0">
                          <a:ln>
                            <a:noFill/>
                          </a:ln>
                          <a:effectLst/>
                        </a:rPr>
                        <a:t>Duis arcu eget</a:t>
                      </a:r>
                      <a:endParaRPr kumimoji="0" lang="en-US" sz="1100" b="1" i="0" u="none" strike="noStrike" cap="none" normalizeH="0" baseline="0" noProof="0" dirty="0">
                        <a:ln>
                          <a:noFill/>
                        </a:ln>
                        <a:solidFill>
                          <a:srgbClr val="3C464B"/>
                        </a:solidFill>
                        <a:effectLst/>
                        <a:latin typeface="Arial" charset="0"/>
                      </a:endParaRPr>
                    </a:p>
                  </a:txBody>
                  <a:tcPr marL="72000" marR="71963" marT="71963" marB="71963" anchor="b" horzOverflow="overflow">
                    <a:lnR w="12700" cap="flat" cmpd="sng" algn="ctr">
                      <a:solidFill>
                        <a:srgbClr val="66667E"/>
                      </a:solidFill>
                      <a:prstDash val="solid"/>
                      <a:round/>
                      <a:headEnd type="none" w="med" len="med"/>
                      <a:tailEnd type="none" w="med" len="med"/>
                    </a:lnR>
                    <a:lnB w="9525" cap="flat" cmpd="sng" algn="ctr">
                      <a:noFill/>
                      <a:prstDash val="solid"/>
                      <a:round/>
                      <a:headEnd type="none" w="med" len="med"/>
                      <a:tailEnd type="none" w="med" len="med"/>
                    </a:lnB>
                    <a:solidFill>
                      <a:srgbClr val="333353"/>
                    </a:solidFill>
                  </a:tcPr>
                </a:tc>
                <a:tc gridSpan="4">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b="1" u="none" strike="noStrike" cap="none" normalizeH="0" baseline="0" noProof="0" dirty="0">
                          <a:ln>
                            <a:noFill/>
                          </a:ln>
                          <a:effectLst/>
                        </a:rPr>
                        <a:t>Oct 20XX</a:t>
                      </a:r>
                      <a:endParaRPr kumimoji="0" lang="en-US" sz="1100" b="1" i="0" u="none" strike="noStrike" cap="none" normalizeH="0" baseline="0" noProof="0" dirty="0">
                        <a:ln>
                          <a:noFill/>
                        </a:ln>
                        <a:solidFill>
                          <a:schemeClr val="bg1"/>
                        </a:solidFill>
                        <a:effectLst/>
                        <a:latin typeface="Arial" charset="0"/>
                      </a:endParaRPr>
                    </a:p>
                  </a:txBody>
                  <a:tcPr marL="71963" marR="71963" marT="0" marB="0"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B w="12700" cap="flat" cmpd="sng" algn="ctr">
                      <a:noFill/>
                      <a:prstDash val="solid"/>
                      <a:round/>
                      <a:headEnd type="none" w="med" len="med"/>
                      <a:tailEnd type="none" w="med" len="med"/>
                    </a:lnB>
                    <a:solidFill>
                      <a:srgbClr val="333353"/>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1" i="0" u="none" strike="noStrike" cap="none" normalizeH="0" baseline="0" noProof="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1" i="0" u="none" strike="noStrike" cap="none" normalizeH="0" baseline="0" noProof="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1" i="0" u="none" strike="noStrike" cap="none" normalizeH="0" baseline="0" noProof="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tc gridSpan="5">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b="1" u="none" strike="noStrike" cap="none" normalizeH="0" baseline="0" noProof="0" dirty="0">
                          <a:ln>
                            <a:noFill/>
                          </a:ln>
                          <a:effectLst/>
                        </a:rPr>
                        <a:t>Nov</a:t>
                      </a:r>
                      <a:endParaRPr kumimoji="0" lang="en-US" sz="1100" b="1" i="0" u="none" strike="noStrike" cap="none" normalizeH="0" baseline="0" noProof="0" dirty="0">
                        <a:ln>
                          <a:noFill/>
                        </a:ln>
                        <a:solidFill>
                          <a:schemeClr val="bg1"/>
                        </a:solidFill>
                        <a:effectLst/>
                        <a:latin typeface="Arial" charset="0"/>
                      </a:endParaRPr>
                    </a:p>
                  </a:txBody>
                  <a:tcPr marL="71963" marR="71963" marT="0" marB="0"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B w="12700" cap="flat" cmpd="sng" algn="ctr">
                      <a:noFill/>
                      <a:prstDash val="solid"/>
                      <a:round/>
                      <a:headEnd type="none" w="med" len="med"/>
                      <a:tailEnd type="none" w="med" len="med"/>
                    </a:lnB>
                    <a:solidFill>
                      <a:srgbClr val="333353"/>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1" i="0" u="none" strike="noStrike" cap="none" normalizeH="0" baseline="0" noProof="0" dirty="0">
                        <a:ln>
                          <a:noFill/>
                        </a:ln>
                        <a:solidFill>
                          <a:schemeClr val="bg1"/>
                        </a:solidFill>
                        <a:effectLst/>
                        <a:latin typeface="Arial" charset="0"/>
                      </a:endParaRPr>
                    </a:p>
                  </a:txBody>
                  <a:tcPr marL="91373" marR="91373" marT="47514" marB="47514" anchor="ctr" horzOverflow="overflow">
                    <a:lnL w="9525" cap="flat" cmpd="sng" algn="ctr">
                      <a:solidFill>
                        <a:srgbClr val="CCCCD4"/>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646E"/>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1" i="0" u="none" strike="noStrike" cap="none" normalizeH="0" baseline="0" noProof="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646E"/>
                    </a:solidFill>
                  </a:tcPr>
                </a:tc>
                <a:tc hMerge="1">
                  <a:txBody>
                    <a:bodyPr/>
                    <a:lstStyle/>
                    <a:p>
                      <a:endParaRPr lang="en-US"/>
                    </a:p>
                  </a:txBody>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1" i="0" u="none" strike="noStrike" cap="none" normalizeH="0" baseline="0" noProof="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646E"/>
                    </a:solidFill>
                  </a:tcPr>
                </a:tc>
                <a:tc gridSpan="4">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b="1" u="none" strike="noStrike" cap="none" normalizeH="0" baseline="0" noProof="0" dirty="0">
                          <a:ln>
                            <a:noFill/>
                          </a:ln>
                          <a:effectLst/>
                        </a:rPr>
                        <a:t>Dec</a:t>
                      </a:r>
                      <a:endParaRPr kumimoji="0" lang="en-US" sz="1100" b="1" i="0" u="none" strike="noStrike" cap="none" normalizeH="0" baseline="0" noProof="0" dirty="0">
                        <a:ln>
                          <a:noFill/>
                        </a:ln>
                        <a:solidFill>
                          <a:schemeClr val="bg1"/>
                        </a:solidFill>
                        <a:effectLst/>
                        <a:latin typeface="Arial" charset="0"/>
                      </a:endParaRPr>
                    </a:p>
                  </a:txBody>
                  <a:tcPr marL="71963" marR="71963" marT="0" marB="0"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B w="12700" cap="flat" cmpd="sng" algn="ctr">
                      <a:noFill/>
                      <a:prstDash val="solid"/>
                      <a:round/>
                      <a:headEnd type="none" w="med" len="med"/>
                      <a:tailEnd type="none" w="med" len="med"/>
                    </a:lnB>
                    <a:solidFill>
                      <a:srgbClr val="333353"/>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1" i="0" u="none" strike="noStrike" cap="none" normalizeH="0" baseline="0" noProof="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646E"/>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1" i="0" u="none" strike="noStrike" cap="none" normalizeH="0" baseline="0" noProof="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646E"/>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1" i="0" u="none" strike="noStrike" cap="none" normalizeH="0" baseline="0" noProof="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646E"/>
                    </a:solidFill>
                  </a:tcPr>
                </a:tc>
                <a:tc gridSpan="5">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r>
                        <a:rPr kumimoji="0" lang="en-US" sz="1100" b="1" u="none" strike="noStrike" cap="none" normalizeH="0" baseline="0" noProof="0" dirty="0">
                          <a:ln>
                            <a:noFill/>
                          </a:ln>
                          <a:effectLst/>
                        </a:rPr>
                        <a:t>Jan 20XX</a:t>
                      </a:r>
                      <a:endParaRPr kumimoji="0" lang="en-US" sz="1100" b="1" i="0" u="none" strike="noStrike" cap="none" normalizeH="0" baseline="0" noProof="0" dirty="0">
                        <a:ln>
                          <a:noFill/>
                        </a:ln>
                        <a:solidFill>
                          <a:schemeClr val="bg1"/>
                        </a:solidFill>
                        <a:effectLst/>
                        <a:latin typeface="Arial" charset="0"/>
                      </a:endParaRPr>
                    </a:p>
                  </a:txBody>
                  <a:tcPr marL="71963" marR="71963" marT="0" marB="0"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B w="12700" cap="flat" cmpd="sng" algn="ctr">
                      <a:noFill/>
                      <a:prstDash val="solid"/>
                      <a:round/>
                      <a:headEnd type="none" w="med" len="med"/>
                      <a:tailEnd type="none" w="med" len="med"/>
                    </a:lnB>
                    <a:solidFill>
                      <a:srgbClr val="333353"/>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1" i="0" u="none" strike="noStrike" cap="none" normalizeH="0" baseline="0" noProof="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646E"/>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1" i="0" u="none" strike="noStrike" cap="none" normalizeH="0" baseline="0" noProof="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646E"/>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1" i="0" u="none" strike="noStrike" cap="none" normalizeH="0" baseline="0" noProof="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646E"/>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1" i="0" u="none" strike="noStrike" cap="none" normalizeH="0" baseline="0" noProof="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646E"/>
                    </a:solidFill>
                  </a:tcPr>
                </a:tc>
                <a:tc gridSpan="4">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r>
                        <a:rPr kumimoji="0" lang="en-US" sz="1100" b="1" u="none" strike="noStrike" cap="none" normalizeH="0" baseline="0" noProof="0" dirty="0">
                          <a:ln>
                            <a:noFill/>
                          </a:ln>
                          <a:effectLst/>
                        </a:rPr>
                        <a:t>Feb</a:t>
                      </a:r>
                      <a:endParaRPr kumimoji="0" lang="en-US" sz="1100" b="1" i="0" u="none" strike="noStrike" cap="none" normalizeH="0" baseline="0" noProof="0" dirty="0">
                        <a:ln>
                          <a:noFill/>
                        </a:ln>
                        <a:solidFill>
                          <a:schemeClr val="bg1"/>
                        </a:solidFill>
                        <a:effectLst/>
                        <a:latin typeface="Arial" charset="0"/>
                      </a:endParaRPr>
                    </a:p>
                  </a:txBody>
                  <a:tcPr marL="71963" marR="71963" marT="0" marB="0"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B w="12700" cap="flat" cmpd="sng" algn="ctr">
                      <a:noFill/>
                      <a:prstDash val="solid"/>
                      <a:round/>
                      <a:headEnd type="none" w="med" len="med"/>
                      <a:tailEnd type="none" w="med" len="med"/>
                    </a:lnB>
                    <a:solidFill>
                      <a:srgbClr val="333353"/>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1" i="0" u="none" strike="noStrike" cap="none" normalizeH="0" baseline="0" noProof="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646E"/>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1" i="0" u="none" strike="noStrike" cap="none" normalizeH="0" baseline="0" noProof="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646E"/>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1" i="0" u="none" strike="noStrike" cap="none" normalizeH="0" baseline="0" noProof="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646E"/>
                    </a:solidFill>
                  </a:tcPr>
                </a:tc>
                <a:tc gridSpan="4">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r>
                        <a:rPr kumimoji="0" lang="en-US" sz="1100" b="1" u="none" strike="noStrike" cap="none" normalizeH="0" baseline="0" noProof="0" dirty="0">
                          <a:ln>
                            <a:noFill/>
                          </a:ln>
                          <a:effectLst/>
                        </a:rPr>
                        <a:t>Mar</a:t>
                      </a:r>
                      <a:endParaRPr kumimoji="0" lang="en-US" sz="1100" b="1" i="0" u="none" strike="noStrike" cap="none" normalizeH="0" baseline="0" noProof="0" dirty="0">
                        <a:ln>
                          <a:noFill/>
                        </a:ln>
                        <a:solidFill>
                          <a:schemeClr val="bg1"/>
                        </a:solidFill>
                        <a:effectLst/>
                        <a:latin typeface="Arial" charset="0"/>
                      </a:endParaRPr>
                    </a:p>
                  </a:txBody>
                  <a:tcPr marL="71963" marR="71963" marT="0" marB="0" anchor="ctr" horzOverflow="overflow">
                    <a:lnL w="12700" cap="flat" cmpd="sng" algn="ctr">
                      <a:solidFill>
                        <a:srgbClr val="66667E"/>
                      </a:solidFill>
                      <a:prstDash val="solid"/>
                      <a:round/>
                      <a:headEnd type="none" w="med" len="med"/>
                      <a:tailEnd type="none" w="med" len="med"/>
                    </a:lnL>
                    <a:lnB w="12700" cap="flat" cmpd="sng" algn="ctr">
                      <a:noFill/>
                      <a:prstDash val="solid"/>
                      <a:round/>
                      <a:headEnd type="none" w="med" len="med"/>
                      <a:tailEnd type="none" w="med" len="med"/>
                    </a:lnB>
                    <a:solidFill>
                      <a:srgbClr val="333353"/>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1" i="0" u="none" strike="noStrike" cap="none" normalizeH="0" baseline="0" noProof="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646E"/>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1" i="0" u="none" strike="noStrike" cap="none" normalizeH="0" baseline="0" noProof="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646E"/>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1" i="0" u="none" strike="noStrike" cap="none" normalizeH="0" baseline="0" noProof="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646E"/>
                    </a:solidFill>
                  </a:tcPr>
                </a:tc>
                <a:extLst>
                  <a:ext uri="{0D108BD9-81ED-4DB2-BD59-A6C34878D82A}">
                    <a16:rowId xmlns:a16="http://schemas.microsoft.com/office/drawing/2014/main" val="10000"/>
                  </a:ext>
                </a:extLst>
              </a:tr>
              <a:tr h="305841">
                <a:tc v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de-DE" sz="1200" b="1" i="0" u="none" strike="noStrike" cap="none" normalizeH="0" baseline="0" dirty="0">
                        <a:ln>
                          <a:noFill/>
                        </a:ln>
                        <a:solidFill>
                          <a:schemeClr val="tx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40</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L w="12700" cap="flat" cmpd="sng" algn="ctr">
                      <a:solidFill>
                        <a:srgbClr val="66667E"/>
                      </a:solidFill>
                      <a:prstDash val="solid"/>
                      <a:round/>
                      <a:headEnd type="none" w="med" len="med"/>
                      <a:tailEnd type="none" w="med" len="med"/>
                    </a:lnL>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41</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42</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43</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R w="12700"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44</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L w="12700" cap="flat" cmpd="sng" algn="ctr">
                      <a:solidFill>
                        <a:srgbClr val="66667E"/>
                      </a:solidFill>
                      <a:prstDash val="solid"/>
                      <a:round/>
                      <a:headEnd type="none" w="med" len="med"/>
                      <a:tailEnd type="none" w="med" len="med"/>
                    </a:lnL>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45</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46</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47</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48</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R w="12700"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49</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L w="12700" cap="flat" cmpd="sng" algn="ctr">
                      <a:solidFill>
                        <a:srgbClr val="66667E"/>
                      </a:solidFill>
                      <a:prstDash val="solid"/>
                      <a:round/>
                      <a:headEnd type="none" w="med" len="med"/>
                      <a:tailEnd type="none" w="med" len="med"/>
                    </a:lnL>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50</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51</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52</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R w="12700"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01</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L w="12700" cap="flat" cmpd="sng" algn="ctr">
                      <a:solidFill>
                        <a:srgbClr val="66667E"/>
                      </a:solidFill>
                      <a:prstDash val="solid"/>
                      <a:round/>
                      <a:headEnd type="none" w="med" len="med"/>
                      <a:tailEnd type="none" w="med" len="med"/>
                    </a:lnL>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02</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03</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04</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05</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R w="12700"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06</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L w="12700" cap="flat" cmpd="sng" algn="ctr">
                      <a:solidFill>
                        <a:srgbClr val="66667E"/>
                      </a:solidFill>
                      <a:prstDash val="solid"/>
                      <a:round/>
                      <a:headEnd type="none" w="med" len="med"/>
                      <a:tailEnd type="none" w="med" len="med"/>
                    </a:lnL>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07</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08</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09</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R w="12700"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10</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L w="12700" cap="flat" cmpd="sng" algn="ctr">
                      <a:solidFill>
                        <a:srgbClr val="66667E"/>
                      </a:solidFill>
                      <a:prstDash val="solid"/>
                      <a:round/>
                      <a:headEnd type="none" w="med" len="med"/>
                      <a:tailEnd type="none" w="med" len="med"/>
                    </a:lnL>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11</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12</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u="none" strike="noStrike" cap="none" normalizeH="0" baseline="0" noProof="0" dirty="0">
                          <a:ln>
                            <a:noFill/>
                          </a:ln>
                          <a:effectLst/>
                        </a:rPr>
                        <a:t>13</a:t>
                      </a:r>
                      <a:endParaRPr kumimoji="0" lang="en-US" sz="1100" b="0" i="0" u="none" strike="noStrike" cap="none" normalizeH="0" baseline="0" noProof="0" dirty="0">
                        <a:ln>
                          <a:noFill/>
                        </a:ln>
                        <a:solidFill>
                          <a:schemeClr val="bg1"/>
                        </a:solidFill>
                        <a:effectLst/>
                        <a:latin typeface="Arial" charset="0"/>
                      </a:endParaRPr>
                    </a:p>
                  </a:txBody>
                  <a:tcPr marL="0" marR="0" marT="0" marB="0" anchor="ctr" horzOverflow="overflow">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extLst>
                  <a:ext uri="{0D108BD9-81ED-4DB2-BD59-A6C34878D82A}">
                    <a16:rowId xmlns:a16="http://schemas.microsoft.com/office/drawing/2014/main" val="10001"/>
                  </a:ext>
                </a:extLst>
              </a:tr>
              <a:tr h="485747">
                <a:tc>
                  <a:txBody>
                    <a:bodyPr/>
                    <a:lstStyle/>
                    <a:p>
                      <a:pPr marL="0" marR="0" lvl="0" indent="0" algn="l" defTabSz="914400" rtl="0" eaLnBrk="1" fontAlgn="base" latinLnBrk="0" hangingPunct="1">
                        <a:lnSpc>
                          <a:spcPct val="100000"/>
                        </a:lnSpc>
                        <a:spcBef>
                          <a:spcPct val="50000"/>
                        </a:spcBef>
                        <a:spcAft>
                          <a:spcPct val="0"/>
                        </a:spcAft>
                        <a:buClr>
                          <a:schemeClr val="bg1"/>
                        </a:buClr>
                        <a:buSzTx/>
                        <a:buFont typeface="Arial" pitchFamily="34" charset="0"/>
                        <a:buNone/>
                        <a:tabLst>
                          <a:tab pos="1611313" algn="l"/>
                        </a:tabLst>
                      </a:pPr>
                      <a:r>
                        <a:rPr kumimoji="0" lang="en-US" sz="1200" u="none" strike="noStrike" kern="1200" cap="none" spc="0" normalizeH="0" baseline="0" noProof="0" dirty="0">
                          <a:ln>
                            <a:noFill/>
                          </a:ln>
                          <a:effectLst/>
                          <a:uLnTx/>
                          <a:uFillTx/>
                        </a:rPr>
                        <a:t>Cras ultricies mi eu</a:t>
                      </a:r>
                      <a:endParaRPr kumimoji="0" lang="en-US" sz="1200" b="0" i="0" u="none" strike="noStrike" cap="none" normalizeH="0" baseline="0" noProof="0" dirty="0">
                        <a:ln>
                          <a:noFill/>
                        </a:ln>
                        <a:solidFill>
                          <a:srgbClr val="3C464B"/>
                        </a:solidFill>
                        <a:effectLst/>
                        <a:latin typeface="Arial" charset="0"/>
                      </a:endParaRPr>
                    </a:p>
                  </a:txBody>
                  <a:tcPr marL="72000" marR="71963" marT="71963" marB="71963" anchor="ctr" horzOverflow="overflow">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extLst>
                  <a:ext uri="{0D108BD9-81ED-4DB2-BD59-A6C34878D82A}">
                    <a16:rowId xmlns:a16="http://schemas.microsoft.com/office/drawing/2014/main" val="10002"/>
                  </a:ext>
                </a:extLst>
              </a:tr>
              <a:tr h="485747">
                <a:tc>
                  <a:txBody>
                    <a:bodyPr/>
                    <a:lstStyle/>
                    <a:p>
                      <a:pPr marL="0" marR="0" lvl="0" indent="0" algn="l" defTabSz="914400" rtl="0" eaLnBrk="1" fontAlgn="base" latinLnBrk="0" hangingPunct="1">
                        <a:lnSpc>
                          <a:spcPct val="100000"/>
                        </a:lnSpc>
                        <a:spcBef>
                          <a:spcPct val="50000"/>
                        </a:spcBef>
                        <a:spcAft>
                          <a:spcPct val="0"/>
                        </a:spcAft>
                        <a:buClr>
                          <a:schemeClr val="bg1"/>
                        </a:buClr>
                        <a:buSzTx/>
                        <a:buFont typeface="Arial" pitchFamily="34" charset="0"/>
                        <a:buNone/>
                        <a:tabLst>
                          <a:tab pos="1611313" algn="l"/>
                        </a:tabLst>
                      </a:pPr>
                      <a:r>
                        <a:rPr kumimoji="0" lang="en-US" sz="1200" u="none" strike="noStrike" kern="1200" cap="none" spc="0" normalizeH="0" baseline="0" noProof="0" dirty="0">
                          <a:ln>
                            <a:noFill/>
                          </a:ln>
                          <a:effectLst/>
                          <a:uLnTx/>
                          <a:uFillTx/>
                        </a:rPr>
                        <a:t>Phasellus nec sem</a:t>
                      </a:r>
                      <a:endParaRPr kumimoji="0" lang="en-US" sz="1200" b="0" i="0" u="none" strike="noStrike" cap="none" normalizeH="0" baseline="0" noProof="0" dirty="0">
                        <a:ln>
                          <a:noFill/>
                        </a:ln>
                        <a:solidFill>
                          <a:srgbClr val="3C464B"/>
                        </a:solidFill>
                        <a:effectLst/>
                        <a:latin typeface="Arial" charset="0"/>
                      </a:endParaRPr>
                    </a:p>
                  </a:txBody>
                  <a:tcPr marL="72000" marR="71963" marT="71963" marB="71963" anchor="ctr" horzOverflow="overflow">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extLst>
                  <a:ext uri="{0D108BD9-81ED-4DB2-BD59-A6C34878D82A}">
                    <a16:rowId xmlns:a16="http://schemas.microsoft.com/office/drawing/2014/main" val="10003"/>
                  </a:ext>
                </a:extLst>
              </a:tr>
              <a:tr h="485747">
                <a:tc>
                  <a:txBody>
                    <a:bodyPr/>
                    <a:lstStyle/>
                    <a:p>
                      <a:pPr marL="0" marR="0" lvl="0" indent="0" algn="l" defTabSz="914400" rtl="0" eaLnBrk="1" fontAlgn="base" latinLnBrk="0" hangingPunct="1">
                        <a:lnSpc>
                          <a:spcPct val="100000"/>
                        </a:lnSpc>
                        <a:spcBef>
                          <a:spcPct val="50000"/>
                        </a:spcBef>
                        <a:spcAft>
                          <a:spcPct val="0"/>
                        </a:spcAft>
                        <a:buClr>
                          <a:schemeClr val="bg1"/>
                        </a:buClr>
                        <a:buSzTx/>
                        <a:buFont typeface="Arial" pitchFamily="34" charset="0"/>
                        <a:buNone/>
                        <a:tabLst>
                          <a:tab pos="1611313" algn="l"/>
                        </a:tabLst>
                      </a:pPr>
                      <a:r>
                        <a:rPr kumimoji="0" lang="es-ES" sz="1200" u="none" strike="noStrike" kern="1200" cap="none" spc="0" normalizeH="0" baseline="0" noProof="0" dirty="0">
                          <a:ln>
                            <a:noFill/>
                          </a:ln>
                          <a:effectLst/>
                          <a:uLnTx/>
                          <a:uFillTx/>
                        </a:rPr>
                        <a:t>Tortor, suscipit eget</a:t>
                      </a:r>
                      <a:endParaRPr kumimoji="0" lang="en-US" sz="1200" b="0" i="0" u="none" strike="noStrike" cap="none" normalizeH="0" baseline="0" noProof="0" dirty="0">
                        <a:ln>
                          <a:noFill/>
                        </a:ln>
                        <a:solidFill>
                          <a:srgbClr val="3C464B"/>
                        </a:solidFill>
                        <a:effectLst/>
                        <a:latin typeface="Arial" charset="0"/>
                      </a:endParaRPr>
                    </a:p>
                  </a:txBody>
                  <a:tcPr marL="72000" marR="71963" marT="71963" marB="71963" anchor="ctr" horzOverflow="overflow">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extLst>
                  <a:ext uri="{0D108BD9-81ED-4DB2-BD59-A6C34878D82A}">
                    <a16:rowId xmlns:a16="http://schemas.microsoft.com/office/drawing/2014/main" val="10004"/>
                  </a:ext>
                </a:extLst>
              </a:tr>
              <a:tr h="485747">
                <a:tc>
                  <a:txBody>
                    <a:bodyPr/>
                    <a:lstStyle/>
                    <a:p>
                      <a:pPr marL="0" marR="0" lvl="0" indent="0" algn="l" defTabSz="914400" rtl="0" eaLnBrk="1" fontAlgn="base" latinLnBrk="0" hangingPunct="1">
                        <a:lnSpc>
                          <a:spcPct val="100000"/>
                        </a:lnSpc>
                        <a:spcBef>
                          <a:spcPct val="50000"/>
                        </a:spcBef>
                        <a:spcAft>
                          <a:spcPct val="0"/>
                        </a:spcAft>
                        <a:buClr>
                          <a:schemeClr val="bg1"/>
                        </a:buClr>
                        <a:buSzTx/>
                        <a:buFont typeface="Arial" pitchFamily="34" charset="0"/>
                        <a:buNone/>
                        <a:tabLst>
                          <a:tab pos="1611313" algn="l"/>
                        </a:tabLst>
                      </a:pPr>
                      <a:r>
                        <a:rPr kumimoji="0" lang="en-US" sz="1200" u="none" strike="noStrike" kern="1200" cap="none" spc="0" normalizeH="0" baseline="0" noProof="0" dirty="0">
                          <a:ln>
                            <a:noFill/>
                          </a:ln>
                          <a:effectLst/>
                          <a:uLnTx/>
                          <a:uFillTx/>
                        </a:rPr>
                        <a:t>Cras ultricies mi eu</a:t>
                      </a:r>
                      <a:endParaRPr kumimoji="0" lang="en-US" sz="1200" b="0" i="0" u="none" strike="noStrike" cap="none" normalizeH="0" baseline="0" noProof="0" dirty="0">
                        <a:ln>
                          <a:noFill/>
                        </a:ln>
                        <a:solidFill>
                          <a:srgbClr val="3C464B"/>
                        </a:solidFill>
                        <a:effectLst/>
                        <a:latin typeface="Arial" charset="0"/>
                      </a:endParaRPr>
                    </a:p>
                  </a:txBody>
                  <a:tcPr marL="72000" marR="71963" marT="71963" marB="71963" anchor="ctr" horzOverflow="overflow">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extLst>
                  <a:ext uri="{0D108BD9-81ED-4DB2-BD59-A6C34878D82A}">
                    <a16:rowId xmlns:a16="http://schemas.microsoft.com/office/drawing/2014/main" val="10005"/>
                  </a:ext>
                </a:extLst>
              </a:tr>
              <a:tr h="485747">
                <a:tc>
                  <a:txBody>
                    <a:bodyPr/>
                    <a:lstStyle/>
                    <a:p>
                      <a:pPr marL="0" marR="0" lvl="0" indent="0" algn="l" defTabSz="914400" rtl="0" eaLnBrk="1" fontAlgn="base" latinLnBrk="0" hangingPunct="1">
                        <a:lnSpc>
                          <a:spcPct val="100000"/>
                        </a:lnSpc>
                        <a:spcBef>
                          <a:spcPct val="50000"/>
                        </a:spcBef>
                        <a:spcAft>
                          <a:spcPct val="0"/>
                        </a:spcAft>
                        <a:buClr>
                          <a:schemeClr val="bg1"/>
                        </a:buClr>
                        <a:buSzTx/>
                        <a:buFont typeface="Arial" pitchFamily="34" charset="0"/>
                        <a:buNone/>
                        <a:tabLst>
                          <a:tab pos="1611313" algn="l"/>
                        </a:tabLst>
                      </a:pPr>
                      <a:r>
                        <a:rPr kumimoji="0" lang="en-US" sz="1200" u="none" strike="noStrike" kern="1200" cap="none" spc="0" normalizeH="0" baseline="0" noProof="0" dirty="0">
                          <a:ln>
                            <a:noFill/>
                          </a:ln>
                          <a:effectLst/>
                          <a:uLnTx/>
                          <a:uFillTx/>
                        </a:rPr>
                        <a:t>Phasellus nec sem</a:t>
                      </a:r>
                      <a:endParaRPr kumimoji="0" lang="en-US" sz="1200" b="0" i="0" u="none" strike="noStrike" cap="none" normalizeH="0" baseline="0" noProof="0" dirty="0">
                        <a:ln>
                          <a:noFill/>
                        </a:ln>
                        <a:solidFill>
                          <a:srgbClr val="3C464B"/>
                        </a:solidFill>
                        <a:effectLst/>
                        <a:latin typeface="Arial" charset="0"/>
                      </a:endParaRPr>
                    </a:p>
                  </a:txBody>
                  <a:tcPr marL="72000" marR="71963" marT="71963" marB="71963" anchor="ctr" horzOverflow="overflow">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extLst>
                  <a:ext uri="{0D108BD9-81ED-4DB2-BD59-A6C34878D82A}">
                    <a16:rowId xmlns:a16="http://schemas.microsoft.com/office/drawing/2014/main" val="10006"/>
                  </a:ext>
                </a:extLst>
              </a:tr>
              <a:tr h="485747">
                <a:tc>
                  <a:txBody>
                    <a:bodyPr/>
                    <a:lstStyle/>
                    <a:p>
                      <a:pPr marL="0" marR="0" lvl="0" indent="0" algn="l" defTabSz="914400" rtl="0" eaLnBrk="1" fontAlgn="base" latinLnBrk="0" hangingPunct="1">
                        <a:lnSpc>
                          <a:spcPct val="100000"/>
                        </a:lnSpc>
                        <a:spcBef>
                          <a:spcPct val="50000"/>
                        </a:spcBef>
                        <a:spcAft>
                          <a:spcPct val="0"/>
                        </a:spcAft>
                        <a:buClr>
                          <a:schemeClr val="bg1"/>
                        </a:buClr>
                        <a:buSzTx/>
                        <a:buFont typeface="Arial" pitchFamily="34" charset="0"/>
                        <a:buNone/>
                        <a:tabLst>
                          <a:tab pos="1611313" algn="l"/>
                        </a:tabLst>
                      </a:pPr>
                      <a:r>
                        <a:rPr kumimoji="0" lang="es-ES" sz="1200" u="none" strike="noStrike" kern="1200" cap="none" spc="0" normalizeH="0" baseline="0" noProof="0" dirty="0">
                          <a:ln>
                            <a:noFill/>
                          </a:ln>
                          <a:effectLst/>
                          <a:uLnTx/>
                          <a:uFillTx/>
                        </a:rPr>
                        <a:t>Duis arcu tortor</a:t>
                      </a:r>
                      <a:endParaRPr kumimoji="0" lang="en-US" sz="1200" b="0" i="0" u="none" strike="noStrike" cap="none" normalizeH="0" baseline="0" noProof="0" dirty="0">
                        <a:ln>
                          <a:noFill/>
                        </a:ln>
                        <a:solidFill>
                          <a:srgbClr val="3C464B"/>
                        </a:solidFill>
                        <a:effectLst/>
                        <a:latin typeface="Arial" charset="0"/>
                      </a:endParaRPr>
                    </a:p>
                  </a:txBody>
                  <a:tcPr marL="72000" marR="71963" marT="71963" marB="71963" anchor="ctr" horzOverflow="overflow">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extLst>
                  <a:ext uri="{0D108BD9-81ED-4DB2-BD59-A6C34878D82A}">
                    <a16:rowId xmlns:a16="http://schemas.microsoft.com/office/drawing/2014/main" val="10007"/>
                  </a:ext>
                </a:extLst>
              </a:tr>
              <a:tr h="485747">
                <a:tc>
                  <a:txBody>
                    <a:bodyPr/>
                    <a:lstStyle/>
                    <a:p>
                      <a:pPr marL="0" marR="0" lvl="0" indent="0" algn="l" defTabSz="914400" rtl="0" eaLnBrk="1" fontAlgn="base" latinLnBrk="0" hangingPunct="1">
                        <a:lnSpc>
                          <a:spcPct val="100000"/>
                        </a:lnSpc>
                        <a:spcBef>
                          <a:spcPct val="50000"/>
                        </a:spcBef>
                        <a:spcAft>
                          <a:spcPct val="0"/>
                        </a:spcAft>
                        <a:buClr>
                          <a:schemeClr val="bg1"/>
                        </a:buClr>
                        <a:buSzTx/>
                        <a:buFont typeface="Arial" pitchFamily="34" charset="0"/>
                        <a:buNone/>
                        <a:tabLst>
                          <a:tab pos="1611313" algn="l"/>
                        </a:tabLst>
                      </a:pPr>
                      <a:r>
                        <a:rPr kumimoji="0" lang="en-US" sz="1200" u="none" strike="noStrike" kern="1200" cap="none" spc="0" normalizeH="0" baseline="0" noProof="0" dirty="0">
                          <a:ln>
                            <a:noFill/>
                          </a:ln>
                          <a:effectLst/>
                          <a:uLnTx/>
                          <a:uFillTx/>
                        </a:rPr>
                        <a:t>Cras ultricies mi eu</a:t>
                      </a:r>
                      <a:endParaRPr kumimoji="0" lang="en-US" sz="1200" b="0" i="0" u="none" strike="noStrike" cap="none" normalizeH="0" baseline="0" noProof="0" dirty="0">
                        <a:ln>
                          <a:noFill/>
                        </a:ln>
                        <a:solidFill>
                          <a:srgbClr val="3C464B"/>
                        </a:solidFill>
                        <a:effectLst/>
                        <a:latin typeface="Arial" charset="0"/>
                      </a:endParaRPr>
                    </a:p>
                  </a:txBody>
                  <a:tcPr marL="72000" marR="71963" marT="71963" marB="71963" anchor="ctr" horzOverflow="overflow">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T w="9525" cap="flat" cmpd="sng" algn="ctr">
                      <a:noFill/>
                      <a:prstDash val="solid"/>
                      <a:round/>
                      <a:headEnd type="none" w="med" len="med"/>
                      <a:tailEnd type="none" w="med" len="med"/>
                    </a:lnT>
                    <a:lnB w="9525" cap="flat" cmpd="sng" algn="ctr">
                      <a:noFill/>
                      <a:prstDash val="solid"/>
                      <a:round/>
                      <a:headEnd type="none" w="med" len="med"/>
                      <a:tailEnd type="none" w="med" len="med"/>
                    </a:lnB>
                  </a:tcPr>
                </a:tc>
                <a:extLst>
                  <a:ext uri="{0D108BD9-81ED-4DB2-BD59-A6C34878D82A}">
                    <a16:rowId xmlns:a16="http://schemas.microsoft.com/office/drawing/2014/main" val="10008"/>
                  </a:ext>
                </a:extLst>
              </a:tr>
              <a:tr h="485747">
                <a:tc>
                  <a:txBody>
                    <a:bodyPr/>
                    <a:lstStyle/>
                    <a:p>
                      <a:pPr marL="0" marR="0" lvl="0" indent="0" algn="l" defTabSz="914400" rtl="0" eaLnBrk="1" fontAlgn="base" latinLnBrk="0" hangingPunct="1">
                        <a:lnSpc>
                          <a:spcPct val="100000"/>
                        </a:lnSpc>
                        <a:spcBef>
                          <a:spcPct val="50000"/>
                        </a:spcBef>
                        <a:spcAft>
                          <a:spcPct val="0"/>
                        </a:spcAft>
                        <a:buClr>
                          <a:schemeClr val="bg1"/>
                        </a:buClr>
                        <a:buSzTx/>
                        <a:buFont typeface="Arial" pitchFamily="34" charset="0"/>
                        <a:buNone/>
                        <a:tabLst>
                          <a:tab pos="1611313" algn="l"/>
                        </a:tabLst>
                      </a:pPr>
                      <a:r>
                        <a:rPr kumimoji="0" lang="en-US" sz="1200" u="none" strike="noStrike" kern="1200" cap="none" spc="0" normalizeH="0" baseline="0" noProof="0" dirty="0">
                          <a:ln>
                            <a:noFill/>
                          </a:ln>
                          <a:effectLst/>
                          <a:uLnTx/>
                          <a:uFillTx/>
                        </a:rPr>
                        <a:t>Phasellus nec sem</a:t>
                      </a:r>
                      <a:endParaRPr kumimoji="0" lang="en-US" sz="1200" b="0" i="0" u="none" strike="noStrike" cap="none" normalizeH="0" baseline="0" noProof="0" dirty="0">
                        <a:ln>
                          <a:noFill/>
                        </a:ln>
                        <a:solidFill>
                          <a:srgbClr val="3C464B"/>
                        </a:solidFill>
                        <a:effectLst/>
                        <a:latin typeface="Arial" charset="0"/>
                      </a:endParaRPr>
                    </a:p>
                  </a:txBody>
                  <a:tcPr marL="72000" marR="71963" marT="71963" marB="71963" anchor="ctr" horzOverflow="overflow">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Arial" charset="0"/>
                      </a:endParaRPr>
                    </a:p>
                  </a:txBody>
                  <a:tcPr marL="71963" marR="71963" marT="71963" marB="71963" anchor="ctr" horzOverflow="overflow">
                    <a:lnL w="12700" cap="flat" cmpd="sng" algn="ctr">
                      <a:solidFill>
                        <a:srgbClr val="66667E"/>
                      </a:solidFill>
                      <a:prstDash val="solid"/>
                      <a:round/>
                      <a:headEnd type="none" w="med" len="med"/>
                      <a:tailEnd type="none" w="med" len="med"/>
                    </a:lnL>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333353"/>
                    </a:solidFill>
                  </a:tcPr>
                </a:tc>
                <a:extLst>
                  <a:ext uri="{0D108BD9-81ED-4DB2-BD59-A6C34878D82A}">
                    <a16:rowId xmlns:a16="http://schemas.microsoft.com/office/drawing/2014/main" val="10010"/>
                  </a:ext>
                </a:extLst>
              </a:tr>
            </a:tbl>
          </a:graphicData>
        </a:graphic>
      </p:graphicFrame>
      <p:sp>
        <p:nvSpPr>
          <p:cNvPr id="58" name="Rectangle 66">
            <a:extLst>
              <a:ext uri="{FF2B5EF4-FFF2-40B4-BE49-F238E27FC236}">
                <a16:creationId xmlns:a16="http://schemas.microsoft.com/office/drawing/2014/main" id="{AAD65345-5C09-44DA-8B60-1D9DC2BAE233}"/>
              </a:ext>
            </a:extLst>
          </p:cNvPr>
          <p:cNvSpPr>
            <a:spLocks noChangeArrowheads="1"/>
          </p:cNvSpPr>
          <p:nvPr>
            <p:custDataLst>
              <p:tags r:id="rId4"/>
            </p:custDataLst>
          </p:nvPr>
        </p:nvSpPr>
        <p:spPr bwMode="auto">
          <a:xfrm>
            <a:off x="6746400" y="4140000"/>
            <a:ext cx="1080000" cy="144000"/>
          </a:xfrm>
          <a:prstGeom prst="rect">
            <a:avLst/>
          </a:prstGeom>
          <a:solidFill>
            <a:srgbClr val="66667E"/>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sp>
        <p:nvSpPr>
          <p:cNvPr id="59" name="Rectangle 69">
            <a:extLst>
              <a:ext uri="{FF2B5EF4-FFF2-40B4-BE49-F238E27FC236}">
                <a16:creationId xmlns:a16="http://schemas.microsoft.com/office/drawing/2014/main" id="{A7AA83B3-2301-4622-BAA7-FC7921E2C757}"/>
              </a:ext>
            </a:extLst>
          </p:cNvPr>
          <p:cNvSpPr>
            <a:spLocks noChangeArrowheads="1"/>
          </p:cNvSpPr>
          <p:nvPr>
            <p:custDataLst>
              <p:tags r:id="rId5"/>
            </p:custDataLst>
          </p:nvPr>
        </p:nvSpPr>
        <p:spPr bwMode="auto">
          <a:xfrm>
            <a:off x="8186400" y="4626000"/>
            <a:ext cx="1080000" cy="144000"/>
          </a:xfrm>
          <a:prstGeom prst="rect">
            <a:avLst/>
          </a:prstGeom>
          <a:solidFill>
            <a:srgbClr val="66667E"/>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sp>
        <p:nvSpPr>
          <p:cNvPr id="60" name="Rectangle 72">
            <a:extLst>
              <a:ext uri="{FF2B5EF4-FFF2-40B4-BE49-F238E27FC236}">
                <a16:creationId xmlns:a16="http://schemas.microsoft.com/office/drawing/2014/main" id="{6E71B1E5-7D58-47C3-91B4-7BFB912B5274}"/>
              </a:ext>
            </a:extLst>
          </p:cNvPr>
          <p:cNvSpPr>
            <a:spLocks noChangeArrowheads="1"/>
          </p:cNvSpPr>
          <p:nvPr>
            <p:custDataLst>
              <p:tags r:id="rId6"/>
            </p:custDataLst>
          </p:nvPr>
        </p:nvSpPr>
        <p:spPr bwMode="auto">
          <a:xfrm>
            <a:off x="5306400" y="3654000"/>
            <a:ext cx="2160000" cy="144000"/>
          </a:xfrm>
          <a:prstGeom prst="rect">
            <a:avLst/>
          </a:prstGeom>
          <a:solidFill>
            <a:srgbClr val="66667E"/>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sp>
        <p:nvSpPr>
          <p:cNvPr id="61" name="Rectangle 66">
            <a:extLst>
              <a:ext uri="{FF2B5EF4-FFF2-40B4-BE49-F238E27FC236}">
                <a16:creationId xmlns:a16="http://schemas.microsoft.com/office/drawing/2014/main" id="{E48C658F-0280-433D-A781-C8DB3095D3CF}"/>
              </a:ext>
            </a:extLst>
          </p:cNvPr>
          <p:cNvSpPr>
            <a:spLocks noChangeArrowheads="1"/>
          </p:cNvSpPr>
          <p:nvPr>
            <p:custDataLst>
              <p:tags r:id="rId7"/>
            </p:custDataLst>
          </p:nvPr>
        </p:nvSpPr>
        <p:spPr bwMode="auto">
          <a:xfrm>
            <a:off x="4046400" y="2682000"/>
            <a:ext cx="1800000" cy="144000"/>
          </a:xfrm>
          <a:prstGeom prst="rect">
            <a:avLst/>
          </a:prstGeom>
          <a:solidFill>
            <a:srgbClr val="66667E"/>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sp>
        <p:nvSpPr>
          <p:cNvPr id="62" name="Rectangle 69">
            <a:extLst>
              <a:ext uri="{FF2B5EF4-FFF2-40B4-BE49-F238E27FC236}">
                <a16:creationId xmlns:a16="http://schemas.microsoft.com/office/drawing/2014/main" id="{B1F866A8-E86F-4230-901A-5022A0692C22}"/>
              </a:ext>
            </a:extLst>
          </p:cNvPr>
          <p:cNvSpPr>
            <a:spLocks noChangeArrowheads="1"/>
          </p:cNvSpPr>
          <p:nvPr>
            <p:custDataLst>
              <p:tags r:id="rId8"/>
            </p:custDataLst>
          </p:nvPr>
        </p:nvSpPr>
        <p:spPr bwMode="auto">
          <a:xfrm>
            <a:off x="5306400" y="3168000"/>
            <a:ext cx="1440000" cy="144000"/>
          </a:xfrm>
          <a:prstGeom prst="rect">
            <a:avLst/>
          </a:prstGeom>
          <a:solidFill>
            <a:srgbClr val="66667E"/>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grpSp>
        <p:nvGrpSpPr>
          <p:cNvPr id="3" name="Group 2">
            <a:extLst>
              <a:ext uri="{FF2B5EF4-FFF2-40B4-BE49-F238E27FC236}">
                <a16:creationId xmlns:a16="http://schemas.microsoft.com/office/drawing/2014/main" id="{0BCA5F0C-55FA-4698-932A-C9F0E025A733}"/>
              </a:ext>
            </a:extLst>
          </p:cNvPr>
          <p:cNvGrpSpPr/>
          <p:nvPr/>
        </p:nvGrpSpPr>
        <p:grpSpPr>
          <a:xfrm>
            <a:off x="2786400" y="2196000"/>
            <a:ext cx="1440000" cy="144000"/>
            <a:chOff x="2786400" y="2196000"/>
            <a:chExt cx="1440000" cy="144000"/>
          </a:xfrm>
        </p:grpSpPr>
        <p:sp>
          <p:nvSpPr>
            <p:cNvPr id="63" name="Rectangle 72">
              <a:extLst>
                <a:ext uri="{FF2B5EF4-FFF2-40B4-BE49-F238E27FC236}">
                  <a16:creationId xmlns:a16="http://schemas.microsoft.com/office/drawing/2014/main" id="{61D0D3E8-63E4-43CA-8802-255082AC49F5}"/>
                </a:ext>
              </a:extLst>
            </p:cNvPr>
            <p:cNvSpPr>
              <a:spLocks noChangeArrowheads="1"/>
            </p:cNvSpPr>
            <p:nvPr>
              <p:custDataLst>
                <p:tags r:id="rId16"/>
              </p:custDataLst>
            </p:nvPr>
          </p:nvSpPr>
          <p:spPr bwMode="auto">
            <a:xfrm>
              <a:off x="2786400" y="2196000"/>
              <a:ext cx="1440000" cy="144000"/>
            </a:xfrm>
            <a:prstGeom prst="rect">
              <a:avLst/>
            </a:prstGeom>
            <a:solidFill>
              <a:srgbClr val="66667E"/>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sp>
          <p:nvSpPr>
            <p:cNvPr id="65" name="Rectangle 72">
              <a:extLst>
                <a:ext uri="{FF2B5EF4-FFF2-40B4-BE49-F238E27FC236}">
                  <a16:creationId xmlns:a16="http://schemas.microsoft.com/office/drawing/2014/main" id="{295EE5E5-6870-400C-819A-FF39BFCA8049}"/>
                </a:ext>
              </a:extLst>
            </p:cNvPr>
            <p:cNvSpPr>
              <a:spLocks noChangeArrowheads="1"/>
            </p:cNvSpPr>
            <p:nvPr>
              <p:custDataLst>
                <p:tags r:id="rId17"/>
              </p:custDataLst>
            </p:nvPr>
          </p:nvSpPr>
          <p:spPr bwMode="auto">
            <a:xfrm>
              <a:off x="4154400" y="2196000"/>
              <a:ext cx="72000" cy="144000"/>
            </a:xfrm>
            <a:prstGeom prst="rect">
              <a:avLst/>
            </a:prstGeom>
            <a:solidFill>
              <a:srgbClr val="00FFB9"/>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grpSp>
      <p:grpSp>
        <p:nvGrpSpPr>
          <p:cNvPr id="66" name="Group 65">
            <a:extLst>
              <a:ext uri="{FF2B5EF4-FFF2-40B4-BE49-F238E27FC236}">
                <a16:creationId xmlns:a16="http://schemas.microsoft.com/office/drawing/2014/main" id="{9C1AE93A-FFCF-42C2-A4FA-12AB8F3B6C4B}"/>
              </a:ext>
            </a:extLst>
          </p:cNvPr>
          <p:cNvGrpSpPr/>
          <p:nvPr/>
        </p:nvGrpSpPr>
        <p:grpSpPr>
          <a:xfrm>
            <a:off x="7466062" y="5112000"/>
            <a:ext cx="1800338" cy="144000"/>
            <a:chOff x="2426062" y="2196000"/>
            <a:chExt cx="1800338" cy="144000"/>
          </a:xfrm>
        </p:grpSpPr>
        <p:sp>
          <p:nvSpPr>
            <p:cNvPr id="67" name="Rectangle 72">
              <a:extLst>
                <a:ext uri="{FF2B5EF4-FFF2-40B4-BE49-F238E27FC236}">
                  <a16:creationId xmlns:a16="http://schemas.microsoft.com/office/drawing/2014/main" id="{0A0A81FA-DB86-40EB-899F-6767B855E17D}"/>
                </a:ext>
              </a:extLst>
            </p:cNvPr>
            <p:cNvSpPr>
              <a:spLocks noChangeArrowheads="1"/>
            </p:cNvSpPr>
            <p:nvPr>
              <p:custDataLst>
                <p:tags r:id="rId14"/>
              </p:custDataLst>
            </p:nvPr>
          </p:nvSpPr>
          <p:spPr bwMode="auto">
            <a:xfrm>
              <a:off x="2426062" y="2196000"/>
              <a:ext cx="1800000" cy="144000"/>
            </a:xfrm>
            <a:prstGeom prst="rect">
              <a:avLst/>
            </a:prstGeom>
            <a:solidFill>
              <a:srgbClr val="66667E"/>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sp>
          <p:nvSpPr>
            <p:cNvPr id="68" name="Rectangle 72">
              <a:extLst>
                <a:ext uri="{FF2B5EF4-FFF2-40B4-BE49-F238E27FC236}">
                  <a16:creationId xmlns:a16="http://schemas.microsoft.com/office/drawing/2014/main" id="{69D29459-2DBD-494D-A721-3229ADA07389}"/>
                </a:ext>
              </a:extLst>
            </p:cNvPr>
            <p:cNvSpPr>
              <a:spLocks noChangeArrowheads="1"/>
            </p:cNvSpPr>
            <p:nvPr>
              <p:custDataLst>
                <p:tags r:id="rId15"/>
              </p:custDataLst>
            </p:nvPr>
          </p:nvSpPr>
          <p:spPr bwMode="auto">
            <a:xfrm>
              <a:off x="4154400" y="2196000"/>
              <a:ext cx="72000" cy="144000"/>
            </a:xfrm>
            <a:prstGeom prst="rect">
              <a:avLst/>
            </a:prstGeom>
            <a:solidFill>
              <a:srgbClr val="00FFB9"/>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grpSp>
      <p:grpSp>
        <p:nvGrpSpPr>
          <p:cNvPr id="72" name="Group 71">
            <a:extLst>
              <a:ext uri="{FF2B5EF4-FFF2-40B4-BE49-F238E27FC236}">
                <a16:creationId xmlns:a16="http://schemas.microsoft.com/office/drawing/2014/main" id="{1B7F658E-21E2-4F4A-80F6-84C5713BBAC4}"/>
              </a:ext>
            </a:extLst>
          </p:cNvPr>
          <p:cNvGrpSpPr/>
          <p:nvPr/>
        </p:nvGrpSpPr>
        <p:grpSpPr>
          <a:xfrm>
            <a:off x="9981262" y="5598000"/>
            <a:ext cx="1080000" cy="144000"/>
            <a:chOff x="2426062" y="2196000"/>
            <a:chExt cx="1080000" cy="144000"/>
          </a:xfrm>
        </p:grpSpPr>
        <p:sp>
          <p:nvSpPr>
            <p:cNvPr id="73" name="Rectangle 72">
              <a:extLst>
                <a:ext uri="{FF2B5EF4-FFF2-40B4-BE49-F238E27FC236}">
                  <a16:creationId xmlns:a16="http://schemas.microsoft.com/office/drawing/2014/main" id="{56683E7A-0CD7-40ED-8395-459A0FF21A74}"/>
                </a:ext>
              </a:extLst>
            </p:cNvPr>
            <p:cNvSpPr>
              <a:spLocks noChangeArrowheads="1"/>
            </p:cNvSpPr>
            <p:nvPr>
              <p:custDataLst>
                <p:tags r:id="rId12"/>
              </p:custDataLst>
            </p:nvPr>
          </p:nvSpPr>
          <p:spPr bwMode="auto">
            <a:xfrm>
              <a:off x="2426062" y="2196000"/>
              <a:ext cx="1080000" cy="144000"/>
            </a:xfrm>
            <a:prstGeom prst="rect">
              <a:avLst/>
            </a:prstGeom>
            <a:solidFill>
              <a:srgbClr val="66667E"/>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sp>
          <p:nvSpPr>
            <p:cNvPr id="74" name="Rectangle 72">
              <a:extLst>
                <a:ext uri="{FF2B5EF4-FFF2-40B4-BE49-F238E27FC236}">
                  <a16:creationId xmlns:a16="http://schemas.microsoft.com/office/drawing/2014/main" id="{4296438B-A256-46A7-8AB2-2C09F7AA7C74}"/>
                </a:ext>
              </a:extLst>
            </p:cNvPr>
            <p:cNvSpPr>
              <a:spLocks noChangeArrowheads="1"/>
            </p:cNvSpPr>
            <p:nvPr>
              <p:custDataLst>
                <p:tags r:id="rId13"/>
              </p:custDataLst>
            </p:nvPr>
          </p:nvSpPr>
          <p:spPr bwMode="auto">
            <a:xfrm>
              <a:off x="3434062" y="2196000"/>
              <a:ext cx="72000" cy="144000"/>
            </a:xfrm>
            <a:prstGeom prst="rect">
              <a:avLst/>
            </a:prstGeom>
            <a:solidFill>
              <a:srgbClr val="00FFB9"/>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grpSp>
      <p:grpSp>
        <p:nvGrpSpPr>
          <p:cNvPr id="38" name="Group 24">
            <a:extLst>
              <a:ext uri="{FF2B5EF4-FFF2-40B4-BE49-F238E27FC236}">
                <a16:creationId xmlns:a16="http://schemas.microsoft.com/office/drawing/2014/main" id="{1F8B07CC-6EDF-4907-A300-EFDAB6F79720}"/>
              </a:ext>
            </a:extLst>
          </p:cNvPr>
          <p:cNvGrpSpPr/>
          <p:nvPr/>
        </p:nvGrpSpPr>
        <p:grpSpPr>
          <a:xfrm>
            <a:off x="3208259" y="2025764"/>
            <a:ext cx="735326" cy="4204132"/>
            <a:chOff x="3906629" y="1921657"/>
            <a:chExt cx="721352" cy="4204132"/>
          </a:xfrm>
        </p:grpSpPr>
        <p:sp>
          <p:nvSpPr>
            <p:cNvPr id="39" name="Rectangle 76">
              <a:extLst>
                <a:ext uri="{FF2B5EF4-FFF2-40B4-BE49-F238E27FC236}">
                  <a16:creationId xmlns:a16="http://schemas.microsoft.com/office/drawing/2014/main" id="{BB804D1F-10D7-4600-B0FD-27AADB5051C1}"/>
                </a:ext>
              </a:extLst>
            </p:cNvPr>
            <p:cNvSpPr>
              <a:spLocks noChangeArrowheads="1"/>
            </p:cNvSpPr>
            <p:nvPr>
              <p:custDataLst>
                <p:tags r:id="rId9"/>
              </p:custDataLst>
            </p:nvPr>
          </p:nvSpPr>
          <p:spPr bwMode="auto">
            <a:xfrm>
              <a:off x="3906629" y="5899198"/>
              <a:ext cx="721352" cy="226591"/>
            </a:xfrm>
            <a:prstGeom prst="rect">
              <a:avLst/>
            </a:prstGeom>
            <a:noFill/>
            <a:ln>
              <a:noFill/>
            </a:ln>
            <a:effectLst/>
          </p:spPr>
          <p:txBody>
            <a:bodyPr wrap="none" lIns="0" tIns="72000" rIns="0" bIns="0" anchor="ctr">
              <a:spAutoFit/>
            </a:bodyP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spcBef>
                  <a:spcPct val="0"/>
                </a:spcBef>
                <a:buClrTx/>
                <a:buFontTx/>
                <a:buNone/>
              </a:pPr>
              <a:r>
                <a:rPr lang="en-US" altLang="de-DE" sz="1000" dirty="0">
                  <a:latin typeface="+mn-lt"/>
                </a:rPr>
                <a:t>XX.XX.20XX</a:t>
              </a:r>
            </a:p>
          </p:txBody>
        </p:sp>
        <p:grpSp>
          <p:nvGrpSpPr>
            <p:cNvPr id="40" name="Group 26">
              <a:extLst>
                <a:ext uri="{FF2B5EF4-FFF2-40B4-BE49-F238E27FC236}">
                  <a16:creationId xmlns:a16="http://schemas.microsoft.com/office/drawing/2014/main" id="{452CDB98-CFBE-4357-AD08-08D952D7DD98}"/>
                </a:ext>
              </a:extLst>
            </p:cNvPr>
            <p:cNvGrpSpPr/>
            <p:nvPr/>
          </p:nvGrpSpPr>
          <p:grpSpPr>
            <a:xfrm>
              <a:off x="4183715" y="1921657"/>
              <a:ext cx="160950" cy="3968016"/>
              <a:chOff x="4183715" y="1921657"/>
              <a:chExt cx="160950" cy="3968016"/>
            </a:xfrm>
          </p:grpSpPr>
          <p:sp>
            <p:nvSpPr>
              <p:cNvPr id="41" name="Line 64">
                <a:extLst>
                  <a:ext uri="{FF2B5EF4-FFF2-40B4-BE49-F238E27FC236}">
                    <a16:creationId xmlns:a16="http://schemas.microsoft.com/office/drawing/2014/main" id="{263EC847-277C-4578-91E5-D647154AA00E}"/>
                  </a:ext>
                </a:extLst>
              </p:cNvPr>
              <p:cNvSpPr>
                <a:spLocks noChangeShapeType="1"/>
              </p:cNvSpPr>
              <p:nvPr>
                <p:custDataLst>
                  <p:tags r:id="rId10"/>
                </p:custDataLst>
              </p:nvPr>
            </p:nvSpPr>
            <p:spPr bwMode="gray">
              <a:xfrm flipH="1">
                <a:off x="4263375" y="1921657"/>
                <a:ext cx="0" cy="3875198"/>
              </a:xfrm>
              <a:prstGeom prst="line">
                <a:avLst/>
              </a:prstGeom>
              <a:noFill/>
              <a:ln w="19050">
                <a:solidFill>
                  <a:schemeClr val="tx1"/>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2" name="AutoShape 74">
                <a:extLst>
                  <a:ext uri="{FF2B5EF4-FFF2-40B4-BE49-F238E27FC236}">
                    <a16:creationId xmlns:a16="http://schemas.microsoft.com/office/drawing/2014/main" id="{2420331D-A16E-43AC-A8F4-4386F26E273E}"/>
                  </a:ext>
                </a:extLst>
              </p:cNvPr>
              <p:cNvSpPr>
                <a:spLocks noChangeArrowheads="1"/>
              </p:cNvSpPr>
              <p:nvPr>
                <p:custDataLst>
                  <p:tags r:id="rId11"/>
                </p:custDataLst>
              </p:nvPr>
            </p:nvSpPr>
            <p:spPr bwMode="auto">
              <a:xfrm>
                <a:off x="4183715" y="5784898"/>
                <a:ext cx="160950" cy="104775"/>
              </a:xfrm>
              <a:prstGeom prst="triangle">
                <a:avLst>
                  <a:gd name="adj" fmla="val 50000"/>
                </a:avLst>
              </a:prstGeom>
              <a:solidFill>
                <a:schemeClr val="tx2"/>
              </a:solidFill>
              <a:ln w="19050">
                <a:noFill/>
                <a:miter lim="800000"/>
                <a:headEnd/>
                <a:tailEnd/>
              </a:ln>
              <a:effectLst/>
            </p:spPr>
            <p:txBody>
              <a:bodyPr wrap="none"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grpSp>
      </p:grpSp>
    </p:spTree>
    <p:extLst>
      <p:ext uri="{BB962C8B-B14F-4D97-AF65-F5344CB8AC3E}">
        <p14:creationId xmlns:p14="http://schemas.microsoft.com/office/powerpoint/2010/main" val="3828501566"/>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elle 2"/>
          <p:cNvGraphicFramePr>
            <a:graphicFrameLocks noGrp="1"/>
          </p:cNvGraphicFramePr>
          <p:nvPr>
            <p:extLst>
              <p:ext uri="{D42A27DB-BD31-4B8C-83A1-F6EECF244321}">
                <p14:modId xmlns:p14="http://schemas.microsoft.com/office/powerpoint/2010/main" val="1578230198"/>
              </p:ext>
            </p:extLst>
          </p:nvPr>
        </p:nvGraphicFramePr>
        <p:xfrm>
          <a:off x="411163" y="1415849"/>
          <a:ext cx="11374585" cy="4697747"/>
        </p:xfrm>
        <a:graphic>
          <a:graphicData uri="http://schemas.openxmlformats.org/drawingml/2006/table">
            <a:tbl>
              <a:tblPr firstRow="1">
                <a:tableStyleId>{0E3FDE45-AF77-4B5C-9715-49D594BDF05E}</a:tableStyleId>
              </a:tblPr>
              <a:tblGrid>
                <a:gridCol w="1583410">
                  <a:extLst>
                    <a:ext uri="{9D8B030D-6E8A-4147-A177-3AD203B41FA5}">
                      <a16:colId xmlns:a16="http://schemas.microsoft.com/office/drawing/2014/main" val="20000"/>
                    </a:ext>
                  </a:extLst>
                </a:gridCol>
                <a:gridCol w="2159175">
                  <a:extLst>
                    <a:ext uri="{9D8B030D-6E8A-4147-A177-3AD203B41FA5}">
                      <a16:colId xmlns:a16="http://schemas.microsoft.com/office/drawing/2014/main" val="20001"/>
                    </a:ext>
                  </a:extLst>
                </a:gridCol>
                <a:gridCol w="7632000">
                  <a:extLst>
                    <a:ext uri="{9D8B030D-6E8A-4147-A177-3AD203B41FA5}">
                      <a16:colId xmlns:a16="http://schemas.microsoft.com/office/drawing/2014/main" val="20002"/>
                    </a:ext>
                  </a:extLst>
                </a:gridCol>
              </a:tblGrid>
              <a:tr h="485747">
                <a:tc>
                  <a:txBody>
                    <a:bodyPr/>
                    <a:lstStyle/>
                    <a:p>
                      <a:r>
                        <a:rPr lang="en-US" sz="1800" noProof="0" dirty="0">
                          <a:solidFill>
                            <a:srgbClr val="66667E"/>
                          </a:solidFill>
                        </a:rPr>
                        <a:t>Lorem</a:t>
                      </a:r>
                    </a:p>
                  </a:txBody>
                  <a:tcPr marL="0" marR="143925" marT="71963" marB="71963" anchor="ctr">
                    <a:lnB w="28575" cap="flat" cmpd="sng" algn="ctr">
                      <a:solidFill>
                        <a:srgbClr val="66667E"/>
                      </a:solidFill>
                      <a:prstDash val="solid"/>
                      <a:round/>
                      <a:headEnd type="none" w="med" len="med"/>
                      <a:tailEnd type="none" w="med" len="med"/>
                    </a:lnB>
                  </a:tcPr>
                </a:tc>
                <a:tc>
                  <a:txBody>
                    <a:bodyPr/>
                    <a:lstStyle/>
                    <a:p>
                      <a:r>
                        <a:rPr lang="en-US" sz="1800" noProof="0" dirty="0">
                          <a:solidFill>
                            <a:srgbClr val="66667E"/>
                          </a:solidFill>
                        </a:rPr>
                        <a:t>Ipsum</a:t>
                      </a:r>
                    </a:p>
                  </a:txBody>
                  <a:tcPr marL="143925" marR="143925" marT="71963" marB="71963" anchor="ctr">
                    <a:lnB w="28575" cap="flat" cmpd="sng" algn="ctr">
                      <a:solidFill>
                        <a:srgbClr val="66667E"/>
                      </a:solidFill>
                      <a:prstDash val="solid"/>
                      <a:round/>
                      <a:headEnd type="none" w="med" len="med"/>
                      <a:tailEnd type="none" w="med" len="med"/>
                    </a:lnB>
                  </a:tcPr>
                </a:tc>
                <a:tc>
                  <a:txBody>
                    <a:bodyPr/>
                    <a:lstStyle/>
                    <a:p>
                      <a:r>
                        <a:rPr lang="en-US" sz="1800" noProof="0" dirty="0">
                          <a:solidFill>
                            <a:srgbClr val="66667E"/>
                          </a:solidFill>
                        </a:rPr>
                        <a:t>Dolore esta conses</a:t>
                      </a:r>
                    </a:p>
                  </a:txBody>
                  <a:tcPr marL="143925" marR="143925" marT="71963" marB="71963" anchor="ctr">
                    <a:lnB w="28575"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0"/>
                  </a:ext>
                </a:extLst>
              </a:tr>
              <a:tr h="1404000">
                <a:tc>
                  <a:txBody>
                    <a:bodyPr/>
                    <a:lstStyle/>
                    <a:p>
                      <a:r>
                        <a:rPr lang="en-US" sz="1600" noProof="0" dirty="0">
                          <a:solidFill>
                            <a:srgbClr val="66667E"/>
                          </a:solidFill>
                        </a:rPr>
                        <a:t>At vero eos et accusam</a:t>
                      </a:r>
                    </a:p>
                  </a:txBody>
                  <a:tcPr marL="0" marR="71963" marT="71963" marB="71963">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180000" indent="-180000">
                        <a:spcBef>
                          <a:spcPts val="300"/>
                        </a:spcBef>
                        <a:spcAft>
                          <a:spcPts val="0"/>
                        </a:spcAft>
                        <a:buClr>
                          <a:schemeClr val="accent1"/>
                        </a:buClr>
                        <a:buSzPct val="100000"/>
                        <a:buFont typeface="Arial" panose="020B0604020202020204" pitchFamily="34" charset="0"/>
                        <a:buChar char="•"/>
                      </a:pPr>
                      <a:r>
                        <a:rPr lang="en-US" sz="1200" noProof="0" dirty="0">
                          <a:solidFill>
                            <a:srgbClr val="66667E"/>
                          </a:solidFill>
                        </a:rPr>
                        <a:t>At vero eos et accusam</a:t>
                      </a:r>
                    </a:p>
                    <a:p>
                      <a:pPr marL="180000" indent="-180000">
                        <a:spcBef>
                          <a:spcPts val="300"/>
                        </a:spcBef>
                        <a:spcAft>
                          <a:spcPts val="0"/>
                        </a:spcAft>
                        <a:buClr>
                          <a:schemeClr val="accent1"/>
                        </a:buClr>
                        <a:buSzPct val="100000"/>
                        <a:buFont typeface="Arial" panose="020B0604020202020204" pitchFamily="34" charset="0"/>
                        <a:buChar char="•"/>
                      </a:pPr>
                      <a:r>
                        <a:rPr lang="en-US" sz="1200" noProof="0" dirty="0">
                          <a:solidFill>
                            <a:srgbClr val="66667E"/>
                          </a:solidFill>
                        </a:rPr>
                        <a:t>Duis arcu tortor</a:t>
                      </a:r>
                    </a:p>
                    <a:p>
                      <a:pPr marL="180000" marR="0" lvl="0" indent="-180000" algn="l" defTabSz="914400" rtl="0" eaLnBrk="1" fontAlgn="auto" latinLnBrk="0" hangingPunct="1">
                        <a:lnSpc>
                          <a:spcPct val="100000"/>
                        </a:lnSpc>
                        <a:spcBef>
                          <a:spcPts val="300"/>
                        </a:spcBef>
                        <a:spcAft>
                          <a:spcPts val="0"/>
                        </a:spcAft>
                        <a:buClr>
                          <a:schemeClr val="accent1"/>
                        </a:buClr>
                        <a:buSzPct val="100000"/>
                        <a:buFont typeface="Arial" panose="020B0604020202020204" pitchFamily="34" charset="0"/>
                        <a:buChar char="•"/>
                        <a:tabLst/>
                        <a:defRPr/>
                      </a:pPr>
                      <a:r>
                        <a:rPr lang="en-US" sz="1200" noProof="0" dirty="0">
                          <a:solidFill>
                            <a:srgbClr val="66667E"/>
                          </a:solidFill>
                        </a:rPr>
                        <a:t>At vero eos et accusam</a:t>
                      </a:r>
                    </a:p>
                  </a:txBody>
                  <a:tcPr marL="143925" marR="71963" marT="71963" marB="71963">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endParaRPr lang="en-US" sz="1800" noProof="0" dirty="0">
                        <a:solidFill>
                          <a:schemeClr val="tx1"/>
                        </a:solidFill>
                      </a:endParaRPr>
                    </a:p>
                  </a:txBody>
                  <a:tcPr marL="71963" marR="71963" marT="71963" marB="71963">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1"/>
                  </a:ext>
                </a:extLst>
              </a:tr>
              <a:tr h="1404000">
                <a:tc>
                  <a:txBody>
                    <a:bodyPr/>
                    <a:lstStyle/>
                    <a:p>
                      <a:r>
                        <a:rPr lang="en-US" sz="1600" noProof="0" dirty="0">
                          <a:solidFill>
                            <a:srgbClr val="66667E"/>
                          </a:solidFill>
                        </a:rPr>
                        <a:t>Lorem ipsum dolor</a:t>
                      </a:r>
                    </a:p>
                  </a:txBody>
                  <a:tcPr marL="0"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180000" indent="-180000" algn="l" defTabSz="914400" rtl="0" eaLnBrk="1" latinLnBrk="0" hangingPunct="1">
                        <a:spcBef>
                          <a:spcPts val="300"/>
                        </a:spcBef>
                        <a:spcAft>
                          <a:spcPts val="0"/>
                        </a:spcAft>
                        <a:buClr>
                          <a:schemeClr val="accent1"/>
                        </a:buClr>
                        <a:buSzPct val="100000"/>
                        <a:buFont typeface="Arial" panose="020B0604020202020204" pitchFamily="34" charset="0"/>
                        <a:buChar char="•"/>
                      </a:pPr>
                      <a:r>
                        <a:rPr lang="en-US" sz="1200" kern="1200" noProof="0" dirty="0">
                          <a:solidFill>
                            <a:srgbClr val="66667E"/>
                          </a:solidFill>
                          <a:latin typeface="+mn-lt"/>
                          <a:ea typeface="+mn-ea"/>
                          <a:cs typeface="+mn-cs"/>
                        </a:rPr>
                        <a:t>Consetetur sadipscing elitr</a:t>
                      </a:r>
                    </a:p>
                    <a:p>
                      <a:pPr marL="180000" marR="0" lvl="0" indent="-180000" algn="l" defTabSz="914400" rtl="0" eaLnBrk="1" fontAlgn="auto" latinLnBrk="0" hangingPunct="1">
                        <a:lnSpc>
                          <a:spcPct val="100000"/>
                        </a:lnSpc>
                        <a:spcBef>
                          <a:spcPts val="300"/>
                        </a:spcBef>
                        <a:spcAft>
                          <a:spcPts val="0"/>
                        </a:spcAft>
                        <a:buClr>
                          <a:schemeClr val="accent1"/>
                        </a:buClr>
                        <a:buSzPct val="100000"/>
                        <a:buFont typeface="Arial" panose="020B0604020202020204" pitchFamily="34" charset="0"/>
                        <a:buChar char="•"/>
                        <a:tabLst/>
                        <a:defRPr/>
                      </a:pPr>
                      <a:r>
                        <a:rPr lang="en-US" sz="1200" kern="1200" noProof="0" dirty="0">
                          <a:solidFill>
                            <a:srgbClr val="66667E"/>
                          </a:solidFill>
                          <a:latin typeface="+mn-lt"/>
                          <a:ea typeface="+mn-ea"/>
                          <a:cs typeface="+mn-cs"/>
                        </a:rPr>
                        <a:t>Lorem dolor</a:t>
                      </a:r>
                    </a:p>
                    <a:p>
                      <a:pPr marL="180000" marR="0" lvl="0" indent="-180000" algn="l" defTabSz="914400" rtl="0" eaLnBrk="1" fontAlgn="auto" latinLnBrk="0" hangingPunct="1">
                        <a:lnSpc>
                          <a:spcPct val="100000"/>
                        </a:lnSpc>
                        <a:spcBef>
                          <a:spcPts val="300"/>
                        </a:spcBef>
                        <a:spcAft>
                          <a:spcPts val="0"/>
                        </a:spcAft>
                        <a:buClr>
                          <a:schemeClr val="accent1"/>
                        </a:buClr>
                        <a:buSzPct val="100000"/>
                        <a:buFont typeface="Arial" panose="020B0604020202020204" pitchFamily="34" charset="0"/>
                        <a:buChar char="•"/>
                        <a:tabLst/>
                        <a:defRPr/>
                      </a:pPr>
                      <a:r>
                        <a:rPr lang="en-US" sz="1200" kern="1200" noProof="0" dirty="0">
                          <a:solidFill>
                            <a:srgbClr val="66667E"/>
                          </a:solidFill>
                          <a:latin typeface="+mn-lt"/>
                          <a:ea typeface="+mn-ea"/>
                          <a:cs typeface="+mn-cs"/>
                        </a:rPr>
                        <a:t>Esta conses</a:t>
                      </a:r>
                    </a:p>
                  </a:txBody>
                  <a:tcPr marL="143925"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endParaRPr lang="en-US" sz="1800" noProof="0" dirty="0">
                        <a:solidFill>
                          <a:schemeClr val="tx1"/>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2"/>
                  </a:ext>
                </a:extLst>
              </a:tr>
              <a:tr h="1404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noProof="0" dirty="0">
                          <a:solidFill>
                            <a:srgbClr val="66667E"/>
                          </a:solidFill>
                        </a:rPr>
                        <a:t>At vero eos et accusam</a:t>
                      </a:r>
                      <a:endParaRPr lang="en-US" sz="1400" noProof="0" dirty="0">
                        <a:solidFill>
                          <a:srgbClr val="66667E"/>
                        </a:solidFill>
                      </a:endParaRPr>
                    </a:p>
                  </a:txBody>
                  <a:tcPr marL="0"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180000" indent="-180000" algn="l" defTabSz="914400" rtl="0" eaLnBrk="1" latinLnBrk="0" hangingPunct="1">
                        <a:spcBef>
                          <a:spcPts val="300"/>
                        </a:spcBef>
                        <a:spcAft>
                          <a:spcPts val="0"/>
                        </a:spcAft>
                        <a:buClr>
                          <a:schemeClr val="accent1"/>
                        </a:buClr>
                        <a:buSzPct val="100000"/>
                        <a:buFont typeface="Arial" panose="020B0604020202020204" pitchFamily="34" charset="0"/>
                        <a:buChar char="•"/>
                      </a:pPr>
                      <a:r>
                        <a:rPr lang="en-US" sz="1200" noProof="0" dirty="0">
                          <a:solidFill>
                            <a:srgbClr val="66667E"/>
                          </a:solidFill>
                        </a:rPr>
                        <a:t>Esta </a:t>
                      </a:r>
                      <a:r>
                        <a:rPr lang="en-US" sz="1200" kern="1200" noProof="0" dirty="0">
                          <a:solidFill>
                            <a:srgbClr val="66667E"/>
                          </a:solidFill>
                          <a:latin typeface="+mn-lt"/>
                          <a:ea typeface="+mn-ea"/>
                          <a:cs typeface="+mn-cs"/>
                        </a:rPr>
                        <a:t>conses dolores quo</a:t>
                      </a:r>
                    </a:p>
                    <a:p>
                      <a:pPr marL="180000" indent="-180000" algn="l" defTabSz="914400" rtl="0" eaLnBrk="1" latinLnBrk="0" hangingPunct="1">
                        <a:spcBef>
                          <a:spcPts val="300"/>
                        </a:spcBef>
                        <a:spcAft>
                          <a:spcPts val="0"/>
                        </a:spcAft>
                        <a:buClr>
                          <a:schemeClr val="accent1"/>
                        </a:buClr>
                        <a:buSzPct val="100000"/>
                        <a:buFont typeface="Arial" panose="020B0604020202020204" pitchFamily="34" charset="0"/>
                        <a:buChar char="•"/>
                      </a:pPr>
                      <a:r>
                        <a:rPr lang="en-US" sz="1200" kern="1200" noProof="0" dirty="0">
                          <a:solidFill>
                            <a:srgbClr val="66667E"/>
                          </a:solidFill>
                          <a:latin typeface="+mn-lt"/>
                          <a:ea typeface="+mn-ea"/>
                          <a:cs typeface="+mn-cs"/>
                        </a:rPr>
                        <a:t>Consetetur elitr</a:t>
                      </a:r>
                    </a:p>
                    <a:p>
                      <a:pPr marL="180000" indent="-180000" algn="l" defTabSz="914400" rtl="0" eaLnBrk="1" latinLnBrk="0" hangingPunct="1">
                        <a:spcBef>
                          <a:spcPts val="300"/>
                        </a:spcBef>
                        <a:spcAft>
                          <a:spcPts val="0"/>
                        </a:spcAft>
                        <a:buClr>
                          <a:schemeClr val="accent1"/>
                        </a:buClr>
                        <a:buSzPct val="100000"/>
                        <a:buFont typeface="Arial" panose="020B0604020202020204" pitchFamily="34" charset="0"/>
                        <a:buChar char="•"/>
                      </a:pPr>
                      <a:r>
                        <a:rPr lang="en-US" sz="1200" kern="1200" noProof="0" dirty="0">
                          <a:solidFill>
                            <a:srgbClr val="66667E"/>
                          </a:solidFill>
                          <a:latin typeface="+mn-lt"/>
                          <a:ea typeface="+mn-ea"/>
                          <a:cs typeface="+mn-cs"/>
                        </a:rPr>
                        <a:t>Dolor con</a:t>
                      </a:r>
                    </a:p>
                  </a:txBody>
                  <a:tcPr marL="143925"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endParaRPr lang="en-US" sz="1800" noProof="0" dirty="0">
                        <a:solidFill>
                          <a:schemeClr val="tx1"/>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2" name="Titel 1"/>
          <p:cNvSpPr>
            <a:spLocks noGrp="1"/>
          </p:cNvSpPr>
          <p:nvPr>
            <p:ph type="title"/>
          </p:nvPr>
        </p:nvSpPr>
        <p:spPr/>
        <p:txBody>
          <a:bodyPr/>
          <a:lstStyle/>
          <a:p>
            <a:r>
              <a:rPr lang="en-US" dirty="0"/>
              <a:t>Contents</a:t>
            </a:r>
          </a:p>
        </p:txBody>
      </p:sp>
      <p:grpSp>
        <p:nvGrpSpPr>
          <p:cNvPr id="5" name="Group 4">
            <a:extLst>
              <a:ext uri="{FF2B5EF4-FFF2-40B4-BE49-F238E27FC236}">
                <a16:creationId xmlns:a16="http://schemas.microsoft.com/office/drawing/2014/main" id="{08B27A70-AD7C-41B4-99FE-6FACDA334F2D}"/>
              </a:ext>
            </a:extLst>
          </p:cNvPr>
          <p:cNvGrpSpPr/>
          <p:nvPr/>
        </p:nvGrpSpPr>
        <p:grpSpPr>
          <a:xfrm>
            <a:off x="4298400" y="2026800"/>
            <a:ext cx="1584000" cy="864501"/>
            <a:chOff x="4280400" y="2009538"/>
            <a:chExt cx="1512000" cy="864501"/>
          </a:xfrm>
          <a:solidFill>
            <a:srgbClr val="CCCCD4"/>
          </a:solidFill>
        </p:grpSpPr>
        <p:sp>
          <p:nvSpPr>
            <p:cNvPr id="38" name="Rectangle 37"/>
            <p:cNvSpPr/>
            <p:nvPr/>
          </p:nvSpPr>
          <p:spPr bwMode="auto">
            <a:xfrm>
              <a:off x="4280400" y="2009538"/>
              <a:ext cx="1512000" cy="864000"/>
            </a:xfrm>
            <a:prstGeom prst="rect">
              <a:avLst/>
            </a:prstGeom>
            <a:grp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grpSp>
          <p:nvGrpSpPr>
            <p:cNvPr id="4" name="Group 3">
              <a:extLst>
                <a:ext uri="{FF2B5EF4-FFF2-40B4-BE49-F238E27FC236}">
                  <a16:creationId xmlns:a16="http://schemas.microsoft.com/office/drawing/2014/main" id="{8E9830DD-B619-4EB6-8BDB-94AADC3C93F7}"/>
                </a:ext>
              </a:extLst>
            </p:cNvPr>
            <p:cNvGrpSpPr/>
            <p:nvPr/>
          </p:nvGrpSpPr>
          <p:grpSpPr>
            <a:xfrm>
              <a:off x="4280400" y="2009538"/>
              <a:ext cx="1511191" cy="864501"/>
              <a:chOff x="4280400" y="2009538"/>
              <a:chExt cx="1511191" cy="864501"/>
            </a:xfrm>
            <a:grpFill/>
          </p:grpSpPr>
          <p:cxnSp>
            <p:nvCxnSpPr>
              <p:cNvPr id="39" name="Straight Connector 38"/>
              <p:cNvCxnSpPr/>
              <p:nvPr/>
            </p:nvCxnSpPr>
            <p:spPr bwMode="auto">
              <a:xfrm>
                <a:off x="4280400" y="2010039"/>
                <a:ext cx="1511191" cy="864000"/>
              </a:xfrm>
              <a:prstGeom prst="line">
                <a:avLst/>
              </a:prstGeom>
              <a:grpFill/>
              <a:ln w="12700" cap="flat" cmpd="sng" algn="ctr">
                <a:solidFill>
                  <a:srgbClr val="FFFFFF"/>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Straight Connector 39"/>
              <p:cNvCxnSpPr/>
              <p:nvPr/>
            </p:nvCxnSpPr>
            <p:spPr bwMode="auto">
              <a:xfrm flipH="1">
                <a:off x="4280400" y="2009538"/>
                <a:ext cx="1511191" cy="864000"/>
              </a:xfrm>
              <a:prstGeom prst="line">
                <a:avLst/>
              </a:prstGeom>
              <a:grpFill/>
              <a:ln w="12700" cap="flat" cmpd="sng" algn="ctr">
                <a:solidFill>
                  <a:srgbClr val="FFFFFF"/>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sp>
        <p:nvSpPr>
          <p:cNvPr id="54" name="Textfeld 18"/>
          <p:cNvSpPr txBox="1"/>
          <p:nvPr/>
        </p:nvSpPr>
        <p:spPr>
          <a:xfrm>
            <a:off x="411826" y="2487496"/>
            <a:ext cx="1582749" cy="808363"/>
          </a:xfrm>
          <a:prstGeom prst="rect">
            <a:avLst/>
          </a:prstGeom>
          <a:noFill/>
        </p:spPr>
        <p:txBody>
          <a:bodyPr wrap="square" lIns="0" tIns="0" rIns="0" bIns="35981" rtlCol="0" anchor="b" anchorCtr="0">
            <a:noAutofit/>
          </a:bodyPr>
          <a:lstStyle/>
          <a:p>
            <a:pPr>
              <a:lnSpc>
                <a:spcPct val="50000"/>
              </a:lnSpc>
            </a:pPr>
            <a:r>
              <a:rPr lang="en-US" sz="5997" b="1" dirty="0">
                <a:solidFill>
                  <a:schemeClr val="accent1"/>
                </a:solidFill>
              </a:rPr>
              <a:t>1</a:t>
            </a:r>
          </a:p>
        </p:txBody>
      </p:sp>
      <p:sp>
        <p:nvSpPr>
          <p:cNvPr id="100" name="Textfeld 18"/>
          <p:cNvSpPr txBox="1"/>
          <p:nvPr/>
        </p:nvSpPr>
        <p:spPr>
          <a:xfrm>
            <a:off x="411826" y="3877148"/>
            <a:ext cx="1510776" cy="808363"/>
          </a:xfrm>
          <a:prstGeom prst="rect">
            <a:avLst/>
          </a:prstGeom>
          <a:noFill/>
        </p:spPr>
        <p:txBody>
          <a:bodyPr wrap="square" lIns="0" tIns="0" rIns="0" bIns="35981" rtlCol="0" anchor="b" anchorCtr="0">
            <a:noAutofit/>
          </a:bodyPr>
          <a:lstStyle/>
          <a:p>
            <a:pPr>
              <a:lnSpc>
                <a:spcPct val="50000"/>
              </a:lnSpc>
            </a:pPr>
            <a:r>
              <a:rPr lang="en-US" sz="5997" b="1" dirty="0">
                <a:solidFill>
                  <a:schemeClr val="accent1"/>
                </a:solidFill>
              </a:rPr>
              <a:t>2</a:t>
            </a:r>
          </a:p>
        </p:txBody>
      </p:sp>
      <p:sp>
        <p:nvSpPr>
          <p:cNvPr id="109" name="Textfeld 18"/>
          <p:cNvSpPr txBox="1"/>
          <p:nvPr/>
        </p:nvSpPr>
        <p:spPr>
          <a:xfrm>
            <a:off x="411826" y="5266800"/>
            <a:ext cx="1510776" cy="808363"/>
          </a:xfrm>
          <a:prstGeom prst="rect">
            <a:avLst/>
          </a:prstGeom>
          <a:noFill/>
        </p:spPr>
        <p:txBody>
          <a:bodyPr wrap="square" lIns="0" tIns="0" rIns="0" bIns="35981" rtlCol="0" anchor="b" anchorCtr="0">
            <a:noAutofit/>
          </a:bodyPr>
          <a:lstStyle/>
          <a:p>
            <a:pPr>
              <a:lnSpc>
                <a:spcPct val="50000"/>
              </a:lnSpc>
            </a:pPr>
            <a:r>
              <a:rPr lang="en-US" sz="5997" b="1" dirty="0">
                <a:solidFill>
                  <a:schemeClr val="accent1"/>
                </a:solidFill>
              </a:rPr>
              <a:t>3</a:t>
            </a:r>
          </a:p>
        </p:txBody>
      </p:sp>
      <p:grpSp>
        <p:nvGrpSpPr>
          <p:cNvPr id="55" name="Group 54">
            <a:extLst>
              <a:ext uri="{FF2B5EF4-FFF2-40B4-BE49-F238E27FC236}">
                <a16:creationId xmlns:a16="http://schemas.microsoft.com/office/drawing/2014/main" id="{8ED9C9C3-714C-46ED-B96D-B0ED46990880}"/>
              </a:ext>
            </a:extLst>
          </p:cNvPr>
          <p:cNvGrpSpPr/>
          <p:nvPr/>
        </p:nvGrpSpPr>
        <p:grpSpPr>
          <a:xfrm>
            <a:off x="6026400" y="2026800"/>
            <a:ext cx="1584000" cy="864501"/>
            <a:chOff x="4280400" y="2009538"/>
            <a:chExt cx="1512000" cy="864501"/>
          </a:xfrm>
          <a:solidFill>
            <a:srgbClr val="CCCCD4"/>
          </a:solidFill>
        </p:grpSpPr>
        <p:sp>
          <p:nvSpPr>
            <p:cNvPr id="56" name="Rectangle 55">
              <a:extLst>
                <a:ext uri="{FF2B5EF4-FFF2-40B4-BE49-F238E27FC236}">
                  <a16:creationId xmlns:a16="http://schemas.microsoft.com/office/drawing/2014/main" id="{F7AE26ED-D806-42D2-BB9D-DE8A0C31DDC7}"/>
                </a:ext>
              </a:extLst>
            </p:cNvPr>
            <p:cNvSpPr/>
            <p:nvPr/>
          </p:nvSpPr>
          <p:spPr bwMode="auto">
            <a:xfrm>
              <a:off x="4280400" y="2009538"/>
              <a:ext cx="1512000" cy="864000"/>
            </a:xfrm>
            <a:prstGeom prst="rect">
              <a:avLst/>
            </a:prstGeom>
            <a:grp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grpSp>
          <p:nvGrpSpPr>
            <p:cNvPr id="57" name="Group 56">
              <a:extLst>
                <a:ext uri="{FF2B5EF4-FFF2-40B4-BE49-F238E27FC236}">
                  <a16:creationId xmlns:a16="http://schemas.microsoft.com/office/drawing/2014/main" id="{7EBF1579-AE2D-40D2-B92B-5C5D8163213B}"/>
                </a:ext>
              </a:extLst>
            </p:cNvPr>
            <p:cNvGrpSpPr/>
            <p:nvPr/>
          </p:nvGrpSpPr>
          <p:grpSpPr>
            <a:xfrm>
              <a:off x="4280400" y="2009538"/>
              <a:ext cx="1511191" cy="864501"/>
              <a:chOff x="4280400" y="2009538"/>
              <a:chExt cx="1511191" cy="864501"/>
            </a:xfrm>
            <a:grpFill/>
          </p:grpSpPr>
          <p:cxnSp>
            <p:nvCxnSpPr>
              <p:cNvPr id="58" name="Straight Connector 57">
                <a:extLst>
                  <a:ext uri="{FF2B5EF4-FFF2-40B4-BE49-F238E27FC236}">
                    <a16:creationId xmlns:a16="http://schemas.microsoft.com/office/drawing/2014/main" id="{34811C5B-935C-48BF-BAA2-F5B282149255}"/>
                  </a:ext>
                </a:extLst>
              </p:cNvPr>
              <p:cNvCxnSpPr/>
              <p:nvPr/>
            </p:nvCxnSpPr>
            <p:spPr bwMode="auto">
              <a:xfrm>
                <a:off x="4280400" y="2010039"/>
                <a:ext cx="1511191" cy="864000"/>
              </a:xfrm>
              <a:prstGeom prst="line">
                <a:avLst/>
              </a:prstGeom>
              <a:grpFill/>
              <a:ln w="12700" cap="flat" cmpd="sng" algn="ctr">
                <a:solidFill>
                  <a:srgbClr val="FFFFFF"/>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Straight Connector 58">
                <a:extLst>
                  <a:ext uri="{FF2B5EF4-FFF2-40B4-BE49-F238E27FC236}">
                    <a16:creationId xmlns:a16="http://schemas.microsoft.com/office/drawing/2014/main" id="{91F60D1C-A0A7-4593-B927-6C147A47325C}"/>
                  </a:ext>
                </a:extLst>
              </p:cNvPr>
              <p:cNvCxnSpPr/>
              <p:nvPr/>
            </p:nvCxnSpPr>
            <p:spPr bwMode="auto">
              <a:xfrm flipH="1">
                <a:off x="4280400" y="2009538"/>
                <a:ext cx="1511191" cy="864000"/>
              </a:xfrm>
              <a:prstGeom prst="line">
                <a:avLst/>
              </a:prstGeom>
              <a:grpFill/>
              <a:ln w="12700" cap="flat" cmpd="sng" algn="ctr">
                <a:solidFill>
                  <a:srgbClr val="FFFFFF"/>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grpSp>
        <p:nvGrpSpPr>
          <p:cNvPr id="60" name="Group 59">
            <a:extLst>
              <a:ext uri="{FF2B5EF4-FFF2-40B4-BE49-F238E27FC236}">
                <a16:creationId xmlns:a16="http://schemas.microsoft.com/office/drawing/2014/main" id="{D84A67E6-7D37-4E50-8D65-95BA1D11D4F9}"/>
              </a:ext>
            </a:extLst>
          </p:cNvPr>
          <p:cNvGrpSpPr/>
          <p:nvPr/>
        </p:nvGrpSpPr>
        <p:grpSpPr>
          <a:xfrm>
            <a:off x="7754400" y="2026800"/>
            <a:ext cx="1584000" cy="864501"/>
            <a:chOff x="4280400" y="2009538"/>
            <a:chExt cx="1512000" cy="864501"/>
          </a:xfrm>
          <a:solidFill>
            <a:srgbClr val="CCCCD4"/>
          </a:solidFill>
        </p:grpSpPr>
        <p:sp>
          <p:nvSpPr>
            <p:cNvPr id="61" name="Rectangle 60">
              <a:extLst>
                <a:ext uri="{FF2B5EF4-FFF2-40B4-BE49-F238E27FC236}">
                  <a16:creationId xmlns:a16="http://schemas.microsoft.com/office/drawing/2014/main" id="{DCFAD57B-C00E-4B5D-9CD6-E739B85C1386}"/>
                </a:ext>
              </a:extLst>
            </p:cNvPr>
            <p:cNvSpPr/>
            <p:nvPr/>
          </p:nvSpPr>
          <p:spPr bwMode="auto">
            <a:xfrm>
              <a:off x="4280400" y="2009538"/>
              <a:ext cx="1512000" cy="864000"/>
            </a:xfrm>
            <a:prstGeom prst="rect">
              <a:avLst/>
            </a:prstGeom>
            <a:grp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grpSp>
          <p:nvGrpSpPr>
            <p:cNvPr id="62" name="Group 61">
              <a:extLst>
                <a:ext uri="{FF2B5EF4-FFF2-40B4-BE49-F238E27FC236}">
                  <a16:creationId xmlns:a16="http://schemas.microsoft.com/office/drawing/2014/main" id="{E9E426E7-D900-46A0-A3F9-962E61E917F3}"/>
                </a:ext>
              </a:extLst>
            </p:cNvPr>
            <p:cNvGrpSpPr/>
            <p:nvPr/>
          </p:nvGrpSpPr>
          <p:grpSpPr>
            <a:xfrm>
              <a:off x="4280400" y="2009538"/>
              <a:ext cx="1511191" cy="864501"/>
              <a:chOff x="4280400" y="2009538"/>
              <a:chExt cx="1511191" cy="864501"/>
            </a:xfrm>
            <a:grpFill/>
          </p:grpSpPr>
          <p:cxnSp>
            <p:nvCxnSpPr>
              <p:cNvPr id="63" name="Straight Connector 62">
                <a:extLst>
                  <a:ext uri="{FF2B5EF4-FFF2-40B4-BE49-F238E27FC236}">
                    <a16:creationId xmlns:a16="http://schemas.microsoft.com/office/drawing/2014/main" id="{36065E9A-4386-4D88-91E1-F6C2C202D2D6}"/>
                  </a:ext>
                </a:extLst>
              </p:cNvPr>
              <p:cNvCxnSpPr/>
              <p:nvPr/>
            </p:nvCxnSpPr>
            <p:spPr bwMode="auto">
              <a:xfrm>
                <a:off x="4280400" y="2010039"/>
                <a:ext cx="1511191" cy="864000"/>
              </a:xfrm>
              <a:prstGeom prst="line">
                <a:avLst/>
              </a:prstGeom>
              <a:grpFill/>
              <a:ln w="12700" cap="flat" cmpd="sng" algn="ctr">
                <a:solidFill>
                  <a:srgbClr val="FFFFFF"/>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Straight Connector 75">
                <a:extLst>
                  <a:ext uri="{FF2B5EF4-FFF2-40B4-BE49-F238E27FC236}">
                    <a16:creationId xmlns:a16="http://schemas.microsoft.com/office/drawing/2014/main" id="{4F24A562-EA2C-4BFA-B971-1A2B7B6D2611}"/>
                  </a:ext>
                </a:extLst>
              </p:cNvPr>
              <p:cNvCxnSpPr/>
              <p:nvPr/>
            </p:nvCxnSpPr>
            <p:spPr bwMode="auto">
              <a:xfrm flipH="1">
                <a:off x="4280400" y="2009538"/>
                <a:ext cx="1511191" cy="864000"/>
              </a:xfrm>
              <a:prstGeom prst="line">
                <a:avLst/>
              </a:prstGeom>
              <a:grpFill/>
              <a:ln w="12700" cap="flat" cmpd="sng" algn="ctr">
                <a:solidFill>
                  <a:srgbClr val="FFFFFF"/>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grpSp>
        <p:nvGrpSpPr>
          <p:cNvPr id="77" name="Group 76">
            <a:extLst>
              <a:ext uri="{FF2B5EF4-FFF2-40B4-BE49-F238E27FC236}">
                <a16:creationId xmlns:a16="http://schemas.microsoft.com/office/drawing/2014/main" id="{088D28E9-15C5-44BF-9A2F-4AFC6868CF19}"/>
              </a:ext>
            </a:extLst>
          </p:cNvPr>
          <p:cNvGrpSpPr/>
          <p:nvPr/>
        </p:nvGrpSpPr>
        <p:grpSpPr>
          <a:xfrm>
            <a:off x="4298400" y="3412800"/>
            <a:ext cx="1584000" cy="864501"/>
            <a:chOff x="4280400" y="2009538"/>
            <a:chExt cx="1512000" cy="864501"/>
          </a:xfrm>
          <a:solidFill>
            <a:srgbClr val="CCCCD4"/>
          </a:solidFill>
        </p:grpSpPr>
        <p:sp>
          <p:nvSpPr>
            <p:cNvPr id="78" name="Rectangle 77">
              <a:extLst>
                <a:ext uri="{FF2B5EF4-FFF2-40B4-BE49-F238E27FC236}">
                  <a16:creationId xmlns:a16="http://schemas.microsoft.com/office/drawing/2014/main" id="{5714D1F6-E7F5-4695-A543-00E98FF51F94}"/>
                </a:ext>
              </a:extLst>
            </p:cNvPr>
            <p:cNvSpPr/>
            <p:nvPr/>
          </p:nvSpPr>
          <p:spPr bwMode="auto">
            <a:xfrm>
              <a:off x="4280400" y="2009538"/>
              <a:ext cx="1512000" cy="864000"/>
            </a:xfrm>
            <a:prstGeom prst="rect">
              <a:avLst/>
            </a:prstGeom>
            <a:grp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grpSp>
          <p:nvGrpSpPr>
            <p:cNvPr id="79" name="Group 78">
              <a:extLst>
                <a:ext uri="{FF2B5EF4-FFF2-40B4-BE49-F238E27FC236}">
                  <a16:creationId xmlns:a16="http://schemas.microsoft.com/office/drawing/2014/main" id="{8162F36E-7389-4364-8374-7C54B898372C}"/>
                </a:ext>
              </a:extLst>
            </p:cNvPr>
            <p:cNvGrpSpPr/>
            <p:nvPr/>
          </p:nvGrpSpPr>
          <p:grpSpPr>
            <a:xfrm>
              <a:off x="4280400" y="2009538"/>
              <a:ext cx="1511191" cy="864501"/>
              <a:chOff x="4280400" y="2009538"/>
              <a:chExt cx="1511191" cy="864501"/>
            </a:xfrm>
            <a:grpFill/>
          </p:grpSpPr>
          <p:cxnSp>
            <p:nvCxnSpPr>
              <p:cNvPr id="80" name="Straight Connector 79">
                <a:extLst>
                  <a:ext uri="{FF2B5EF4-FFF2-40B4-BE49-F238E27FC236}">
                    <a16:creationId xmlns:a16="http://schemas.microsoft.com/office/drawing/2014/main" id="{ADF193D7-50D1-4087-8E29-C4E22E8ABE82}"/>
                  </a:ext>
                </a:extLst>
              </p:cNvPr>
              <p:cNvCxnSpPr/>
              <p:nvPr/>
            </p:nvCxnSpPr>
            <p:spPr bwMode="auto">
              <a:xfrm>
                <a:off x="4280400" y="2010039"/>
                <a:ext cx="1511191" cy="864000"/>
              </a:xfrm>
              <a:prstGeom prst="line">
                <a:avLst/>
              </a:prstGeom>
              <a:grpFill/>
              <a:ln w="12700" cap="flat" cmpd="sng" algn="ctr">
                <a:solidFill>
                  <a:srgbClr val="FFFFFF"/>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1" name="Straight Connector 80">
                <a:extLst>
                  <a:ext uri="{FF2B5EF4-FFF2-40B4-BE49-F238E27FC236}">
                    <a16:creationId xmlns:a16="http://schemas.microsoft.com/office/drawing/2014/main" id="{3A772BB0-3EDA-47E1-873F-895BFFE0446D}"/>
                  </a:ext>
                </a:extLst>
              </p:cNvPr>
              <p:cNvCxnSpPr/>
              <p:nvPr/>
            </p:nvCxnSpPr>
            <p:spPr bwMode="auto">
              <a:xfrm flipH="1">
                <a:off x="4280400" y="2009538"/>
                <a:ext cx="1511191" cy="864000"/>
              </a:xfrm>
              <a:prstGeom prst="line">
                <a:avLst/>
              </a:prstGeom>
              <a:grpFill/>
              <a:ln w="12700" cap="flat" cmpd="sng" algn="ctr">
                <a:solidFill>
                  <a:srgbClr val="FFFFFF"/>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grpSp>
        <p:nvGrpSpPr>
          <p:cNvPr id="82" name="Group 81">
            <a:extLst>
              <a:ext uri="{FF2B5EF4-FFF2-40B4-BE49-F238E27FC236}">
                <a16:creationId xmlns:a16="http://schemas.microsoft.com/office/drawing/2014/main" id="{E971F64C-0146-4036-A4E2-86BBA4CAC8B9}"/>
              </a:ext>
            </a:extLst>
          </p:cNvPr>
          <p:cNvGrpSpPr/>
          <p:nvPr/>
        </p:nvGrpSpPr>
        <p:grpSpPr>
          <a:xfrm>
            <a:off x="6026400" y="3412800"/>
            <a:ext cx="1584000" cy="864501"/>
            <a:chOff x="4280400" y="2009538"/>
            <a:chExt cx="1512000" cy="864501"/>
          </a:xfrm>
          <a:solidFill>
            <a:srgbClr val="CCCCD4"/>
          </a:solidFill>
        </p:grpSpPr>
        <p:sp>
          <p:nvSpPr>
            <p:cNvPr id="83" name="Rectangle 82">
              <a:extLst>
                <a:ext uri="{FF2B5EF4-FFF2-40B4-BE49-F238E27FC236}">
                  <a16:creationId xmlns:a16="http://schemas.microsoft.com/office/drawing/2014/main" id="{B1B118E1-900D-4AFC-8E25-62841C1EC986}"/>
                </a:ext>
              </a:extLst>
            </p:cNvPr>
            <p:cNvSpPr/>
            <p:nvPr/>
          </p:nvSpPr>
          <p:spPr bwMode="auto">
            <a:xfrm>
              <a:off x="4280400" y="2009538"/>
              <a:ext cx="1512000" cy="864000"/>
            </a:xfrm>
            <a:prstGeom prst="rect">
              <a:avLst/>
            </a:prstGeom>
            <a:grp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grpSp>
          <p:nvGrpSpPr>
            <p:cNvPr id="84" name="Group 83">
              <a:extLst>
                <a:ext uri="{FF2B5EF4-FFF2-40B4-BE49-F238E27FC236}">
                  <a16:creationId xmlns:a16="http://schemas.microsoft.com/office/drawing/2014/main" id="{1438A974-20D6-4AEE-9785-689011985F72}"/>
                </a:ext>
              </a:extLst>
            </p:cNvPr>
            <p:cNvGrpSpPr/>
            <p:nvPr/>
          </p:nvGrpSpPr>
          <p:grpSpPr>
            <a:xfrm>
              <a:off x="4280400" y="2009538"/>
              <a:ext cx="1511191" cy="864501"/>
              <a:chOff x="4280400" y="2009538"/>
              <a:chExt cx="1511191" cy="864501"/>
            </a:xfrm>
            <a:grpFill/>
          </p:grpSpPr>
          <p:cxnSp>
            <p:nvCxnSpPr>
              <p:cNvPr id="85" name="Straight Connector 84">
                <a:extLst>
                  <a:ext uri="{FF2B5EF4-FFF2-40B4-BE49-F238E27FC236}">
                    <a16:creationId xmlns:a16="http://schemas.microsoft.com/office/drawing/2014/main" id="{E51D9455-CA47-4CE6-8316-8700C3EE2E23}"/>
                  </a:ext>
                </a:extLst>
              </p:cNvPr>
              <p:cNvCxnSpPr/>
              <p:nvPr/>
            </p:nvCxnSpPr>
            <p:spPr bwMode="auto">
              <a:xfrm>
                <a:off x="4280400" y="2010039"/>
                <a:ext cx="1511191" cy="864000"/>
              </a:xfrm>
              <a:prstGeom prst="line">
                <a:avLst/>
              </a:prstGeom>
              <a:grpFill/>
              <a:ln w="12700" cap="flat" cmpd="sng" algn="ctr">
                <a:solidFill>
                  <a:srgbClr val="FFFFFF"/>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Straight Connector 85">
                <a:extLst>
                  <a:ext uri="{FF2B5EF4-FFF2-40B4-BE49-F238E27FC236}">
                    <a16:creationId xmlns:a16="http://schemas.microsoft.com/office/drawing/2014/main" id="{118F929E-FC67-4B63-AFE6-53A34445FA53}"/>
                  </a:ext>
                </a:extLst>
              </p:cNvPr>
              <p:cNvCxnSpPr/>
              <p:nvPr/>
            </p:nvCxnSpPr>
            <p:spPr bwMode="auto">
              <a:xfrm flipH="1">
                <a:off x="4280400" y="2009538"/>
                <a:ext cx="1511191" cy="864000"/>
              </a:xfrm>
              <a:prstGeom prst="line">
                <a:avLst/>
              </a:prstGeom>
              <a:grpFill/>
              <a:ln w="12700" cap="flat" cmpd="sng" algn="ctr">
                <a:solidFill>
                  <a:srgbClr val="FFFFFF"/>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grpSp>
        <p:nvGrpSpPr>
          <p:cNvPr id="87" name="Group 86">
            <a:extLst>
              <a:ext uri="{FF2B5EF4-FFF2-40B4-BE49-F238E27FC236}">
                <a16:creationId xmlns:a16="http://schemas.microsoft.com/office/drawing/2014/main" id="{BA7544E5-3573-4609-A3D8-CCE8162AB1ED}"/>
              </a:ext>
            </a:extLst>
          </p:cNvPr>
          <p:cNvGrpSpPr/>
          <p:nvPr/>
        </p:nvGrpSpPr>
        <p:grpSpPr>
          <a:xfrm>
            <a:off x="7754400" y="3412800"/>
            <a:ext cx="1584000" cy="864501"/>
            <a:chOff x="4280400" y="2009538"/>
            <a:chExt cx="1512000" cy="864501"/>
          </a:xfrm>
          <a:solidFill>
            <a:srgbClr val="CCCCD4"/>
          </a:solidFill>
        </p:grpSpPr>
        <p:sp>
          <p:nvSpPr>
            <p:cNvPr id="101" name="Rectangle 100">
              <a:extLst>
                <a:ext uri="{FF2B5EF4-FFF2-40B4-BE49-F238E27FC236}">
                  <a16:creationId xmlns:a16="http://schemas.microsoft.com/office/drawing/2014/main" id="{77600F38-E487-4C37-A883-BE3FAE685ED4}"/>
                </a:ext>
              </a:extLst>
            </p:cNvPr>
            <p:cNvSpPr/>
            <p:nvPr/>
          </p:nvSpPr>
          <p:spPr bwMode="auto">
            <a:xfrm>
              <a:off x="4280400" y="2009538"/>
              <a:ext cx="1512000" cy="864000"/>
            </a:xfrm>
            <a:prstGeom prst="rect">
              <a:avLst/>
            </a:prstGeom>
            <a:grp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grpSp>
          <p:nvGrpSpPr>
            <p:cNvPr id="102" name="Group 101">
              <a:extLst>
                <a:ext uri="{FF2B5EF4-FFF2-40B4-BE49-F238E27FC236}">
                  <a16:creationId xmlns:a16="http://schemas.microsoft.com/office/drawing/2014/main" id="{82ADA79A-7AE6-4F8E-8707-758B73AA54A6}"/>
                </a:ext>
              </a:extLst>
            </p:cNvPr>
            <p:cNvGrpSpPr/>
            <p:nvPr/>
          </p:nvGrpSpPr>
          <p:grpSpPr>
            <a:xfrm>
              <a:off x="4280400" y="2009538"/>
              <a:ext cx="1511191" cy="864501"/>
              <a:chOff x="4280400" y="2009538"/>
              <a:chExt cx="1511191" cy="864501"/>
            </a:xfrm>
            <a:grpFill/>
          </p:grpSpPr>
          <p:cxnSp>
            <p:nvCxnSpPr>
              <p:cNvPr id="103" name="Straight Connector 102">
                <a:extLst>
                  <a:ext uri="{FF2B5EF4-FFF2-40B4-BE49-F238E27FC236}">
                    <a16:creationId xmlns:a16="http://schemas.microsoft.com/office/drawing/2014/main" id="{DEDEAFD0-1E72-416D-9E9E-CFCDB6D0C308}"/>
                  </a:ext>
                </a:extLst>
              </p:cNvPr>
              <p:cNvCxnSpPr/>
              <p:nvPr/>
            </p:nvCxnSpPr>
            <p:spPr bwMode="auto">
              <a:xfrm>
                <a:off x="4280400" y="2010039"/>
                <a:ext cx="1511191" cy="864000"/>
              </a:xfrm>
              <a:prstGeom prst="line">
                <a:avLst/>
              </a:prstGeom>
              <a:grpFill/>
              <a:ln w="12700" cap="flat" cmpd="sng" algn="ctr">
                <a:solidFill>
                  <a:srgbClr val="FFFFFF"/>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8" name="Straight Connector 107">
                <a:extLst>
                  <a:ext uri="{FF2B5EF4-FFF2-40B4-BE49-F238E27FC236}">
                    <a16:creationId xmlns:a16="http://schemas.microsoft.com/office/drawing/2014/main" id="{EE215F3D-C2AE-4F45-8423-DDAA6A2454B2}"/>
                  </a:ext>
                </a:extLst>
              </p:cNvPr>
              <p:cNvCxnSpPr/>
              <p:nvPr/>
            </p:nvCxnSpPr>
            <p:spPr bwMode="auto">
              <a:xfrm flipH="1">
                <a:off x="4280400" y="2009538"/>
                <a:ext cx="1511191" cy="864000"/>
              </a:xfrm>
              <a:prstGeom prst="line">
                <a:avLst/>
              </a:prstGeom>
              <a:grpFill/>
              <a:ln w="12700" cap="flat" cmpd="sng" algn="ctr">
                <a:solidFill>
                  <a:srgbClr val="FFFFFF"/>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grpSp>
        <p:nvGrpSpPr>
          <p:cNvPr id="110" name="Group 109">
            <a:extLst>
              <a:ext uri="{FF2B5EF4-FFF2-40B4-BE49-F238E27FC236}">
                <a16:creationId xmlns:a16="http://schemas.microsoft.com/office/drawing/2014/main" id="{919C8794-84C5-49DE-B98C-59DAB5202121}"/>
              </a:ext>
            </a:extLst>
          </p:cNvPr>
          <p:cNvGrpSpPr/>
          <p:nvPr/>
        </p:nvGrpSpPr>
        <p:grpSpPr>
          <a:xfrm>
            <a:off x="9482400" y="3412800"/>
            <a:ext cx="1584000" cy="864501"/>
            <a:chOff x="4280400" y="2009538"/>
            <a:chExt cx="1512000" cy="864501"/>
          </a:xfrm>
          <a:solidFill>
            <a:srgbClr val="CCCCD4"/>
          </a:solidFill>
        </p:grpSpPr>
        <p:sp>
          <p:nvSpPr>
            <p:cNvPr id="111" name="Rectangle 110">
              <a:extLst>
                <a:ext uri="{FF2B5EF4-FFF2-40B4-BE49-F238E27FC236}">
                  <a16:creationId xmlns:a16="http://schemas.microsoft.com/office/drawing/2014/main" id="{5F64A46B-FFBE-4B8A-878B-CFBF355D0112}"/>
                </a:ext>
              </a:extLst>
            </p:cNvPr>
            <p:cNvSpPr/>
            <p:nvPr/>
          </p:nvSpPr>
          <p:spPr bwMode="auto">
            <a:xfrm>
              <a:off x="4280400" y="2009538"/>
              <a:ext cx="1512000" cy="864000"/>
            </a:xfrm>
            <a:prstGeom prst="rect">
              <a:avLst/>
            </a:prstGeom>
            <a:grp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grpSp>
          <p:nvGrpSpPr>
            <p:cNvPr id="112" name="Group 111">
              <a:extLst>
                <a:ext uri="{FF2B5EF4-FFF2-40B4-BE49-F238E27FC236}">
                  <a16:creationId xmlns:a16="http://schemas.microsoft.com/office/drawing/2014/main" id="{6C9BA7E4-62FB-4B0C-9814-4B7F3758F980}"/>
                </a:ext>
              </a:extLst>
            </p:cNvPr>
            <p:cNvGrpSpPr/>
            <p:nvPr/>
          </p:nvGrpSpPr>
          <p:grpSpPr>
            <a:xfrm>
              <a:off x="4280400" y="2009538"/>
              <a:ext cx="1511191" cy="864501"/>
              <a:chOff x="4280400" y="2009538"/>
              <a:chExt cx="1511191" cy="864501"/>
            </a:xfrm>
            <a:grpFill/>
          </p:grpSpPr>
          <p:cxnSp>
            <p:nvCxnSpPr>
              <p:cNvPr id="113" name="Straight Connector 112">
                <a:extLst>
                  <a:ext uri="{FF2B5EF4-FFF2-40B4-BE49-F238E27FC236}">
                    <a16:creationId xmlns:a16="http://schemas.microsoft.com/office/drawing/2014/main" id="{67C07DEF-9AC0-4567-B35E-A54DA9FE065C}"/>
                  </a:ext>
                </a:extLst>
              </p:cNvPr>
              <p:cNvCxnSpPr/>
              <p:nvPr/>
            </p:nvCxnSpPr>
            <p:spPr bwMode="auto">
              <a:xfrm>
                <a:off x="4280400" y="2010039"/>
                <a:ext cx="1511191" cy="864000"/>
              </a:xfrm>
              <a:prstGeom prst="line">
                <a:avLst/>
              </a:prstGeom>
              <a:grpFill/>
              <a:ln w="12700" cap="flat" cmpd="sng" algn="ctr">
                <a:solidFill>
                  <a:srgbClr val="FFFFFF"/>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4" name="Straight Connector 113">
                <a:extLst>
                  <a:ext uri="{FF2B5EF4-FFF2-40B4-BE49-F238E27FC236}">
                    <a16:creationId xmlns:a16="http://schemas.microsoft.com/office/drawing/2014/main" id="{F69AEED0-7AEE-426B-BD55-5AF6559D6A66}"/>
                  </a:ext>
                </a:extLst>
              </p:cNvPr>
              <p:cNvCxnSpPr/>
              <p:nvPr/>
            </p:nvCxnSpPr>
            <p:spPr bwMode="auto">
              <a:xfrm flipH="1">
                <a:off x="4280400" y="2009538"/>
                <a:ext cx="1511191" cy="864000"/>
              </a:xfrm>
              <a:prstGeom prst="line">
                <a:avLst/>
              </a:prstGeom>
              <a:grpFill/>
              <a:ln w="12700" cap="flat" cmpd="sng" algn="ctr">
                <a:solidFill>
                  <a:srgbClr val="FFFFFF"/>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grpSp>
        <p:nvGrpSpPr>
          <p:cNvPr id="115" name="Group 114">
            <a:extLst>
              <a:ext uri="{FF2B5EF4-FFF2-40B4-BE49-F238E27FC236}">
                <a16:creationId xmlns:a16="http://schemas.microsoft.com/office/drawing/2014/main" id="{7EF574C6-297B-4A9E-94CB-47A1B6774415}"/>
              </a:ext>
            </a:extLst>
          </p:cNvPr>
          <p:cNvGrpSpPr/>
          <p:nvPr/>
        </p:nvGrpSpPr>
        <p:grpSpPr>
          <a:xfrm>
            <a:off x="4298400" y="4798800"/>
            <a:ext cx="1584000" cy="864501"/>
            <a:chOff x="4280400" y="2009538"/>
            <a:chExt cx="1512000" cy="864501"/>
          </a:xfrm>
          <a:solidFill>
            <a:srgbClr val="CCCCD4"/>
          </a:solidFill>
        </p:grpSpPr>
        <p:sp>
          <p:nvSpPr>
            <p:cNvPr id="116" name="Rectangle 115">
              <a:extLst>
                <a:ext uri="{FF2B5EF4-FFF2-40B4-BE49-F238E27FC236}">
                  <a16:creationId xmlns:a16="http://schemas.microsoft.com/office/drawing/2014/main" id="{62D975C6-0452-4C35-AA8F-37D638C94F04}"/>
                </a:ext>
              </a:extLst>
            </p:cNvPr>
            <p:cNvSpPr/>
            <p:nvPr/>
          </p:nvSpPr>
          <p:spPr bwMode="auto">
            <a:xfrm>
              <a:off x="4280400" y="2009538"/>
              <a:ext cx="1512000" cy="864000"/>
            </a:xfrm>
            <a:prstGeom prst="rect">
              <a:avLst/>
            </a:prstGeom>
            <a:grp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grpSp>
          <p:nvGrpSpPr>
            <p:cNvPr id="117" name="Group 116">
              <a:extLst>
                <a:ext uri="{FF2B5EF4-FFF2-40B4-BE49-F238E27FC236}">
                  <a16:creationId xmlns:a16="http://schemas.microsoft.com/office/drawing/2014/main" id="{F28F2012-4140-4295-916E-52C2A98266AF}"/>
                </a:ext>
              </a:extLst>
            </p:cNvPr>
            <p:cNvGrpSpPr/>
            <p:nvPr/>
          </p:nvGrpSpPr>
          <p:grpSpPr>
            <a:xfrm>
              <a:off x="4280400" y="2009538"/>
              <a:ext cx="1511191" cy="864501"/>
              <a:chOff x="4280400" y="2009538"/>
              <a:chExt cx="1511191" cy="864501"/>
            </a:xfrm>
            <a:grpFill/>
          </p:grpSpPr>
          <p:cxnSp>
            <p:nvCxnSpPr>
              <p:cNvPr id="118" name="Straight Connector 117">
                <a:extLst>
                  <a:ext uri="{FF2B5EF4-FFF2-40B4-BE49-F238E27FC236}">
                    <a16:creationId xmlns:a16="http://schemas.microsoft.com/office/drawing/2014/main" id="{A7747C71-76A6-4D58-8918-A014B7C7C454}"/>
                  </a:ext>
                </a:extLst>
              </p:cNvPr>
              <p:cNvCxnSpPr/>
              <p:nvPr/>
            </p:nvCxnSpPr>
            <p:spPr bwMode="auto">
              <a:xfrm>
                <a:off x="4280400" y="2010039"/>
                <a:ext cx="1511191" cy="864000"/>
              </a:xfrm>
              <a:prstGeom prst="line">
                <a:avLst/>
              </a:prstGeom>
              <a:grpFill/>
              <a:ln w="12700" cap="flat" cmpd="sng" algn="ctr">
                <a:solidFill>
                  <a:srgbClr val="FFFFFF"/>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9" name="Straight Connector 118">
                <a:extLst>
                  <a:ext uri="{FF2B5EF4-FFF2-40B4-BE49-F238E27FC236}">
                    <a16:creationId xmlns:a16="http://schemas.microsoft.com/office/drawing/2014/main" id="{341E86D2-2562-49A2-B451-59686B3D8C36}"/>
                  </a:ext>
                </a:extLst>
              </p:cNvPr>
              <p:cNvCxnSpPr/>
              <p:nvPr/>
            </p:nvCxnSpPr>
            <p:spPr bwMode="auto">
              <a:xfrm flipH="1">
                <a:off x="4280400" y="2009538"/>
                <a:ext cx="1511191" cy="864000"/>
              </a:xfrm>
              <a:prstGeom prst="line">
                <a:avLst/>
              </a:prstGeom>
              <a:grpFill/>
              <a:ln w="12700" cap="flat" cmpd="sng" algn="ctr">
                <a:solidFill>
                  <a:srgbClr val="FFFFFF"/>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grpSp>
        <p:nvGrpSpPr>
          <p:cNvPr id="120" name="Group 119">
            <a:extLst>
              <a:ext uri="{FF2B5EF4-FFF2-40B4-BE49-F238E27FC236}">
                <a16:creationId xmlns:a16="http://schemas.microsoft.com/office/drawing/2014/main" id="{B6654800-0091-465B-A70F-378232BAAC0C}"/>
              </a:ext>
            </a:extLst>
          </p:cNvPr>
          <p:cNvGrpSpPr/>
          <p:nvPr/>
        </p:nvGrpSpPr>
        <p:grpSpPr>
          <a:xfrm>
            <a:off x="6026400" y="4798800"/>
            <a:ext cx="1584000" cy="864501"/>
            <a:chOff x="4280400" y="2009538"/>
            <a:chExt cx="1512000" cy="864501"/>
          </a:xfrm>
          <a:solidFill>
            <a:srgbClr val="CCCCD4"/>
          </a:solidFill>
        </p:grpSpPr>
        <p:sp>
          <p:nvSpPr>
            <p:cNvPr id="121" name="Rectangle 120">
              <a:extLst>
                <a:ext uri="{FF2B5EF4-FFF2-40B4-BE49-F238E27FC236}">
                  <a16:creationId xmlns:a16="http://schemas.microsoft.com/office/drawing/2014/main" id="{31C1C66C-87DC-405D-92FC-7483DFD5BB84}"/>
                </a:ext>
              </a:extLst>
            </p:cNvPr>
            <p:cNvSpPr/>
            <p:nvPr/>
          </p:nvSpPr>
          <p:spPr bwMode="auto">
            <a:xfrm>
              <a:off x="4280400" y="2009538"/>
              <a:ext cx="1512000" cy="864000"/>
            </a:xfrm>
            <a:prstGeom prst="rect">
              <a:avLst/>
            </a:prstGeom>
            <a:grp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grpSp>
          <p:nvGrpSpPr>
            <p:cNvPr id="122" name="Group 121">
              <a:extLst>
                <a:ext uri="{FF2B5EF4-FFF2-40B4-BE49-F238E27FC236}">
                  <a16:creationId xmlns:a16="http://schemas.microsoft.com/office/drawing/2014/main" id="{77C36B82-6C48-4553-A3AF-34DB8CA4E57A}"/>
                </a:ext>
              </a:extLst>
            </p:cNvPr>
            <p:cNvGrpSpPr/>
            <p:nvPr/>
          </p:nvGrpSpPr>
          <p:grpSpPr>
            <a:xfrm>
              <a:off x="4280400" y="2009538"/>
              <a:ext cx="1511191" cy="864501"/>
              <a:chOff x="4280400" y="2009538"/>
              <a:chExt cx="1511191" cy="864501"/>
            </a:xfrm>
            <a:grpFill/>
          </p:grpSpPr>
          <p:cxnSp>
            <p:nvCxnSpPr>
              <p:cNvPr id="123" name="Straight Connector 122">
                <a:extLst>
                  <a:ext uri="{FF2B5EF4-FFF2-40B4-BE49-F238E27FC236}">
                    <a16:creationId xmlns:a16="http://schemas.microsoft.com/office/drawing/2014/main" id="{2CBBCF9D-3B0C-4EDB-8A58-9BF931A5E5F0}"/>
                  </a:ext>
                </a:extLst>
              </p:cNvPr>
              <p:cNvCxnSpPr/>
              <p:nvPr/>
            </p:nvCxnSpPr>
            <p:spPr bwMode="auto">
              <a:xfrm>
                <a:off x="4280400" y="2010039"/>
                <a:ext cx="1511191" cy="864000"/>
              </a:xfrm>
              <a:prstGeom prst="line">
                <a:avLst/>
              </a:prstGeom>
              <a:grpFill/>
              <a:ln w="12700" cap="flat" cmpd="sng" algn="ctr">
                <a:solidFill>
                  <a:srgbClr val="FFFFFF"/>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4" name="Straight Connector 123">
                <a:extLst>
                  <a:ext uri="{FF2B5EF4-FFF2-40B4-BE49-F238E27FC236}">
                    <a16:creationId xmlns:a16="http://schemas.microsoft.com/office/drawing/2014/main" id="{97E81F96-7701-433C-A094-02661D6A3D73}"/>
                  </a:ext>
                </a:extLst>
              </p:cNvPr>
              <p:cNvCxnSpPr/>
              <p:nvPr/>
            </p:nvCxnSpPr>
            <p:spPr bwMode="auto">
              <a:xfrm flipH="1">
                <a:off x="4280400" y="2009538"/>
                <a:ext cx="1511191" cy="864000"/>
              </a:xfrm>
              <a:prstGeom prst="line">
                <a:avLst/>
              </a:prstGeom>
              <a:grpFill/>
              <a:ln w="12700" cap="flat" cmpd="sng" algn="ctr">
                <a:solidFill>
                  <a:srgbClr val="FFFFFF"/>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grpSp>
        <p:nvGrpSpPr>
          <p:cNvPr id="125" name="Group 124">
            <a:extLst>
              <a:ext uri="{FF2B5EF4-FFF2-40B4-BE49-F238E27FC236}">
                <a16:creationId xmlns:a16="http://schemas.microsoft.com/office/drawing/2014/main" id="{4DF092A5-1920-4747-B836-F2E46701A2A9}"/>
              </a:ext>
            </a:extLst>
          </p:cNvPr>
          <p:cNvGrpSpPr/>
          <p:nvPr/>
        </p:nvGrpSpPr>
        <p:grpSpPr>
          <a:xfrm>
            <a:off x="7754400" y="4798800"/>
            <a:ext cx="1584000" cy="864501"/>
            <a:chOff x="4280400" y="2009538"/>
            <a:chExt cx="1512000" cy="864501"/>
          </a:xfrm>
          <a:solidFill>
            <a:srgbClr val="CCCCD4"/>
          </a:solidFill>
        </p:grpSpPr>
        <p:sp>
          <p:nvSpPr>
            <p:cNvPr id="126" name="Rectangle 125">
              <a:extLst>
                <a:ext uri="{FF2B5EF4-FFF2-40B4-BE49-F238E27FC236}">
                  <a16:creationId xmlns:a16="http://schemas.microsoft.com/office/drawing/2014/main" id="{E763945D-EB60-4DF5-B101-6C3CEBE72385}"/>
                </a:ext>
              </a:extLst>
            </p:cNvPr>
            <p:cNvSpPr/>
            <p:nvPr/>
          </p:nvSpPr>
          <p:spPr bwMode="auto">
            <a:xfrm>
              <a:off x="4280400" y="2009538"/>
              <a:ext cx="1512000" cy="864000"/>
            </a:xfrm>
            <a:prstGeom prst="rect">
              <a:avLst/>
            </a:prstGeom>
            <a:grp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grpSp>
          <p:nvGrpSpPr>
            <p:cNvPr id="127" name="Group 126">
              <a:extLst>
                <a:ext uri="{FF2B5EF4-FFF2-40B4-BE49-F238E27FC236}">
                  <a16:creationId xmlns:a16="http://schemas.microsoft.com/office/drawing/2014/main" id="{ACE4A505-FA4C-475B-98C9-7E5562954BAE}"/>
                </a:ext>
              </a:extLst>
            </p:cNvPr>
            <p:cNvGrpSpPr/>
            <p:nvPr/>
          </p:nvGrpSpPr>
          <p:grpSpPr>
            <a:xfrm>
              <a:off x="4280400" y="2009538"/>
              <a:ext cx="1511191" cy="864501"/>
              <a:chOff x="4280400" y="2009538"/>
              <a:chExt cx="1511191" cy="864501"/>
            </a:xfrm>
            <a:grpFill/>
          </p:grpSpPr>
          <p:cxnSp>
            <p:nvCxnSpPr>
              <p:cNvPr id="128" name="Straight Connector 127">
                <a:extLst>
                  <a:ext uri="{FF2B5EF4-FFF2-40B4-BE49-F238E27FC236}">
                    <a16:creationId xmlns:a16="http://schemas.microsoft.com/office/drawing/2014/main" id="{3CAB23E9-9849-4E1E-8B12-12D300A62FED}"/>
                  </a:ext>
                </a:extLst>
              </p:cNvPr>
              <p:cNvCxnSpPr/>
              <p:nvPr/>
            </p:nvCxnSpPr>
            <p:spPr bwMode="auto">
              <a:xfrm>
                <a:off x="4280400" y="2010039"/>
                <a:ext cx="1511191" cy="864000"/>
              </a:xfrm>
              <a:prstGeom prst="line">
                <a:avLst/>
              </a:prstGeom>
              <a:grpFill/>
              <a:ln w="12700" cap="flat" cmpd="sng" algn="ctr">
                <a:solidFill>
                  <a:srgbClr val="FFFFFF"/>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9" name="Straight Connector 128">
                <a:extLst>
                  <a:ext uri="{FF2B5EF4-FFF2-40B4-BE49-F238E27FC236}">
                    <a16:creationId xmlns:a16="http://schemas.microsoft.com/office/drawing/2014/main" id="{66939336-A001-40B9-AEBF-DD183B371894}"/>
                  </a:ext>
                </a:extLst>
              </p:cNvPr>
              <p:cNvCxnSpPr/>
              <p:nvPr/>
            </p:nvCxnSpPr>
            <p:spPr bwMode="auto">
              <a:xfrm flipH="1">
                <a:off x="4280400" y="2009538"/>
                <a:ext cx="1511191" cy="864000"/>
              </a:xfrm>
              <a:prstGeom prst="line">
                <a:avLst/>
              </a:prstGeom>
              <a:grpFill/>
              <a:ln w="12700" cap="flat" cmpd="sng" algn="ctr">
                <a:solidFill>
                  <a:srgbClr val="FFFFFF"/>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sp>
        <p:nvSpPr>
          <p:cNvPr id="6" name="Footer Placeholder 5">
            <a:extLst>
              <a:ext uri="{FF2B5EF4-FFF2-40B4-BE49-F238E27FC236}">
                <a16:creationId xmlns:a16="http://schemas.microsoft.com/office/drawing/2014/main" id="{8AF93908-246B-481E-B597-DC73B69DAB9E}"/>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7" name="Slide Number Placeholder 6">
            <a:extLst>
              <a:ext uri="{FF2B5EF4-FFF2-40B4-BE49-F238E27FC236}">
                <a16:creationId xmlns:a16="http://schemas.microsoft.com/office/drawing/2014/main" id="{32CCD9A3-8653-4D9F-A712-2FEC5A722D4D}"/>
              </a:ext>
            </a:extLst>
          </p:cNvPr>
          <p:cNvSpPr>
            <a:spLocks noGrp="1"/>
          </p:cNvSpPr>
          <p:nvPr>
            <p:ph type="sldNum" sz="quarter" idx="11"/>
          </p:nvPr>
        </p:nvSpPr>
        <p:spPr/>
        <p:txBody>
          <a:bodyPr/>
          <a:lstStyle/>
          <a:p>
            <a:r>
              <a:rPr lang="en-US" dirty="0"/>
              <a:t>Page </a:t>
            </a:r>
            <a:fld id="{15EBE321-CBB1-4E91-BD14-37C8D44326FB}" type="slidenum">
              <a:rPr lang="en-US" smtClean="0"/>
              <a:pPr/>
              <a:t>5</a:t>
            </a:fld>
            <a:endParaRPr lang="en-US" dirty="0"/>
          </a:p>
        </p:txBody>
      </p:sp>
    </p:spTree>
    <p:extLst>
      <p:ext uri="{BB962C8B-B14F-4D97-AF65-F5344CB8AC3E}">
        <p14:creationId xmlns:p14="http://schemas.microsoft.com/office/powerpoint/2010/main" val="32301192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30916218-0FE7-DA40-850A-7231E8C46B1B}"/>
              </a:ext>
            </a:extLst>
          </p:cNvPr>
          <p:cNvSpPr>
            <a:spLocks noGrp="1"/>
          </p:cNvSpPr>
          <p:nvPr>
            <p:ph type="title"/>
          </p:nvPr>
        </p:nvSpPr>
        <p:spPr/>
        <p:txBody>
          <a:bodyPr/>
          <a:lstStyle/>
          <a:p>
            <a:r>
              <a:rPr lang="en-US" dirty="0"/>
              <a:t>Project timeline – detailed with person</a:t>
            </a:r>
            <a:br>
              <a:rPr lang="en-US" dirty="0"/>
            </a:br>
            <a:r>
              <a:rPr lang="en-US" b="0" dirty="0"/>
              <a:t>Background Light Gray, text black </a:t>
            </a:r>
            <a:endParaRPr lang="de-DE" dirty="0"/>
          </a:p>
        </p:txBody>
      </p:sp>
      <p:graphicFrame>
        <p:nvGraphicFramePr>
          <p:cNvPr id="54" name="Group 3">
            <a:extLst>
              <a:ext uri="{FF2B5EF4-FFF2-40B4-BE49-F238E27FC236}">
                <a16:creationId xmlns:a16="http://schemas.microsoft.com/office/drawing/2014/main" id="{FBA8D562-59ED-F741-8CB5-2D9E4D15A024}"/>
              </a:ext>
            </a:extLst>
          </p:cNvPr>
          <p:cNvGraphicFramePr>
            <a:graphicFrameLocks noGrp="1"/>
          </p:cNvGraphicFramePr>
          <p:nvPr>
            <p:extLst>
              <p:ext uri="{D42A27DB-BD31-4B8C-83A1-F6EECF244321}">
                <p14:modId xmlns:p14="http://schemas.microsoft.com/office/powerpoint/2010/main" val="3004953848"/>
              </p:ext>
            </p:extLst>
          </p:nvPr>
        </p:nvGraphicFramePr>
        <p:xfrm>
          <a:off x="411164" y="1414800"/>
          <a:ext cx="11376000" cy="4500000"/>
        </p:xfrm>
        <a:graphic>
          <a:graphicData uri="http://schemas.openxmlformats.org/drawingml/2006/table">
            <a:tbl>
              <a:tblPr/>
              <a:tblGrid>
                <a:gridCol w="2016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576000">
                  <a:extLst>
                    <a:ext uri="{9D8B030D-6E8A-4147-A177-3AD203B41FA5}">
                      <a16:colId xmlns:a16="http://schemas.microsoft.com/office/drawing/2014/main" val="20002"/>
                    </a:ext>
                  </a:extLst>
                </a:gridCol>
                <a:gridCol w="576000">
                  <a:extLst>
                    <a:ext uri="{9D8B030D-6E8A-4147-A177-3AD203B41FA5}">
                      <a16:colId xmlns:a16="http://schemas.microsoft.com/office/drawing/2014/main" val="20003"/>
                    </a:ext>
                  </a:extLst>
                </a:gridCol>
                <a:gridCol w="576000">
                  <a:extLst>
                    <a:ext uri="{9D8B030D-6E8A-4147-A177-3AD203B41FA5}">
                      <a16:colId xmlns:a16="http://schemas.microsoft.com/office/drawing/2014/main" val="20004"/>
                    </a:ext>
                  </a:extLst>
                </a:gridCol>
                <a:gridCol w="576000">
                  <a:extLst>
                    <a:ext uri="{9D8B030D-6E8A-4147-A177-3AD203B41FA5}">
                      <a16:colId xmlns:a16="http://schemas.microsoft.com/office/drawing/2014/main" val="20005"/>
                    </a:ext>
                  </a:extLst>
                </a:gridCol>
                <a:gridCol w="576000">
                  <a:extLst>
                    <a:ext uri="{9D8B030D-6E8A-4147-A177-3AD203B41FA5}">
                      <a16:colId xmlns:a16="http://schemas.microsoft.com/office/drawing/2014/main" val="20006"/>
                    </a:ext>
                  </a:extLst>
                </a:gridCol>
                <a:gridCol w="576000">
                  <a:extLst>
                    <a:ext uri="{9D8B030D-6E8A-4147-A177-3AD203B41FA5}">
                      <a16:colId xmlns:a16="http://schemas.microsoft.com/office/drawing/2014/main" val="20007"/>
                    </a:ext>
                  </a:extLst>
                </a:gridCol>
                <a:gridCol w="576000">
                  <a:extLst>
                    <a:ext uri="{9D8B030D-6E8A-4147-A177-3AD203B41FA5}">
                      <a16:colId xmlns:a16="http://schemas.microsoft.com/office/drawing/2014/main" val="20008"/>
                    </a:ext>
                  </a:extLst>
                </a:gridCol>
                <a:gridCol w="576000">
                  <a:extLst>
                    <a:ext uri="{9D8B030D-6E8A-4147-A177-3AD203B41FA5}">
                      <a16:colId xmlns:a16="http://schemas.microsoft.com/office/drawing/2014/main" val="20009"/>
                    </a:ext>
                  </a:extLst>
                </a:gridCol>
                <a:gridCol w="576000">
                  <a:extLst>
                    <a:ext uri="{9D8B030D-6E8A-4147-A177-3AD203B41FA5}">
                      <a16:colId xmlns:a16="http://schemas.microsoft.com/office/drawing/2014/main" val="20010"/>
                    </a:ext>
                  </a:extLst>
                </a:gridCol>
                <a:gridCol w="576000">
                  <a:extLst>
                    <a:ext uri="{9D8B030D-6E8A-4147-A177-3AD203B41FA5}">
                      <a16:colId xmlns:a16="http://schemas.microsoft.com/office/drawing/2014/main" val="20011"/>
                    </a:ext>
                  </a:extLst>
                </a:gridCol>
                <a:gridCol w="576000">
                  <a:extLst>
                    <a:ext uri="{9D8B030D-6E8A-4147-A177-3AD203B41FA5}">
                      <a16:colId xmlns:a16="http://schemas.microsoft.com/office/drawing/2014/main" val="20012"/>
                    </a:ext>
                  </a:extLst>
                </a:gridCol>
                <a:gridCol w="576000">
                  <a:extLst>
                    <a:ext uri="{9D8B030D-6E8A-4147-A177-3AD203B41FA5}">
                      <a16:colId xmlns:a16="http://schemas.microsoft.com/office/drawing/2014/main" val="20013"/>
                    </a:ext>
                  </a:extLst>
                </a:gridCol>
                <a:gridCol w="576000">
                  <a:extLst>
                    <a:ext uri="{9D8B030D-6E8A-4147-A177-3AD203B41FA5}">
                      <a16:colId xmlns:a16="http://schemas.microsoft.com/office/drawing/2014/main" val="20014"/>
                    </a:ext>
                  </a:extLst>
                </a:gridCol>
                <a:gridCol w="1296000">
                  <a:extLst>
                    <a:ext uri="{9D8B030D-6E8A-4147-A177-3AD203B41FA5}">
                      <a16:colId xmlns:a16="http://schemas.microsoft.com/office/drawing/2014/main" val="20015"/>
                    </a:ext>
                  </a:extLst>
                </a:gridCol>
              </a:tblGrid>
              <a:tr h="306000">
                <a:tc rowSpan="2">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797050" algn="r"/>
                        </a:tabLst>
                      </a:pPr>
                      <a:r>
                        <a:rPr kumimoji="0" lang="en-US" sz="1100" b="1" i="0" u="none" strike="noStrike" cap="none" normalizeH="0" baseline="0" noProof="0" dirty="0">
                          <a:ln>
                            <a:noFill/>
                          </a:ln>
                          <a:solidFill>
                            <a:schemeClr val="tx1"/>
                          </a:solidFill>
                          <a:effectLst/>
                          <a:latin typeface="+mn-lt"/>
                        </a:rPr>
                        <a:t>Cras ultricies</a:t>
                      </a:r>
                    </a:p>
                  </a:txBody>
                  <a:tcPr marL="72000" marR="72000" marT="72000" marB="72000" anchor="b" horzOverflow="overflow">
                    <a:lnL w="9525" cap="flat" cmpd="sng" algn="ctr">
                      <a:no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rgbClr val="E5E5E9"/>
                    </a:solidFill>
                  </a:tcPr>
                </a:tc>
                <a:tc gridSpan="5">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b="1" i="0" u="none" strike="noStrike" cap="none" normalizeH="0" baseline="0" noProof="0" dirty="0">
                          <a:ln>
                            <a:noFill/>
                          </a:ln>
                          <a:solidFill>
                            <a:schemeClr val="tx1"/>
                          </a:solidFill>
                          <a:effectLst/>
                          <a:latin typeface="+mn-lt"/>
                        </a:rPr>
                        <a:t>September</a:t>
                      </a:r>
                    </a:p>
                  </a:txBody>
                  <a:tcPr marL="180000" marR="72000" marT="0" marB="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de-DE" sz="1200" b="1" i="0" u="none" strike="noStrike" cap="none" normalizeH="0" baseline="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hlink"/>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de-DE" sz="1200" b="1" i="0" u="none" strike="noStrike" cap="none" normalizeH="0" baseline="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hlink"/>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de-DE" sz="1200" b="1" i="0" u="none" strike="noStrike" cap="none" normalizeH="0" baseline="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hlink"/>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de-DE" sz="1200" b="1" i="0" u="none" strike="noStrike" cap="none" normalizeH="0" baseline="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hlink"/>
                    </a:solidFill>
                  </a:tcPr>
                </a:tc>
                <a:tc gridSpan="4">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b="1" i="0" u="none" strike="noStrike" cap="none" normalizeH="0" baseline="0" noProof="0" dirty="0">
                          <a:ln>
                            <a:noFill/>
                          </a:ln>
                          <a:solidFill>
                            <a:schemeClr val="tx1"/>
                          </a:solidFill>
                          <a:effectLst/>
                          <a:latin typeface="+mn-lt"/>
                        </a:rPr>
                        <a:t>October</a:t>
                      </a:r>
                    </a:p>
                  </a:txBody>
                  <a:tcPr marL="180000" marR="72000" marT="0" marB="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de-DE" sz="1200" b="1" i="0" u="none" strike="noStrike" cap="none" normalizeH="0" baseline="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hlink"/>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de-DE" sz="1200" b="1" i="0" u="none" strike="noStrike" cap="none" normalizeH="0" baseline="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hlink"/>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de-DE" sz="1200" b="1" i="0" u="none" strike="noStrike" cap="none" normalizeH="0" baseline="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hlink"/>
                    </a:solidFill>
                  </a:tcPr>
                </a:tc>
                <a:tc gridSpan="5">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b="1" i="0" u="none" strike="noStrike" cap="none" normalizeH="0" baseline="0" noProof="0" dirty="0">
                          <a:ln>
                            <a:noFill/>
                          </a:ln>
                          <a:solidFill>
                            <a:schemeClr val="tx1"/>
                          </a:solidFill>
                          <a:effectLst/>
                          <a:latin typeface="+mn-lt"/>
                        </a:rPr>
                        <a:t>November</a:t>
                      </a:r>
                    </a:p>
                  </a:txBody>
                  <a:tcPr marL="180000" marR="72000" marT="0" marB="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de-DE" sz="1200" b="1" i="0" u="none" strike="noStrike" cap="none" normalizeH="0" baseline="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hlink"/>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de-DE" sz="1200" b="1" i="0" u="none" strike="noStrike" cap="none" normalizeH="0" baseline="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hlink"/>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de-DE" sz="1200" b="1" i="0" u="none" strike="noStrike" cap="none" normalizeH="0" baseline="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hlink"/>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de-DE" sz="1200" b="1" i="0" u="none" strike="noStrike" cap="none" normalizeH="0" baseline="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hlink"/>
                    </a:solidFill>
                  </a:tcPr>
                </a:tc>
                <a:tc rowSpan="2">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b="1" i="0" u="none" strike="noStrike" cap="none" normalizeH="0" baseline="0" noProof="0" dirty="0">
                          <a:ln>
                            <a:noFill/>
                          </a:ln>
                          <a:solidFill>
                            <a:schemeClr val="tx1"/>
                          </a:solidFill>
                          <a:effectLst/>
                          <a:latin typeface="+mn-lt"/>
                        </a:rPr>
                        <a:t>Person</a:t>
                      </a:r>
                    </a:p>
                  </a:txBody>
                  <a:tcPr marL="72000" marR="72000" marT="72000" marB="72000" anchor="b" horzOverflow="overflow">
                    <a:lnL w="9525" cap="flat" cmpd="sng" algn="ctr">
                      <a:solidFill>
                        <a:srgbClr val="CCCCD4"/>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rgbClr val="E5E5E9"/>
                    </a:solidFill>
                  </a:tcPr>
                </a:tc>
                <a:extLst>
                  <a:ext uri="{0D108BD9-81ED-4DB2-BD59-A6C34878D82A}">
                    <a16:rowId xmlns:a16="http://schemas.microsoft.com/office/drawing/2014/main" val="10000"/>
                  </a:ext>
                </a:extLst>
              </a:tr>
              <a:tr h="306000">
                <a:tc v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de-DE" sz="1200" b="1" i="0" u="none" strike="noStrike" cap="none" normalizeH="0" baseline="0" dirty="0">
                        <a:ln>
                          <a:noFill/>
                        </a:ln>
                        <a:solidFill>
                          <a:schemeClr val="tx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b="0" i="0" u="none" strike="noStrike" cap="none" normalizeH="0" baseline="0" noProof="0" dirty="0">
                          <a:ln>
                            <a:noFill/>
                          </a:ln>
                          <a:solidFill>
                            <a:schemeClr val="tx1"/>
                          </a:solidFill>
                          <a:effectLst/>
                          <a:latin typeface="+mn-lt"/>
                        </a:rPr>
                        <a:t>35</a:t>
                      </a:r>
                    </a:p>
                  </a:txBody>
                  <a:tcPr marL="72000" marR="72000" marT="0" marB="0" anchor="ctr" horzOverflow="overflow">
                    <a:lnL w="9525" cap="flat" cmpd="sng" algn="ctr">
                      <a:solidFill>
                        <a:srgbClr val="CCCCD4"/>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b="0" i="0" u="none" strike="noStrike" cap="none" normalizeH="0" baseline="0" noProof="0" dirty="0">
                          <a:ln>
                            <a:noFill/>
                          </a:ln>
                          <a:solidFill>
                            <a:schemeClr val="tx1"/>
                          </a:solidFill>
                          <a:effectLst/>
                          <a:latin typeface="+mn-lt"/>
                        </a:rPr>
                        <a:t>36</a:t>
                      </a:r>
                    </a:p>
                  </a:txBody>
                  <a:tcPr marL="72000" marR="72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b="0" i="0" u="none" strike="noStrike" cap="none" normalizeH="0" baseline="0" noProof="0" dirty="0">
                          <a:ln>
                            <a:noFill/>
                          </a:ln>
                          <a:solidFill>
                            <a:schemeClr val="tx1"/>
                          </a:solidFill>
                          <a:effectLst/>
                          <a:latin typeface="+mn-lt"/>
                        </a:rPr>
                        <a:t>37</a:t>
                      </a:r>
                    </a:p>
                  </a:txBody>
                  <a:tcPr marL="72000" marR="72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b="0" i="0" u="none" strike="noStrike" cap="none" normalizeH="0" baseline="0" noProof="0" dirty="0">
                          <a:ln>
                            <a:noFill/>
                          </a:ln>
                          <a:solidFill>
                            <a:schemeClr val="tx1"/>
                          </a:solidFill>
                          <a:effectLst/>
                          <a:latin typeface="+mn-lt"/>
                        </a:rPr>
                        <a:t>38</a:t>
                      </a:r>
                    </a:p>
                  </a:txBody>
                  <a:tcPr marL="72000" marR="72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b="0" i="0" u="none" strike="noStrike" cap="none" normalizeH="0" baseline="0" noProof="0" dirty="0">
                          <a:ln>
                            <a:noFill/>
                          </a:ln>
                          <a:solidFill>
                            <a:schemeClr val="tx1"/>
                          </a:solidFill>
                          <a:effectLst/>
                          <a:latin typeface="+mn-lt"/>
                        </a:rPr>
                        <a:t>39</a:t>
                      </a:r>
                    </a:p>
                  </a:txBody>
                  <a:tcPr marL="72000" marR="72000" marT="0" marB="0" anchor="ctr" horzOverflow="overflow">
                    <a:lnL w="9525" cap="flat" cmpd="sng" algn="ctr">
                      <a:no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b="0" i="0" u="none" strike="noStrike" cap="none" normalizeH="0" baseline="0" noProof="0" dirty="0">
                          <a:ln>
                            <a:noFill/>
                          </a:ln>
                          <a:solidFill>
                            <a:schemeClr val="tx1"/>
                          </a:solidFill>
                          <a:effectLst/>
                          <a:latin typeface="+mn-lt"/>
                        </a:rPr>
                        <a:t>40</a:t>
                      </a:r>
                    </a:p>
                  </a:txBody>
                  <a:tcPr marL="72000" marR="72000" marT="0" marB="0" anchor="ctr" horzOverflow="overflow">
                    <a:lnL w="9525" cap="flat" cmpd="sng" algn="ctr">
                      <a:solidFill>
                        <a:srgbClr val="CCCCD4"/>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b="0" i="0" u="none" strike="noStrike" cap="none" normalizeH="0" baseline="0" noProof="0" dirty="0">
                          <a:ln>
                            <a:noFill/>
                          </a:ln>
                          <a:solidFill>
                            <a:schemeClr val="tx1"/>
                          </a:solidFill>
                          <a:effectLst/>
                          <a:latin typeface="+mn-lt"/>
                        </a:rPr>
                        <a:t>41</a:t>
                      </a:r>
                    </a:p>
                  </a:txBody>
                  <a:tcPr marL="72000" marR="72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b="0" i="0" u="none" strike="noStrike" cap="none" normalizeH="0" baseline="0" noProof="0" dirty="0">
                          <a:ln>
                            <a:noFill/>
                          </a:ln>
                          <a:solidFill>
                            <a:schemeClr val="tx1"/>
                          </a:solidFill>
                          <a:effectLst/>
                          <a:latin typeface="+mn-lt"/>
                        </a:rPr>
                        <a:t>42</a:t>
                      </a:r>
                    </a:p>
                  </a:txBody>
                  <a:tcPr marL="72000" marR="72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b="0" i="0" u="none" strike="noStrike" cap="none" normalizeH="0" baseline="0" noProof="0" dirty="0">
                          <a:ln>
                            <a:noFill/>
                          </a:ln>
                          <a:solidFill>
                            <a:schemeClr val="tx1"/>
                          </a:solidFill>
                          <a:effectLst/>
                          <a:latin typeface="+mn-lt"/>
                        </a:rPr>
                        <a:t>43</a:t>
                      </a:r>
                    </a:p>
                  </a:txBody>
                  <a:tcPr marL="72000" marR="72000" marT="0" marB="0" anchor="ctr" horzOverflow="overflow">
                    <a:lnL w="9525" cap="flat" cmpd="sng" algn="ctr">
                      <a:no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b="0" i="0" u="none" strike="noStrike" cap="none" normalizeH="0" baseline="0" noProof="0" dirty="0">
                          <a:ln>
                            <a:noFill/>
                          </a:ln>
                          <a:solidFill>
                            <a:schemeClr val="tx1"/>
                          </a:solidFill>
                          <a:effectLst/>
                          <a:latin typeface="+mn-lt"/>
                        </a:rPr>
                        <a:t>44</a:t>
                      </a:r>
                    </a:p>
                  </a:txBody>
                  <a:tcPr marL="72000" marR="72000" marT="0" marB="0" anchor="ctr" horzOverflow="overflow">
                    <a:lnL w="9525" cap="flat" cmpd="sng" algn="ctr">
                      <a:solidFill>
                        <a:srgbClr val="CCCCD4"/>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b="0" i="0" u="none" strike="noStrike" cap="none" normalizeH="0" baseline="0" noProof="0" dirty="0">
                          <a:ln>
                            <a:noFill/>
                          </a:ln>
                          <a:solidFill>
                            <a:schemeClr val="tx1"/>
                          </a:solidFill>
                          <a:effectLst/>
                          <a:latin typeface="+mn-lt"/>
                        </a:rPr>
                        <a:t>45</a:t>
                      </a:r>
                    </a:p>
                  </a:txBody>
                  <a:tcPr marL="72000" marR="72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b="0" i="0" u="none" strike="noStrike" cap="none" normalizeH="0" baseline="0" noProof="0" dirty="0">
                          <a:ln>
                            <a:noFill/>
                          </a:ln>
                          <a:solidFill>
                            <a:schemeClr val="tx1"/>
                          </a:solidFill>
                          <a:effectLst/>
                          <a:latin typeface="+mn-lt"/>
                        </a:rPr>
                        <a:t>46</a:t>
                      </a:r>
                    </a:p>
                  </a:txBody>
                  <a:tcPr marL="72000" marR="72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b="0" i="0" u="none" strike="noStrike" cap="none" normalizeH="0" baseline="0" noProof="0" dirty="0">
                          <a:ln>
                            <a:noFill/>
                          </a:ln>
                          <a:solidFill>
                            <a:schemeClr val="tx1"/>
                          </a:solidFill>
                          <a:effectLst/>
                          <a:latin typeface="+mn-lt"/>
                        </a:rPr>
                        <a:t>47</a:t>
                      </a:r>
                    </a:p>
                  </a:txBody>
                  <a:tcPr marL="72000" marR="72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b="0" i="0" u="none" strike="noStrike" cap="none" normalizeH="0" baseline="0" noProof="0" dirty="0">
                          <a:ln>
                            <a:noFill/>
                          </a:ln>
                          <a:solidFill>
                            <a:schemeClr val="tx1"/>
                          </a:solidFill>
                          <a:effectLst/>
                          <a:latin typeface="+mn-lt"/>
                        </a:rPr>
                        <a:t>48</a:t>
                      </a:r>
                    </a:p>
                  </a:txBody>
                  <a:tcPr marL="72000" marR="72000" marT="0" marB="0" anchor="ctr" horzOverflow="overflow">
                    <a:lnL w="9525" cap="flat" cmpd="sng" algn="ctr">
                      <a:no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rgbClr val="E5E5E9"/>
                    </a:solidFill>
                  </a:tcPr>
                </a:tc>
                <a:tc vMerge="1">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de-DE" sz="1000" b="1" i="0" u="none" strike="noStrike" cap="none" normalizeH="0" baseline="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hlink"/>
                    </a:solidFill>
                  </a:tcPr>
                </a:tc>
                <a:extLst>
                  <a:ext uri="{0D108BD9-81ED-4DB2-BD59-A6C34878D82A}">
                    <a16:rowId xmlns:a16="http://schemas.microsoft.com/office/drawing/2014/main" val="10001"/>
                  </a:ext>
                </a:extLst>
              </a:tr>
              <a:tr h="486000">
                <a:tc>
                  <a:txBody>
                    <a:bodyPr/>
                    <a:lstStyle/>
                    <a:p>
                      <a:pPr marL="0" marR="0" lvl="0" indent="0" algn="l" defTabSz="914400" rtl="0" eaLnBrk="1" fontAlgn="base" latinLnBrk="0" hangingPunct="1">
                        <a:lnSpc>
                          <a:spcPct val="100000"/>
                        </a:lnSpc>
                        <a:spcBef>
                          <a:spcPct val="50000"/>
                        </a:spcBef>
                        <a:spcAft>
                          <a:spcPct val="0"/>
                        </a:spcAft>
                        <a:buClr>
                          <a:schemeClr val="bg1"/>
                        </a:buClr>
                        <a:buSzTx/>
                        <a:buFont typeface="Arial" pitchFamily="34" charset="0"/>
                        <a:buNone/>
                        <a:tabLst>
                          <a:tab pos="1611313" algn="l"/>
                        </a:tabLst>
                      </a:pPr>
                      <a:r>
                        <a:rPr kumimoji="0" lang="en-US" sz="1200" b="0" i="0" u="none" strike="noStrike" kern="1200" cap="none" spc="0" normalizeH="0" baseline="0" noProof="0" dirty="0">
                          <a:ln>
                            <a:noFill/>
                          </a:ln>
                          <a:solidFill>
                            <a:schemeClr val="tx1"/>
                          </a:solidFill>
                          <a:effectLst/>
                          <a:uLnTx/>
                          <a:uFillTx/>
                          <a:latin typeface="+mn-lt"/>
                          <a:ea typeface="+mn-ea"/>
                          <a:cs typeface="+mn-cs"/>
                        </a:rPr>
                        <a:t>At vero eos et accusam</a:t>
                      </a: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12700" cap="flat" cmpd="sng" algn="ctr">
                      <a:noFill/>
                      <a:prstDash val="solid"/>
                      <a:round/>
                      <a:headEnd type="none" w="med" len="med"/>
                      <a:tailEnd type="none" w="med" len="med"/>
                    </a:lnL>
                    <a:lnR w="9525" cap="flat" cmpd="sng" algn="ctr">
                      <a:solidFill>
                        <a:srgbClr val="CCCCD4"/>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86000">
                <a:tc>
                  <a:txBody>
                    <a:bodyPr/>
                    <a:lstStyle/>
                    <a:p>
                      <a:pPr marL="0" marR="0" lvl="0" indent="0" algn="l" defTabSz="914400" rtl="0" eaLnBrk="1" fontAlgn="base" latinLnBrk="0" hangingPunct="1">
                        <a:lnSpc>
                          <a:spcPct val="100000"/>
                        </a:lnSpc>
                        <a:spcBef>
                          <a:spcPct val="50000"/>
                        </a:spcBef>
                        <a:spcAft>
                          <a:spcPct val="0"/>
                        </a:spcAft>
                        <a:buClr>
                          <a:schemeClr val="bg1"/>
                        </a:buClr>
                        <a:buSzTx/>
                        <a:buFont typeface="Arial" pitchFamily="34" charset="0"/>
                        <a:buNone/>
                        <a:tabLst>
                          <a:tab pos="1611313" algn="l"/>
                        </a:tabLst>
                      </a:pPr>
                      <a:r>
                        <a:rPr kumimoji="0" lang="es-ES" sz="1200" b="0" i="0" u="none" strike="noStrike" kern="1200" cap="none" spc="0" normalizeH="0" baseline="0" noProof="0" dirty="0">
                          <a:ln>
                            <a:noFill/>
                          </a:ln>
                          <a:solidFill>
                            <a:schemeClr val="tx1"/>
                          </a:solidFill>
                          <a:effectLst/>
                          <a:uLnTx/>
                          <a:uFillTx/>
                          <a:latin typeface="+mn-lt"/>
                          <a:ea typeface="+mn-ea"/>
                          <a:cs typeface="+mn-cs"/>
                        </a:rPr>
                        <a:t>Duis arcu tortor, eget</a:t>
                      </a: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12700" cap="flat" cmpd="sng" algn="ctr">
                      <a:no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extLst>
                  <a:ext uri="{0D108BD9-81ED-4DB2-BD59-A6C34878D82A}">
                    <a16:rowId xmlns:a16="http://schemas.microsoft.com/office/drawing/2014/main" val="10003"/>
                  </a:ext>
                </a:extLst>
              </a:tr>
              <a:tr h="486000">
                <a:tc>
                  <a:txBody>
                    <a:bodyPr/>
                    <a:lstStyle/>
                    <a:p>
                      <a:pPr marL="0" marR="0" lvl="0" indent="0" algn="l" defTabSz="914400" rtl="0" eaLnBrk="1" fontAlgn="base" latinLnBrk="0" hangingPunct="1">
                        <a:lnSpc>
                          <a:spcPct val="100000"/>
                        </a:lnSpc>
                        <a:spcBef>
                          <a:spcPct val="50000"/>
                        </a:spcBef>
                        <a:spcAft>
                          <a:spcPct val="0"/>
                        </a:spcAft>
                        <a:buClr>
                          <a:schemeClr val="bg1"/>
                        </a:buClr>
                        <a:buSzTx/>
                        <a:buFont typeface="Arial" pitchFamily="34" charset="0"/>
                        <a:buNone/>
                        <a:tabLst>
                          <a:tab pos="1611313" algn="l"/>
                        </a:tabLst>
                      </a:pPr>
                      <a:r>
                        <a:rPr kumimoji="0" lang="en-US" sz="1200" b="0" i="0" u="none" strike="noStrike" kern="1200" cap="none" spc="0" normalizeH="0" baseline="0" noProof="0" dirty="0">
                          <a:ln>
                            <a:noFill/>
                          </a:ln>
                          <a:solidFill>
                            <a:schemeClr val="tx1"/>
                          </a:solidFill>
                          <a:effectLst/>
                          <a:uLnTx/>
                          <a:uFillTx/>
                          <a:latin typeface="+mn-lt"/>
                          <a:ea typeface="+mn-ea"/>
                          <a:cs typeface="+mn-cs"/>
                        </a:rPr>
                        <a:t>Cras ultricies mi eu</a:t>
                      </a: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12700" cap="flat" cmpd="sng" algn="ctr">
                      <a:no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486000">
                <a:tc>
                  <a:txBody>
                    <a:bodyPr/>
                    <a:lstStyle/>
                    <a:p>
                      <a:pPr marL="0" marR="0" lvl="0" indent="0" algn="l" defTabSz="914400" rtl="0" eaLnBrk="1" fontAlgn="base" latinLnBrk="0" hangingPunct="1">
                        <a:lnSpc>
                          <a:spcPct val="100000"/>
                        </a:lnSpc>
                        <a:spcBef>
                          <a:spcPct val="50000"/>
                        </a:spcBef>
                        <a:spcAft>
                          <a:spcPct val="0"/>
                        </a:spcAft>
                        <a:buClr>
                          <a:schemeClr val="bg1"/>
                        </a:buClr>
                        <a:buSzTx/>
                        <a:buFont typeface="Arial" pitchFamily="34" charset="0"/>
                        <a:buNone/>
                        <a:tabLst>
                          <a:tab pos="1611313" algn="l"/>
                        </a:tabLst>
                      </a:pPr>
                      <a:r>
                        <a:rPr kumimoji="0" lang="en-US" sz="1200" b="0" i="0" u="none" strike="noStrike" kern="1200" cap="none" spc="0" normalizeH="0" baseline="0" noProof="0" dirty="0">
                          <a:ln>
                            <a:noFill/>
                          </a:ln>
                          <a:solidFill>
                            <a:schemeClr val="tx1"/>
                          </a:solidFill>
                          <a:effectLst/>
                          <a:uLnTx/>
                          <a:uFillTx/>
                          <a:latin typeface="+mn-lt"/>
                          <a:ea typeface="+mn-ea"/>
                          <a:cs typeface="+mn-cs"/>
                        </a:rPr>
                        <a:t>Phasellus nec sem</a:t>
                      </a: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12700" cap="flat" cmpd="sng" algn="ctr">
                      <a:no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extLst>
                  <a:ext uri="{0D108BD9-81ED-4DB2-BD59-A6C34878D82A}">
                    <a16:rowId xmlns:a16="http://schemas.microsoft.com/office/drawing/2014/main" val="10005"/>
                  </a:ext>
                </a:extLst>
              </a:tr>
              <a:tr h="486000">
                <a:tc>
                  <a:txBody>
                    <a:bodyPr/>
                    <a:lstStyle/>
                    <a:p>
                      <a:pPr marL="0" marR="0" lvl="0" indent="0" algn="l" defTabSz="914400" rtl="0" eaLnBrk="1" fontAlgn="base" latinLnBrk="0" hangingPunct="1">
                        <a:lnSpc>
                          <a:spcPct val="100000"/>
                        </a:lnSpc>
                        <a:spcBef>
                          <a:spcPct val="50000"/>
                        </a:spcBef>
                        <a:spcAft>
                          <a:spcPct val="0"/>
                        </a:spcAft>
                        <a:buClr>
                          <a:schemeClr val="bg1"/>
                        </a:buClr>
                        <a:buSzTx/>
                        <a:buFont typeface="Arial" pitchFamily="34" charset="0"/>
                        <a:buNone/>
                        <a:tabLst>
                          <a:tab pos="1611313" algn="l"/>
                        </a:tabLst>
                      </a:pPr>
                      <a:r>
                        <a:rPr kumimoji="0" lang="es-ES" sz="1200" b="0" i="0" u="none" strike="noStrike" kern="1200" cap="none" spc="0" normalizeH="0" baseline="0" noProof="0" dirty="0">
                          <a:ln>
                            <a:noFill/>
                          </a:ln>
                          <a:solidFill>
                            <a:schemeClr val="tx1"/>
                          </a:solidFill>
                          <a:effectLst/>
                          <a:uLnTx/>
                          <a:uFillTx/>
                          <a:latin typeface="+mn-lt"/>
                          <a:ea typeface="+mn-ea"/>
                          <a:cs typeface="+mn-cs"/>
                        </a:rPr>
                        <a:t>Duis arcu suscipit eget</a:t>
                      </a: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12700" cap="flat" cmpd="sng" algn="ctr">
                      <a:no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486000">
                <a:tc>
                  <a:txBody>
                    <a:bodyPr/>
                    <a:lstStyle/>
                    <a:p>
                      <a:pPr marL="0" marR="0" lvl="0" indent="0" algn="l" defTabSz="914400" rtl="0" eaLnBrk="1" fontAlgn="base" latinLnBrk="0" hangingPunct="1">
                        <a:lnSpc>
                          <a:spcPct val="100000"/>
                        </a:lnSpc>
                        <a:spcBef>
                          <a:spcPct val="50000"/>
                        </a:spcBef>
                        <a:spcAft>
                          <a:spcPct val="0"/>
                        </a:spcAft>
                        <a:buClr>
                          <a:schemeClr val="bg1"/>
                        </a:buClr>
                        <a:buSzTx/>
                        <a:buFont typeface="Arial" pitchFamily="34" charset="0"/>
                        <a:buNone/>
                        <a:tabLst>
                          <a:tab pos="1611313" algn="l"/>
                        </a:tabLst>
                      </a:pPr>
                      <a:r>
                        <a:rPr kumimoji="0" lang="en-US" sz="1200" b="0" i="0" u="none" strike="noStrike" kern="1200" cap="none" spc="0" normalizeH="0" baseline="0" noProof="0" dirty="0">
                          <a:ln>
                            <a:noFill/>
                          </a:ln>
                          <a:solidFill>
                            <a:schemeClr val="tx1"/>
                          </a:solidFill>
                          <a:effectLst/>
                          <a:uLnTx/>
                          <a:uFillTx/>
                          <a:latin typeface="+mn-lt"/>
                          <a:ea typeface="+mn-ea"/>
                          <a:cs typeface="+mn-cs"/>
                        </a:rPr>
                        <a:t>Phasellus nec sem</a:t>
                      </a: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12700" cap="flat" cmpd="sng" algn="ctr">
                      <a:no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extLst>
                  <a:ext uri="{0D108BD9-81ED-4DB2-BD59-A6C34878D82A}">
                    <a16:rowId xmlns:a16="http://schemas.microsoft.com/office/drawing/2014/main" val="10008"/>
                  </a:ext>
                </a:extLst>
              </a:tr>
              <a:tr h="486000">
                <a:tc>
                  <a:txBody>
                    <a:bodyPr/>
                    <a:lstStyle/>
                    <a:p>
                      <a:pPr marL="0" marR="0" lvl="0" indent="0" algn="l" defTabSz="914400" rtl="0" eaLnBrk="1" fontAlgn="base" latinLnBrk="0" hangingPunct="1">
                        <a:lnSpc>
                          <a:spcPct val="100000"/>
                        </a:lnSpc>
                        <a:spcBef>
                          <a:spcPct val="50000"/>
                        </a:spcBef>
                        <a:spcAft>
                          <a:spcPct val="0"/>
                        </a:spcAft>
                        <a:buClr>
                          <a:schemeClr val="bg1"/>
                        </a:buClr>
                        <a:buSzTx/>
                        <a:buFont typeface="Arial" pitchFamily="34" charset="0"/>
                        <a:buNone/>
                        <a:tabLst>
                          <a:tab pos="1611313" algn="l"/>
                        </a:tabLst>
                      </a:pPr>
                      <a:r>
                        <a:rPr kumimoji="0" lang="en-US" sz="1200" b="0" i="0" u="none" strike="noStrike" kern="1200" cap="none" spc="0" normalizeH="0" baseline="0" noProof="0" dirty="0">
                          <a:ln>
                            <a:noFill/>
                          </a:ln>
                          <a:solidFill>
                            <a:schemeClr val="tx1"/>
                          </a:solidFill>
                          <a:effectLst/>
                          <a:uLnTx/>
                          <a:uFillTx/>
                          <a:latin typeface="+mn-lt"/>
                          <a:ea typeface="+mn-ea"/>
                          <a:cs typeface="+mn-cs"/>
                        </a:rPr>
                        <a:t>At vero eos et accusam</a:t>
                      </a: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12700" cap="flat" cmpd="sng" algn="ctr">
                      <a:no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959733240"/>
                  </a:ext>
                </a:extLst>
              </a:tr>
              <a:tr h="486000">
                <a:tc>
                  <a:txBody>
                    <a:bodyPr/>
                    <a:lstStyle/>
                    <a:p>
                      <a:pPr marL="0" marR="0" lvl="0" indent="0" algn="l" defTabSz="914400" rtl="0" eaLnBrk="1" fontAlgn="base" latinLnBrk="0" hangingPunct="1">
                        <a:lnSpc>
                          <a:spcPct val="100000"/>
                        </a:lnSpc>
                        <a:spcBef>
                          <a:spcPct val="50000"/>
                        </a:spcBef>
                        <a:spcAft>
                          <a:spcPct val="0"/>
                        </a:spcAft>
                        <a:buClr>
                          <a:schemeClr val="bg1"/>
                        </a:buClr>
                        <a:buSzTx/>
                        <a:buFont typeface="Arial" pitchFamily="34" charset="0"/>
                        <a:buNone/>
                        <a:tabLst>
                          <a:tab pos="1611313" algn="l"/>
                        </a:tabLst>
                      </a:pPr>
                      <a:r>
                        <a:rPr kumimoji="0" lang="en-US" sz="1200" b="0" i="0" u="none" strike="noStrike" kern="1200" cap="none" spc="0" normalizeH="0" baseline="0" noProof="0" dirty="0">
                          <a:ln>
                            <a:noFill/>
                          </a:ln>
                          <a:solidFill>
                            <a:schemeClr val="tx1"/>
                          </a:solidFill>
                          <a:effectLst/>
                          <a:uLnTx/>
                          <a:uFillTx/>
                          <a:latin typeface="+mn-lt"/>
                          <a:ea typeface="+mn-ea"/>
                          <a:cs typeface="+mn-cs"/>
                        </a:rPr>
                        <a:t>Phasellus nec sem</a:t>
                      </a: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12700" cap="flat" cmpd="sng" algn="ctr">
                      <a:no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9525" cap="flat" cmpd="sng" algn="ctr">
                      <a:solidFill>
                        <a:srgbClr val="CCCCD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CCCCD4"/>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5E5E9"/>
                    </a:solidFill>
                  </a:tcPr>
                </a:tc>
                <a:extLst>
                  <a:ext uri="{0D108BD9-81ED-4DB2-BD59-A6C34878D82A}">
                    <a16:rowId xmlns:a16="http://schemas.microsoft.com/office/drawing/2014/main" val="10010"/>
                  </a:ext>
                </a:extLst>
              </a:tr>
            </a:tbl>
          </a:graphicData>
        </a:graphic>
      </p:graphicFrame>
      <p:sp>
        <p:nvSpPr>
          <p:cNvPr id="68" name="Rectangle 66">
            <a:extLst>
              <a:ext uri="{FF2B5EF4-FFF2-40B4-BE49-F238E27FC236}">
                <a16:creationId xmlns:a16="http://schemas.microsoft.com/office/drawing/2014/main" id="{728CB992-8018-B640-BCFF-D9FCA34D4FC7}"/>
              </a:ext>
            </a:extLst>
          </p:cNvPr>
          <p:cNvSpPr>
            <a:spLocks noChangeArrowheads="1"/>
          </p:cNvSpPr>
          <p:nvPr>
            <p:custDataLst>
              <p:tags r:id="rId1"/>
            </p:custDataLst>
          </p:nvPr>
        </p:nvSpPr>
        <p:spPr bwMode="auto">
          <a:xfrm>
            <a:off x="9050400" y="5598000"/>
            <a:ext cx="1152160" cy="144000"/>
          </a:xfrm>
          <a:prstGeom prst="rect">
            <a:avLst/>
          </a:prstGeom>
          <a:solidFill>
            <a:srgbClr val="500078"/>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sp>
        <p:nvSpPr>
          <p:cNvPr id="69" name="Rectangle 72">
            <a:extLst>
              <a:ext uri="{FF2B5EF4-FFF2-40B4-BE49-F238E27FC236}">
                <a16:creationId xmlns:a16="http://schemas.microsoft.com/office/drawing/2014/main" id="{D1AB5288-6626-894B-9441-C5C404072C52}"/>
              </a:ext>
            </a:extLst>
          </p:cNvPr>
          <p:cNvSpPr>
            <a:spLocks noChangeArrowheads="1"/>
          </p:cNvSpPr>
          <p:nvPr>
            <p:custDataLst>
              <p:tags r:id="rId2"/>
            </p:custDataLst>
          </p:nvPr>
        </p:nvSpPr>
        <p:spPr bwMode="auto">
          <a:xfrm>
            <a:off x="6746400" y="5112000"/>
            <a:ext cx="2304320" cy="144000"/>
          </a:xfrm>
          <a:prstGeom prst="rect">
            <a:avLst/>
          </a:prstGeom>
          <a:solidFill>
            <a:srgbClr val="AA32BE"/>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sp>
        <p:nvSpPr>
          <p:cNvPr id="70" name="Rectangle 66">
            <a:extLst>
              <a:ext uri="{FF2B5EF4-FFF2-40B4-BE49-F238E27FC236}">
                <a16:creationId xmlns:a16="http://schemas.microsoft.com/office/drawing/2014/main" id="{D3E247B2-50AF-AE45-A1B5-ABA9D944BA1C}"/>
              </a:ext>
            </a:extLst>
          </p:cNvPr>
          <p:cNvSpPr>
            <a:spLocks noChangeArrowheads="1"/>
          </p:cNvSpPr>
          <p:nvPr>
            <p:custDataLst>
              <p:tags r:id="rId3"/>
            </p:custDataLst>
          </p:nvPr>
        </p:nvSpPr>
        <p:spPr bwMode="auto">
          <a:xfrm>
            <a:off x="4442400" y="4140000"/>
            <a:ext cx="1728000" cy="144000"/>
          </a:xfrm>
          <a:prstGeom prst="rect">
            <a:avLst/>
          </a:prstGeom>
          <a:solidFill>
            <a:schemeClr val="accent4"/>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sp>
        <p:nvSpPr>
          <p:cNvPr id="71" name="Rectangle 69">
            <a:extLst>
              <a:ext uri="{FF2B5EF4-FFF2-40B4-BE49-F238E27FC236}">
                <a16:creationId xmlns:a16="http://schemas.microsoft.com/office/drawing/2014/main" id="{B222A603-252A-8541-B6FD-8B14654FD628}"/>
              </a:ext>
            </a:extLst>
          </p:cNvPr>
          <p:cNvSpPr>
            <a:spLocks noChangeArrowheads="1"/>
          </p:cNvSpPr>
          <p:nvPr>
            <p:custDataLst>
              <p:tags r:id="rId4"/>
            </p:custDataLst>
          </p:nvPr>
        </p:nvSpPr>
        <p:spPr bwMode="auto">
          <a:xfrm>
            <a:off x="5594400" y="4626000"/>
            <a:ext cx="1728000" cy="144000"/>
          </a:xfrm>
          <a:prstGeom prst="rect">
            <a:avLst/>
          </a:prstGeom>
          <a:solidFill>
            <a:schemeClr val="accent5"/>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sp>
        <p:nvSpPr>
          <p:cNvPr id="72" name="Rectangle 72">
            <a:extLst>
              <a:ext uri="{FF2B5EF4-FFF2-40B4-BE49-F238E27FC236}">
                <a16:creationId xmlns:a16="http://schemas.microsoft.com/office/drawing/2014/main" id="{243212CC-28B1-044E-B5D4-6827BE4FD6E4}"/>
              </a:ext>
            </a:extLst>
          </p:cNvPr>
          <p:cNvSpPr>
            <a:spLocks noChangeArrowheads="1"/>
          </p:cNvSpPr>
          <p:nvPr>
            <p:custDataLst>
              <p:tags r:id="rId5"/>
            </p:custDataLst>
          </p:nvPr>
        </p:nvSpPr>
        <p:spPr bwMode="auto">
          <a:xfrm>
            <a:off x="4442400" y="3654000"/>
            <a:ext cx="1728000" cy="144000"/>
          </a:xfrm>
          <a:prstGeom prst="rect">
            <a:avLst/>
          </a:prstGeom>
          <a:solidFill>
            <a:schemeClr val="accent3"/>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sp>
        <p:nvSpPr>
          <p:cNvPr id="73" name="Rectangle 66">
            <a:extLst>
              <a:ext uri="{FF2B5EF4-FFF2-40B4-BE49-F238E27FC236}">
                <a16:creationId xmlns:a16="http://schemas.microsoft.com/office/drawing/2014/main" id="{FC722143-208B-2946-BCF3-BC1070C7F7E8}"/>
              </a:ext>
            </a:extLst>
          </p:cNvPr>
          <p:cNvSpPr>
            <a:spLocks noChangeArrowheads="1"/>
          </p:cNvSpPr>
          <p:nvPr>
            <p:custDataLst>
              <p:tags r:id="rId6"/>
            </p:custDataLst>
          </p:nvPr>
        </p:nvSpPr>
        <p:spPr bwMode="auto">
          <a:xfrm>
            <a:off x="3578400" y="2682000"/>
            <a:ext cx="1728000" cy="144000"/>
          </a:xfrm>
          <a:prstGeom prst="rect">
            <a:avLst/>
          </a:prstGeom>
          <a:solidFill>
            <a:srgbClr val="009999"/>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sp>
        <p:nvSpPr>
          <p:cNvPr id="74" name="Rectangle 69">
            <a:extLst>
              <a:ext uri="{FF2B5EF4-FFF2-40B4-BE49-F238E27FC236}">
                <a16:creationId xmlns:a16="http://schemas.microsoft.com/office/drawing/2014/main" id="{527F6279-62D5-3B4F-9CAE-55B4E5FE01CA}"/>
              </a:ext>
            </a:extLst>
          </p:cNvPr>
          <p:cNvSpPr>
            <a:spLocks noChangeArrowheads="1"/>
          </p:cNvSpPr>
          <p:nvPr>
            <p:custDataLst>
              <p:tags r:id="rId7"/>
            </p:custDataLst>
          </p:nvPr>
        </p:nvSpPr>
        <p:spPr bwMode="auto">
          <a:xfrm>
            <a:off x="4442400" y="3168000"/>
            <a:ext cx="1728000" cy="144000"/>
          </a:xfrm>
          <a:prstGeom prst="rect">
            <a:avLst/>
          </a:prstGeom>
          <a:solidFill>
            <a:srgbClr val="00E6DC"/>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sp>
        <p:nvSpPr>
          <p:cNvPr id="75" name="Rectangle 72">
            <a:extLst>
              <a:ext uri="{FF2B5EF4-FFF2-40B4-BE49-F238E27FC236}">
                <a16:creationId xmlns:a16="http://schemas.microsoft.com/office/drawing/2014/main" id="{6E1AEACD-0ECC-C846-B5C7-81545B8A8EA5}"/>
              </a:ext>
            </a:extLst>
          </p:cNvPr>
          <p:cNvSpPr>
            <a:spLocks noChangeArrowheads="1"/>
          </p:cNvSpPr>
          <p:nvPr>
            <p:custDataLst>
              <p:tags r:id="rId8"/>
            </p:custDataLst>
          </p:nvPr>
        </p:nvSpPr>
        <p:spPr bwMode="auto">
          <a:xfrm>
            <a:off x="2426400" y="2196000"/>
            <a:ext cx="1728240" cy="144000"/>
          </a:xfrm>
          <a:prstGeom prst="rect">
            <a:avLst/>
          </a:prstGeom>
          <a:solidFill>
            <a:srgbClr val="00646E"/>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grpSp>
        <p:nvGrpSpPr>
          <p:cNvPr id="63" name="Group 24">
            <a:extLst>
              <a:ext uri="{FF2B5EF4-FFF2-40B4-BE49-F238E27FC236}">
                <a16:creationId xmlns:a16="http://schemas.microsoft.com/office/drawing/2014/main" id="{0DD312B2-F592-074A-8E85-D7B48DD2A8F5}"/>
              </a:ext>
            </a:extLst>
          </p:cNvPr>
          <p:cNvGrpSpPr/>
          <p:nvPr/>
        </p:nvGrpSpPr>
        <p:grpSpPr>
          <a:xfrm>
            <a:off x="3208259" y="2025764"/>
            <a:ext cx="735326" cy="4204132"/>
            <a:chOff x="3906629" y="1921657"/>
            <a:chExt cx="721352" cy="4204132"/>
          </a:xfrm>
        </p:grpSpPr>
        <p:sp>
          <p:nvSpPr>
            <p:cNvPr id="64" name="Rectangle 76">
              <a:extLst>
                <a:ext uri="{FF2B5EF4-FFF2-40B4-BE49-F238E27FC236}">
                  <a16:creationId xmlns:a16="http://schemas.microsoft.com/office/drawing/2014/main" id="{E1787D25-4C33-D147-8D72-6260E55F723D}"/>
                </a:ext>
              </a:extLst>
            </p:cNvPr>
            <p:cNvSpPr>
              <a:spLocks noChangeArrowheads="1"/>
            </p:cNvSpPr>
            <p:nvPr>
              <p:custDataLst>
                <p:tags r:id="rId9"/>
              </p:custDataLst>
            </p:nvPr>
          </p:nvSpPr>
          <p:spPr bwMode="auto">
            <a:xfrm>
              <a:off x="3906629" y="5899198"/>
              <a:ext cx="721352" cy="226591"/>
            </a:xfrm>
            <a:prstGeom prst="rect">
              <a:avLst/>
            </a:prstGeom>
            <a:noFill/>
            <a:ln>
              <a:noFill/>
            </a:ln>
            <a:effectLst/>
          </p:spPr>
          <p:txBody>
            <a:bodyPr wrap="none" lIns="0" tIns="72000" rIns="0" bIns="0" anchor="ctr">
              <a:spAutoFit/>
            </a:bodyP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spcBef>
                  <a:spcPct val="0"/>
                </a:spcBef>
                <a:buClrTx/>
                <a:buFontTx/>
                <a:buNone/>
              </a:pPr>
              <a:r>
                <a:rPr lang="en-US" altLang="de-DE" sz="1000" dirty="0">
                  <a:latin typeface="+mn-lt"/>
                </a:rPr>
                <a:t>XX.XX.20XX</a:t>
              </a:r>
            </a:p>
          </p:txBody>
        </p:sp>
        <p:grpSp>
          <p:nvGrpSpPr>
            <p:cNvPr id="65" name="Group 26">
              <a:extLst>
                <a:ext uri="{FF2B5EF4-FFF2-40B4-BE49-F238E27FC236}">
                  <a16:creationId xmlns:a16="http://schemas.microsoft.com/office/drawing/2014/main" id="{8BFCD879-32BF-F148-8747-880D2F67AA1A}"/>
                </a:ext>
              </a:extLst>
            </p:cNvPr>
            <p:cNvGrpSpPr/>
            <p:nvPr/>
          </p:nvGrpSpPr>
          <p:grpSpPr>
            <a:xfrm>
              <a:off x="4183715" y="1921657"/>
              <a:ext cx="160950" cy="3968016"/>
              <a:chOff x="4183715" y="1921657"/>
              <a:chExt cx="160950" cy="3968016"/>
            </a:xfrm>
          </p:grpSpPr>
          <p:sp>
            <p:nvSpPr>
              <p:cNvPr id="66" name="Line 64">
                <a:extLst>
                  <a:ext uri="{FF2B5EF4-FFF2-40B4-BE49-F238E27FC236}">
                    <a16:creationId xmlns:a16="http://schemas.microsoft.com/office/drawing/2014/main" id="{ED5DF283-B4FF-3947-84A5-607157EC9CFE}"/>
                  </a:ext>
                </a:extLst>
              </p:cNvPr>
              <p:cNvSpPr>
                <a:spLocks noChangeShapeType="1"/>
              </p:cNvSpPr>
              <p:nvPr>
                <p:custDataLst>
                  <p:tags r:id="rId10"/>
                </p:custDataLst>
              </p:nvPr>
            </p:nvSpPr>
            <p:spPr bwMode="gray">
              <a:xfrm flipH="1">
                <a:off x="4263375" y="1921657"/>
                <a:ext cx="0" cy="3875198"/>
              </a:xfrm>
              <a:prstGeom prst="line">
                <a:avLst/>
              </a:prstGeom>
              <a:noFill/>
              <a:ln w="19050">
                <a:solidFill>
                  <a:schemeClr val="tx1"/>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67" name="AutoShape 74">
                <a:extLst>
                  <a:ext uri="{FF2B5EF4-FFF2-40B4-BE49-F238E27FC236}">
                    <a16:creationId xmlns:a16="http://schemas.microsoft.com/office/drawing/2014/main" id="{E7889B39-8ACE-5146-97E2-0EA7999F5C1E}"/>
                  </a:ext>
                </a:extLst>
              </p:cNvPr>
              <p:cNvSpPr>
                <a:spLocks noChangeArrowheads="1"/>
              </p:cNvSpPr>
              <p:nvPr>
                <p:custDataLst>
                  <p:tags r:id="rId11"/>
                </p:custDataLst>
              </p:nvPr>
            </p:nvSpPr>
            <p:spPr bwMode="auto">
              <a:xfrm>
                <a:off x="4183715" y="5784898"/>
                <a:ext cx="160950" cy="104775"/>
              </a:xfrm>
              <a:prstGeom prst="triangle">
                <a:avLst>
                  <a:gd name="adj" fmla="val 50000"/>
                </a:avLst>
              </a:prstGeom>
              <a:solidFill>
                <a:schemeClr val="tx1"/>
              </a:solidFill>
              <a:ln w="19050">
                <a:noFill/>
                <a:miter lim="800000"/>
                <a:headEnd/>
                <a:tailEnd/>
              </a:ln>
              <a:effectLst/>
            </p:spPr>
            <p:txBody>
              <a:bodyPr wrap="none"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grpSp>
      </p:grpSp>
      <p:sp>
        <p:nvSpPr>
          <p:cNvPr id="2" name="Fußzeilenplatzhalter 1">
            <a:extLst>
              <a:ext uri="{FF2B5EF4-FFF2-40B4-BE49-F238E27FC236}">
                <a16:creationId xmlns:a16="http://schemas.microsoft.com/office/drawing/2014/main" id="{81C225D2-19E2-3E49-A0F6-3F64B1E2CAD7}"/>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3" name="Foliennummernplatzhalter 2">
            <a:extLst>
              <a:ext uri="{FF2B5EF4-FFF2-40B4-BE49-F238E27FC236}">
                <a16:creationId xmlns:a16="http://schemas.microsoft.com/office/drawing/2014/main" id="{B939A49D-9A49-D443-AB36-EC7A2CDFBC67}"/>
              </a:ext>
            </a:extLst>
          </p:cNvPr>
          <p:cNvSpPr>
            <a:spLocks noGrp="1"/>
          </p:cNvSpPr>
          <p:nvPr>
            <p:ph type="sldNum" sz="quarter" idx="11"/>
          </p:nvPr>
        </p:nvSpPr>
        <p:spPr/>
        <p:txBody>
          <a:bodyPr/>
          <a:lstStyle/>
          <a:p>
            <a:r>
              <a:rPr lang="en-US" dirty="0"/>
              <a:t>Page </a:t>
            </a:r>
            <a:fld id="{15EBE321-CBB1-4E91-BD14-37C8D44326FB}" type="slidenum">
              <a:rPr lang="en-US" smtClean="0"/>
              <a:pPr/>
              <a:t>50</a:t>
            </a:fld>
            <a:endParaRPr lang="en-US" dirty="0"/>
          </a:p>
        </p:txBody>
      </p:sp>
    </p:spTree>
    <p:extLst>
      <p:ext uri="{BB962C8B-B14F-4D97-AF65-F5344CB8AC3E}">
        <p14:creationId xmlns:p14="http://schemas.microsoft.com/office/powerpoint/2010/main" val="118140201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30916218-0FE7-DA40-850A-7231E8C46B1B}"/>
              </a:ext>
            </a:extLst>
          </p:cNvPr>
          <p:cNvSpPr>
            <a:spLocks noGrp="1"/>
          </p:cNvSpPr>
          <p:nvPr>
            <p:ph type="title"/>
          </p:nvPr>
        </p:nvSpPr>
        <p:spPr/>
        <p:txBody>
          <a:bodyPr/>
          <a:lstStyle/>
          <a:p>
            <a:r>
              <a:rPr lang="en-US" dirty="0"/>
              <a:t>Project timeline – detailed with person</a:t>
            </a:r>
            <a:br>
              <a:rPr lang="en-US" dirty="0"/>
            </a:br>
            <a:r>
              <a:rPr lang="en-US" b="0" dirty="0"/>
              <a:t>Background Deep Blue, text white</a:t>
            </a:r>
            <a:endParaRPr lang="de-DE" dirty="0"/>
          </a:p>
        </p:txBody>
      </p:sp>
      <p:sp>
        <p:nvSpPr>
          <p:cNvPr id="2" name="Fußzeilenplatzhalter 1">
            <a:extLst>
              <a:ext uri="{FF2B5EF4-FFF2-40B4-BE49-F238E27FC236}">
                <a16:creationId xmlns:a16="http://schemas.microsoft.com/office/drawing/2014/main" id="{81C225D2-19E2-3E49-A0F6-3F64B1E2CAD7}"/>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3" name="Foliennummernplatzhalter 2">
            <a:extLst>
              <a:ext uri="{FF2B5EF4-FFF2-40B4-BE49-F238E27FC236}">
                <a16:creationId xmlns:a16="http://schemas.microsoft.com/office/drawing/2014/main" id="{B939A49D-9A49-D443-AB36-EC7A2CDFBC67}"/>
              </a:ext>
            </a:extLst>
          </p:cNvPr>
          <p:cNvSpPr>
            <a:spLocks noGrp="1"/>
          </p:cNvSpPr>
          <p:nvPr>
            <p:ph type="sldNum" sz="quarter" idx="11"/>
          </p:nvPr>
        </p:nvSpPr>
        <p:spPr/>
        <p:txBody>
          <a:bodyPr/>
          <a:lstStyle/>
          <a:p>
            <a:r>
              <a:rPr lang="en-US" dirty="0"/>
              <a:t>Page </a:t>
            </a:r>
            <a:fld id="{15EBE321-CBB1-4E91-BD14-37C8D44326FB}" type="slidenum">
              <a:rPr lang="en-US" smtClean="0"/>
              <a:pPr/>
              <a:t>51</a:t>
            </a:fld>
            <a:endParaRPr lang="en-US" dirty="0"/>
          </a:p>
        </p:txBody>
      </p:sp>
      <p:graphicFrame>
        <p:nvGraphicFramePr>
          <p:cNvPr id="54" name="Group 3">
            <a:extLst>
              <a:ext uri="{FF2B5EF4-FFF2-40B4-BE49-F238E27FC236}">
                <a16:creationId xmlns:a16="http://schemas.microsoft.com/office/drawing/2014/main" id="{FBA8D562-59ED-F741-8CB5-2D9E4D15A024}"/>
              </a:ext>
            </a:extLst>
          </p:cNvPr>
          <p:cNvGraphicFramePr>
            <a:graphicFrameLocks noGrp="1"/>
          </p:cNvGraphicFramePr>
          <p:nvPr>
            <p:extLst>
              <p:ext uri="{D42A27DB-BD31-4B8C-83A1-F6EECF244321}">
                <p14:modId xmlns:p14="http://schemas.microsoft.com/office/powerpoint/2010/main" val="2297835638"/>
              </p:ext>
            </p:extLst>
          </p:nvPr>
        </p:nvGraphicFramePr>
        <p:xfrm>
          <a:off x="411164" y="1414800"/>
          <a:ext cx="11376000" cy="4500000"/>
        </p:xfrm>
        <a:graphic>
          <a:graphicData uri="http://schemas.openxmlformats.org/drawingml/2006/table">
            <a:tbl>
              <a:tblPr/>
              <a:tblGrid>
                <a:gridCol w="2016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576000">
                  <a:extLst>
                    <a:ext uri="{9D8B030D-6E8A-4147-A177-3AD203B41FA5}">
                      <a16:colId xmlns:a16="http://schemas.microsoft.com/office/drawing/2014/main" val="20002"/>
                    </a:ext>
                  </a:extLst>
                </a:gridCol>
                <a:gridCol w="576000">
                  <a:extLst>
                    <a:ext uri="{9D8B030D-6E8A-4147-A177-3AD203B41FA5}">
                      <a16:colId xmlns:a16="http://schemas.microsoft.com/office/drawing/2014/main" val="20003"/>
                    </a:ext>
                  </a:extLst>
                </a:gridCol>
                <a:gridCol w="576000">
                  <a:extLst>
                    <a:ext uri="{9D8B030D-6E8A-4147-A177-3AD203B41FA5}">
                      <a16:colId xmlns:a16="http://schemas.microsoft.com/office/drawing/2014/main" val="20004"/>
                    </a:ext>
                  </a:extLst>
                </a:gridCol>
                <a:gridCol w="576000">
                  <a:extLst>
                    <a:ext uri="{9D8B030D-6E8A-4147-A177-3AD203B41FA5}">
                      <a16:colId xmlns:a16="http://schemas.microsoft.com/office/drawing/2014/main" val="20005"/>
                    </a:ext>
                  </a:extLst>
                </a:gridCol>
                <a:gridCol w="576000">
                  <a:extLst>
                    <a:ext uri="{9D8B030D-6E8A-4147-A177-3AD203B41FA5}">
                      <a16:colId xmlns:a16="http://schemas.microsoft.com/office/drawing/2014/main" val="20006"/>
                    </a:ext>
                  </a:extLst>
                </a:gridCol>
                <a:gridCol w="576000">
                  <a:extLst>
                    <a:ext uri="{9D8B030D-6E8A-4147-A177-3AD203B41FA5}">
                      <a16:colId xmlns:a16="http://schemas.microsoft.com/office/drawing/2014/main" val="20007"/>
                    </a:ext>
                  </a:extLst>
                </a:gridCol>
                <a:gridCol w="576000">
                  <a:extLst>
                    <a:ext uri="{9D8B030D-6E8A-4147-A177-3AD203B41FA5}">
                      <a16:colId xmlns:a16="http://schemas.microsoft.com/office/drawing/2014/main" val="20008"/>
                    </a:ext>
                  </a:extLst>
                </a:gridCol>
                <a:gridCol w="576000">
                  <a:extLst>
                    <a:ext uri="{9D8B030D-6E8A-4147-A177-3AD203B41FA5}">
                      <a16:colId xmlns:a16="http://schemas.microsoft.com/office/drawing/2014/main" val="20009"/>
                    </a:ext>
                  </a:extLst>
                </a:gridCol>
                <a:gridCol w="576000">
                  <a:extLst>
                    <a:ext uri="{9D8B030D-6E8A-4147-A177-3AD203B41FA5}">
                      <a16:colId xmlns:a16="http://schemas.microsoft.com/office/drawing/2014/main" val="20010"/>
                    </a:ext>
                  </a:extLst>
                </a:gridCol>
                <a:gridCol w="576000">
                  <a:extLst>
                    <a:ext uri="{9D8B030D-6E8A-4147-A177-3AD203B41FA5}">
                      <a16:colId xmlns:a16="http://schemas.microsoft.com/office/drawing/2014/main" val="20011"/>
                    </a:ext>
                  </a:extLst>
                </a:gridCol>
                <a:gridCol w="576000">
                  <a:extLst>
                    <a:ext uri="{9D8B030D-6E8A-4147-A177-3AD203B41FA5}">
                      <a16:colId xmlns:a16="http://schemas.microsoft.com/office/drawing/2014/main" val="20012"/>
                    </a:ext>
                  </a:extLst>
                </a:gridCol>
                <a:gridCol w="576000">
                  <a:extLst>
                    <a:ext uri="{9D8B030D-6E8A-4147-A177-3AD203B41FA5}">
                      <a16:colId xmlns:a16="http://schemas.microsoft.com/office/drawing/2014/main" val="20013"/>
                    </a:ext>
                  </a:extLst>
                </a:gridCol>
                <a:gridCol w="576000">
                  <a:extLst>
                    <a:ext uri="{9D8B030D-6E8A-4147-A177-3AD203B41FA5}">
                      <a16:colId xmlns:a16="http://schemas.microsoft.com/office/drawing/2014/main" val="20014"/>
                    </a:ext>
                  </a:extLst>
                </a:gridCol>
                <a:gridCol w="1296000">
                  <a:extLst>
                    <a:ext uri="{9D8B030D-6E8A-4147-A177-3AD203B41FA5}">
                      <a16:colId xmlns:a16="http://schemas.microsoft.com/office/drawing/2014/main" val="20015"/>
                    </a:ext>
                  </a:extLst>
                </a:gridCol>
              </a:tblGrid>
              <a:tr h="306000">
                <a:tc rowSpan="2">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797050" algn="r"/>
                        </a:tabLst>
                      </a:pPr>
                      <a:r>
                        <a:rPr kumimoji="0" lang="en-US" sz="1100" b="1" i="0" u="none" strike="noStrike" cap="none" normalizeH="0" baseline="0" noProof="0" dirty="0">
                          <a:ln>
                            <a:noFill/>
                          </a:ln>
                          <a:solidFill>
                            <a:schemeClr val="tx1"/>
                          </a:solidFill>
                          <a:effectLst/>
                          <a:latin typeface="+mn-lt"/>
                        </a:rPr>
                        <a:t>Cras ultricies</a:t>
                      </a:r>
                    </a:p>
                  </a:txBody>
                  <a:tcPr marL="72000" marR="72000" marT="72000" marB="72000" anchor="b" horzOverflow="overflow">
                    <a:lnL w="9525" cap="flat" cmpd="sng" algn="ctr">
                      <a:noFill/>
                      <a:prstDash val="solid"/>
                      <a:round/>
                      <a:headEnd type="none" w="med" len="med"/>
                      <a:tailEnd type="none" w="med" len="med"/>
                    </a:lnL>
                    <a:lnR w="9525"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rgbClr val="333353"/>
                    </a:solidFill>
                  </a:tcPr>
                </a:tc>
                <a:tc gridSpan="5">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b="1" i="0" u="none" strike="noStrike" cap="none" normalizeH="0" baseline="0" noProof="0" dirty="0">
                          <a:ln>
                            <a:noFill/>
                          </a:ln>
                          <a:solidFill>
                            <a:schemeClr val="tx1"/>
                          </a:solidFill>
                          <a:effectLst/>
                          <a:latin typeface="+mn-lt"/>
                        </a:rPr>
                        <a:t>September</a:t>
                      </a:r>
                    </a:p>
                  </a:txBody>
                  <a:tcPr marL="180000" marR="72000" marT="0" marB="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de-DE" sz="1200" b="1" i="0" u="none" strike="noStrike" cap="none" normalizeH="0" baseline="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hlink"/>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de-DE" sz="1200" b="1" i="0" u="none" strike="noStrike" cap="none" normalizeH="0" baseline="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hlink"/>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de-DE" sz="1200" b="1" i="0" u="none" strike="noStrike" cap="none" normalizeH="0" baseline="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hlink"/>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de-DE" sz="1200" b="1" i="0" u="none" strike="noStrike" cap="none" normalizeH="0" baseline="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hlink"/>
                    </a:solidFill>
                  </a:tcPr>
                </a:tc>
                <a:tc gridSpan="4">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b="1" i="0" u="none" strike="noStrike" cap="none" normalizeH="0" baseline="0" noProof="0" dirty="0">
                          <a:ln>
                            <a:noFill/>
                          </a:ln>
                          <a:solidFill>
                            <a:schemeClr val="tx1"/>
                          </a:solidFill>
                          <a:effectLst/>
                          <a:latin typeface="+mn-lt"/>
                        </a:rPr>
                        <a:t>October</a:t>
                      </a:r>
                    </a:p>
                  </a:txBody>
                  <a:tcPr marL="180000" marR="72000" marT="0" marB="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de-DE" sz="1200" b="1" i="0" u="none" strike="noStrike" cap="none" normalizeH="0" baseline="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hlink"/>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de-DE" sz="1200" b="1" i="0" u="none" strike="noStrike" cap="none" normalizeH="0" baseline="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hlink"/>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de-DE" sz="1200" b="1" i="0" u="none" strike="noStrike" cap="none" normalizeH="0" baseline="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hlink"/>
                    </a:solidFill>
                  </a:tcPr>
                </a:tc>
                <a:tc gridSpan="5">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b="1" i="0" u="none" strike="noStrike" cap="none" normalizeH="0" baseline="0" noProof="0" dirty="0">
                          <a:ln>
                            <a:noFill/>
                          </a:ln>
                          <a:solidFill>
                            <a:schemeClr val="tx1"/>
                          </a:solidFill>
                          <a:effectLst/>
                          <a:latin typeface="+mn-lt"/>
                        </a:rPr>
                        <a:t>November</a:t>
                      </a:r>
                    </a:p>
                  </a:txBody>
                  <a:tcPr marL="180000" marR="72000" marT="0" marB="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de-DE" sz="1200" b="1" i="0" u="none" strike="noStrike" cap="none" normalizeH="0" baseline="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hlink"/>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de-DE" sz="1200" b="1" i="0" u="none" strike="noStrike" cap="none" normalizeH="0" baseline="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hlink"/>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de-DE" sz="1200" b="1" i="0" u="none" strike="noStrike" cap="none" normalizeH="0" baseline="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hlink"/>
                    </a:solidFill>
                  </a:tcPr>
                </a:tc>
                <a:tc h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de-DE" sz="1200" b="1" i="0" u="none" strike="noStrike" cap="none" normalizeH="0" baseline="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hlink"/>
                    </a:solidFill>
                  </a:tcPr>
                </a:tc>
                <a:tc rowSpan="2">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b="1" i="0" u="none" strike="noStrike" cap="none" normalizeH="0" baseline="0" noProof="0" dirty="0">
                          <a:ln>
                            <a:noFill/>
                          </a:ln>
                          <a:solidFill>
                            <a:schemeClr val="tx1"/>
                          </a:solidFill>
                          <a:effectLst/>
                          <a:latin typeface="+mn-lt"/>
                        </a:rPr>
                        <a:t>Person</a:t>
                      </a:r>
                    </a:p>
                  </a:txBody>
                  <a:tcPr marL="72000" marR="72000" marT="72000" marB="72000" anchor="b" horzOverflow="overflow">
                    <a:lnL w="9525" cap="flat" cmpd="sng" algn="ctr">
                      <a:solidFill>
                        <a:srgbClr val="66667E"/>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rgbClr val="333353"/>
                    </a:solidFill>
                  </a:tcPr>
                </a:tc>
                <a:extLst>
                  <a:ext uri="{0D108BD9-81ED-4DB2-BD59-A6C34878D82A}">
                    <a16:rowId xmlns:a16="http://schemas.microsoft.com/office/drawing/2014/main" val="10000"/>
                  </a:ext>
                </a:extLst>
              </a:tr>
              <a:tr h="306000">
                <a:tc vMerge="1">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de-DE" sz="1200" b="1" i="0" u="none" strike="noStrike" cap="none" normalizeH="0" baseline="0" dirty="0">
                        <a:ln>
                          <a:noFill/>
                        </a:ln>
                        <a:solidFill>
                          <a:schemeClr val="tx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b="0" i="0" u="none" strike="noStrike" cap="none" normalizeH="0" baseline="0" noProof="0" dirty="0">
                          <a:ln>
                            <a:noFill/>
                          </a:ln>
                          <a:solidFill>
                            <a:schemeClr val="tx1"/>
                          </a:solidFill>
                          <a:effectLst/>
                          <a:latin typeface="+mn-lt"/>
                        </a:rPr>
                        <a:t>35</a:t>
                      </a:r>
                    </a:p>
                  </a:txBody>
                  <a:tcPr marL="72000" marR="72000" marT="0" marB="0" anchor="ctr" horzOverflow="overflow">
                    <a:lnL w="9525" cap="flat" cmpd="sng" algn="ctr">
                      <a:solidFill>
                        <a:srgbClr val="66667E"/>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b="0" i="0" u="none" strike="noStrike" cap="none" normalizeH="0" baseline="0" noProof="0" dirty="0">
                          <a:ln>
                            <a:noFill/>
                          </a:ln>
                          <a:solidFill>
                            <a:schemeClr val="tx1"/>
                          </a:solidFill>
                          <a:effectLst/>
                          <a:latin typeface="+mn-lt"/>
                        </a:rPr>
                        <a:t>36</a:t>
                      </a:r>
                    </a:p>
                  </a:txBody>
                  <a:tcPr marL="72000" marR="72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b="0" i="0" u="none" strike="noStrike" cap="none" normalizeH="0" baseline="0" noProof="0" dirty="0">
                          <a:ln>
                            <a:noFill/>
                          </a:ln>
                          <a:solidFill>
                            <a:schemeClr val="tx1"/>
                          </a:solidFill>
                          <a:effectLst/>
                          <a:latin typeface="+mn-lt"/>
                        </a:rPr>
                        <a:t>37</a:t>
                      </a:r>
                    </a:p>
                  </a:txBody>
                  <a:tcPr marL="72000" marR="72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b="0" i="0" u="none" strike="noStrike" cap="none" normalizeH="0" baseline="0" noProof="0" dirty="0">
                          <a:ln>
                            <a:noFill/>
                          </a:ln>
                          <a:solidFill>
                            <a:schemeClr val="tx1"/>
                          </a:solidFill>
                          <a:effectLst/>
                          <a:latin typeface="+mn-lt"/>
                        </a:rPr>
                        <a:t>38</a:t>
                      </a:r>
                    </a:p>
                  </a:txBody>
                  <a:tcPr marL="72000" marR="72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b="0" i="0" u="none" strike="noStrike" cap="none" normalizeH="0" baseline="0" noProof="0" dirty="0">
                          <a:ln>
                            <a:noFill/>
                          </a:ln>
                          <a:solidFill>
                            <a:schemeClr val="tx1"/>
                          </a:solidFill>
                          <a:effectLst/>
                          <a:latin typeface="+mn-lt"/>
                        </a:rPr>
                        <a:t>39</a:t>
                      </a:r>
                    </a:p>
                  </a:txBody>
                  <a:tcPr marL="72000" marR="72000" marT="0" marB="0" anchor="ctr" horzOverflow="overflow">
                    <a:lnL w="9525" cap="flat" cmpd="sng" algn="ctr">
                      <a:no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b="0" i="0" u="none" strike="noStrike" cap="none" normalizeH="0" baseline="0" noProof="0" dirty="0">
                          <a:ln>
                            <a:noFill/>
                          </a:ln>
                          <a:solidFill>
                            <a:schemeClr val="tx1"/>
                          </a:solidFill>
                          <a:effectLst/>
                          <a:latin typeface="+mn-lt"/>
                        </a:rPr>
                        <a:t>40</a:t>
                      </a:r>
                    </a:p>
                  </a:txBody>
                  <a:tcPr marL="72000" marR="72000" marT="0" marB="0" anchor="ctr" horzOverflow="overflow">
                    <a:lnL w="9525" cap="flat" cmpd="sng" algn="ctr">
                      <a:solidFill>
                        <a:srgbClr val="66667E"/>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b="0" i="0" u="none" strike="noStrike" cap="none" normalizeH="0" baseline="0" noProof="0" dirty="0">
                          <a:ln>
                            <a:noFill/>
                          </a:ln>
                          <a:solidFill>
                            <a:schemeClr val="tx1"/>
                          </a:solidFill>
                          <a:effectLst/>
                          <a:latin typeface="+mn-lt"/>
                        </a:rPr>
                        <a:t>41</a:t>
                      </a:r>
                    </a:p>
                  </a:txBody>
                  <a:tcPr marL="72000" marR="72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b="0" i="0" u="none" strike="noStrike" cap="none" normalizeH="0" baseline="0" noProof="0" dirty="0">
                          <a:ln>
                            <a:noFill/>
                          </a:ln>
                          <a:solidFill>
                            <a:schemeClr val="tx1"/>
                          </a:solidFill>
                          <a:effectLst/>
                          <a:latin typeface="+mn-lt"/>
                        </a:rPr>
                        <a:t>42</a:t>
                      </a:r>
                    </a:p>
                  </a:txBody>
                  <a:tcPr marL="72000" marR="72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b="0" i="0" u="none" strike="noStrike" cap="none" normalizeH="0" baseline="0" noProof="0" dirty="0">
                          <a:ln>
                            <a:noFill/>
                          </a:ln>
                          <a:solidFill>
                            <a:schemeClr val="tx1"/>
                          </a:solidFill>
                          <a:effectLst/>
                          <a:latin typeface="+mn-lt"/>
                        </a:rPr>
                        <a:t>43</a:t>
                      </a:r>
                    </a:p>
                  </a:txBody>
                  <a:tcPr marL="72000" marR="72000" marT="0" marB="0" anchor="ctr" horzOverflow="overflow">
                    <a:lnL w="9525" cap="flat" cmpd="sng" algn="ctr">
                      <a:no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b="0" i="0" u="none" strike="noStrike" cap="none" normalizeH="0" baseline="0" noProof="0" dirty="0">
                          <a:ln>
                            <a:noFill/>
                          </a:ln>
                          <a:solidFill>
                            <a:schemeClr val="tx1"/>
                          </a:solidFill>
                          <a:effectLst/>
                          <a:latin typeface="+mn-lt"/>
                        </a:rPr>
                        <a:t>44</a:t>
                      </a:r>
                    </a:p>
                  </a:txBody>
                  <a:tcPr marL="72000" marR="72000" marT="0" marB="0" anchor="ctr" horzOverflow="overflow">
                    <a:lnL w="9525" cap="flat" cmpd="sng" algn="ctr">
                      <a:solidFill>
                        <a:srgbClr val="66667E"/>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b="0" i="0" u="none" strike="noStrike" cap="none" normalizeH="0" baseline="0" noProof="0" dirty="0">
                          <a:ln>
                            <a:noFill/>
                          </a:ln>
                          <a:solidFill>
                            <a:schemeClr val="tx1"/>
                          </a:solidFill>
                          <a:effectLst/>
                          <a:latin typeface="+mn-lt"/>
                        </a:rPr>
                        <a:t>45</a:t>
                      </a:r>
                    </a:p>
                  </a:txBody>
                  <a:tcPr marL="72000" marR="72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b="0" i="0" u="none" strike="noStrike" cap="none" normalizeH="0" baseline="0" noProof="0" dirty="0">
                          <a:ln>
                            <a:noFill/>
                          </a:ln>
                          <a:solidFill>
                            <a:schemeClr val="tx1"/>
                          </a:solidFill>
                          <a:effectLst/>
                          <a:latin typeface="+mn-lt"/>
                        </a:rPr>
                        <a:t>46</a:t>
                      </a:r>
                    </a:p>
                  </a:txBody>
                  <a:tcPr marL="72000" marR="72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b="0" i="0" u="none" strike="noStrike" cap="none" normalizeH="0" baseline="0" noProof="0" dirty="0">
                          <a:ln>
                            <a:noFill/>
                          </a:ln>
                          <a:solidFill>
                            <a:schemeClr val="tx1"/>
                          </a:solidFill>
                          <a:effectLst/>
                          <a:latin typeface="+mn-lt"/>
                        </a:rPr>
                        <a:t>47</a:t>
                      </a:r>
                    </a:p>
                  </a:txBody>
                  <a:tcPr marL="72000" marR="72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r>
                        <a:rPr kumimoji="0" lang="en-US" sz="1100" b="0" i="0" u="none" strike="noStrike" cap="none" normalizeH="0" baseline="0" noProof="0" dirty="0">
                          <a:ln>
                            <a:noFill/>
                          </a:ln>
                          <a:solidFill>
                            <a:schemeClr val="tx1"/>
                          </a:solidFill>
                          <a:effectLst/>
                          <a:latin typeface="+mn-lt"/>
                        </a:rPr>
                        <a:t>48</a:t>
                      </a:r>
                    </a:p>
                  </a:txBody>
                  <a:tcPr marL="72000" marR="72000" marT="0" marB="0" anchor="ctr" horzOverflow="overflow">
                    <a:lnL w="9525" cap="flat" cmpd="sng" algn="ctr">
                      <a:no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rgbClr val="333353"/>
                    </a:solidFill>
                  </a:tcPr>
                </a:tc>
                <a:tc vMerge="1">
                  <a:txBody>
                    <a:bodyPr/>
                    <a:lstStyle/>
                    <a:p>
                      <a:pPr marL="0" marR="0" lvl="0" indent="0" algn="ctr"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de-DE" sz="1000" b="1" i="0" u="none" strike="noStrike" cap="none" normalizeH="0" baseline="0" dirty="0">
                        <a:ln>
                          <a:noFill/>
                        </a:ln>
                        <a:solidFill>
                          <a:schemeClr val="bg1"/>
                        </a:solidFill>
                        <a:effectLst/>
                        <a:latin typeface="Arial" charset="0"/>
                      </a:endParaRPr>
                    </a:p>
                  </a:txBody>
                  <a:tcPr marL="91373" marR="91373" marT="47514" marB="4751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hlink"/>
                    </a:solidFill>
                  </a:tcPr>
                </a:tc>
                <a:extLst>
                  <a:ext uri="{0D108BD9-81ED-4DB2-BD59-A6C34878D82A}">
                    <a16:rowId xmlns:a16="http://schemas.microsoft.com/office/drawing/2014/main" val="10001"/>
                  </a:ext>
                </a:extLst>
              </a:tr>
              <a:tr h="486000">
                <a:tc>
                  <a:txBody>
                    <a:bodyPr/>
                    <a:lstStyle/>
                    <a:p>
                      <a:pPr marL="0" marR="0" lvl="0" indent="0" algn="l" defTabSz="914400" rtl="0" eaLnBrk="1" fontAlgn="base" latinLnBrk="0" hangingPunct="1">
                        <a:lnSpc>
                          <a:spcPct val="100000"/>
                        </a:lnSpc>
                        <a:spcBef>
                          <a:spcPct val="50000"/>
                        </a:spcBef>
                        <a:spcAft>
                          <a:spcPct val="0"/>
                        </a:spcAft>
                        <a:buClr>
                          <a:schemeClr val="bg1"/>
                        </a:buClr>
                        <a:buSzTx/>
                        <a:buFont typeface="Arial" pitchFamily="34" charset="0"/>
                        <a:buNone/>
                        <a:tabLst>
                          <a:tab pos="1611313" algn="l"/>
                        </a:tabLst>
                      </a:pPr>
                      <a:r>
                        <a:rPr kumimoji="0" lang="en-US" sz="1200" b="0" i="0" u="none" strike="noStrike" kern="1200" cap="none" spc="0" normalizeH="0" baseline="0" noProof="0" dirty="0">
                          <a:ln>
                            <a:noFill/>
                          </a:ln>
                          <a:solidFill>
                            <a:schemeClr val="tx1"/>
                          </a:solidFill>
                          <a:effectLst/>
                          <a:uLnTx/>
                          <a:uFillTx/>
                          <a:latin typeface="+mn-lt"/>
                          <a:ea typeface="+mn-ea"/>
                          <a:cs typeface="+mn-cs"/>
                        </a:rPr>
                        <a:t>At vero eos et accusam</a:t>
                      </a: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12700" cap="flat" cmpd="sng" algn="ctr">
                      <a:noFill/>
                      <a:prstDash val="solid"/>
                      <a:round/>
                      <a:headEnd type="none" w="med" len="med"/>
                      <a:tailEnd type="none" w="med" len="med"/>
                    </a:lnL>
                    <a:lnR w="9525" cap="flat" cmpd="sng" algn="ctr">
                      <a:solidFill>
                        <a:srgbClr val="66667E"/>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defRPr/>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86000">
                <a:tc>
                  <a:txBody>
                    <a:bodyPr/>
                    <a:lstStyle/>
                    <a:p>
                      <a:pPr marL="0" marR="0" lvl="0" indent="0" algn="l" defTabSz="914400" rtl="0" eaLnBrk="1" fontAlgn="base" latinLnBrk="0" hangingPunct="1">
                        <a:lnSpc>
                          <a:spcPct val="100000"/>
                        </a:lnSpc>
                        <a:spcBef>
                          <a:spcPct val="50000"/>
                        </a:spcBef>
                        <a:spcAft>
                          <a:spcPct val="0"/>
                        </a:spcAft>
                        <a:buClr>
                          <a:schemeClr val="bg1"/>
                        </a:buClr>
                        <a:buSzTx/>
                        <a:buFont typeface="Arial" pitchFamily="34" charset="0"/>
                        <a:buNone/>
                        <a:tabLst>
                          <a:tab pos="1611313" algn="l"/>
                        </a:tabLst>
                      </a:pPr>
                      <a:r>
                        <a:rPr kumimoji="0" lang="es-ES" sz="1200" b="0" i="0" u="none" strike="noStrike" kern="1200" cap="none" spc="0" normalizeH="0" baseline="0" noProof="0" dirty="0">
                          <a:ln>
                            <a:noFill/>
                          </a:ln>
                          <a:solidFill>
                            <a:schemeClr val="tx1"/>
                          </a:solidFill>
                          <a:effectLst/>
                          <a:uLnTx/>
                          <a:uFillTx/>
                          <a:latin typeface="+mn-lt"/>
                          <a:ea typeface="+mn-ea"/>
                          <a:cs typeface="+mn-cs"/>
                        </a:rPr>
                        <a:t>Duis arcu tortor, eget</a:t>
                      </a: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12700" cap="flat" cmpd="sng" algn="ctr">
                      <a:no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extLst>
                  <a:ext uri="{0D108BD9-81ED-4DB2-BD59-A6C34878D82A}">
                    <a16:rowId xmlns:a16="http://schemas.microsoft.com/office/drawing/2014/main" val="10003"/>
                  </a:ext>
                </a:extLst>
              </a:tr>
              <a:tr h="486000">
                <a:tc>
                  <a:txBody>
                    <a:bodyPr/>
                    <a:lstStyle/>
                    <a:p>
                      <a:pPr marL="0" marR="0" lvl="0" indent="0" algn="l" defTabSz="914400" rtl="0" eaLnBrk="1" fontAlgn="base" latinLnBrk="0" hangingPunct="1">
                        <a:lnSpc>
                          <a:spcPct val="100000"/>
                        </a:lnSpc>
                        <a:spcBef>
                          <a:spcPct val="50000"/>
                        </a:spcBef>
                        <a:spcAft>
                          <a:spcPct val="0"/>
                        </a:spcAft>
                        <a:buClr>
                          <a:schemeClr val="bg1"/>
                        </a:buClr>
                        <a:buSzTx/>
                        <a:buFont typeface="Arial" pitchFamily="34" charset="0"/>
                        <a:buNone/>
                        <a:tabLst>
                          <a:tab pos="1611313" algn="l"/>
                        </a:tabLst>
                      </a:pPr>
                      <a:r>
                        <a:rPr kumimoji="0" lang="en-US" sz="1200" b="0" i="0" u="none" strike="noStrike" kern="1200" cap="none" spc="0" normalizeH="0" baseline="0" noProof="0" dirty="0">
                          <a:ln>
                            <a:noFill/>
                          </a:ln>
                          <a:solidFill>
                            <a:schemeClr val="tx1"/>
                          </a:solidFill>
                          <a:effectLst/>
                          <a:uLnTx/>
                          <a:uFillTx/>
                          <a:latin typeface="+mn-lt"/>
                          <a:ea typeface="+mn-ea"/>
                          <a:cs typeface="+mn-cs"/>
                        </a:rPr>
                        <a:t>Cras ultricies mi eu</a:t>
                      </a: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12700" cap="flat" cmpd="sng" algn="ctr">
                      <a:no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486000">
                <a:tc>
                  <a:txBody>
                    <a:bodyPr/>
                    <a:lstStyle/>
                    <a:p>
                      <a:pPr marL="0" marR="0" lvl="0" indent="0" algn="l" defTabSz="914400" rtl="0" eaLnBrk="1" fontAlgn="base" latinLnBrk="0" hangingPunct="1">
                        <a:lnSpc>
                          <a:spcPct val="100000"/>
                        </a:lnSpc>
                        <a:spcBef>
                          <a:spcPct val="50000"/>
                        </a:spcBef>
                        <a:spcAft>
                          <a:spcPct val="0"/>
                        </a:spcAft>
                        <a:buClr>
                          <a:schemeClr val="bg1"/>
                        </a:buClr>
                        <a:buSzTx/>
                        <a:buFont typeface="Arial" pitchFamily="34" charset="0"/>
                        <a:buNone/>
                        <a:tabLst>
                          <a:tab pos="1611313" algn="l"/>
                        </a:tabLst>
                      </a:pPr>
                      <a:r>
                        <a:rPr kumimoji="0" lang="en-US" sz="1200" b="0" i="0" u="none" strike="noStrike" kern="1200" cap="none" spc="0" normalizeH="0" baseline="0" noProof="0" dirty="0">
                          <a:ln>
                            <a:noFill/>
                          </a:ln>
                          <a:solidFill>
                            <a:schemeClr val="tx1"/>
                          </a:solidFill>
                          <a:effectLst/>
                          <a:uLnTx/>
                          <a:uFillTx/>
                          <a:latin typeface="+mn-lt"/>
                          <a:ea typeface="+mn-ea"/>
                          <a:cs typeface="+mn-cs"/>
                        </a:rPr>
                        <a:t>Phasellus nec sem</a:t>
                      </a: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12700" cap="flat" cmpd="sng" algn="ctr">
                      <a:no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extLst>
                  <a:ext uri="{0D108BD9-81ED-4DB2-BD59-A6C34878D82A}">
                    <a16:rowId xmlns:a16="http://schemas.microsoft.com/office/drawing/2014/main" val="10005"/>
                  </a:ext>
                </a:extLst>
              </a:tr>
              <a:tr h="486000">
                <a:tc>
                  <a:txBody>
                    <a:bodyPr/>
                    <a:lstStyle/>
                    <a:p>
                      <a:pPr marL="0" marR="0" lvl="0" indent="0" algn="l" defTabSz="914400" rtl="0" eaLnBrk="1" fontAlgn="base" latinLnBrk="0" hangingPunct="1">
                        <a:lnSpc>
                          <a:spcPct val="100000"/>
                        </a:lnSpc>
                        <a:spcBef>
                          <a:spcPct val="50000"/>
                        </a:spcBef>
                        <a:spcAft>
                          <a:spcPct val="0"/>
                        </a:spcAft>
                        <a:buClr>
                          <a:schemeClr val="bg1"/>
                        </a:buClr>
                        <a:buSzTx/>
                        <a:buFont typeface="Arial" pitchFamily="34" charset="0"/>
                        <a:buNone/>
                        <a:tabLst>
                          <a:tab pos="1611313" algn="l"/>
                        </a:tabLst>
                      </a:pPr>
                      <a:r>
                        <a:rPr kumimoji="0" lang="es-ES" sz="1200" b="0" i="0" u="none" strike="noStrike" kern="1200" cap="none" spc="0" normalizeH="0" baseline="0" noProof="0" dirty="0">
                          <a:ln>
                            <a:noFill/>
                          </a:ln>
                          <a:solidFill>
                            <a:schemeClr val="tx1"/>
                          </a:solidFill>
                          <a:effectLst/>
                          <a:uLnTx/>
                          <a:uFillTx/>
                          <a:latin typeface="+mn-lt"/>
                          <a:ea typeface="+mn-ea"/>
                          <a:cs typeface="+mn-cs"/>
                        </a:rPr>
                        <a:t>Duis arcu suscipit eget</a:t>
                      </a: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12700" cap="flat" cmpd="sng" algn="ctr">
                      <a:no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486000">
                <a:tc>
                  <a:txBody>
                    <a:bodyPr/>
                    <a:lstStyle/>
                    <a:p>
                      <a:pPr marL="0" marR="0" lvl="0" indent="0" algn="l" defTabSz="914400" rtl="0" eaLnBrk="1" fontAlgn="base" latinLnBrk="0" hangingPunct="1">
                        <a:lnSpc>
                          <a:spcPct val="100000"/>
                        </a:lnSpc>
                        <a:spcBef>
                          <a:spcPct val="50000"/>
                        </a:spcBef>
                        <a:spcAft>
                          <a:spcPct val="0"/>
                        </a:spcAft>
                        <a:buClr>
                          <a:schemeClr val="bg1"/>
                        </a:buClr>
                        <a:buSzTx/>
                        <a:buFont typeface="Arial" pitchFamily="34" charset="0"/>
                        <a:buNone/>
                        <a:tabLst>
                          <a:tab pos="1611313" algn="l"/>
                        </a:tabLst>
                      </a:pPr>
                      <a:r>
                        <a:rPr kumimoji="0" lang="en-US" sz="1200" b="0" i="0" u="none" strike="noStrike" kern="1200" cap="none" spc="0" normalizeH="0" baseline="0" noProof="0" dirty="0">
                          <a:ln>
                            <a:noFill/>
                          </a:ln>
                          <a:solidFill>
                            <a:schemeClr val="tx1"/>
                          </a:solidFill>
                          <a:effectLst/>
                          <a:uLnTx/>
                          <a:uFillTx/>
                          <a:latin typeface="+mn-lt"/>
                          <a:ea typeface="+mn-ea"/>
                          <a:cs typeface="+mn-cs"/>
                        </a:rPr>
                        <a:t>Phasellus nec sem</a:t>
                      </a: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12700" cap="flat" cmpd="sng" algn="ctr">
                      <a:no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extLst>
                  <a:ext uri="{0D108BD9-81ED-4DB2-BD59-A6C34878D82A}">
                    <a16:rowId xmlns:a16="http://schemas.microsoft.com/office/drawing/2014/main" val="10008"/>
                  </a:ext>
                </a:extLst>
              </a:tr>
              <a:tr h="486000">
                <a:tc>
                  <a:txBody>
                    <a:bodyPr/>
                    <a:lstStyle/>
                    <a:p>
                      <a:pPr marL="0" marR="0" lvl="0" indent="0" algn="l" defTabSz="914400" rtl="0" eaLnBrk="1" fontAlgn="base" latinLnBrk="0" hangingPunct="1">
                        <a:lnSpc>
                          <a:spcPct val="100000"/>
                        </a:lnSpc>
                        <a:spcBef>
                          <a:spcPct val="50000"/>
                        </a:spcBef>
                        <a:spcAft>
                          <a:spcPct val="0"/>
                        </a:spcAft>
                        <a:buClr>
                          <a:schemeClr val="bg1"/>
                        </a:buClr>
                        <a:buSzTx/>
                        <a:buFont typeface="Arial" pitchFamily="34" charset="0"/>
                        <a:buNone/>
                        <a:tabLst>
                          <a:tab pos="1611313" algn="l"/>
                        </a:tabLst>
                      </a:pPr>
                      <a:r>
                        <a:rPr kumimoji="0" lang="en-US" sz="1200" b="0" i="0" u="none" strike="noStrike" kern="1200" cap="none" spc="0" normalizeH="0" baseline="0" noProof="0" dirty="0">
                          <a:ln>
                            <a:noFill/>
                          </a:ln>
                          <a:solidFill>
                            <a:schemeClr val="tx1"/>
                          </a:solidFill>
                          <a:effectLst/>
                          <a:uLnTx/>
                          <a:uFillTx/>
                          <a:latin typeface="+mn-lt"/>
                          <a:ea typeface="+mn-ea"/>
                          <a:cs typeface="+mn-cs"/>
                        </a:rPr>
                        <a:t>At vero eos et accusam</a:t>
                      </a: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12700" cap="flat" cmpd="sng" algn="ctr">
                      <a:no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959733240"/>
                  </a:ext>
                </a:extLst>
              </a:tr>
              <a:tr h="486000">
                <a:tc>
                  <a:txBody>
                    <a:bodyPr/>
                    <a:lstStyle/>
                    <a:p>
                      <a:pPr marL="0" marR="0" lvl="0" indent="0" algn="l" defTabSz="914400" rtl="0" eaLnBrk="1" fontAlgn="base" latinLnBrk="0" hangingPunct="1">
                        <a:lnSpc>
                          <a:spcPct val="100000"/>
                        </a:lnSpc>
                        <a:spcBef>
                          <a:spcPct val="50000"/>
                        </a:spcBef>
                        <a:spcAft>
                          <a:spcPct val="0"/>
                        </a:spcAft>
                        <a:buClr>
                          <a:schemeClr val="bg1"/>
                        </a:buClr>
                        <a:buSzTx/>
                        <a:buFont typeface="Arial" pitchFamily="34" charset="0"/>
                        <a:buNone/>
                        <a:tabLst>
                          <a:tab pos="1611313" algn="l"/>
                        </a:tabLst>
                      </a:pPr>
                      <a:r>
                        <a:rPr kumimoji="0" lang="en-US" sz="1200" b="0" i="0" u="none" strike="noStrike" kern="1200" cap="none" spc="0" normalizeH="0" baseline="0" noProof="0" dirty="0">
                          <a:ln>
                            <a:noFill/>
                          </a:ln>
                          <a:solidFill>
                            <a:schemeClr val="tx1"/>
                          </a:solidFill>
                          <a:effectLst/>
                          <a:uLnTx/>
                          <a:uFillTx/>
                          <a:latin typeface="+mn-lt"/>
                          <a:ea typeface="+mn-ea"/>
                          <a:cs typeface="+mn-cs"/>
                        </a:rPr>
                        <a:t>Phasellus nec sem</a:t>
                      </a: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12700" cap="flat" cmpd="sng" algn="ctr">
                      <a:no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9525" cap="flat" cmpd="sng" algn="ctr">
                      <a:solidFill>
                        <a:srgbClr val="66667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tc>
                  <a:txBody>
                    <a:bodyPr/>
                    <a:lstStyle/>
                    <a:p>
                      <a:pPr marL="0" marR="0" lvl="0" indent="0" algn="l" defTabSz="914400" rtl="0" eaLnBrk="1" fontAlgn="base" latinLnBrk="0" hangingPunct="1">
                        <a:lnSpc>
                          <a:spcPct val="100000"/>
                        </a:lnSpc>
                        <a:spcBef>
                          <a:spcPct val="50000"/>
                        </a:spcBef>
                        <a:spcAft>
                          <a:spcPct val="0"/>
                        </a:spcAft>
                        <a:buClrTx/>
                        <a:buSzTx/>
                        <a:buFont typeface="Wingdings" pitchFamily="2" charset="2"/>
                        <a:buNone/>
                        <a:tabLst>
                          <a:tab pos="1611313" algn="l"/>
                        </a:tabLst>
                      </a:pPr>
                      <a:endParaRPr kumimoji="0" lang="en-US" sz="1200" b="0" i="0" u="none" strike="noStrike" cap="none" normalizeH="0" baseline="0" noProof="0" dirty="0">
                        <a:ln>
                          <a:noFill/>
                        </a:ln>
                        <a:solidFill>
                          <a:schemeClr val="tx1"/>
                        </a:solidFill>
                        <a:effectLst/>
                        <a:latin typeface="+mn-lt"/>
                      </a:endParaRPr>
                    </a:p>
                  </a:txBody>
                  <a:tcPr marL="72000" marR="72000" marT="72000" marB="72000" anchor="ctr" horzOverflow="overflow">
                    <a:lnL w="9525" cap="flat" cmpd="sng" algn="ctr">
                      <a:solidFill>
                        <a:srgbClr val="66667E"/>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333353"/>
                    </a:solidFill>
                  </a:tcPr>
                </a:tc>
                <a:extLst>
                  <a:ext uri="{0D108BD9-81ED-4DB2-BD59-A6C34878D82A}">
                    <a16:rowId xmlns:a16="http://schemas.microsoft.com/office/drawing/2014/main" val="10010"/>
                  </a:ext>
                </a:extLst>
              </a:tr>
            </a:tbl>
          </a:graphicData>
        </a:graphic>
      </p:graphicFrame>
      <p:sp>
        <p:nvSpPr>
          <p:cNvPr id="68" name="Rectangle 66">
            <a:extLst>
              <a:ext uri="{FF2B5EF4-FFF2-40B4-BE49-F238E27FC236}">
                <a16:creationId xmlns:a16="http://schemas.microsoft.com/office/drawing/2014/main" id="{728CB992-8018-B640-BCFF-D9FCA34D4FC7}"/>
              </a:ext>
            </a:extLst>
          </p:cNvPr>
          <p:cNvSpPr>
            <a:spLocks noChangeArrowheads="1"/>
          </p:cNvSpPr>
          <p:nvPr>
            <p:custDataLst>
              <p:tags r:id="rId1"/>
            </p:custDataLst>
          </p:nvPr>
        </p:nvSpPr>
        <p:spPr bwMode="auto">
          <a:xfrm>
            <a:off x="9050400" y="5598000"/>
            <a:ext cx="1152160" cy="144000"/>
          </a:xfrm>
          <a:prstGeom prst="rect">
            <a:avLst/>
          </a:prstGeom>
          <a:solidFill>
            <a:srgbClr val="FFD732"/>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sp>
        <p:nvSpPr>
          <p:cNvPr id="69" name="Rectangle 72">
            <a:extLst>
              <a:ext uri="{FF2B5EF4-FFF2-40B4-BE49-F238E27FC236}">
                <a16:creationId xmlns:a16="http://schemas.microsoft.com/office/drawing/2014/main" id="{D1AB5288-6626-894B-9441-C5C404072C52}"/>
              </a:ext>
            </a:extLst>
          </p:cNvPr>
          <p:cNvSpPr>
            <a:spLocks noChangeArrowheads="1"/>
          </p:cNvSpPr>
          <p:nvPr>
            <p:custDataLst>
              <p:tags r:id="rId2"/>
            </p:custDataLst>
          </p:nvPr>
        </p:nvSpPr>
        <p:spPr bwMode="auto">
          <a:xfrm>
            <a:off x="6746400" y="5112000"/>
            <a:ext cx="2304320" cy="144000"/>
          </a:xfrm>
          <a:prstGeom prst="rect">
            <a:avLst/>
          </a:prstGeom>
          <a:solidFill>
            <a:srgbClr val="FF9000"/>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sp>
        <p:nvSpPr>
          <p:cNvPr id="70" name="Rectangle 66">
            <a:extLst>
              <a:ext uri="{FF2B5EF4-FFF2-40B4-BE49-F238E27FC236}">
                <a16:creationId xmlns:a16="http://schemas.microsoft.com/office/drawing/2014/main" id="{D3E247B2-50AF-AE45-A1B5-ABA9D944BA1C}"/>
              </a:ext>
            </a:extLst>
          </p:cNvPr>
          <p:cNvSpPr>
            <a:spLocks noChangeArrowheads="1"/>
          </p:cNvSpPr>
          <p:nvPr>
            <p:custDataLst>
              <p:tags r:id="rId3"/>
            </p:custDataLst>
          </p:nvPr>
        </p:nvSpPr>
        <p:spPr bwMode="auto">
          <a:xfrm>
            <a:off x="4442400" y="4140000"/>
            <a:ext cx="1728000" cy="144000"/>
          </a:xfrm>
          <a:prstGeom prst="rect">
            <a:avLst/>
          </a:prstGeom>
          <a:solidFill>
            <a:schemeClr val="accent4"/>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sp>
        <p:nvSpPr>
          <p:cNvPr id="71" name="Rectangle 69">
            <a:extLst>
              <a:ext uri="{FF2B5EF4-FFF2-40B4-BE49-F238E27FC236}">
                <a16:creationId xmlns:a16="http://schemas.microsoft.com/office/drawing/2014/main" id="{B222A603-252A-8541-B6FD-8B14654FD628}"/>
              </a:ext>
            </a:extLst>
          </p:cNvPr>
          <p:cNvSpPr>
            <a:spLocks noChangeArrowheads="1"/>
          </p:cNvSpPr>
          <p:nvPr>
            <p:custDataLst>
              <p:tags r:id="rId4"/>
            </p:custDataLst>
          </p:nvPr>
        </p:nvSpPr>
        <p:spPr bwMode="auto">
          <a:xfrm>
            <a:off x="5594400" y="4626000"/>
            <a:ext cx="1728000" cy="144000"/>
          </a:xfrm>
          <a:prstGeom prst="rect">
            <a:avLst/>
          </a:prstGeom>
          <a:solidFill>
            <a:srgbClr val="AA32BE"/>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sp>
        <p:nvSpPr>
          <p:cNvPr id="72" name="Rectangle 72">
            <a:extLst>
              <a:ext uri="{FF2B5EF4-FFF2-40B4-BE49-F238E27FC236}">
                <a16:creationId xmlns:a16="http://schemas.microsoft.com/office/drawing/2014/main" id="{243212CC-28B1-044E-B5D4-6827BE4FD6E4}"/>
              </a:ext>
            </a:extLst>
          </p:cNvPr>
          <p:cNvSpPr>
            <a:spLocks noChangeArrowheads="1"/>
          </p:cNvSpPr>
          <p:nvPr>
            <p:custDataLst>
              <p:tags r:id="rId5"/>
            </p:custDataLst>
          </p:nvPr>
        </p:nvSpPr>
        <p:spPr bwMode="auto">
          <a:xfrm>
            <a:off x="4442400" y="3654000"/>
            <a:ext cx="1728000" cy="144000"/>
          </a:xfrm>
          <a:prstGeom prst="rect">
            <a:avLst/>
          </a:prstGeom>
          <a:solidFill>
            <a:schemeClr val="accent3"/>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sp>
        <p:nvSpPr>
          <p:cNvPr id="73" name="Rectangle 66">
            <a:extLst>
              <a:ext uri="{FF2B5EF4-FFF2-40B4-BE49-F238E27FC236}">
                <a16:creationId xmlns:a16="http://schemas.microsoft.com/office/drawing/2014/main" id="{FC722143-208B-2946-BCF3-BC1070C7F7E8}"/>
              </a:ext>
            </a:extLst>
          </p:cNvPr>
          <p:cNvSpPr>
            <a:spLocks noChangeArrowheads="1"/>
          </p:cNvSpPr>
          <p:nvPr>
            <p:custDataLst>
              <p:tags r:id="rId6"/>
            </p:custDataLst>
          </p:nvPr>
        </p:nvSpPr>
        <p:spPr bwMode="auto">
          <a:xfrm>
            <a:off x="3578400" y="2682000"/>
            <a:ext cx="1728000" cy="144000"/>
          </a:xfrm>
          <a:prstGeom prst="rect">
            <a:avLst/>
          </a:prstGeom>
          <a:solidFill>
            <a:srgbClr val="009999"/>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sp>
        <p:nvSpPr>
          <p:cNvPr id="74" name="Rectangle 69">
            <a:extLst>
              <a:ext uri="{FF2B5EF4-FFF2-40B4-BE49-F238E27FC236}">
                <a16:creationId xmlns:a16="http://schemas.microsoft.com/office/drawing/2014/main" id="{527F6279-62D5-3B4F-9CAE-55B4E5FE01CA}"/>
              </a:ext>
            </a:extLst>
          </p:cNvPr>
          <p:cNvSpPr>
            <a:spLocks noChangeArrowheads="1"/>
          </p:cNvSpPr>
          <p:nvPr>
            <p:custDataLst>
              <p:tags r:id="rId7"/>
            </p:custDataLst>
          </p:nvPr>
        </p:nvSpPr>
        <p:spPr bwMode="auto">
          <a:xfrm>
            <a:off x="4442400" y="3168000"/>
            <a:ext cx="1728000" cy="144000"/>
          </a:xfrm>
          <a:prstGeom prst="rect">
            <a:avLst/>
          </a:prstGeom>
          <a:solidFill>
            <a:srgbClr val="00E6DC"/>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sp>
        <p:nvSpPr>
          <p:cNvPr id="75" name="Rectangle 72">
            <a:extLst>
              <a:ext uri="{FF2B5EF4-FFF2-40B4-BE49-F238E27FC236}">
                <a16:creationId xmlns:a16="http://schemas.microsoft.com/office/drawing/2014/main" id="{6E1AEACD-0ECC-C846-B5C7-81545B8A8EA5}"/>
              </a:ext>
            </a:extLst>
          </p:cNvPr>
          <p:cNvSpPr>
            <a:spLocks noChangeArrowheads="1"/>
          </p:cNvSpPr>
          <p:nvPr>
            <p:custDataLst>
              <p:tags r:id="rId8"/>
            </p:custDataLst>
          </p:nvPr>
        </p:nvSpPr>
        <p:spPr bwMode="auto">
          <a:xfrm>
            <a:off x="2426400" y="2196000"/>
            <a:ext cx="1728240" cy="144000"/>
          </a:xfrm>
          <a:prstGeom prst="rect">
            <a:avLst/>
          </a:prstGeom>
          <a:solidFill>
            <a:srgbClr val="00646E"/>
          </a:solidFill>
          <a:ln w="19050">
            <a:noFill/>
            <a:miter lim="800000"/>
            <a:headEnd/>
            <a:tailEnd/>
          </a:ln>
          <a:effectLst/>
        </p:spPr>
        <p:txBody>
          <a:bodyPr wrap="none" lIns="0" tIns="0" rIns="0" bIns="0"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grpSp>
        <p:nvGrpSpPr>
          <p:cNvPr id="63" name="Group 24">
            <a:extLst>
              <a:ext uri="{FF2B5EF4-FFF2-40B4-BE49-F238E27FC236}">
                <a16:creationId xmlns:a16="http://schemas.microsoft.com/office/drawing/2014/main" id="{0DD312B2-F592-074A-8E85-D7B48DD2A8F5}"/>
              </a:ext>
            </a:extLst>
          </p:cNvPr>
          <p:cNvGrpSpPr/>
          <p:nvPr/>
        </p:nvGrpSpPr>
        <p:grpSpPr>
          <a:xfrm>
            <a:off x="3205300" y="2025764"/>
            <a:ext cx="735326" cy="4204132"/>
            <a:chOff x="3906629" y="1921657"/>
            <a:chExt cx="721352" cy="4204132"/>
          </a:xfrm>
        </p:grpSpPr>
        <p:sp>
          <p:nvSpPr>
            <p:cNvPr id="64" name="Rectangle 76">
              <a:extLst>
                <a:ext uri="{FF2B5EF4-FFF2-40B4-BE49-F238E27FC236}">
                  <a16:creationId xmlns:a16="http://schemas.microsoft.com/office/drawing/2014/main" id="{E1787D25-4C33-D147-8D72-6260E55F723D}"/>
                </a:ext>
              </a:extLst>
            </p:cNvPr>
            <p:cNvSpPr>
              <a:spLocks noChangeArrowheads="1"/>
            </p:cNvSpPr>
            <p:nvPr>
              <p:custDataLst>
                <p:tags r:id="rId9"/>
              </p:custDataLst>
            </p:nvPr>
          </p:nvSpPr>
          <p:spPr bwMode="auto">
            <a:xfrm>
              <a:off x="3906629" y="5899198"/>
              <a:ext cx="721352" cy="226591"/>
            </a:xfrm>
            <a:prstGeom prst="rect">
              <a:avLst/>
            </a:prstGeom>
            <a:noFill/>
            <a:ln>
              <a:noFill/>
            </a:ln>
            <a:effectLst/>
          </p:spPr>
          <p:txBody>
            <a:bodyPr wrap="none" lIns="0" tIns="72000" rIns="0" bIns="0" anchor="ctr">
              <a:spAutoFit/>
            </a:bodyP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spcBef>
                  <a:spcPct val="0"/>
                </a:spcBef>
                <a:buClrTx/>
                <a:buFontTx/>
                <a:buNone/>
              </a:pPr>
              <a:r>
                <a:rPr lang="en-US" altLang="de-DE" sz="1000" dirty="0">
                  <a:latin typeface="+mn-lt"/>
                </a:rPr>
                <a:t>XX.XX.20XX</a:t>
              </a:r>
            </a:p>
          </p:txBody>
        </p:sp>
        <p:grpSp>
          <p:nvGrpSpPr>
            <p:cNvPr id="65" name="Group 26">
              <a:extLst>
                <a:ext uri="{FF2B5EF4-FFF2-40B4-BE49-F238E27FC236}">
                  <a16:creationId xmlns:a16="http://schemas.microsoft.com/office/drawing/2014/main" id="{8BFCD879-32BF-F148-8747-880D2F67AA1A}"/>
                </a:ext>
              </a:extLst>
            </p:cNvPr>
            <p:cNvGrpSpPr/>
            <p:nvPr/>
          </p:nvGrpSpPr>
          <p:grpSpPr>
            <a:xfrm>
              <a:off x="4183715" y="1921657"/>
              <a:ext cx="160950" cy="3968016"/>
              <a:chOff x="4183715" y="1921657"/>
              <a:chExt cx="160950" cy="3968016"/>
            </a:xfrm>
          </p:grpSpPr>
          <p:sp>
            <p:nvSpPr>
              <p:cNvPr id="66" name="Line 64">
                <a:extLst>
                  <a:ext uri="{FF2B5EF4-FFF2-40B4-BE49-F238E27FC236}">
                    <a16:creationId xmlns:a16="http://schemas.microsoft.com/office/drawing/2014/main" id="{ED5DF283-B4FF-3947-84A5-607157EC9CFE}"/>
                  </a:ext>
                </a:extLst>
              </p:cNvPr>
              <p:cNvSpPr>
                <a:spLocks noChangeShapeType="1"/>
              </p:cNvSpPr>
              <p:nvPr>
                <p:custDataLst>
                  <p:tags r:id="rId10"/>
                </p:custDataLst>
              </p:nvPr>
            </p:nvSpPr>
            <p:spPr bwMode="gray">
              <a:xfrm flipH="1">
                <a:off x="4263375" y="1921657"/>
                <a:ext cx="0" cy="3875198"/>
              </a:xfrm>
              <a:prstGeom prst="line">
                <a:avLst/>
              </a:prstGeom>
              <a:noFill/>
              <a:ln w="19050">
                <a:solidFill>
                  <a:schemeClr val="tx1"/>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67" name="AutoShape 74">
                <a:extLst>
                  <a:ext uri="{FF2B5EF4-FFF2-40B4-BE49-F238E27FC236}">
                    <a16:creationId xmlns:a16="http://schemas.microsoft.com/office/drawing/2014/main" id="{E7889B39-8ACE-5146-97E2-0EA7999F5C1E}"/>
                  </a:ext>
                </a:extLst>
              </p:cNvPr>
              <p:cNvSpPr>
                <a:spLocks noChangeArrowheads="1"/>
              </p:cNvSpPr>
              <p:nvPr>
                <p:custDataLst>
                  <p:tags r:id="rId11"/>
                </p:custDataLst>
              </p:nvPr>
            </p:nvSpPr>
            <p:spPr bwMode="auto">
              <a:xfrm>
                <a:off x="4183715" y="5784898"/>
                <a:ext cx="160950" cy="104775"/>
              </a:xfrm>
              <a:prstGeom prst="triangle">
                <a:avLst>
                  <a:gd name="adj" fmla="val 50000"/>
                </a:avLst>
              </a:prstGeom>
              <a:solidFill>
                <a:schemeClr val="tx1"/>
              </a:solidFill>
              <a:ln w="19050">
                <a:noFill/>
                <a:miter lim="800000"/>
                <a:headEnd/>
                <a:tailEnd/>
              </a:ln>
              <a:effectLst/>
            </p:spPr>
            <p:txBody>
              <a:bodyPr wrap="none" anchor="ctr"/>
              <a:lstStyle>
                <a:lvl1pPr algn="l" eaLnBrk="0" hangingPunct="0">
                  <a:defRPr sz="2000">
                    <a:solidFill>
                      <a:schemeClr val="tx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defRPr>
                    <a:solidFill>
                      <a:schemeClr val="tx1"/>
                    </a:solidFill>
                    <a:latin typeface="Arial" charset="0"/>
                  </a:defRPr>
                </a:lvl3pPr>
                <a:lvl4pPr marL="1600200" indent="-228600" algn="l" eaLnBrk="0" hangingPunct="0">
                  <a:defRPr>
                    <a:solidFill>
                      <a:schemeClr val="tx1"/>
                    </a:solidFill>
                    <a:latin typeface="Arial" charset="0"/>
                  </a:defRPr>
                </a:lvl4pPr>
                <a:lvl5pPr marL="2057400" indent="-228600" algn="l" eaLnBrk="0" hangingPunct="0">
                  <a:defRPr>
                    <a:solidFill>
                      <a:schemeClr val="tx1"/>
                    </a:solidFill>
                    <a:latin typeface="Arial" charset="0"/>
                  </a:defRPr>
                </a:lvl5pPr>
                <a:lvl6pPr marL="25146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6pPr>
                <a:lvl7pPr marL="29718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7pPr>
                <a:lvl8pPr marL="34290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8pPr>
                <a:lvl9pPr marL="3886200" indent="-228600" eaLnBrk="0" fontAlgn="base" hangingPunct="0">
                  <a:spcBef>
                    <a:spcPct val="50000"/>
                  </a:spcBef>
                  <a:spcAft>
                    <a:spcPct val="0"/>
                  </a:spcAft>
                  <a:buClr>
                    <a:schemeClr val="tx2"/>
                  </a:buClr>
                  <a:buFont typeface="Wingdings" pitchFamily="2" charset="2"/>
                  <a:buChar char="§"/>
                  <a:defRPr>
                    <a:solidFill>
                      <a:schemeClr val="tx1"/>
                    </a:solidFill>
                    <a:latin typeface="Arial" charset="0"/>
                  </a:defRPr>
                </a:lvl9pPr>
              </a:lstStyle>
              <a:p>
                <a:pPr algn="ctr" eaLnBrk="1" hangingPunct="1"/>
                <a:endParaRPr lang="en-US" altLang="de-DE" dirty="0">
                  <a:latin typeface="+mn-lt"/>
                </a:endParaRPr>
              </a:p>
            </p:txBody>
          </p:sp>
        </p:grpSp>
      </p:grpSp>
    </p:spTree>
    <p:extLst>
      <p:ext uri="{BB962C8B-B14F-4D97-AF65-F5344CB8AC3E}">
        <p14:creationId xmlns:p14="http://schemas.microsoft.com/office/powerpoint/2010/main" val="365009944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 name="Objekt 55"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3" imgW="360" imgH="360" progId="">
                  <p:embed/>
                </p:oleObj>
              </mc:Choice>
              <mc:Fallback>
                <p:oleObj name="think-cell Folie" r:id="rId3" imgW="360" imgH="360" progId="">
                  <p:embed/>
                  <p:pic>
                    <p:nvPicPr>
                      <p:cNvPr id="56" name="Objekt 5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55" name="Tabelle 54"/>
          <p:cNvGraphicFramePr>
            <a:graphicFrameLocks noGrp="1"/>
          </p:cNvGraphicFramePr>
          <p:nvPr>
            <p:extLst>
              <p:ext uri="{D42A27DB-BD31-4B8C-83A1-F6EECF244321}">
                <p14:modId xmlns:p14="http://schemas.microsoft.com/office/powerpoint/2010/main" val="1668365203"/>
              </p:ext>
            </p:extLst>
          </p:nvPr>
        </p:nvGraphicFramePr>
        <p:xfrm>
          <a:off x="410400" y="1415849"/>
          <a:ext cx="7775663" cy="4749528"/>
        </p:xfrm>
        <a:graphic>
          <a:graphicData uri="http://schemas.openxmlformats.org/drawingml/2006/table">
            <a:tbl>
              <a:tblPr>
                <a:tableStyleId>{0E3FDE45-AF77-4B5C-9715-49D594BDF05E}</a:tableStyleId>
              </a:tblPr>
              <a:tblGrid>
                <a:gridCol w="647663">
                  <a:extLst>
                    <a:ext uri="{9D8B030D-6E8A-4147-A177-3AD203B41FA5}">
                      <a16:colId xmlns:a16="http://schemas.microsoft.com/office/drawing/2014/main" val="20001"/>
                    </a:ext>
                  </a:extLst>
                </a:gridCol>
                <a:gridCol w="7128000">
                  <a:extLst>
                    <a:ext uri="{9D8B030D-6E8A-4147-A177-3AD203B41FA5}">
                      <a16:colId xmlns:a16="http://schemas.microsoft.com/office/drawing/2014/main" val="20002"/>
                    </a:ext>
                  </a:extLst>
                </a:gridCol>
              </a:tblGrid>
              <a:tr h="593691">
                <a:tc>
                  <a:txBody>
                    <a:bodyPr/>
                    <a:lstStyle/>
                    <a:p>
                      <a:endParaRPr lang="en-US" sz="1800" noProof="0" dirty="0">
                        <a:solidFill>
                          <a:srgbClr val="3C464B"/>
                        </a:solidFill>
                        <a:latin typeface="+mn-lt"/>
                      </a:endParaRPr>
                    </a:p>
                  </a:txBody>
                  <a:tcPr marL="143925" marR="143925" marT="71963" marB="71963" anchor="ctr">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rgbClr val="66667E"/>
                          </a:solidFill>
                          <a:effectLst/>
                          <a:uLnTx/>
                          <a:uFillTx/>
                        </a:rPr>
                        <a:t>Cras ultricies mi eu</a:t>
                      </a:r>
                      <a:endParaRPr lang="en-US" sz="1600" noProof="0" dirty="0">
                        <a:solidFill>
                          <a:srgbClr val="66667E"/>
                        </a:solidFill>
                        <a:latin typeface="+mn-lt"/>
                        <a:ea typeface="Arial Unicode MS"/>
                      </a:endParaRPr>
                    </a:p>
                  </a:txBody>
                  <a:tcPr marL="0" marR="0" marT="71963" marB="71963" anchor="ctr">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1"/>
                  </a:ext>
                </a:extLst>
              </a:tr>
              <a:tr h="593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noProof="0" dirty="0">
                        <a:solidFill>
                          <a:srgbClr val="3C464B"/>
                        </a:solidFill>
                        <a:latin typeface="+mn-lt"/>
                      </a:endParaRPr>
                    </a:p>
                  </a:txBody>
                  <a:tcPr marL="143925" marR="143925"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s-ES" sz="1600" u="none" strike="noStrike" kern="1200" cap="none" spc="0" normalizeH="0" baseline="0" noProof="0" dirty="0">
                          <a:ln>
                            <a:noFill/>
                          </a:ln>
                          <a:solidFill>
                            <a:srgbClr val="66667E"/>
                          </a:solidFill>
                          <a:effectLst/>
                          <a:uLnTx/>
                          <a:uFillTx/>
                        </a:rPr>
                        <a:t>Duis arcu tortor, suscipit eget</a:t>
                      </a:r>
                      <a:endParaRPr lang="en-US" sz="1600" noProof="0" dirty="0">
                        <a:solidFill>
                          <a:srgbClr val="66667E"/>
                        </a:solidFill>
                        <a:latin typeface="+mn-lt"/>
                        <a:ea typeface="Arial Unicode MS"/>
                      </a:endParaRPr>
                    </a:p>
                  </a:txBody>
                  <a:tcPr marL="0" marR="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2"/>
                  </a:ext>
                </a:extLst>
              </a:tr>
              <a:tr h="593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noProof="0" dirty="0">
                        <a:solidFill>
                          <a:srgbClr val="3C464B"/>
                        </a:solidFill>
                        <a:latin typeface="+mn-lt"/>
                      </a:endParaRPr>
                    </a:p>
                  </a:txBody>
                  <a:tcPr marL="143925" marR="143925"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rgbClr val="66667E"/>
                          </a:solidFill>
                          <a:effectLst/>
                          <a:uLnTx/>
                          <a:uFillTx/>
                        </a:rPr>
                        <a:t>At vero eos et accusam</a:t>
                      </a:r>
                      <a:endParaRPr lang="en-US" sz="1600" noProof="0" dirty="0">
                        <a:solidFill>
                          <a:srgbClr val="66667E"/>
                        </a:solidFill>
                        <a:latin typeface="+mn-lt"/>
                        <a:ea typeface="Arial Unicode MS"/>
                      </a:endParaRPr>
                    </a:p>
                  </a:txBody>
                  <a:tcPr marL="0" marR="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3"/>
                  </a:ext>
                </a:extLst>
              </a:tr>
              <a:tr h="593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noProof="0" dirty="0">
                        <a:solidFill>
                          <a:srgbClr val="3C464B"/>
                        </a:solidFill>
                        <a:latin typeface="+mn-lt"/>
                      </a:endParaRPr>
                    </a:p>
                  </a:txBody>
                  <a:tcPr marL="143925" marR="143925"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rgbClr val="66667E"/>
                          </a:solidFill>
                          <a:effectLst/>
                          <a:uLnTx/>
                          <a:uFillTx/>
                        </a:rPr>
                        <a:t>Duis arcu tortor, suscipit eget, imperdiet nec, imperdiet iaculis, ipsum</a:t>
                      </a:r>
                      <a:endParaRPr lang="en-US" sz="1600" noProof="0" dirty="0">
                        <a:solidFill>
                          <a:srgbClr val="66667E"/>
                        </a:solidFill>
                        <a:latin typeface="+mn-lt"/>
                        <a:ea typeface="Arial Unicode MS"/>
                      </a:endParaRPr>
                    </a:p>
                  </a:txBody>
                  <a:tcPr marL="0" marR="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4"/>
                  </a:ext>
                </a:extLst>
              </a:tr>
              <a:tr h="593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noProof="0" dirty="0">
                        <a:solidFill>
                          <a:srgbClr val="3C464B"/>
                        </a:solidFill>
                        <a:latin typeface="+mn-lt"/>
                      </a:endParaRPr>
                    </a:p>
                  </a:txBody>
                  <a:tcPr marL="143925" marR="143925"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rgbClr val="66667E"/>
                          </a:solidFill>
                          <a:effectLst/>
                          <a:uLnTx/>
                          <a:uFillTx/>
                        </a:rPr>
                        <a:t>Cras ultricies mi eu</a:t>
                      </a:r>
                      <a:endParaRPr lang="en-US" sz="1600" noProof="0" dirty="0">
                        <a:solidFill>
                          <a:srgbClr val="66667E"/>
                        </a:solidFill>
                        <a:latin typeface="+mn-lt"/>
                        <a:ea typeface="Arial Unicode MS"/>
                      </a:endParaRPr>
                    </a:p>
                  </a:txBody>
                  <a:tcPr marL="0" marR="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2514599482"/>
                  </a:ext>
                </a:extLst>
              </a:tr>
              <a:tr h="593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noProof="0" dirty="0">
                        <a:solidFill>
                          <a:srgbClr val="3C464B"/>
                        </a:solidFill>
                        <a:latin typeface="+mn-lt"/>
                      </a:endParaRPr>
                    </a:p>
                  </a:txBody>
                  <a:tcPr marL="143925" marR="143925"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s-ES" sz="1600" u="none" strike="noStrike" kern="1200" cap="none" spc="0" normalizeH="0" baseline="0" noProof="0" dirty="0">
                          <a:ln>
                            <a:noFill/>
                          </a:ln>
                          <a:solidFill>
                            <a:srgbClr val="66667E"/>
                          </a:solidFill>
                          <a:effectLst/>
                          <a:uLnTx/>
                          <a:uFillTx/>
                        </a:rPr>
                        <a:t>Duis arcu tortor, suscipit eget</a:t>
                      </a:r>
                      <a:endParaRPr lang="en-US" sz="1600" noProof="0" dirty="0">
                        <a:solidFill>
                          <a:srgbClr val="66667E"/>
                        </a:solidFill>
                        <a:latin typeface="+mn-lt"/>
                        <a:ea typeface="Arial Unicode MS"/>
                      </a:endParaRPr>
                    </a:p>
                  </a:txBody>
                  <a:tcPr marL="0" marR="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2724333261"/>
                  </a:ext>
                </a:extLst>
              </a:tr>
              <a:tr h="593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noProof="0" dirty="0">
                        <a:solidFill>
                          <a:srgbClr val="3C464B"/>
                        </a:solidFill>
                        <a:latin typeface="+mn-lt"/>
                      </a:endParaRPr>
                    </a:p>
                  </a:txBody>
                  <a:tcPr marL="143925" marR="143925"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rgbClr val="66667E"/>
                          </a:solidFill>
                          <a:effectLst/>
                          <a:uLnTx/>
                          <a:uFillTx/>
                        </a:rPr>
                        <a:t>At vero eos et accusam</a:t>
                      </a:r>
                      <a:endParaRPr lang="en-US" sz="1600" noProof="0" dirty="0">
                        <a:solidFill>
                          <a:srgbClr val="66667E"/>
                        </a:solidFill>
                        <a:latin typeface="+mn-lt"/>
                        <a:ea typeface="Arial Unicode MS"/>
                      </a:endParaRPr>
                    </a:p>
                  </a:txBody>
                  <a:tcPr marL="0" marR="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300822757"/>
                  </a:ext>
                </a:extLst>
              </a:tr>
              <a:tr h="593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noProof="0" dirty="0">
                        <a:solidFill>
                          <a:srgbClr val="3C464B"/>
                        </a:solidFill>
                        <a:latin typeface="+mn-lt"/>
                      </a:endParaRPr>
                    </a:p>
                  </a:txBody>
                  <a:tcPr marL="143925" marR="143925"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rgbClr val="66667E"/>
                          </a:solidFill>
                          <a:effectLst/>
                          <a:uLnTx/>
                          <a:uFillTx/>
                        </a:rPr>
                        <a:t>Cras ultricies mi eu</a:t>
                      </a:r>
                      <a:endParaRPr lang="en-US" sz="1600" noProof="0" dirty="0">
                        <a:solidFill>
                          <a:srgbClr val="66667E"/>
                        </a:solidFill>
                        <a:latin typeface="+mn-lt"/>
                        <a:ea typeface="Arial Unicode MS"/>
                      </a:endParaRPr>
                    </a:p>
                  </a:txBody>
                  <a:tcPr marL="0" marR="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237210138"/>
                  </a:ext>
                </a:extLst>
              </a:tr>
            </a:tbl>
          </a:graphicData>
        </a:graphic>
      </p:graphicFrame>
      <p:sp>
        <p:nvSpPr>
          <p:cNvPr id="5" name="Titel 4"/>
          <p:cNvSpPr>
            <a:spLocks noGrp="1"/>
          </p:cNvSpPr>
          <p:nvPr>
            <p:ph type="title"/>
          </p:nvPr>
        </p:nvSpPr>
        <p:spPr/>
        <p:txBody>
          <a:bodyPr/>
          <a:lstStyle/>
          <a:p>
            <a:r>
              <a:rPr lang="en-US" dirty="0"/>
              <a:t>Checklist – decisions required</a:t>
            </a:r>
          </a:p>
        </p:txBody>
      </p:sp>
      <p:sp>
        <p:nvSpPr>
          <p:cNvPr id="6" name="Oval 4"/>
          <p:cNvSpPr>
            <a:spLocks noChangeAspect="1" noChangeArrowheads="1"/>
          </p:cNvSpPr>
          <p:nvPr/>
        </p:nvSpPr>
        <p:spPr bwMode="auto">
          <a:xfrm>
            <a:off x="410400" y="1489743"/>
            <a:ext cx="449766" cy="449766"/>
          </a:xfrm>
          <a:prstGeom prst="rect">
            <a:avLst/>
          </a:prstGeom>
          <a:solidFill>
            <a:schemeClr val="accent1"/>
          </a:solidFill>
          <a:ln>
            <a:noFill/>
          </a:ln>
          <a:effectLst/>
        </p:spPr>
        <p:txBody>
          <a:bodyPr wrap="none" lIns="84337" tIns="42169" rIns="84337" bIns="42169" anchor="ctr"/>
          <a:lstStyle/>
          <a:p>
            <a:pPr algn="ctr" defTabSz="702911">
              <a:spcBef>
                <a:spcPct val="0"/>
              </a:spcBef>
            </a:pPr>
            <a:r>
              <a:rPr lang="en-US" sz="1799" b="1" dirty="0">
                <a:solidFill>
                  <a:schemeClr val="bg1"/>
                </a:solidFill>
              </a:rPr>
              <a:t>1</a:t>
            </a:r>
          </a:p>
        </p:txBody>
      </p:sp>
      <p:sp>
        <p:nvSpPr>
          <p:cNvPr id="7" name="Oval 4"/>
          <p:cNvSpPr>
            <a:spLocks noChangeAspect="1" noChangeArrowheads="1"/>
          </p:cNvSpPr>
          <p:nvPr/>
        </p:nvSpPr>
        <p:spPr bwMode="auto">
          <a:xfrm>
            <a:off x="410400" y="2083434"/>
            <a:ext cx="449766" cy="449766"/>
          </a:xfrm>
          <a:prstGeom prst="rect">
            <a:avLst/>
          </a:prstGeom>
          <a:solidFill>
            <a:schemeClr val="accent1"/>
          </a:solidFill>
          <a:ln>
            <a:noFill/>
          </a:ln>
          <a:effectLst/>
        </p:spPr>
        <p:txBody>
          <a:bodyPr wrap="none" lIns="84337" tIns="42169" rIns="84337" bIns="42169" anchor="ctr"/>
          <a:lstStyle/>
          <a:p>
            <a:pPr algn="ctr" defTabSz="702911">
              <a:spcBef>
                <a:spcPct val="0"/>
              </a:spcBef>
            </a:pPr>
            <a:r>
              <a:rPr lang="en-US" sz="1799" b="1" dirty="0">
                <a:solidFill>
                  <a:schemeClr val="bg1"/>
                </a:solidFill>
              </a:rPr>
              <a:t>2</a:t>
            </a:r>
          </a:p>
        </p:txBody>
      </p:sp>
      <p:sp>
        <p:nvSpPr>
          <p:cNvPr id="8" name="Oval 4"/>
          <p:cNvSpPr>
            <a:spLocks noChangeAspect="1" noChangeArrowheads="1"/>
          </p:cNvSpPr>
          <p:nvPr/>
        </p:nvSpPr>
        <p:spPr bwMode="auto">
          <a:xfrm>
            <a:off x="410400" y="2677124"/>
            <a:ext cx="449766" cy="449766"/>
          </a:xfrm>
          <a:prstGeom prst="rect">
            <a:avLst/>
          </a:prstGeom>
          <a:solidFill>
            <a:schemeClr val="accent1"/>
          </a:solidFill>
          <a:ln>
            <a:noFill/>
          </a:ln>
          <a:effectLst/>
        </p:spPr>
        <p:txBody>
          <a:bodyPr wrap="none" lIns="84337" tIns="42169" rIns="84337" bIns="42169" anchor="ctr"/>
          <a:lstStyle/>
          <a:p>
            <a:pPr algn="ctr" defTabSz="702911">
              <a:spcBef>
                <a:spcPct val="0"/>
              </a:spcBef>
            </a:pPr>
            <a:r>
              <a:rPr lang="en-US" sz="1799" b="1" dirty="0">
                <a:solidFill>
                  <a:schemeClr val="bg1"/>
                </a:solidFill>
              </a:rPr>
              <a:t>3</a:t>
            </a:r>
          </a:p>
        </p:txBody>
      </p:sp>
      <p:sp>
        <p:nvSpPr>
          <p:cNvPr id="9" name="Oval 4"/>
          <p:cNvSpPr>
            <a:spLocks noChangeAspect="1" noChangeArrowheads="1"/>
          </p:cNvSpPr>
          <p:nvPr/>
        </p:nvSpPr>
        <p:spPr bwMode="auto">
          <a:xfrm>
            <a:off x="410400" y="3270815"/>
            <a:ext cx="449766" cy="449766"/>
          </a:xfrm>
          <a:prstGeom prst="rect">
            <a:avLst/>
          </a:prstGeom>
          <a:solidFill>
            <a:schemeClr val="accent1"/>
          </a:solidFill>
          <a:ln>
            <a:noFill/>
          </a:ln>
          <a:effectLst/>
        </p:spPr>
        <p:txBody>
          <a:bodyPr wrap="none" lIns="84337" tIns="42169" rIns="84337" bIns="42169" anchor="ctr"/>
          <a:lstStyle/>
          <a:p>
            <a:pPr algn="ctr" defTabSz="702911">
              <a:spcBef>
                <a:spcPct val="0"/>
              </a:spcBef>
            </a:pPr>
            <a:r>
              <a:rPr lang="en-US" sz="1799" b="1" dirty="0">
                <a:solidFill>
                  <a:schemeClr val="bg1"/>
                </a:solidFill>
              </a:rPr>
              <a:t>4</a:t>
            </a:r>
          </a:p>
        </p:txBody>
      </p:sp>
      <p:sp>
        <p:nvSpPr>
          <p:cNvPr id="10" name="Oval 4"/>
          <p:cNvSpPr>
            <a:spLocks noChangeAspect="1" noChangeArrowheads="1"/>
          </p:cNvSpPr>
          <p:nvPr/>
        </p:nvSpPr>
        <p:spPr bwMode="auto">
          <a:xfrm>
            <a:off x="410400" y="3864506"/>
            <a:ext cx="449766" cy="449766"/>
          </a:xfrm>
          <a:prstGeom prst="rect">
            <a:avLst/>
          </a:prstGeom>
          <a:solidFill>
            <a:schemeClr val="accent1"/>
          </a:solidFill>
          <a:ln>
            <a:noFill/>
          </a:ln>
          <a:effectLst/>
        </p:spPr>
        <p:txBody>
          <a:bodyPr wrap="none" lIns="84337" tIns="42169" rIns="84337" bIns="42169" anchor="ctr"/>
          <a:lstStyle/>
          <a:p>
            <a:pPr algn="ctr" defTabSz="702911">
              <a:spcBef>
                <a:spcPct val="0"/>
              </a:spcBef>
            </a:pPr>
            <a:r>
              <a:rPr lang="en-US" sz="1799" b="1" dirty="0">
                <a:solidFill>
                  <a:schemeClr val="bg1"/>
                </a:solidFill>
              </a:rPr>
              <a:t>5</a:t>
            </a:r>
          </a:p>
        </p:txBody>
      </p:sp>
      <p:sp>
        <p:nvSpPr>
          <p:cNvPr id="11" name="Oval 4"/>
          <p:cNvSpPr>
            <a:spLocks noChangeAspect="1" noChangeArrowheads="1"/>
          </p:cNvSpPr>
          <p:nvPr/>
        </p:nvSpPr>
        <p:spPr bwMode="auto">
          <a:xfrm>
            <a:off x="410400" y="5051888"/>
            <a:ext cx="449766" cy="449766"/>
          </a:xfrm>
          <a:prstGeom prst="rect">
            <a:avLst/>
          </a:prstGeom>
          <a:solidFill>
            <a:schemeClr val="accent1"/>
          </a:solidFill>
          <a:ln>
            <a:noFill/>
          </a:ln>
          <a:effectLst/>
        </p:spPr>
        <p:txBody>
          <a:bodyPr wrap="none" lIns="84337" tIns="42169" rIns="84337" bIns="42169" anchor="ctr"/>
          <a:lstStyle/>
          <a:p>
            <a:pPr algn="ctr" defTabSz="702911">
              <a:spcBef>
                <a:spcPct val="0"/>
              </a:spcBef>
            </a:pPr>
            <a:r>
              <a:rPr lang="en-US" sz="1799" b="1" dirty="0">
                <a:solidFill>
                  <a:schemeClr val="bg1"/>
                </a:solidFill>
              </a:rPr>
              <a:t>7</a:t>
            </a:r>
          </a:p>
        </p:txBody>
      </p:sp>
      <p:sp>
        <p:nvSpPr>
          <p:cNvPr id="12" name="Oval 4"/>
          <p:cNvSpPr>
            <a:spLocks noChangeAspect="1" noChangeArrowheads="1"/>
          </p:cNvSpPr>
          <p:nvPr/>
        </p:nvSpPr>
        <p:spPr bwMode="auto">
          <a:xfrm>
            <a:off x="410400" y="4458197"/>
            <a:ext cx="449766" cy="449766"/>
          </a:xfrm>
          <a:prstGeom prst="rect">
            <a:avLst/>
          </a:prstGeom>
          <a:solidFill>
            <a:schemeClr val="accent1"/>
          </a:solidFill>
          <a:ln>
            <a:noFill/>
          </a:ln>
          <a:effectLst/>
        </p:spPr>
        <p:txBody>
          <a:bodyPr wrap="none" lIns="84337" tIns="42169" rIns="84337" bIns="42169" anchor="ctr"/>
          <a:lstStyle/>
          <a:p>
            <a:pPr algn="ctr" defTabSz="702911">
              <a:spcBef>
                <a:spcPct val="0"/>
              </a:spcBef>
            </a:pPr>
            <a:r>
              <a:rPr lang="en-US" sz="1799" b="1" dirty="0">
                <a:solidFill>
                  <a:schemeClr val="bg1"/>
                </a:solidFill>
              </a:rPr>
              <a:t>6</a:t>
            </a:r>
          </a:p>
        </p:txBody>
      </p:sp>
      <p:sp>
        <p:nvSpPr>
          <p:cNvPr id="13" name="Oval 4"/>
          <p:cNvSpPr>
            <a:spLocks noChangeAspect="1" noChangeArrowheads="1"/>
          </p:cNvSpPr>
          <p:nvPr/>
        </p:nvSpPr>
        <p:spPr bwMode="auto">
          <a:xfrm>
            <a:off x="410400" y="5645578"/>
            <a:ext cx="449766" cy="449766"/>
          </a:xfrm>
          <a:prstGeom prst="rect">
            <a:avLst/>
          </a:prstGeom>
          <a:solidFill>
            <a:schemeClr val="accent1"/>
          </a:solidFill>
          <a:ln>
            <a:noFill/>
          </a:ln>
          <a:effectLst/>
        </p:spPr>
        <p:txBody>
          <a:bodyPr wrap="none" lIns="84337" tIns="42169" rIns="84337" bIns="42169" anchor="ctr"/>
          <a:lstStyle/>
          <a:p>
            <a:pPr algn="ctr" defTabSz="702911">
              <a:spcBef>
                <a:spcPct val="0"/>
              </a:spcBef>
            </a:pPr>
            <a:r>
              <a:rPr lang="en-US" sz="1799" b="1" dirty="0">
                <a:solidFill>
                  <a:schemeClr val="bg1"/>
                </a:solidFill>
              </a:rPr>
              <a:t>8</a:t>
            </a:r>
          </a:p>
        </p:txBody>
      </p:sp>
      <p:grpSp>
        <p:nvGrpSpPr>
          <p:cNvPr id="43" name="Group 42">
            <a:extLst>
              <a:ext uri="{FF2B5EF4-FFF2-40B4-BE49-F238E27FC236}">
                <a16:creationId xmlns:a16="http://schemas.microsoft.com/office/drawing/2014/main" id="{9A21F41E-6FD7-4BE3-BF55-1D61DEE648DE}"/>
              </a:ext>
            </a:extLst>
          </p:cNvPr>
          <p:cNvGrpSpPr>
            <a:grpSpLocks noChangeAspect="1"/>
          </p:cNvGrpSpPr>
          <p:nvPr/>
        </p:nvGrpSpPr>
        <p:grpSpPr>
          <a:xfrm>
            <a:off x="7592062" y="4384084"/>
            <a:ext cx="594001" cy="594001"/>
            <a:chOff x="8382541" y="4482000"/>
            <a:chExt cx="412715" cy="412715"/>
          </a:xfrm>
        </p:grpSpPr>
        <p:sp>
          <p:nvSpPr>
            <p:cNvPr id="44" name="Oval 4">
              <a:extLst>
                <a:ext uri="{FF2B5EF4-FFF2-40B4-BE49-F238E27FC236}">
                  <a16:creationId xmlns:a16="http://schemas.microsoft.com/office/drawing/2014/main" id="{340987D1-7ECA-470C-931F-16DB206B022C}"/>
                </a:ext>
              </a:extLst>
            </p:cNvPr>
            <p:cNvSpPr>
              <a:spLocks noChangeAspect="1" noChangeArrowheads="1"/>
            </p:cNvSpPr>
            <p:nvPr/>
          </p:nvSpPr>
          <p:spPr bwMode="auto">
            <a:xfrm>
              <a:off x="8382541" y="4482000"/>
              <a:ext cx="412715" cy="412715"/>
            </a:xfrm>
            <a:prstGeom prst="rect">
              <a:avLst/>
            </a:prstGeom>
            <a:noFill/>
            <a:ln>
              <a:noFill/>
            </a:ln>
            <a:effectLst/>
          </p:spPr>
          <p:txBody>
            <a:bodyPr wrap="none" lIns="84337" tIns="42169" rIns="84337" bIns="42169" anchor="ctr"/>
            <a:lstStyle/>
            <a:p>
              <a:pPr algn="ctr" defTabSz="702911">
                <a:spcBef>
                  <a:spcPct val="0"/>
                </a:spcBef>
              </a:pPr>
              <a:endParaRPr lang="en-US" sz="1799" b="1" dirty="0">
                <a:solidFill>
                  <a:schemeClr val="bg1"/>
                </a:solidFill>
              </a:endParaRPr>
            </a:p>
          </p:txBody>
        </p:sp>
        <p:sp>
          <p:nvSpPr>
            <p:cNvPr id="45" name="Freeform 47">
              <a:extLst>
                <a:ext uri="{FF2B5EF4-FFF2-40B4-BE49-F238E27FC236}">
                  <a16:creationId xmlns:a16="http://schemas.microsoft.com/office/drawing/2014/main" id="{F2639381-0F76-451C-83A0-97FA675D6596}"/>
                </a:ext>
              </a:extLst>
            </p:cNvPr>
            <p:cNvSpPr>
              <a:spLocks/>
            </p:cNvSpPr>
            <p:nvPr/>
          </p:nvSpPr>
          <p:spPr bwMode="auto">
            <a:xfrm>
              <a:off x="8482525" y="4581050"/>
              <a:ext cx="212747" cy="214614"/>
            </a:xfrm>
            <a:custGeom>
              <a:avLst/>
              <a:gdLst>
                <a:gd name="T0" fmla="*/ 99 w 114"/>
                <a:gd name="T1" fmla="*/ 115 h 115"/>
                <a:gd name="T2" fmla="*/ 114 w 114"/>
                <a:gd name="T3" fmla="*/ 99 h 115"/>
                <a:gd name="T4" fmla="*/ 78 w 114"/>
                <a:gd name="T5" fmla="*/ 58 h 115"/>
                <a:gd name="T6" fmla="*/ 114 w 114"/>
                <a:gd name="T7" fmla="*/ 16 h 115"/>
                <a:gd name="T8" fmla="*/ 99 w 114"/>
                <a:gd name="T9" fmla="*/ 0 h 115"/>
                <a:gd name="T10" fmla="*/ 57 w 114"/>
                <a:gd name="T11" fmla="*/ 37 h 115"/>
                <a:gd name="T12" fmla="*/ 15 w 114"/>
                <a:gd name="T13" fmla="*/ 0 h 115"/>
                <a:gd name="T14" fmla="*/ 0 w 114"/>
                <a:gd name="T15" fmla="*/ 16 h 115"/>
                <a:gd name="T16" fmla="*/ 36 w 114"/>
                <a:gd name="T17" fmla="*/ 58 h 115"/>
                <a:gd name="T18" fmla="*/ 0 w 114"/>
                <a:gd name="T19" fmla="*/ 99 h 115"/>
                <a:gd name="T20" fmla="*/ 15 w 114"/>
                <a:gd name="T21" fmla="*/ 115 h 115"/>
                <a:gd name="T22" fmla="*/ 57 w 114"/>
                <a:gd name="T23" fmla="*/ 78 h 115"/>
                <a:gd name="T24" fmla="*/ 99 w 114"/>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15">
                  <a:moveTo>
                    <a:pt x="99" y="115"/>
                  </a:moveTo>
                  <a:lnTo>
                    <a:pt x="114" y="99"/>
                  </a:lnTo>
                  <a:lnTo>
                    <a:pt x="78" y="58"/>
                  </a:lnTo>
                  <a:lnTo>
                    <a:pt x="114" y="16"/>
                  </a:lnTo>
                  <a:lnTo>
                    <a:pt x="99" y="0"/>
                  </a:lnTo>
                  <a:lnTo>
                    <a:pt x="57" y="37"/>
                  </a:lnTo>
                  <a:lnTo>
                    <a:pt x="15" y="0"/>
                  </a:lnTo>
                  <a:lnTo>
                    <a:pt x="0" y="16"/>
                  </a:lnTo>
                  <a:lnTo>
                    <a:pt x="36" y="58"/>
                  </a:lnTo>
                  <a:lnTo>
                    <a:pt x="0" y="99"/>
                  </a:lnTo>
                  <a:lnTo>
                    <a:pt x="15" y="115"/>
                  </a:lnTo>
                  <a:lnTo>
                    <a:pt x="57" y="78"/>
                  </a:lnTo>
                  <a:lnTo>
                    <a:pt x="99" y="115"/>
                  </a:lnTo>
                  <a:close/>
                </a:path>
              </a:pathLst>
            </a:custGeom>
            <a:solidFill>
              <a:srgbClr val="EF0137"/>
            </a:solidFill>
            <a:ln>
              <a:noFill/>
            </a:ln>
          </p:spPr>
          <p:txBody>
            <a:bodyPr vert="horz" wrap="square" lIns="91392" tIns="45696" rIns="91392" bIns="45696" numCol="1" anchor="t" anchorCtr="0" compatLnSpc="1">
              <a:prstTxWarp prst="textNoShape">
                <a:avLst/>
              </a:prstTxWarp>
            </a:bodyPr>
            <a:lstStyle/>
            <a:p>
              <a:endParaRPr lang="en-US" sz="1799" dirty="0"/>
            </a:p>
          </p:txBody>
        </p:sp>
      </p:grpSp>
      <p:grpSp>
        <p:nvGrpSpPr>
          <p:cNvPr id="46" name="Group 45">
            <a:extLst>
              <a:ext uri="{FF2B5EF4-FFF2-40B4-BE49-F238E27FC236}">
                <a16:creationId xmlns:a16="http://schemas.microsoft.com/office/drawing/2014/main" id="{1C6B022C-2727-4D9A-BA8F-75E54E1E427E}"/>
              </a:ext>
            </a:extLst>
          </p:cNvPr>
          <p:cNvGrpSpPr>
            <a:grpSpLocks noChangeAspect="1"/>
          </p:cNvGrpSpPr>
          <p:nvPr/>
        </p:nvGrpSpPr>
        <p:grpSpPr>
          <a:xfrm>
            <a:off x="7592062" y="1415849"/>
            <a:ext cx="594001" cy="594001"/>
            <a:chOff x="8382541" y="3888000"/>
            <a:chExt cx="412715" cy="412715"/>
          </a:xfrm>
        </p:grpSpPr>
        <p:sp>
          <p:nvSpPr>
            <p:cNvPr id="47" name="Oval 4">
              <a:extLst>
                <a:ext uri="{FF2B5EF4-FFF2-40B4-BE49-F238E27FC236}">
                  <a16:creationId xmlns:a16="http://schemas.microsoft.com/office/drawing/2014/main" id="{4B009436-FA49-49FF-95FC-129D42FD474D}"/>
                </a:ext>
              </a:extLst>
            </p:cNvPr>
            <p:cNvSpPr>
              <a:spLocks noChangeAspect="1" noChangeArrowheads="1"/>
            </p:cNvSpPr>
            <p:nvPr/>
          </p:nvSpPr>
          <p:spPr bwMode="auto">
            <a:xfrm>
              <a:off x="8382541" y="3888000"/>
              <a:ext cx="412715" cy="412715"/>
            </a:xfrm>
            <a:prstGeom prst="rect">
              <a:avLst/>
            </a:prstGeom>
            <a:noFill/>
            <a:ln>
              <a:noFill/>
            </a:ln>
            <a:effectLst/>
          </p:spPr>
          <p:txBody>
            <a:bodyPr wrap="none" lIns="84337" tIns="42169" rIns="84337" bIns="42169" anchor="ctr"/>
            <a:lstStyle/>
            <a:p>
              <a:pPr algn="ctr" defTabSz="702911">
                <a:spcBef>
                  <a:spcPct val="0"/>
                </a:spcBef>
              </a:pPr>
              <a:endParaRPr lang="en-US" sz="1799" b="1" dirty="0">
                <a:solidFill>
                  <a:schemeClr val="bg1"/>
                </a:solidFill>
              </a:endParaRPr>
            </a:p>
          </p:txBody>
        </p:sp>
        <p:sp>
          <p:nvSpPr>
            <p:cNvPr id="48" name="Freeform 52">
              <a:extLst>
                <a:ext uri="{FF2B5EF4-FFF2-40B4-BE49-F238E27FC236}">
                  <a16:creationId xmlns:a16="http://schemas.microsoft.com/office/drawing/2014/main" id="{C63EBDC8-29F7-4A0D-9C70-858C1ADFD8E3}"/>
                </a:ext>
              </a:extLst>
            </p:cNvPr>
            <p:cNvSpPr>
              <a:spLocks noChangeAspect="1"/>
            </p:cNvSpPr>
            <p:nvPr/>
          </p:nvSpPr>
          <p:spPr bwMode="auto">
            <a:xfrm>
              <a:off x="8471275" y="4004358"/>
              <a:ext cx="235248" cy="180000"/>
            </a:xfrm>
            <a:custGeom>
              <a:avLst/>
              <a:gdLst>
                <a:gd name="T0" fmla="*/ 116 w 132"/>
                <a:gd name="T1" fmla="*/ 0 h 101"/>
                <a:gd name="T2" fmla="*/ 132 w 132"/>
                <a:gd name="T3" fmla="*/ 15 h 101"/>
                <a:gd name="T4" fmla="*/ 46 w 132"/>
                <a:gd name="T5" fmla="*/ 101 h 101"/>
                <a:gd name="T6" fmla="*/ 0 w 132"/>
                <a:gd name="T7" fmla="*/ 55 h 101"/>
                <a:gd name="T8" fmla="*/ 15 w 132"/>
                <a:gd name="T9" fmla="*/ 39 h 101"/>
                <a:gd name="T10" fmla="*/ 43 w 132"/>
                <a:gd name="T11" fmla="*/ 63 h 101"/>
                <a:gd name="T12" fmla="*/ 116 w 132"/>
                <a:gd name="T13" fmla="*/ 0 h 101"/>
              </a:gdLst>
              <a:ahLst/>
              <a:cxnLst>
                <a:cxn ang="0">
                  <a:pos x="T0" y="T1"/>
                </a:cxn>
                <a:cxn ang="0">
                  <a:pos x="T2" y="T3"/>
                </a:cxn>
                <a:cxn ang="0">
                  <a:pos x="T4" y="T5"/>
                </a:cxn>
                <a:cxn ang="0">
                  <a:pos x="T6" y="T7"/>
                </a:cxn>
                <a:cxn ang="0">
                  <a:pos x="T8" y="T9"/>
                </a:cxn>
                <a:cxn ang="0">
                  <a:pos x="T10" y="T11"/>
                </a:cxn>
                <a:cxn ang="0">
                  <a:pos x="T12" y="T13"/>
                </a:cxn>
              </a:cxnLst>
              <a:rect l="0" t="0" r="r" b="b"/>
              <a:pathLst>
                <a:path w="132" h="101">
                  <a:moveTo>
                    <a:pt x="116" y="0"/>
                  </a:moveTo>
                  <a:lnTo>
                    <a:pt x="132" y="15"/>
                  </a:lnTo>
                  <a:lnTo>
                    <a:pt x="46" y="101"/>
                  </a:lnTo>
                  <a:lnTo>
                    <a:pt x="0" y="55"/>
                  </a:lnTo>
                  <a:lnTo>
                    <a:pt x="15" y="39"/>
                  </a:lnTo>
                  <a:lnTo>
                    <a:pt x="43" y="63"/>
                  </a:lnTo>
                  <a:lnTo>
                    <a:pt x="116" y="0"/>
                  </a:lnTo>
                  <a:close/>
                </a:path>
              </a:pathLst>
            </a:custGeom>
            <a:solidFill>
              <a:srgbClr val="00AF8E"/>
            </a:solidFill>
            <a:ln>
              <a:noFill/>
            </a:ln>
          </p:spPr>
          <p:txBody>
            <a:bodyPr vert="horz" wrap="square" lIns="91392" tIns="45696" rIns="91392" bIns="45696" numCol="1" anchor="t" anchorCtr="0" compatLnSpc="1">
              <a:prstTxWarp prst="textNoShape">
                <a:avLst/>
              </a:prstTxWarp>
            </a:bodyPr>
            <a:lstStyle/>
            <a:p>
              <a:endParaRPr lang="en-US" sz="1799" dirty="0">
                <a:solidFill>
                  <a:srgbClr val="879BAA"/>
                </a:solidFill>
              </a:endParaRPr>
            </a:p>
          </p:txBody>
        </p:sp>
      </p:grpSp>
      <p:grpSp>
        <p:nvGrpSpPr>
          <p:cNvPr id="37" name="Group 36">
            <a:extLst>
              <a:ext uri="{FF2B5EF4-FFF2-40B4-BE49-F238E27FC236}">
                <a16:creationId xmlns:a16="http://schemas.microsoft.com/office/drawing/2014/main" id="{EC03B7B7-CCE6-4AE4-A289-26744AEDA1EA}"/>
              </a:ext>
            </a:extLst>
          </p:cNvPr>
          <p:cNvGrpSpPr>
            <a:grpSpLocks noChangeAspect="1"/>
          </p:cNvGrpSpPr>
          <p:nvPr/>
        </p:nvGrpSpPr>
        <p:grpSpPr>
          <a:xfrm>
            <a:off x="7592062" y="2009496"/>
            <a:ext cx="594001" cy="594001"/>
            <a:chOff x="8382541" y="3888000"/>
            <a:chExt cx="412715" cy="412715"/>
          </a:xfrm>
        </p:grpSpPr>
        <p:sp>
          <p:nvSpPr>
            <p:cNvPr id="38" name="Oval 4">
              <a:extLst>
                <a:ext uri="{FF2B5EF4-FFF2-40B4-BE49-F238E27FC236}">
                  <a16:creationId xmlns:a16="http://schemas.microsoft.com/office/drawing/2014/main" id="{5AB3D9C3-A0EE-47DB-BC0A-B67F0ADADE0D}"/>
                </a:ext>
              </a:extLst>
            </p:cNvPr>
            <p:cNvSpPr>
              <a:spLocks noChangeAspect="1" noChangeArrowheads="1"/>
            </p:cNvSpPr>
            <p:nvPr/>
          </p:nvSpPr>
          <p:spPr bwMode="auto">
            <a:xfrm>
              <a:off x="8382541" y="3888000"/>
              <a:ext cx="412715" cy="412715"/>
            </a:xfrm>
            <a:prstGeom prst="rect">
              <a:avLst/>
            </a:prstGeom>
            <a:noFill/>
            <a:ln>
              <a:noFill/>
            </a:ln>
            <a:effectLst/>
          </p:spPr>
          <p:txBody>
            <a:bodyPr wrap="none" lIns="84337" tIns="42169" rIns="84337" bIns="42169" anchor="ctr"/>
            <a:lstStyle/>
            <a:p>
              <a:pPr algn="ctr" defTabSz="702911">
                <a:spcBef>
                  <a:spcPct val="0"/>
                </a:spcBef>
              </a:pPr>
              <a:endParaRPr lang="en-US" sz="1799" b="1" dirty="0">
                <a:solidFill>
                  <a:schemeClr val="bg1"/>
                </a:solidFill>
              </a:endParaRPr>
            </a:p>
          </p:txBody>
        </p:sp>
        <p:sp>
          <p:nvSpPr>
            <p:cNvPr id="39" name="Freeform 52">
              <a:extLst>
                <a:ext uri="{FF2B5EF4-FFF2-40B4-BE49-F238E27FC236}">
                  <a16:creationId xmlns:a16="http://schemas.microsoft.com/office/drawing/2014/main" id="{A7D91542-FBC1-4FB9-9459-9D54104FBF2A}"/>
                </a:ext>
              </a:extLst>
            </p:cNvPr>
            <p:cNvSpPr>
              <a:spLocks noChangeAspect="1"/>
            </p:cNvSpPr>
            <p:nvPr/>
          </p:nvSpPr>
          <p:spPr bwMode="auto">
            <a:xfrm>
              <a:off x="8471275" y="4004358"/>
              <a:ext cx="235248" cy="180000"/>
            </a:xfrm>
            <a:custGeom>
              <a:avLst/>
              <a:gdLst>
                <a:gd name="T0" fmla="*/ 116 w 132"/>
                <a:gd name="T1" fmla="*/ 0 h 101"/>
                <a:gd name="T2" fmla="*/ 132 w 132"/>
                <a:gd name="T3" fmla="*/ 15 h 101"/>
                <a:gd name="T4" fmla="*/ 46 w 132"/>
                <a:gd name="T5" fmla="*/ 101 h 101"/>
                <a:gd name="T6" fmla="*/ 0 w 132"/>
                <a:gd name="T7" fmla="*/ 55 h 101"/>
                <a:gd name="T8" fmla="*/ 15 w 132"/>
                <a:gd name="T9" fmla="*/ 39 h 101"/>
                <a:gd name="T10" fmla="*/ 43 w 132"/>
                <a:gd name="T11" fmla="*/ 63 h 101"/>
                <a:gd name="T12" fmla="*/ 116 w 132"/>
                <a:gd name="T13" fmla="*/ 0 h 101"/>
              </a:gdLst>
              <a:ahLst/>
              <a:cxnLst>
                <a:cxn ang="0">
                  <a:pos x="T0" y="T1"/>
                </a:cxn>
                <a:cxn ang="0">
                  <a:pos x="T2" y="T3"/>
                </a:cxn>
                <a:cxn ang="0">
                  <a:pos x="T4" y="T5"/>
                </a:cxn>
                <a:cxn ang="0">
                  <a:pos x="T6" y="T7"/>
                </a:cxn>
                <a:cxn ang="0">
                  <a:pos x="T8" y="T9"/>
                </a:cxn>
                <a:cxn ang="0">
                  <a:pos x="T10" y="T11"/>
                </a:cxn>
                <a:cxn ang="0">
                  <a:pos x="T12" y="T13"/>
                </a:cxn>
              </a:cxnLst>
              <a:rect l="0" t="0" r="r" b="b"/>
              <a:pathLst>
                <a:path w="132" h="101">
                  <a:moveTo>
                    <a:pt x="116" y="0"/>
                  </a:moveTo>
                  <a:lnTo>
                    <a:pt x="132" y="15"/>
                  </a:lnTo>
                  <a:lnTo>
                    <a:pt x="46" y="101"/>
                  </a:lnTo>
                  <a:lnTo>
                    <a:pt x="0" y="55"/>
                  </a:lnTo>
                  <a:lnTo>
                    <a:pt x="15" y="39"/>
                  </a:lnTo>
                  <a:lnTo>
                    <a:pt x="43" y="63"/>
                  </a:lnTo>
                  <a:lnTo>
                    <a:pt x="116" y="0"/>
                  </a:lnTo>
                  <a:close/>
                </a:path>
              </a:pathLst>
            </a:custGeom>
            <a:solidFill>
              <a:srgbClr val="00AF8E"/>
            </a:solidFill>
            <a:ln>
              <a:noFill/>
            </a:ln>
          </p:spPr>
          <p:txBody>
            <a:bodyPr vert="horz" wrap="square" lIns="91392" tIns="45696" rIns="91392" bIns="45696" numCol="1" anchor="t" anchorCtr="0" compatLnSpc="1">
              <a:prstTxWarp prst="textNoShape">
                <a:avLst/>
              </a:prstTxWarp>
            </a:bodyPr>
            <a:lstStyle/>
            <a:p>
              <a:endParaRPr lang="en-US" sz="1799" dirty="0">
                <a:solidFill>
                  <a:srgbClr val="879BAA"/>
                </a:solidFill>
              </a:endParaRPr>
            </a:p>
          </p:txBody>
        </p:sp>
      </p:grpSp>
      <p:grpSp>
        <p:nvGrpSpPr>
          <p:cNvPr id="40" name="Group 39">
            <a:extLst>
              <a:ext uri="{FF2B5EF4-FFF2-40B4-BE49-F238E27FC236}">
                <a16:creationId xmlns:a16="http://schemas.microsoft.com/office/drawing/2014/main" id="{C68DF2E8-A60E-429C-941C-B092DF10EA53}"/>
              </a:ext>
            </a:extLst>
          </p:cNvPr>
          <p:cNvGrpSpPr>
            <a:grpSpLocks noChangeAspect="1"/>
          </p:cNvGrpSpPr>
          <p:nvPr/>
        </p:nvGrpSpPr>
        <p:grpSpPr>
          <a:xfrm>
            <a:off x="7592062" y="2603143"/>
            <a:ext cx="594001" cy="594001"/>
            <a:chOff x="8382541" y="3888000"/>
            <a:chExt cx="412715" cy="412715"/>
          </a:xfrm>
        </p:grpSpPr>
        <p:sp>
          <p:nvSpPr>
            <p:cNvPr id="41" name="Oval 4">
              <a:extLst>
                <a:ext uri="{FF2B5EF4-FFF2-40B4-BE49-F238E27FC236}">
                  <a16:creationId xmlns:a16="http://schemas.microsoft.com/office/drawing/2014/main" id="{A1CBA9D7-166A-4772-BF9E-6515E81E9F11}"/>
                </a:ext>
              </a:extLst>
            </p:cNvPr>
            <p:cNvSpPr>
              <a:spLocks noChangeAspect="1" noChangeArrowheads="1"/>
            </p:cNvSpPr>
            <p:nvPr/>
          </p:nvSpPr>
          <p:spPr bwMode="auto">
            <a:xfrm>
              <a:off x="8382541" y="3888000"/>
              <a:ext cx="412715" cy="412715"/>
            </a:xfrm>
            <a:prstGeom prst="rect">
              <a:avLst/>
            </a:prstGeom>
            <a:noFill/>
            <a:ln>
              <a:noFill/>
            </a:ln>
            <a:effectLst/>
          </p:spPr>
          <p:txBody>
            <a:bodyPr wrap="none" lIns="84337" tIns="42169" rIns="84337" bIns="42169" anchor="ctr"/>
            <a:lstStyle/>
            <a:p>
              <a:pPr algn="ctr" defTabSz="702911">
                <a:spcBef>
                  <a:spcPct val="0"/>
                </a:spcBef>
              </a:pPr>
              <a:endParaRPr lang="en-US" sz="1799" b="1" dirty="0">
                <a:solidFill>
                  <a:schemeClr val="bg1"/>
                </a:solidFill>
              </a:endParaRPr>
            </a:p>
          </p:txBody>
        </p:sp>
        <p:sp>
          <p:nvSpPr>
            <p:cNvPr id="42" name="Freeform 52">
              <a:extLst>
                <a:ext uri="{FF2B5EF4-FFF2-40B4-BE49-F238E27FC236}">
                  <a16:creationId xmlns:a16="http://schemas.microsoft.com/office/drawing/2014/main" id="{A18BD637-7EDE-4830-9902-B32D06A5AECB}"/>
                </a:ext>
              </a:extLst>
            </p:cNvPr>
            <p:cNvSpPr>
              <a:spLocks noChangeAspect="1"/>
            </p:cNvSpPr>
            <p:nvPr/>
          </p:nvSpPr>
          <p:spPr bwMode="auto">
            <a:xfrm>
              <a:off x="8471275" y="4004358"/>
              <a:ext cx="235248" cy="180000"/>
            </a:xfrm>
            <a:custGeom>
              <a:avLst/>
              <a:gdLst>
                <a:gd name="T0" fmla="*/ 116 w 132"/>
                <a:gd name="T1" fmla="*/ 0 h 101"/>
                <a:gd name="T2" fmla="*/ 132 w 132"/>
                <a:gd name="T3" fmla="*/ 15 h 101"/>
                <a:gd name="T4" fmla="*/ 46 w 132"/>
                <a:gd name="T5" fmla="*/ 101 h 101"/>
                <a:gd name="T6" fmla="*/ 0 w 132"/>
                <a:gd name="T7" fmla="*/ 55 h 101"/>
                <a:gd name="T8" fmla="*/ 15 w 132"/>
                <a:gd name="T9" fmla="*/ 39 h 101"/>
                <a:gd name="T10" fmla="*/ 43 w 132"/>
                <a:gd name="T11" fmla="*/ 63 h 101"/>
                <a:gd name="T12" fmla="*/ 116 w 132"/>
                <a:gd name="T13" fmla="*/ 0 h 101"/>
              </a:gdLst>
              <a:ahLst/>
              <a:cxnLst>
                <a:cxn ang="0">
                  <a:pos x="T0" y="T1"/>
                </a:cxn>
                <a:cxn ang="0">
                  <a:pos x="T2" y="T3"/>
                </a:cxn>
                <a:cxn ang="0">
                  <a:pos x="T4" y="T5"/>
                </a:cxn>
                <a:cxn ang="0">
                  <a:pos x="T6" y="T7"/>
                </a:cxn>
                <a:cxn ang="0">
                  <a:pos x="T8" y="T9"/>
                </a:cxn>
                <a:cxn ang="0">
                  <a:pos x="T10" y="T11"/>
                </a:cxn>
                <a:cxn ang="0">
                  <a:pos x="T12" y="T13"/>
                </a:cxn>
              </a:cxnLst>
              <a:rect l="0" t="0" r="r" b="b"/>
              <a:pathLst>
                <a:path w="132" h="101">
                  <a:moveTo>
                    <a:pt x="116" y="0"/>
                  </a:moveTo>
                  <a:lnTo>
                    <a:pt x="132" y="15"/>
                  </a:lnTo>
                  <a:lnTo>
                    <a:pt x="46" y="101"/>
                  </a:lnTo>
                  <a:lnTo>
                    <a:pt x="0" y="55"/>
                  </a:lnTo>
                  <a:lnTo>
                    <a:pt x="15" y="39"/>
                  </a:lnTo>
                  <a:lnTo>
                    <a:pt x="43" y="63"/>
                  </a:lnTo>
                  <a:lnTo>
                    <a:pt x="116" y="0"/>
                  </a:lnTo>
                  <a:close/>
                </a:path>
              </a:pathLst>
            </a:custGeom>
            <a:solidFill>
              <a:srgbClr val="00AF8E"/>
            </a:solidFill>
            <a:ln>
              <a:noFill/>
            </a:ln>
          </p:spPr>
          <p:txBody>
            <a:bodyPr vert="horz" wrap="square" lIns="91392" tIns="45696" rIns="91392" bIns="45696" numCol="1" anchor="t" anchorCtr="0" compatLnSpc="1">
              <a:prstTxWarp prst="textNoShape">
                <a:avLst/>
              </a:prstTxWarp>
            </a:bodyPr>
            <a:lstStyle/>
            <a:p>
              <a:endParaRPr lang="en-US" sz="1799" dirty="0">
                <a:solidFill>
                  <a:srgbClr val="879BAA"/>
                </a:solidFill>
              </a:endParaRPr>
            </a:p>
          </p:txBody>
        </p:sp>
      </p:grpSp>
      <p:grpSp>
        <p:nvGrpSpPr>
          <p:cNvPr id="69" name="Group 68">
            <a:extLst>
              <a:ext uri="{FF2B5EF4-FFF2-40B4-BE49-F238E27FC236}">
                <a16:creationId xmlns:a16="http://schemas.microsoft.com/office/drawing/2014/main" id="{1EFDEA2A-D2ED-434F-9AA9-B02628AA336A}"/>
              </a:ext>
            </a:extLst>
          </p:cNvPr>
          <p:cNvGrpSpPr>
            <a:grpSpLocks noChangeAspect="1"/>
          </p:cNvGrpSpPr>
          <p:nvPr/>
        </p:nvGrpSpPr>
        <p:grpSpPr>
          <a:xfrm>
            <a:off x="7592062" y="3196790"/>
            <a:ext cx="594001" cy="594001"/>
            <a:chOff x="8382541" y="3888000"/>
            <a:chExt cx="412715" cy="412715"/>
          </a:xfrm>
        </p:grpSpPr>
        <p:sp>
          <p:nvSpPr>
            <p:cNvPr id="70" name="Oval 4">
              <a:extLst>
                <a:ext uri="{FF2B5EF4-FFF2-40B4-BE49-F238E27FC236}">
                  <a16:creationId xmlns:a16="http://schemas.microsoft.com/office/drawing/2014/main" id="{53A025A3-2BDC-448E-847D-6C2121A4C576}"/>
                </a:ext>
              </a:extLst>
            </p:cNvPr>
            <p:cNvSpPr>
              <a:spLocks noChangeAspect="1" noChangeArrowheads="1"/>
            </p:cNvSpPr>
            <p:nvPr/>
          </p:nvSpPr>
          <p:spPr bwMode="auto">
            <a:xfrm>
              <a:off x="8382541" y="3888000"/>
              <a:ext cx="412715" cy="412715"/>
            </a:xfrm>
            <a:prstGeom prst="rect">
              <a:avLst/>
            </a:prstGeom>
            <a:noFill/>
            <a:ln>
              <a:noFill/>
            </a:ln>
            <a:effectLst/>
          </p:spPr>
          <p:txBody>
            <a:bodyPr wrap="none" lIns="84337" tIns="42169" rIns="84337" bIns="42169" anchor="ctr"/>
            <a:lstStyle/>
            <a:p>
              <a:pPr algn="ctr" defTabSz="702911">
                <a:spcBef>
                  <a:spcPct val="0"/>
                </a:spcBef>
              </a:pPr>
              <a:endParaRPr lang="en-US" sz="1799" b="1" dirty="0">
                <a:solidFill>
                  <a:schemeClr val="bg1"/>
                </a:solidFill>
              </a:endParaRPr>
            </a:p>
          </p:txBody>
        </p:sp>
        <p:sp>
          <p:nvSpPr>
            <p:cNvPr id="71" name="Freeform 52">
              <a:extLst>
                <a:ext uri="{FF2B5EF4-FFF2-40B4-BE49-F238E27FC236}">
                  <a16:creationId xmlns:a16="http://schemas.microsoft.com/office/drawing/2014/main" id="{634379D9-CA99-4675-93D2-E7063B2211CD}"/>
                </a:ext>
              </a:extLst>
            </p:cNvPr>
            <p:cNvSpPr>
              <a:spLocks noChangeAspect="1"/>
            </p:cNvSpPr>
            <p:nvPr/>
          </p:nvSpPr>
          <p:spPr bwMode="auto">
            <a:xfrm>
              <a:off x="8471275" y="4004358"/>
              <a:ext cx="235248" cy="180000"/>
            </a:xfrm>
            <a:custGeom>
              <a:avLst/>
              <a:gdLst>
                <a:gd name="T0" fmla="*/ 116 w 132"/>
                <a:gd name="T1" fmla="*/ 0 h 101"/>
                <a:gd name="T2" fmla="*/ 132 w 132"/>
                <a:gd name="T3" fmla="*/ 15 h 101"/>
                <a:gd name="T4" fmla="*/ 46 w 132"/>
                <a:gd name="T5" fmla="*/ 101 h 101"/>
                <a:gd name="T6" fmla="*/ 0 w 132"/>
                <a:gd name="T7" fmla="*/ 55 h 101"/>
                <a:gd name="T8" fmla="*/ 15 w 132"/>
                <a:gd name="T9" fmla="*/ 39 h 101"/>
                <a:gd name="T10" fmla="*/ 43 w 132"/>
                <a:gd name="T11" fmla="*/ 63 h 101"/>
                <a:gd name="T12" fmla="*/ 116 w 132"/>
                <a:gd name="T13" fmla="*/ 0 h 101"/>
              </a:gdLst>
              <a:ahLst/>
              <a:cxnLst>
                <a:cxn ang="0">
                  <a:pos x="T0" y="T1"/>
                </a:cxn>
                <a:cxn ang="0">
                  <a:pos x="T2" y="T3"/>
                </a:cxn>
                <a:cxn ang="0">
                  <a:pos x="T4" y="T5"/>
                </a:cxn>
                <a:cxn ang="0">
                  <a:pos x="T6" y="T7"/>
                </a:cxn>
                <a:cxn ang="0">
                  <a:pos x="T8" y="T9"/>
                </a:cxn>
                <a:cxn ang="0">
                  <a:pos x="T10" y="T11"/>
                </a:cxn>
                <a:cxn ang="0">
                  <a:pos x="T12" y="T13"/>
                </a:cxn>
              </a:cxnLst>
              <a:rect l="0" t="0" r="r" b="b"/>
              <a:pathLst>
                <a:path w="132" h="101">
                  <a:moveTo>
                    <a:pt x="116" y="0"/>
                  </a:moveTo>
                  <a:lnTo>
                    <a:pt x="132" y="15"/>
                  </a:lnTo>
                  <a:lnTo>
                    <a:pt x="46" y="101"/>
                  </a:lnTo>
                  <a:lnTo>
                    <a:pt x="0" y="55"/>
                  </a:lnTo>
                  <a:lnTo>
                    <a:pt x="15" y="39"/>
                  </a:lnTo>
                  <a:lnTo>
                    <a:pt x="43" y="63"/>
                  </a:lnTo>
                  <a:lnTo>
                    <a:pt x="116" y="0"/>
                  </a:lnTo>
                  <a:close/>
                </a:path>
              </a:pathLst>
            </a:custGeom>
            <a:solidFill>
              <a:srgbClr val="00AF8E"/>
            </a:solidFill>
            <a:ln>
              <a:noFill/>
            </a:ln>
          </p:spPr>
          <p:txBody>
            <a:bodyPr vert="horz" wrap="square" lIns="91392" tIns="45696" rIns="91392" bIns="45696" numCol="1" anchor="t" anchorCtr="0" compatLnSpc="1">
              <a:prstTxWarp prst="textNoShape">
                <a:avLst/>
              </a:prstTxWarp>
            </a:bodyPr>
            <a:lstStyle/>
            <a:p>
              <a:endParaRPr lang="en-US" sz="1799" dirty="0">
                <a:solidFill>
                  <a:srgbClr val="879BAA"/>
                </a:solidFill>
              </a:endParaRPr>
            </a:p>
          </p:txBody>
        </p:sp>
      </p:grpSp>
      <p:grpSp>
        <p:nvGrpSpPr>
          <p:cNvPr id="72" name="Group 71">
            <a:extLst>
              <a:ext uri="{FF2B5EF4-FFF2-40B4-BE49-F238E27FC236}">
                <a16:creationId xmlns:a16="http://schemas.microsoft.com/office/drawing/2014/main" id="{67E83F67-8AEB-40AD-89E6-6D4D4F2B2794}"/>
              </a:ext>
            </a:extLst>
          </p:cNvPr>
          <p:cNvGrpSpPr>
            <a:grpSpLocks noChangeAspect="1"/>
          </p:cNvGrpSpPr>
          <p:nvPr/>
        </p:nvGrpSpPr>
        <p:grpSpPr>
          <a:xfrm>
            <a:off x="7592062" y="3790437"/>
            <a:ext cx="594001" cy="594001"/>
            <a:chOff x="8382541" y="3888000"/>
            <a:chExt cx="412715" cy="412715"/>
          </a:xfrm>
        </p:grpSpPr>
        <p:sp>
          <p:nvSpPr>
            <p:cNvPr id="73" name="Oval 4">
              <a:extLst>
                <a:ext uri="{FF2B5EF4-FFF2-40B4-BE49-F238E27FC236}">
                  <a16:creationId xmlns:a16="http://schemas.microsoft.com/office/drawing/2014/main" id="{6BB38CD0-58DE-4D36-AEB1-6344325E5BE2}"/>
                </a:ext>
              </a:extLst>
            </p:cNvPr>
            <p:cNvSpPr>
              <a:spLocks noChangeAspect="1" noChangeArrowheads="1"/>
            </p:cNvSpPr>
            <p:nvPr/>
          </p:nvSpPr>
          <p:spPr bwMode="auto">
            <a:xfrm>
              <a:off x="8382541" y="3888000"/>
              <a:ext cx="412715" cy="412715"/>
            </a:xfrm>
            <a:prstGeom prst="rect">
              <a:avLst/>
            </a:prstGeom>
            <a:noFill/>
            <a:ln>
              <a:noFill/>
            </a:ln>
            <a:effectLst/>
          </p:spPr>
          <p:txBody>
            <a:bodyPr wrap="none" lIns="84337" tIns="42169" rIns="84337" bIns="42169" anchor="ctr"/>
            <a:lstStyle/>
            <a:p>
              <a:pPr algn="ctr" defTabSz="702911">
                <a:spcBef>
                  <a:spcPct val="0"/>
                </a:spcBef>
              </a:pPr>
              <a:endParaRPr lang="en-US" sz="1799" b="1" dirty="0">
                <a:solidFill>
                  <a:schemeClr val="bg1"/>
                </a:solidFill>
              </a:endParaRPr>
            </a:p>
          </p:txBody>
        </p:sp>
        <p:sp>
          <p:nvSpPr>
            <p:cNvPr id="74" name="Freeform 52">
              <a:extLst>
                <a:ext uri="{FF2B5EF4-FFF2-40B4-BE49-F238E27FC236}">
                  <a16:creationId xmlns:a16="http://schemas.microsoft.com/office/drawing/2014/main" id="{05EE9ADE-9525-4437-B470-9D0E570A9925}"/>
                </a:ext>
              </a:extLst>
            </p:cNvPr>
            <p:cNvSpPr>
              <a:spLocks noChangeAspect="1"/>
            </p:cNvSpPr>
            <p:nvPr/>
          </p:nvSpPr>
          <p:spPr bwMode="auto">
            <a:xfrm>
              <a:off x="8471275" y="4004358"/>
              <a:ext cx="235248" cy="180000"/>
            </a:xfrm>
            <a:custGeom>
              <a:avLst/>
              <a:gdLst>
                <a:gd name="T0" fmla="*/ 116 w 132"/>
                <a:gd name="T1" fmla="*/ 0 h 101"/>
                <a:gd name="T2" fmla="*/ 132 w 132"/>
                <a:gd name="T3" fmla="*/ 15 h 101"/>
                <a:gd name="T4" fmla="*/ 46 w 132"/>
                <a:gd name="T5" fmla="*/ 101 h 101"/>
                <a:gd name="T6" fmla="*/ 0 w 132"/>
                <a:gd name="T7" fmla="*/ 55 h 101"/>
                <a:gd name="T8" fmla="*/ 15 w 132"/>
                <a:gd name="T9" fmla="*/ 39 h 101"/>
                <a:gd name="T10" fmla="*/ 43 w 132"/>
                <a:gd name="T11" fmla="*/ 63 h 101"/>
                <a:gd name="T12" fmla="*/ 116 w 132"/>
                <a:gd name="T13" fmla="*/ 0 h 101"/>
              </a:gdLst>
              <a:ahLst/>
              <a:cxnLst>
                <a:cxn ang="0">
                  <a:pos x="T0" y="T1"/>
                </a:cxn>
                <a:cxn ang="0">
                  <a:pos x="T2" y="T3"/>
                </a:cxn>
                <a:cxn ang="0">
                  <a:pos x="T4" y="T5"/>
                </a:cxn>
                <a:cxn ang="0">
                  <a:pos x="T6" y="T7"/>
                </a:cxn>
                <a:cxn ang="0">
                  <a:pos x="T8" y="T9"/>
                </a:cxn>
                <a:cxn ang="0">
                  <a:pos x="T10" y="T11"/>
                </a:cxn>
                <a:cxn ang="0">
                  <a:pos x="T12" y="T13"/>
                </a:cxn>
              </a:cxnLst>
              <a:rect l="0" t="0" r="r" b="b"/>
              <a:pathLst>
                <a:path w="132" h="101">
                  <a:moveTo>
                    <a:pt x="116" y="0"/>
                  </a:moveTo>
                  <a:lnTo>
                    <a:pt x="132" y="15"/>
                  </a:lnTo>
                  <a:lnTo>
                    <a:pt x="46" y="101"/>
                  </a:lnTo>
                  <a:lnTo>
                    <a:pt x="0" y="55"/>
                  </a:lnTo>
                  <a:lnTo>
                    <a:pt x="15" y="39"/>
                  </a:lnTo>
                  <a:lnTo>
                    <a:pt x="43" y="63"/>
                  </a:lnTo>
                  <a:lnTo>
                    <a:pt x="116" y="0"/>
                  </a:lnTo>
                  <a:close/>
                </a:path>
              </a:pathLst>
            </a:custGeom>
            <a:solidFill>
              <a:srgbClr val="00AF8E"/>
            </a:solidFill>
            <a:ln>
              <a:noFill/>
            </a:ln>
          </p:spPr>
          <p:txBody>
            <a:bodyPr vert="horz" wrap="square" lIns="91392" tIns="45696" rIns="91392" bIns="45696" numCol="1" anchor="t" anchorCtr="0" compatLnSpc="1">
              <a:prstTxWarp prst="textNoShape">
                <a:avLst/>
              </a:prstTxWarp>
            </a:bodyPr>
            <a:lstStyle/>
            <a:p>
              <a:endParaRPr lang="en-US" sz="1799" dirty="0">
                <a:solidFill>
                  <a:srgbClr val="879BAA"/>
                </a:solidFill>
              </a:endParaRPr>
            </a:p>
          </p:txBody>
        </p:sp>
      </p:grpSp>
      <p:grpSp>
        <p:nvGrpSpPr>
          <p:cNvPr id="75" name="Group 74">
            <a:extLst>
              <a:ext uri="{FF2B5EF4-FFF2-40B4-BE49-F238E27FC236}">
                <a16:creationId xmlns:a16="http://schemas.microsoft.com/office/drawing/2014/main" id="{BD48FA48-04EE-4528-9DE7-D3E0AF057DDF}"/>
              </a:ext>
            </a:extLst>
          </p:cNvPr>
          <p:cNvGrpSpPr>
            <a:grpSpLocks noChangeAspect="1"/>
          </p:cNvGrpSpPr>
          <p:nvPr/>
        </p:nvGrpSpPr>
        <p:grpSpPr>
          <a:xfrm>
            <a:off x="7592062" y="4977731"/>
            <a:ext cx="594001" cy="594001"/>
            <a:chOff x="8382541" y="3888000"/>
            <a:chExt cx="412715" cy="412715"/>
          </a:xfrm>
        </p:grpSpPr>
        <p:sp>
          <p:nvSpPr>
            <p:cNvPr id="76" name="Oval 4">
              <a:extLst>
                <a:ext uri="{FF2B5EF4-FFF2-40B4-BE49-F238E27FC236}">
                  <a16:creationId xmlns:a16="http://schemas.microsoft.com/office/drawing/2014/main" id="{10544BE0-C460-47EB-B637-6CB42C4486BC}"/>
                </a:ext>
              </a:extLst>
            </p:cNvPr>
            <p:cNvSpPr>
              <a:spLocks noChangeAspect="1" noChangeArrowheads="1"/>
            </p:cNvSpPr>
            <p:nvPr/>
          </p:nvSpPr>
          <p:spPr bwMode="auto">
            <a:xfrm>
              <a:off x="8382541" y="3888000"/>
              <a:ext cx="412715" cy="412715"/>
            </a:xfrm>
            <a:prstGeom prst="rect">
              <a:avLst/>
            </a:prstGeom>
            <a:noFill/>
            <a:ln>
              <a:noFill/>
            </a:ln>
            <a:effectLst/>
          </p:spPr>
          <p:txBody>
            <a:bodyPr wrap="none" lIns="84337" tIns="42169" rIns="84337" bIns="42169" anchor="ctr"/>
            <a:lstStyle/>
            <a:p>
              <a:pPr algn="ctr" defTabSz="702911">
                <a:spcBef>
                  <a:spcPct val="0"/>
                </a:spcBef>
              </a:pPr>
              <a:endParaRPr lang="en-US" sz="1799" b="1" dirty="0">
                <a:solidFill>
                  <a:schemeClr val="bg1"/>
                </a:solidFill>
              </a:endParaRPr>
            </a:p>
          </p:txBody>
        </p:sp>
        <p:sp>
          <p:nvSpPr>
            <p:cNvPr id="77" name="Freeform 52">
              <a:extLst>
                <a:ext uri="{FF2B5EF4-FFF2-40B4-BE49-F238E27FC236}">
                  <a16:creationId xmlns:a16="http://schemas.microsoft.com/office/drawing/2014/main" id="{7345D63D-85E4-4C7E-947D-6D82472B1B9E}"/>
                </a:ext>
              </a:extLst>
            </p:cNvPr>
            <p:cNvSpPr>
              <a:spLocks noChangeAspect="1"/>
            </p:cNvSpPr>
            <p:nvPr/>
          </p:nvSpPr>
          <p:spPr bwMode="auto">
            <a:xfrm>
              <a:off x="8471275" y="4004358"/>
              <a:ext cx="235248" cy="180000"/>
            </a:xfrm>
            <a:custGeom>
              <a:avLst/>
              <a:gdLst>
                <a:gd name="T0" fmla="*/ 116 w 132"/>
                <a:gd name="T1" fmla="*/ 0 h 101"/>
                <a:gd name="T2" fmla="*/ 132 w 132"/>
                <a:gd name="T3" fmla="*/ 15 h 101"/>
                <a:gd name="T4" fmla="*/ 46 w 132"/>
                <a:gd name="T5" fmla="*/ 101 h 101"/>
                <a:gd name="T6" fmla="*/ 0 w 132"/>
                <a:gd name="T7" fmla="*/ 55 h 101"/>
                <a:gd name="T8" fmla="*/ 15 w 132"/>
                <a:gd name="T9" fmla="*/ 39 h 101"/>
                <a:gd name="T10" fmla="*/ 43 w 132"/>
                <a:gd name="T11" fmla="*/ 63 h 101"/>
                <a:gd name="T12" fmla="*/ 116 w 132"/>
                <a:gd name="T13" fmla="*/ 0 h 101"/>
              </a:gdLst>
              <a:ahLst/>
              <a:cxnLst>
                <a:cxn ang="0">
                  <a:pos x="T0" y="T1"/>
                </a:cxn>
                <a:cxn ang="0">
                  <a:pos x="T2" y="T3"/>
                </a:cxn>
                <a:cxn ang="0">
                  <a:pos x="T4" y="T5"/>
                </a:cxn>
                <a:cxn ang="0">
                  <a:pos x="T6" y="T7"/>
                </a:cxn>
                <a:cxn ang="0">
                  <a:pos x="T8" y="T9"/>
                </a:cxn>
                <a:cxn ang="0">
                  <a:pos x="T10" y="T11"/>
                </a:cxn>
                <a:cxn ang="0">
                  <a:pos x="T12" y="T13"/>
                </a:cxn>
              </a:cxnLst>
              <a:rect l="0" t="0" r="r" b="b"/>
              <a:pathLst>
                <a:path w="132" h="101">
                  <a:moveTo>
                    <a:pt x="116" y="0"/>
                  </a:moveTo>
                  <a:lnTo>
                    <a:pt x="132" y="15"/>
                  </a:lnTo>
                  <a:lnTo>
                    <a:pt x="46" y="101"/>
                  </a:lnTo>
                  <a:lnTo>
                    <a:pt x="0" y="55"/>
                  </a:lnTo>
                  <a:lnTo>
                    <a:pt x="15" y="39"/>
                  </a:lnTo>
                  <a:lnTo>
                    <a:pt x="43" y="63"/>
                  </a:lnTo>
                  <a:lnTo>
                    <a:pt x="116" y="0"/>
                  </a:lnTo>
                  <a:close/>
                </a:path>
              </a:pathLst>
            </a:custGeom>
            <a:solidFill>
              <a:srgbClr val="00AF8E"/>
            </a:solidFill>
            <a:ln>
              <a:noFill/>
            </a:ln>
          </p:spPr>
          <p:txBody>
            <a:bodyPr vert="horz" wrap="square" lIns="91392" tIns="45696" rIns="91392" bIns="45696" numCol="1" anchor="t" anchorCtr="0" compatLnSpc="1">
              <a:prstTxWarp prst="textNoShape">
                <a:avLst/>
              </a:prstTxWarp>
            </a:bodyPr>
            <a:lstStyle/>
            <a:p>
              <a:endParaRPr lang="en-US" sz="1799" dirty="0">
                <a:solidFill>
                  <a:srgbClr val="879BAA"/>
                </a:solidFill>
              </a:endParaRPr>
            </a:p>
          </p:txBody>
        </p:sp>
      </p:grpSp>
      <p:grpSp>
        <p:nvGrpSpPr>
          <p:cNvPr id="78" name="Group 77">
            <a:extLst>
              <a:ext uri="{FF2B5EF4-FFF2-40B4-BE49-F238E27FC236}">
                <a16:creationId xmlns:a16="http://schemas.microsoft.com/office/drawing/2014/main" id="{D04C5148-BA99-4E88-8F14-9B3EE9BDA628}"/>
              </a:ext>
            </a:extLst>
          </p:cNvPr>
          <p:cNvGrpSpPr>
            <a:grpSpLocks noChangeAspect="1"/>
          </p:cNvGrpSpPr>
          <p:nvPr/>
        </p:nvGrpSpPr>
        <p:grpSpPr>
          <a:xfrm>
            <a:off x="7592062" y="5571376"/>
            <a:ext cx="594001" cy="594001"/>
            <a:chOff x="8382541" y="3888000"/>
            <a:chExt cx="412715" cy="412715"/>
          </a:xfrm>
        </p:grpSpPr>
        <p:sp>
          <p:nvSpPr>
            <p:cNvPr id="79" name="Oval 4">
              <a:extLst>
                <a:ext uri="{FF2B5EF4-FFF2-40B4-BE49-F238E27FC236}">
                  <a16:creationId xmlns:a16="http://schemas.microsoft.com/office/drawing/2014/main" id="{C414EEDD-A9D6-4AA8-A28A-32ABD7D459A5}"/>
                </a:ext>
              </a:extLst>
            </p:cNvPr>
            <p:cNvSpPr>
              <a:spLocks noChangeAspect="1" noChangeArrowheads="1"/>
            </p:cNvSpPr>
            <p:nvPr/>
          </p:nvSpPr>
          <p:spPr bwMode="auto">
            <a:xfrm>
              <a:off x="8382541" y="3888000"/>
              <a:ext cx="412715" cy="412715"/>
            </a:xfrm>
            <a:prstGeom prst="rect">
              <a:avLst/>
            </a:prstGeom>
            <a:noFill/>
            <a:ln>
              <a:noFill/>
            </a:ln>
            <a:effectLst/>
          </p:spPr>
          <p:txBody>
            <a:bodyPr wrap="none" lIns="84337" tIns="42169" rIns="84337" bIns="42169" anchor="ctr"/>
            <a:lstStyle/>
            <a:p>
              <a:pPr algn="ctr" defTabSz="702911">
                <a:spcBef>
                  <a:spcPct val="0"/>
                </a:spcBef>
              </a:pPr>
              <a:endParaRPr lang="en-US" sz="1799" b="1" dirty="0">
                <a:solidFill>
                  <a:schemeClr val="bg1"/>
                </a:solidFill>
              </a:endParaRPr>
            </a:p>
          </p:txBody>
        </p:sp>
        <p:sp>
          <p:nvSpPr>
            <p:cNvPr id="80" name="Freeform 52">
              <a:extLst>
                <a:ext uri="{FF2B5EF4-FFF2-40B4-BE49-F238E27FC236}">
                  <a16:creationId xmlns:a16="http://schemas.microsoft.com/office/drawing/2014/main" id="{4622A69D-74F9-4457-A608-8DC1D4CCC641}"/>
                </a:ext>
              </a:extLst>
            </p:cNvPr>
            <p:cNvSpPr>
              <a:spLocks noChangeAspect="1"/>
            </p:cNvSpPr>
            <p:nvPr/>
          </p:nvSpPr>
          <p:spPr bwMode="auto">
            <a:xfrm>
              <a:off x="8471275" y="4004358"/>
              <a:ext cx="235248" cy="180000"/>
            </a:xfrm>
            <a:custGeom>
              <a:avLst/>
              <a:gdLst>
                <a:gd name="T0" fmla="*/ 116 w 132"/>
                <a:gd name="T1" fmla="*/ 0 h 101"/>
                <a:gd name="T2" fmla="*/ 132 w 132"/>
                <a:gd name="T3" fmla="*/ 15 h 101"/>
                <a:gd name="T4" fmla="*/ 46 w 132"/>
                <a:gd name="T5" fmla="*/ 101 h 101"/>
                <a:gd name="T6" fmla="*/ 0 w 132"/>
                <a:gd name="T7" fmla="*/ 55 h 101"/>
                <a:gd name="T8" fmla="*/ 15 w 132"/>
                <a:gd name="T9" fmla="*/ 39 h 101"/>
                <a:gd name="T10" fmla="*/ 43 w 132"/>
                <a:gd name="T11" fmla="*/ 63 h 101"/>
                <a:gd name="T12" fmla="*/ 116 w 132"/>
                <a:gd name="T13" fmla="*/ 0 h 101"/>
              </a:gdLst>
              <a:ahLst/>
              <a:cxnLst>
                <a:cxn ang="0">
                  <a:pos x="T0" y="T1"/>
                </a:cxn>
                <a:cxn ang="0">
                  <a:pos x="T2" y="T3"/>
                </a:cxn>
                <a:cxn ang="0">
                  <a:pos x="T4" y="T5"/>
                </a:cxn>
                <a:cxn ang="0">
                  <a:pos x="T6" y="T7"/>
                </a:cxn>
                <a:cxn ang="0">
                  <a:pos x="T8" y="T9"/>
                </a:cxn>
                <a:cxn ang="0">
                  <a:pos x="T10" y="T11"/>
                </a:cxn>
                <a:cxn ang="0">
                  <a:pos x="T12" y="T13"/>
                </a:cxn>
              </a:cxnLst>
              <a:rect l="0" t="0" r="r" b="b"/>
              <a:pathLst>
                <a:path w="132" h="101">
                  <a:moveTo>
                    <a:pt x="116" y="0"/>
                  </a:moveTo>
                  <a:lnTo>
                    <a:pt x="132" y="15"/>
                  </a:lnTo>
                  <a:lnTo>
                    <a:pt x="46" y="101"/>
                  </a:lnTo>
                  <a:lnTo>
                    <a:pt x="0" y="55"/>
                  </a:lnTo>
                  <a:lnTo>
                    <a:pt x="15" y="39"/>
                  </a:lnTo>
                  <a:lnTo>
                    <a:pt x="43" y="63"/>
                  </a:lnTo>
                  <a:lnTo>
                    <a:pt x="116" y="0"/>
                  </a:lnTo>
                  <a:close/>
                </a:path>
              </a:pathLst>
            </a:custGeom>
            <a:solidFill>
              <a:srgbClr val="00AF8E"/>
            </a:solidFill>
            <a:ln>
              <a:noFill/>
            </a:ln>
          </p:spPr>
          <p:txBody>
            <a:bodyPr vert="horz" wrap="square" lIns="91392" tIns="45696" rIns="91392" bIns="45696" numCol="1" anchor="t" anchorCtr="0" compatLnSpc="1">
              <a:prstTxWarp prst="textNoShape">
                <a:avLst/>
              </a:prstTxWarp>
            </a:bodyPr>
            <a:lstStyle/>
            <a:p>
              <a:endParaRPr lang="en-US" sz="1799" dirty="0">
                <a:solidFill>
                  <a:srgbClr val="879BAA"/>
                </a:solidFill>
              </a:endParaRPr>
            </a:p>
          </p:txBody>
        </p:sp>
      </p:grpSp>
      <p:sp>
        <p:nvSpPr>
          <p:cNvPr id="2" name="Footer Placeholder 1">
            <a:extLst>
              <a:ext uri="{FF2B5EF4-FFF2-40B4-BE49-F238E27FC236}">
                <a16:creationId xmlns:a16="http://schemas.microsoft.com/office/drawing/2014/main" id="{2934BABA-59D3-4552-BDBF-7D5B716084FF}"/>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3" name="Slide Number Placeholder 2">
            <a:extLst>
              <a:ext uri="{FF2B5EF4-FFF2-40B4-BE49-F238E27FC236}">
                <a16:creationId xmlns:a16="http://schemas.microsoft.com/office/drawing/2014/main" id="{F58BBBDE-858B-4394-823F-E7FC1812C954}"/>
              </a:ext>
            </a:extLst>
          </p:cNvPr>
          <p:cNvSpPr>
            <a:spLocks noGrp="1"/>
          </p:cNvSpPr>
          <p:nvPr>
            <p:ph type="sldNum" sz="quarter" idx="11"/>
          </p:nvPr>
        </p:nvSpPr>
        <p:spPr/>
        <p:txBody>
          <a:bodyPr/>
          <a:lstStyle/>
          <a:p>
            <a:r>
              <a:rPr lang="en-US" dirty="0"/>
              <a:t>Page </a:t>
            </a:r>
            <a:fld id="{15EBE321-CBB1-4E91-BD14-37C8D44326FB}" type="slidenum">
              <a:rPr lang="en-US" smtClean="0"/>
              <a:pPr/>
              <a:t>52</a:t>
            </a:fld>
            <a:endParaRPr lang="en-US" dirty="0"/>
          </a:p>
        </p:txBody>
      </p:sp>
    </p:spTree>
    <p:extLst>
      <p:ext uri="{BB962C8B-B14F-4D97-AF65-F5344CB8AC3E}">
        <p14:creationId xmlns:p14="http://schemas.microsoft.com/office/powerpoint/2010/main" val="396160581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 name="Objekt 55"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3" imgW="360" imgH="360" progId="">
                  <p:embed/>
                </p:oleObj>
              </mc:Choice>
              <mc:Fallback>
                <p:oleObj name="think-cell Folie" r:id="rId3" imgW="360" imgH="360" progId="">
                  <p:embed/>
                  <p:pic>
                    <p:nvPicPr>
                      <p:cNvPr id="56" name="Objekt 5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55" name="Tabelle 54"/>
          <p:cNvGraphicFramePr>
            <a:graphicFrameLocks noGrp="1"/>
          </p:cNvGraphicFramePr>
          <p:nvPr>
            <p:extLst>
              <p:ext uri="{D42A27DB-BD31-4B8C-83A1-F6EECF244321}">
                <p14:modId xmlns:p14="http://schemas.microsoft.com/office/powerpoint/2010/main" val="866611727"/>
              </p:ext>
            </p:extLst>
          </p:nvPr>
        </p:nvGraphicFramePr>
        <p:xfrm>
          <a:off x="410400" y="1415849"/>
          <a:ext cx="7775663" cy="4749528"/>
        </p:xfrm>
        <a:graphic>
          <a:graphicData uri="http://schemas.openxmlformats.org/drawingml/2006/table">
            <a:tbl>
              <a:tblPr>
                <a:tableStyleId>{0E3FDE45-AF77-4B5C-9715-49D594BDF05E}</a:tableStyleId>
              </a:tblPr>
              <a:tblGrid>
                <a:gridCol w="647663">
                  <a:extLst>
                    <a:ext uri="{9D8B030D-6E8A-4147-A177-3AD203B41FA5}">
                      <a16:colId xmlns:a16="http://schemas.microsoft.com/office/drawing/2014/main" val="20001"/>
                    </a:ext>
                  </a:extLst>
                </a:gridCol>
                <a:gridCol w="7128000">
                  <a:extLst>
                    <a:ext uri="{9D8B030D-6E8A-4147-A177-3AD203B41FA5}">
                      <a16:colId xmlns:a16="http://schemas.microsoft.com/office/drawing/2014/main" val="20002"/>
                    </a:ext>
                  </a:extLst>
                </a:gridCol>
              </a:tblGrid>
              <a:tr h="593691">
                <a:tc>
                  <a:txBody>
                    <a:bodyPr/>
                    <a:lstStyle/>
                    <a:p>
                      <a:endParaRPr lang="en-US" sz="1800" noProof="0" dirty="0">
                        <a:solidFill>
                          <a:srgbClr val="9999A9"/>
                        </a:solidFill>
                        <a:latin typeface="+mn-lt"/>
                      </a:endParaRPr>
                    </a:p>
                  </a:txBody>
                  <a:tcPr marL="143925" marR="143925" marT="71963" marB="71963" anchor="ctr">
                    <a:lnB w="12700" cap="flat" cmpd="sng" algn="ctr">
                      <a:solidFill>
                        <a:srgbClr val="9999A9"/>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rgbClr val="9999A9"/>
                          </a:solidFill>
                          <a:effectLst/>
                          <a:uLnTx/>
                          <a:uFillTx/>
                        </a:rPr>
                        <a:t>Cras ultricies mi eu</a:t>
                      </a:r>
                      <a:endParaRPr lang="en-US" sz="1600" noProof="0" dirty="0">
                        <a:solidFill>
                          <a:srgbClr val="9999A9"/>
                        </a:solidFill>
                        <a:latin typeface="+mn-lt"/>
                        <a:ea typeface="Arial Unicode MS"/>
                      </a:endParaRPr>
                    </a:p>
                  </a:txBody>
                  <a:tcPr marL="0" marR="0" marT="71963" marB="71963" anchor="ctr">
                    <a:lnB w="12700" cap="flat" cmpd="sng" algn="ctr">
                      <a:solidFill>
                        <a:srgbClr val="9999A9"/>
                      </a:solidFill>
                      <a:prstDash val="solid"/>
                      <a:round/>
                      <a:headEnd type="none" w="med" len="med"/>
                      <a:tailEnd type="none" w="med" len="med"/>
                    </a:lnB>
                  </a:tcPr>
                </a:tc>
                <a:extLst>
                  <a:ext uri="{0D108BD9-81ED-4DB2-BD59-A6C34878D82A}">
                    <a16:rowId xmlns:a16="http://schemas.microsoft.com/office/drawing/2014/main" val="10001"/>
                  </a:ext>
                </a:extLst>
              </a:tr>
              <a:tr h="593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noProof="0" dirty="0">
                        <a:solidFill>
                          <a:srgbClr val="9999A9"/>
                        </a:solidFill>
                        <a:latin typeface="+mn-lt"/>
                      </a:endParaRPr>
                    </a:p>
                  </a:txBody>
                  <a:tcPr marL="143925" marR="143925"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s-ES" sz="1600" u="none" strike="noStrike" kern="1200" cap="none" spc="0" normalizeH="0" baseline="0" noProof="0" dirty="0">
                          <a:ln>
                            <a:noFill/>
                          </a:ln>
                          <a:solidFill>
                            <a:srgbClr val="9999A9"/>
                          </a:solidFill>
                          <a:effectLst/>
                          <a:uLnTx/>
                          <a:uFillTx/>
                        </a:rPr>
                        <a:t>Duis arcu tortor, suscipit eget</a:t>
                      </a:r>
                      <a:endParaRPr lang="en-US" sz="1600" noProof="0" dirty="0">
                        <a:solidFill>
                          <a:srgbClr val="9999A9"/>
                        </a:solidFill>
                        <a:latin typeface="+mn-lt"/>
                        <a:ea typeface="Arial Unicode MS"/>
                      </a:endParaRPr>
                    </a:p>
                  </a:txBody>
                  <a:tcPr marL="0" marR="0"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tcPr>
                </a:tc>
                <a:extLst>
                  <a:ext uri="{0D108BD9-81ED-4DB2-BD59-A6C34878D82A}">
                    <a16:rowId xmlns:a16="http://schemas.microsoft.com/office/drawing/2014/main" val="10002"/>
                  </a:ext>
                </a:extLst>
              </a:tr>
              <a:tr h="593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noProof="0" dirty="0">
                        <a:solidFill>
                          <a:srgbClr val="9999A9"/>
                        </a:solidFill>
                        <a:latin typeface="+mn-lt"/>
                      </a:endParaRPr>
                    </a:p>
                  </a:txBody>
                  <a:tcPr marL="143925" marR="143925"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rgbClr val="9999A9"/>
                          </a:solidFill>
                          <a:effectLst/>
                          <a:uLnTx/>
                          <a:uFillTx/>
                        </a:rPr>
                        <a:t>At vero eos et accusam</a:t>
                      </a:r>
                      <a:endParaRPr lang="en-US" sz="1600" noProof="0" dirty="0">
                        <a:solidFill>
                          <a:srgbClr val="9999A9"/>
                        </a:solidFill>
                        <a:latin typeface="+mn-lt"/>
                        <a:ea typeface="Arial Unicode MS"/>
                      </a:endParaRPr>
                    </a:p>
                  </a:txBody>
                  <a:tcPr marL="0" marR="0"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tcPr>
                </a:tc>
                <a:extLst>
                  <a:ext uri="{0D108BD9-81ED-4DB2-BD59-A6C34878D82A}">
                    <a16:rowId xmlns:a16="http://schemas.microsoft.com/office/drawing/2014/main" val="10003"/>
                  </a:ext>
                </a:extLst>
              </a:tr>
              <a:tr h="593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noProof="0" dirty="0">
                        <a:solidFill>
                          <a:srgbClr val="9999A9"/>
                        </a:solidFill>
                        <a:latin typeface="+mn-lt"/>
                      </a:endParaRPr>
                    </a:p>
                  </a:txBody>
                  <a:tcPr marL="143925" marR="143925"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rgbClr val="9999A9"/>
                          </a:solidFill>
                          <a:effectLst/>
                          <a:uLnTx/>
                          <a:uFillTx/>
                        </a:rPr>
                        <a:t>Duis arcu tortor, suscipit eget, imperdiet nec, imperdiet iaculis, ipsum</a:t>
                      </a:r>
                      <a:endParaRPr lang="en-US" sz="1600" noProof="0" dirty="0">
                        <a:solidFill>
                          <a:srgbClr val="9999A9"/>
                        </a:solidFill>
                        <a:latin typeface="+mn-lt"/>
                        <a:ea typeface="Arial Unicode MS"/>
                      </a:endParaRPr>
                    </a:p>
                  </a:txBody>
                  <a:tcPr marL="0" marR="0"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tcPr>
                </a:tc>
                <a:extLst>
                  <a:ext uri="{0D108BD9-81ED-4DB2-BD59-A6C34878D82A}">
                    <a16:rowId xmlns:a16="http://schemas.microsoft.com/office/drawing/2014/main" val="10004"/>
                  </a:ext>
                </a:extLst>
              </a:tr>
              <a:tr h="593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noProof="0" dirty="0">
                        <a:solidFill>
                          <a:srgbClr val="9999A9"/>
                        </a:solidFill>
                        <a:latin typeface="+mn-lt"/>
                      </a:endParaRPr>
                    </a:p>
                  </a:txBody>
                  <a:tcPr marL="143925" marR="143925"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rgbClr val="9999A9"/>
                          </a:solidFill>
                          <a:effectLst/>
                          <a:uLnTx/>
                          <a:uFillTx/>
                        </a:rPr>
                        <a:t>Cras ultricies mi eu</a:t>
                      </a:r>
                      <a:endParaRPr lang="en-US" sz="1600" noProof="0" dirty="0">
                        <a:solidFill>
                          <a:srgbClr val="9999A9"/>
                        </a:solidFill>
                        <a:latin typeface="+mn-lt"/>
                        <a:ea typeface="Arial Unicode MS"/>
                      </a:endParaRPr>
                    </a:p>
                  </a:txBody>
                  <a:tcPr marL="0" marR="0"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tcPr>
                </a:tc>
                <a:extLst>
                  <a:ext uri="{0D108BD9-81ED-4DB2-BD59-A6C34878D82A}">
                    <a16:rowId xmlns:a16="http://schemas.microsoft.com/office/drawing/2014/main" val="2514599482"/>
                  </a:ext>
                </a:extLst>
              </a:tr>
              <a:tr h="593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noProof="0" dirty="0">
                        <a:solidFill>
                          <a:srgbClr val="9999A9"/>
                        </a:solidFill>
                        <a:latin typeface="+mn-lt"/>
                      </a:endParaRPr>
                    </a:p>
                  </a:txBody>
                  <a:tcPr marL="143925" marR="143925"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s-ES" sz="1600" u="none" strike="noStrike" kern="1200" cap="none" spc="0" normalizeH="0" baseline="0" noProof="0" dirty="0">
                          <a:ln>
                            <a:noFill/>
                          </a:ln>
                          <a:solidFill>
                            <a:srgbClr val="9999A9"/>
                          </a:solidFill>
                          <a:effectLst/>
                          <a:uLnTx/>
                          <a:uFillTx/>
                        </a:rPr>
                        <a:t>Duis arcu tortor, suscipit eget</a:t>
                      </a:r>
                      <a:endParaRPr lang="en-US" sz="1600" noProof="0" dirty="0">
                        <a:solidFill>
                          <a:srgbClr val="9999A9"/>
                        </a:solidFill>
                        <a:latin typeface="+mn-lt"/>
                        <a:ea typeface="Arial Unicode MS"/>
                      </a:endParaRPr>
                    </a:p>
                  </a:txBody>
                  <a:tcPr marL="0" marR="0"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tcPr>
                </a:tc>
                <a:extLst>
                  <a:ext uri="{0D108BD9-81ED-4DB2-BD59-A6C34878D82A}">
                    <a16:rowId xmlns:a16="http://schemas.microsoft.com/office/drawing/2014/main" val="2724333261"/>
                  </a:ext>
                </a:extLst>
              </a:tr>
              <a:tr h="593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noProof="0" dirty="0">
                        <a:solidFill>
                          <a:srgbClr val="9999A9"/>
                        </a:solidFill>
                        <a:latin typeface="+mn-lt"/>
                      </a:endParaRPr>
                    </a:p>
                  </a:txBody>
                  <a:tcPr marL="143925" marR="143925"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rgbClr val="9999A9"/>
                          </a:solidFill>
                          <a:effectLst/>
                          <a:uLnTx/>
                          <a:uFillTx/>
                        </a:rPr>
                        <a:t>At vero eos et accusam</a:t>
                      </a:r>
                      <a:endParaRPr lang="en-US" sz="1600" noProof="0" dirty="0">
                        <a:solidFill>
                          <a:srgbClr val="9999A9"/>
                        </a:solidFill>
                        <a:latin typeface="+mn-lt"/>
                        <a:ea typeface="Arial Unicode MS"/>
                      </a:endParaRPr>
                    </a:p>
                  </a:txBody>
                  <a:tcPr marL="0" marR="0"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tcPr>
                </a:tc>
                <a:extLst>
                  <a:ext uri="{0D108BD9-81ED-4DB2-BD59-A6C34878D82A}">
                    <a16:rowId xmlns:a16="http://schemas.microsoft.com/office/drawing/2014/main" val="1300822757"/>
                  </a:ext>
                </a:extLst>
              </a:tr>
              <a:tr h="593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noProof="0" dirty="0">
                        <a:solidFill>
                          <a:srgbClr val="9999A9"/>
                        </a:solidFill>
                        <a:latin typeface="+mn-lt"/>
                      </a:endParaRPr>
                    </a:p>
                  </a:txBody>
                  <a:tcPr marL="143925" marR="143925"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rgbClr val="9999A9"/>
                          </a:solidFill>
                          <a:effectLst/>
                          <a:uLnTx/>
                          <a:uFillTx/>
                        </a:rPr>
                        <a:t>Cras ultricies mi eu</a:t>
                      </a:r>
                      <a:endParaRPr lang="en-US" sz="1600" noProof="0" dirty="0">
                        <a:solidFill>
                          <a:srgbClr val="9999A9"/>
                        </a:solidFill>
                        <a:latin typeface="+mn-lt"/>
                        <a:ea typeface="Arial Unicode MS"/>
                      </a:endParaRPr>
                    </a:p>
                  </a:txBody>
                  <a:tcPr marL="0" marR="0"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tcPr>
                </a:tc>
                <a:extLst>
                  <a:ext uri="{0D108BD9-81ED-4DB2-BD59-A6C34878D82A}">
                    <a16:rowId xmlns:a16="http://schemas.microsoft.com/office/drawing/2014/main" val="1237210138"/>
                  </a:ext>
                </a:extLst>
              </a:tr>
            </a:tbl>
          </a:graphicData>
        </a:graphic>
      </p:graphicFrame>
      <p:sp>
        <p:nvSpPr>
          <p:cNvPr id="5" name="Titel 4"/>
          <p:cNvSpPr>
            <a:spLocks noGrp="1"/>
          </p:cNvSpPr>
          <p:nvPr>
            <p:ph type="title"/>
          </p:nvPr>
        </p:nvSpPr>
        <p:spPr/>
        <p:txBody>
          <a:bodyPr/>
          <a:lstStyle/>
          <a:p>
            <a:r>
              <a:rPr lang="en-US" dirty="0"/>
              <a:t>Checklist – decisions required</a:t>
            </a:r>
          </a:p>
        </p:txBody>
      </p:sp>
      <p:sp>
        <p:nvSpPr>
          <p:cNvPr id="6" name="Oval 4"/>
          <p:cNvSpPr>
            <a:spLocks noChangeAspect="1" noChangeArrowheads="1"/>
          </p:cNvSpPr>
          <p:nvPr/>
        </p:nvSpPr>
        <p:spPr bwMode="auto">
          <a:xfrm>
            <a:off x="410400" y="1489743"/>
            <a:ext cx="449766" cy="449766"/>
          </a:xfrm>
          <a:prstGeom prst="rect">
            <a:avLst/>
          </a:prstGeom>
          <a:solidFill>
            <a:srgbClr val="00FFB9"/>
          </a:solidFill>
          <a:ln>
            <a:noFill/>
          </a:ln>
          <a:effectLst/>
        </p:spPr>
        <p:txBody>
          <a:bodyPr wrap="none" lIns="84337" tIns="42169" rIns="84337" bIns="42169" anchor="ctr"/>
          <a:lstStyle/>
          <a:p>
            <a:pPr algn="ctr" defTabSz="702911">
              <a:spcBef>
                <a:spcPct val="0"/>
              </a:spcBef>
            </a:pPr>
            <a:r>
              <a:rPr lang="en-US" sz="1799" b="1" dirty="0">
                <a:solidFill>
                  <a:schemeClr val="bg2"/>
                </a:solidFill>
              </a:rPr>
              <a:t>1</a:t>
            </a:r>
          </a:p>
        </p:txBody>
      </p:sp>
      <p:sp>
        <p:nvSpPr>
          <p:cNvPr id="7" name="Oval 4"/>
          <p:cNvSpPr>
            <a:spLocks noChangeAspect="1" noChangeArrowheads="1"/>
          </p:cNvSpPr>
          <p:nvPr/>
        </p:nvSpPr>
        <p:spPr bwMode="auto">
          <a:xfrm>
            <a:off x="410400" y="2083434"/>
            <a:ext cx="449766" cy="449766"/>
          </a:xfrm>
          <a:prstGeom prst="rect">
            <a:avLst/>
          </a:prstGeom>
          <a:solidFill>
            <a:srgbClr val="00FFB9"/>
          </a:solidFill>
          <a:ln>
            <a:noFill/>
          </a:ln>
          <a:effectLst/>
        </p:spPr>
        <p:txBody>
          <a:bodyPr wrap="none" lIns="84337" tIns="42169" rIns="84337" bIns="42169" anchor="ctr"/>
          <a:lstStyle/>
          <a:p>
            <a:pPr algn="ctr" defTabSz="702911">
              <a:spcBef>
                <a:spcPct val="0"/>
              </a:spcBef>
            </a:pPr>
            <a:r>
              <a:rPr lang="en-US" sz="1799" b="1" dirty="0">
                <a:solidFill>
                  <a:schemeClr val="bg2"/>
                </a:solidFill>
              </a:rPr>
              <a:t>2</a:t>
            </a:r>
          </a:p>
        </p:txBody>
      </p:sp>
      <p:sp>
        <p:nvSpPr>
          <p:cNvPr id="8" name="Oval 4"/>
          <p:cNvSpPr>
            <a:spLocks noChangeAspect="1" noChangeArrowheads="1"/>
          </p:cNvSpPr>
          <p:nvPr/>
        </p:nvSpPr>
        <p:spPr bwMode="auto">
          <a:xfrm>
            <a:off x="410400" y="2677124"/>
            <a:ext cx="449766" cy="449766"/>
          </a:xfrm>
          <a:prstGeom prst="rect">
            <a:avLst/>
          </a:prstGeom>
          <a:solidFill>
            <a:srgbClr val="00FFB9"/>
          </a:solidFill>
          <a:ln>
            <a:noFill/>
          </a:ln>
          <a:effectLst/>
        </p:spPr>
        <p:txBody>
          <a:bodyPr wrap="none" lIns="84337" tIns="42169" rIns="84337" bIns="42169" anchor="ctr"/>
          <a:lstStyle/>
          <a:p>
            <a:pPr algn="ctr" defTabSz="702911">
              <a:spcBef>
                <a:spcPct val="0"/>
              </a:spcBef>
            </a:pPr>
            <a:r>
              <a:rPr lang="en-US" sz="1799" b="1" dirty="0">
                <a:solidFill>
                  <a:schemeClr val="bg2"/>
                </a:solidFill>
              </a:rPr>
              <a:t>3</a:t>
            </a:r>
          </a:p>
        </p:txBody>
      </p:sp>
      <p:sp>
        <p:nvSpPr>
          <p:cNvPr id="9" name="Oval 4"/>
          <p:cNvSpPr>
            <a:spLocks noChangeAspect="1" noChangeArrowheads="1"/>
          </p:cNvSpPr>
          <p:nvPr/>
        </p:nvSpPr>
        <p:spPr bwMode="auto">
          <a:xfrm>
            <a:off x="410400" y="3270815"/>
            <a:ext cx="449766" cy="449766"/>
          </a:xfrm>
          <a:prstGeom prst="rect">
            <a:avLst/>
          </a:prstGeom>
          <a:solidFill>
            <a:srgbClr val="00FFB9"/>
          </a:solidFill>
          <a:ln>
            <a:noFill/>
          </a:ln>
          <a:effectLst/>
        </p:spPr>
        <p:txBody>
          <a:bodyPr wrap="none" lIns="84337" tIns="42169" rIns="84337" bIns="42169" anchor="ctr"/>
          <a:lstStyle/>
          <a:p>
            <a:pPr algn="ctr" defTabSz="702911">
              <a:spcBef>
                <a:spcPct val="0"/>
              </a:spcBef>
            </a:pPr>
            <a:r>
              <a:rPr lang="en-US" sz="1799" b="1" dirty="0">
                <a:solidFill>
                  <a:schemeClr val="bg2"/>
                </a:solidFill>
              </a:rPr>
              <a:t>4</a:t>
            </a:r>
          </a:p>
        </p:txBody>
      </p:sp>
      <p:sp>
        <p:nvSpPr>
          <p:cNvPr id="10" name="Oval 4"/>
          <p:cNvSpPr>
            <a:spLocks noChangeAspect="1" noChangeArrowheads="1"/>
          </p:cNvSpPr>
          <p:nvPr/>
        </p:nvSpPr>
        <p:spPr bwMode="auto">
          <a:xfrm>
            <a:off x="410400" y="3864506"/>
            <a:ext cx="449766" cy="449766"/>
          </a:xfrm>
          <a:prstGeom prst="rect">
            <a:avLst/>
          </a:prstGeom>
          <a:solidFill>
            <a:srgbClr val="00FFB9"/>
          </a:solidFill>
          <a:ln>
            <a:noFill/>
          </a:ln>
          <a:effectLst/>
        </p:spPr>
        <p:txBody>
          <a:bodyPr wrap="none" lIns="84337" tIns="42169" rIns="84337" bIns="42169" anchor="ctr"/>
          <a:lstStyle/>
          <a:p>
            <a:pPr algn="ctr" defTabSz="702911">
              <a:spcBef>
                <a:spcPct val="0"/>
              </a:spcBef>
            </a:pPr>
            <a:r>
              <a:rPr lang="en-US" sz="1799" b="1" dirty="0">
                <a:solidFill>
                  <a:schemeClr val="bg2"/>
                </a:solidFill>
              </a:rPr>
              <a:t>5</a:t>
            </a:r>
          </a:p>
        </p:txBody>
      </p:sp>
      <p:sp>
        <p:nvSpPr>
          <p:cNvPr id="11" name="Oval 4"/>
          <p:cNvSpPr>
            <a:spLocks noChangeAspect="1" noChangeArrowheads="1"/>
          </p:cNvSpPr>
          <p:nvPr/>
        </p:nvSpPr>
        <p:spPr bwMode="auto">
          <a:xfrm>
            <a:off x="410400" y="5051888"/>
            <a:ext cx="449766" cy="449766"/>
          </a:xfrm>
          <a:prstGeom prst="rect">
            <a:avLst/>
          </a:prstGeom>
          <a:solidFill>
            <a:srgbClr val="00FFB9"/>
          </a:solidFill>
          <a:ln>
            <a:noFill/>
          </a:ln>
          <a:effectLst/>
        </p:spPr>
        <p:txBody>
          <a:bodyPr wrap="none" lIns="84337" tIns="42169" rIns="84337" bIns="42169" anchor="ctr"/>
          <a:lstStyle/>
          <a:p>
            <a:pPr algn="ctr" defTabSz="702911">
              <a:spcBef>
                <a:spcPct val="0"/>
              </a:spcBef>
            </a:pPr>
            <a:r>
              <a:rPr lang="en-US" sz="1799" b="1" dirty="0">
                <a:solidFill>
                  <a:schemeClr val="bg2"/>
                </a:solidFill>
              </a:rPr>
              <a:t>7</a:t>
            </a:r>
          </a:p>
        </p:txBody>
      </p:sp>
      <p:sp>
        <p:nvSpPr>
          <p:cNvPr id="12" name="Oval 4"/>
          <p:cNvSpPr>
            <a:spLocks noChangeAspect="1" noChangeArrowheads="1"/>
          </p:cNvSpPr>
          <p:nvPr/>
        </p:nvSpPr>
        <p:spPr bwMode="auto">
          <a:xfrm>
            <a:off x="410400" y="4458197"/>
            <a:ext cx="449766" cy="449766"/>
          </a:xfrm>
          <a:prstGeom prst="rect">
            <a:avLst/>
          </a:prstGeom>
          <a:solidFill>
            <a:srgbClr val="00FFB9"/>
          </a:solidFill>
          <a:ln>
            <a:noFill/>
          </a:ln>
          <a:effectLst/>
        </p:spPr>
        <p:txBody>
          <a:bodyPr wrap="none" lIns="84337" tIns="42169" rIns="84337" bIns="42169" anchor="ctr"/>
          <a:lstStyle/>
          <a:p>
            <a:pPr algn="ctr" defTabSz="702911">
              <a:spcBef>
                <a:spcPct val="0"/>
              </a:spcBef>
            </a:pPr>
            <a:r>
              <a:rPr lang="en-US" sz="1799" b="1" dirty="0">
                <a:solidFill>
                  <a:schemeClr val="bg2"/>
                </a:solidFill>
              </a:rPr>
              <a:t>6</a:t>
            </a:r>
          </a:p>
        </p:txBody>
      </p:sp>
      <p:sp>
        <p:nvSpPr>
          <p:cNvPr id="13" name="Oval 4"/>
          <p:cNvSpPr>
            <a:spLocks noChangeAspect="1" noChangeArrowheads="1"/>
          </p:cNvSpPr>
          <p:nvPr/>
        </p:nvSpPr>
        <p:spPr bwMode="auto">
          <a:xfrm>
            <a:off x="410400" y="5645578"/>
            <a:ext cx="449766" cy="449766"/>
          </a:xfrm>
          <a:prstGeom prst="rect">
            <a:avLst/>
          </a:prstGeom>
          <a:solidFill>
            <a:srgbClr val="00FFB9"/>
          </a:solidFill>
          <a:ln>
            <a:noFill/>
          </a:ln>
          <a:effectLst/>
        </p:spPr>
        <p:txBody>
          <a:bodyPr wrap="none" lIns="84337" tIns="42169" rIns="84337" bIns="42169" anchor="ctr"/>
          <a:lstStyle/>
          <a:p>
            <a:pPr algn="ctr" defTabSz="702911">
              <a:spcBef>
                <a:spcPct val="0"/>
              </a:spcBef>
            </a:pPr>
            <a:r>
              <a:rPr lang="en-US" sz="1799" b="1" dirty="0">
                <a:solidFill>
                  <a:schemeClr val="bg2"/>
                </a:solidFill>
              </a:rPr>
              <a:t>8</a:t>
            </a:r>
          </a:p>
        </p:txBody>
      </p:sp>
      <p:grpSp>
        <p:nvGrpSpPr>
          <p:cNvPr id="43" name="Group 42">
            <a:extLst>
              <a:ext uri="{FF2B5EF4-FFF2-40B4-BE49-F238E27FC236}">
                <a16:creationId xmlns:a16="http://schemas.microsoft.com/office/drawing/2014/main" id="{9A21F41E-6FD7-4BE3-BF55-1D61DEE648DE}"/>
              </a:ext>
            </a:extLst>
          </p:cNvPr>
          <p:cNvGrpSpPr>
            <a:grpSpLocks noChangeAspect="1"/>
          </p:cNvGrpSpPr>
          <p:nvPr/>
        </p:nvGrpSpPr>
        <p:grpSpPr>
          <a:xfrm>
            <a:off x="7592062" y="4384084"/>
            <a:ext cx="594001" cy="594001"/>
            <a:chOff x="8382541" y="4482000"/>
            <a:chExt cx="412715" cy="412715"/>
          </a:xfrm>
        </p:grpSpPr>
        <p:sp>
          <p:nvSpPr>
            <p:cNvPr id="44" name="Oval 4">
              <a:extLst>
                <a:ext uri="{FF2B5EF4-FFF2-40B4-BE49-F238E27FC236}">
                  <a16:creationId xmlns:a16="http://schemas.microsoft.com/office/drawing/2014/main" id="{340987D1-7ECA-470C-931F-16DB206B022C}"/>
                </a:ext>
              </a:extLst>
            </p:cNvPr>
            <p:cNvSpPr>
              <a:spLocks noChangeAspect="1" noChangeArrowheads="1"/>
            </p:cNvSpPr>
            <p:nvPr/>
          </p:nvSpPr>
          <p:spPr bwMode="auto">
            <a:xfrm>
              <a:off x="8382541" y="4482000"/>
              <a:ext cx="412715" cy="412715"/>
            </a:xfrm>
            <a:prstGeom prst="rect">
              <a:avLst/>
            </a:prstGeom>
            <a:noFill/>
            <a:ln>
              <a:noFill/>
            </a:ln>
            <a:effectLst/>
          </p:spPr>
          <p:txBody>
            <a:bodyPr wrap="none" lIns="84337" tIns="42169" rIns="84337" bIns="42169" anchor="ctr"/>
            <a:lstStyle/>
            <a:p>
              <a:pPr algn="ctr" defTabSz="702911">
                <a:spcBef>
                  <a:spcPct val="0"/>
                </a:spcBef>
              </a:pPr>
              <a:endParaRPr lang="en-US" sz="1799" b="1" dirty="0">
                <a:solidFill>
                  <a:schemeClr val="bg1"/>
                </a:solidFill>
              </a:endParaRPr>
            </a:p>
          </p:txBody>
        </p:sp>
        <p:sp>
          <p:nvSpPr>
            <p:cNvPr id="45" name="Freeform 47">
              <a:extLst>
                <a:ext uri="{FF2B5EF4-FFF2-40B4-BE49-F238E27FC236}">
                  <a16:creationId xmlns:a16="http://schemas.microsoft.com/office/drawing/2014/main" id="{F2639381-0F76-451C-83A0-97FA675D6596}"/>
                </a:ext>
              </a:extLst>
            </p:cNvPr>
            <p:cNvSpPr>
              <a:spLocks/>
            </p:cNvSpPr>
            <p:nvPr/>
          </p:nvSpPr>
          <p:spPr bwMode="auto">
            <a:xfrm>
              <a:off x="8482525" y="4581050"/>
              <a:ext cx="212747" cy="214614"/>
            </a:xfrm>
            <a:custGeom>
              <a:avLst/>
              <a:gdLst>
                <a:gd name="T0" fmla="*/ 99 w 114"/>
                <a:gd name="T1" fmla="*/ 115 h 115"/>
                <a:gd name="T2" fmla="*/ 114 w 114"/>
                <a:gd name="T3" fmla="*/ 99 h 115"/>
                <a:gd name="T4" fmla="*/ 78 w 114"/>
                <a:gd name="T5" fmla="*/ 58 h 115"/>
                <a:gd name="T6" fmla="*/ 114 w 114"/>
                <a:gd name="T7" fmla="*/ 16 h 115"/>
                <a:gd name="T8" fmla="*/ 99 w 114"/>
                <a:gd name="T9" fmla="*/ 0 h 115"/>
                <a:gd name="T10" fmla="*/ 57 w 114"/>
                <a:gd name="T11" fmla="*/ 37 h 115"/>
                <a:gd name="T12" fmla="*/ 15 w 114"/>
                <a:gd name="T13" fmla="*/ 0 h 115"/>
                <a:gd name="T14" fmla="*/ 0 w 114"/>
                <a:gd name="T15" fmla="*/ 16 h 115"/>
                <a:gd name="T16" fmla="*/ 36 w 114"/>
                <a:gd name="T17" fmla="*/ 58 h 115"/>
                <a:gd name="T18" fmla="*/ 0 w 114"/>
                <a:gd name="T19" fmla="*/ 99 h 115"/>
                <a:gd name="T20" fmla="*/ 15 w 114"/>
                <a:gd name="T21" fmla="*/ 115 h 115"/>
                <a:gd name="T22" fmla="*/ 57 w 114"/>
                <a:gd name="T23" fmla="*/ 78 h 115"/>
                <a:gd name="T24" fmla="*/ 99 w 114"/>
                <a:gd name="T25"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15">
                  <a:moveTo>
                    <a:pt x="99" y="115"/>
                  </a:moveTo>
                  <a:lnTo>
                    <a:pt x="114" y="99"/>
                  </a:lnTo>
                  <a:lnTo>
                    <a:pt x="78" y="58"/>
                  </a:lnTo>
                  <a:lnTo>
                    <a:pt x="114" y="16"/>
                  </a:lnTo>
                  <a:lnTo>
                    <a:pt x="99" y="0"/>
                  </a:lnTo>
                  <a:lnTo>
                    <a:pt x="57" y="37"/>
                  </a:lnTo>
                  <a:lnTo>
                    <a:pt x="15" y="0"/>
                  </a:lnTo>
                  <a:lnTo>
                    <a:pt x="0" y="16"/>
                  </a:lnTo>
                  <a:lnTo>
                    <a:pt x="36" y="58"/>
                  </a:lnTo>
                  <a:lnTo>
                    <a:pt x="0" y="99"/>
                  </a:lnTo>
                  <a:lnTo>
                    <a:pt x="15" y="115"/>
                  </a:lnTo>
                  <a:lnTo>
                    <a:pt x="57" y="78"/>
                  </a:lnTo>
                  <a:lnTo>
                    <a:pt x="99" y="115"/>
                  </a:lnTo>
                  <a:close/>
                </a:path>
              </a:pathLst>
            </a:custGeom>
            <a:solidFill>
              <a:srgbClr val="EF0137"/>
            </a:solidFill>
            <a:ln>
              <a:noFill/>
            </a:ln>
          </p:spPr>
          <p:txBody>
            <a:bodyPr vert="horz" wrap="square" lIns="91392" tIns="45696" rIns="91392" bIns="45696" numCol="1" anchor="t" anchorCtr="0" compatLnSpc="1">
              <a:prstTxWarp prst="textNoShape">
                <a:avLst/>
              </a:prstTxWarp>
            </a:bodyPr>
            <a:lstStyle/>
            <a:p>
              <a:endParaRPr lang="en-US" sz="1799" dirty="0"/>
            </a:p>
          </p:txBody>
        </p:sp>
      </p:grpSp>
      <p:grpSp>
        <p:nvGrpSpPr>
          <p:cNvPr id="46" name="Group 45">
            <a:extLst>
              <a:ext uri="{FF2B5EF4-FFF2-40B4-BE49-F238E27FC236}">
                <a16:creationId xmlns:a16="http://schemas.microsoft.com/office/drawing/2014/main" id="{1C6B022C-2727-4D9A-BA8F-75E54E1E427E}"/>
              </a:ext>
            </a:extLst>
          </p:cNvPr>
          <p:cNvGrpSpPr>
            <a:grpSpLocks noChangeAspect="1"/>
          </p:cNvGrpSpPr>
          <p:nvPr/>
        </p:nvGrpSpPr>
        <p:grpSpPr>
          <a:xfrm>
            <a:off x="7592062" y="1415849"/>
            <a:ext cx="594001" cy="594001"/>
            <a:chOff x="8382541" y="3888000"/>
            <a:chExt cx="412715" cy="412715"/>
          </a:xfrm>
        </p:grpSpPr>
        <p:sp>
          <p:nvSpPr>
            <p:cNvPr id="47" name="Oval 4">
              <a:extLst>
                <a:ext uri="{FF2B5EF4-FFF2-40B4-BE49-F238E27FC236}">
                  <a16:creationId xmlns:a16="http://schemas.microsoft.com/office/drawing/2014/main" id="{4B009436-FA49-49FF-95FC-129D42FD474D}"/>
                </a:ext>
              </a:extLst>
            </p:cNvPr>
            <p:cNvSpPr>
              <a:spLocks noChangeAspect="1" noChangeArrowheads="1"/>
            </p:cNvSpPr>
            <p:nvPr/>
          </p:nvSpPr>
          <p:spPr bwMode="auto">
            <a:xfrm>
              <a:off x="8382541" y="3888000"/>
              <a:ext cx="412715" cy="412715"/>
            </a:xfrm>
            <a:prstGeom prst="rect">
              <a:avLst/>
            </a:prstGeom>
            <a:noFill/>
            <a:ln>
              <a:noFill/>
            </a:ln>
            <a:effectLst/>
          </p:spPr>
          <p:txBody>
            <a:bodyPr wrap="none" lIns="84337" tIns="42169" rIns="84337" bIns="42169" anchor="ctr"/>
            <a:lstStyle/>
            <a:p>
              <a:pPr algn="ctr" defTabSz="702911">
                <a:spcBef>
                  <a:spcPct val="0"/>
                </a:spcBef>
              </a:pPr>
              <a:endParaRPr lang="en-US" sz="1799" b="1" dirty="0">
                <a:solidFill>
                  <a:schemeClr val="bg1"/>
                </a:solidFill>
              </a:endParaRPr>
            </a:p>
          </p:txBody>
        </p:sp>
        <p:sp>
          <p:nvSpPr>
            <p:cNvPr id="48" name="Freeform 52">
              <a:extLst>
                <a:ext uri="{FF2B5EF4-FFF2-40B4-BE49-F238E27FC236}">
                  <a16:creationId xmlns:a16="http://schemas.microsoft.com/office/drawing/2014/main" id="{C63EBDC8-29F7-4A0D-9C70-858C1ADFD8E3}"/>
                </a:ext>
              </a:extLst>
            </p:cNvPr>
            <p:cNvSpPr>
              <a:spLocks noChangeAspect="1"/>
            </p:cNvSpPr>
            <p:nvPr/>
          </p:nvSpPr>
          <p:spPr bwMode="auto">
            <a:xfrm>
              <a:off x="8471275" y="4004358"/>
              <a:ext cx="235248" cy="180000"/>
            </a:xfrm>
            <a:custGeom>
              <a:avLst/>
              <a:gdLst>
                <a:gd name="T0" fmla="*/ 116 w 132"/>
                <a:gd name="T1" fmla="*/ 0 h 101"/>
                <a:gd name="T2" fmla="*/ 132 w 132"/>
                <a:gd name="T3" fmla="*/ 15 h 101"/>
                <a:gd name="T4" fmla="*/ 46 w 132"/>
                <a:gd name="T5" fmla="*/ 101 h 101"/>
                <a:gd name="T6" fmla="*/ 0 w 132"/>
                <a:gd name="T7" fmla="*/ 55 h 101"/>
                <a:gd name="T8" fmla="*/ 15 w 132"/>
                <a:gd name="T9" fmla="*/ 39 h 101"/>
                <a:gd name="T10" fmla="*/ 43 w 132"/>
                <a:gd name="T11" fmla="*/ 63 h 101"/>
                <a:gd name="T12" fmla="*/ 116 w 132"/>
                <a:gd name="T13" fmla="*/ 0 h 101"/>
              </a:gdLst>
              <a:ahLst/>
              <a:cxnLst>
                <a:cxn ang="0">
                  <a:pos x="T0" y="T1"/>
                </a:cxn>
                <a:cxn ang="0">
                  <a:pos x="T2" y="T3"/>
                </a:cxn>
                <a:cxn ang="0">
                  <a:pos x="T4" y="T5"/>
                </a:cxn>
                <a:cxn ang="0">
                  <a:pos x="T6" y="T7"/>
                </a:cxn>
                <a:cxn ang="0">
                  <a:pos x="T8" y="T9"/>
                </a:cxn>
                <a:cxn ang="0">
                  <a:pos x="T10" y="T11"/>
                </a:cxn>
                <a:cxn ang="0">
                  <a:pos x="T12" y="T13"/>
                </a:cxn>
              </a:cxnLst>
              <a:rect l="0" t="0" r="r" b="b"/>
              <a:pathLst>
                <a:path w="132" h="101">
                  <a:moveTo>
                    <a:pt x="116" y="0"/>
                  </a:moveTo>
                  <a:lnTo>
                    <a:pt x="132" y="15"/>
                  </a:lnTo>
                  <a:lnTo>
                    <a:pt x="46" y="101"/>
                  </a:lnTo>
                  <a:lnTo>
                    <a:pt x="0" y="55"/>
                  </a:lnTo>
                  <a:lnTo>
                    <a:pt x="15" y="39"/>
                  </a:lnTo>
                  <a:lnTo>
                    <a:pt x="43" y="63"/>
                  </a:lnTo>
                  <a:lnTo>
                    <a:pt x="116" y="0"/>
                  </a:lnTo>
                  <a:close/>
                </a:path>
              </a:pathLst>
            </a:custGeom>
            <a:solidFill>
              <a:schemeClr val="accent2"/>
            </a:solidFill>
            <a:ln>
              <a:noFill/>
            </a:ln>
          </p:spPr>
          <p:txBody>
            <a:bodyPr vert="horz" wrap="square" lIns="91392" tIns="45696" rIns="91392" bIns="45696" numCol="1" anchor="t" anchorCtr="0" compatLnSpc="1">
              <a:prstTxWarp prst="textNoShape">
                <a:avLst/>
              </a:prstTxWarp>
            </a:bodyPr>
            <a:lstStyle/>
            <a:p>
              <a:endParaRPr lang="en-US" sz="1799" dirty="0">
                <a:solidFill>
                  <a:srgbClr val="879BAA"/>
                </a:solidFill>
              </a:endParaRPr>
            </a:p>
          </p:txBody>
        </p:sp>
      </p:grpSp>
      <p:grpSp>
        <p:nvGrpSpPr>
          <p:cNvPr id="37" name="Group 36">
            <a:extLst>
              <a:ext uri="{FF2B5EF4-FFF2-40B4-BE49-F238E27FC236}">
                <a16:creationId xmlns:a16="http://schemas.microsoft.com/office/drawing/2014/main" id="{EC03B7B7-CCE6-4AE4-A289-26744AEDA1EA}"/>
              </a:ext>
            </a:extLst>
          </p:cNvPr>
          <p:cNvGrpSpPr>
            <a:grpSpLocks noChangeAspect="1"/>
          </p:cNvGrpSpPr>
          <p:nvPr/>
        </p:nvGrpSpPr>
        <p:grpSpPr>
          <a:xfrm>
            <a:off x="7592062" y="2009496"/>
            <a:ext cx="594001" cy="594001"/>
            <a:chOff x="8382541" y="3888000"/>
            <a:chExt cx="412715" cy="412715"/>
          </a:xfrm>
        </p:grpSpPr>
        <p:sp>
          <p:nvSpPr>
            <p:cNvPr id="38" name="Oval 4">
              <a:extLst>
                <a:ext uri="{FF2B5EF4-FFF2-40B4-BE49-F238E27FC236}">
                  <a16:creationId xmlns:a16="http://schemas.microsoft.com/office/drawing/2014/main" id="{5AB3D9C3-A0EE-47DB-BC0A-B67F0ADADE0D}"/>
                </a:ext>
              </a:extLst>
            </p:cNvPr>
            <p:cNvSpPr>
              <a:spLocks noChangeAspect="1" noChangeArrowheads="1"/>
            </p:cNvSpPr>
            <p:nvPr/>
          </p:nvSpPr>
          <p:spPr bwMode="auto">
            <a:xfrm>
              <a:off x="8382541" y="3888000"/>
              <a:ext cx="412715" cy="412715"/>
            </a:xfrm>
            <a:prstGeom prst="rect">
              <a:avLst/>
            </a:prstGeom>
            <a:noFill/>
            <a:ln>
              <a:noFill/>
            </a:ln>
            <a:effectLst/>
          </p:spPr>
          <p:txBody>
            <a:bodyPr wrap="none" lIns="84337" tIns="42169" rIns="84337" bIns="42169" anchor="ctr"/>
            <a:lstStyle/>
            <a:p>
              <a:pPr algn="ctr" defTabSz="702911">
                <a:spcBef>
                  <a:spcPct val="0"/>
                </a:spcBef>
              </a:pPr>
              <a:endParaRPr lang="en-US" sz="1799" b="1" dirty="0">
                <a:solidFill>
                  <a:schemeClr val="bg1"/>
                </a:solidFill>
              </a:endParaRPr>
            </a:p>
          </p:txBody>
        </p:sp>
        <p:sp>
          <p:nvSpPr>
            <p:cNvPr id="39" name="Freeform 52">
              <a:extLst>
                <a:ext uri="{FF2B5EF4-FFF2-40B4-BE49-F238E27FC236}">
                  <a16:creationId xmlns:a16="http://schemas.microsoft.com/office/drawing/2014/main" id="{A7D91542-FBC1-4FB9-9459-9D54104FBF2A}"/>
                </a:ext>
              </a:extLst>
            </p:cNvPr>
            <p:cNvSpPr>
              <a:spLocks noChangeAspect="1"/>
            </p:cNvSpPr>
            <p:nvPr/>
          </p:nvSpPr>
          <p:spPr bwMode="auto">
            <a:xfrm>
              <a:off x="8471275" y="4004358"/>
              <a:ext cx="235248" cy="180000"/>
            </a:xfrm>
            <a:custGeom>
              <a:avLst/>
              <a:gdLst>
                <a:gd name="T0" fmla="*/ 116 w 132"/>
                <a:gd name="T1" fmla="*/ 0 h 101"/>
                <a:gd name="T2" fmla="*/ 132 w 132"/>
                <a:gd name="T3" fmla="*/ 15 h 101"/>
                <a:gd name="T4" fmla="*/ 46 w 132"/>
                <a:gd name="T5" fmla="*/ 101 h 101"/>
                <a:gd name="T6" fmla="*/ 0 w 132"/>
                <a:gd name="T7" fmla="*/ 55 h 101"/>
                <a:gd name="T8" fmla="*/ 15 w 132"/>
                <a:gd name="T9" fmla="*/ 39 h 101"/>
                <a:gd name="T10" fmla="*/ 43 w 132"/>
                <a:gd name="T11" fmla="*/ 63 h 101"/>
                <a:gd name="T12" fmla="*/ 116 w 132"/>
                <a:gd name="T13" fmla="*/ 0 h 101"/>
              </a:gdLst>
              <a:ahLst/>
              <a:cxnLst>
                <a:cxn ang="0">
                  <a:pos x="T0" y="T1"/>
                </a:cxn>
                <a:cxn ang="0">
                  <a:pos x="T2" y="T3"/>
                </a:cxn>
                <a:cxn ang="0">
                  <a:pos x="T4" y="T5"/>
                </a:cxn>
                <a:cxn ang="0">
                  <a:pos x="T6" y="T7"/>
                </a:cxn>
                <a:cxn ang="0">
                  <a:pos x="T8" y="T9"/>
                </a:cxn>
                <a:cxn ang="0">
                  <a:pos x="T10" y="T11"/>
                </a:cxn>
                <a:cxn ang="0">
                  <a:pos x="T12" y="T13"/>
                </a:cxn>
              </a:cxnLst>
              <a:rect l="0" t="0" r="r" b="b"/>
              <a:pathLst>
                <a:path w="132" h="101">
                  <a:moveTo>
                    <a:pt x="116" y="0"/>
                  </a:moveTo>
                  <a:lnTo>
                    <a:pt x="132" y="15"/>
                  </a:lnTo>
                  <a:lnTo>
                    <a:pt x="46" y="101"/>
                  </a:lnTo>
                  <a:lnTo>
                    <a:pt x="0" y="55"/>
                  </a:lnTo>
                  <a:lnTo>
                    <a:pt x="15" y="39"/>
                  </a:lnTo>
                  <a:lnTo>
                    <a:pt x="43" y="63"/>
                  </a:lnTo>
                  <a:lnTo>
                    <a:pt x="116" y="0"/>
                  </a:lnTo>
                  <a:close/>
                </a:path>
              </a:pathLst>
            </a:custGeom>
            <a:solidFill>
              <a:schemeClr val="accent2"/>
            </a:solidFill>
            <a:ln>
              <a:noFill/>
            </a:ln>
          </p:spPr>
          <p:txBody>
            <a:bodyPr vert="horz" wrap="square" lIns="91392" tIns="45696" rIns="91392" bIns="45696" numCol="1" anchor="t" anchorCtr="0" compatLnSpc="1">
              <a:prstTxWarp prst="textNoShape">
                <a:avLst/>
              </a:prstTxWarp>
            </a:bodyPr>
            <a:lstStyle/>
            <a:p>
              <a:endParaRPr lang="en-US" sz="1799" dirty="0">
                <a:solidFill>
                  <a:srgbClr val="879BAA"/>
                </a:solidFill>
              </a:endParaRPr>
            </a:p>
          </p:txBody>
        </p:sp>
      </p:grpSp>
      <p:grpSp>
        <p:nvGrpSpPr>
          <p:cNvPr id="40" name="Group 39">
            <a:extLst>
              <a:ext uri="{FF2B5EF4-FFF2-40B4-BE49-F238E27FC236}">
                <a16:creationId xmlns:a16="http://schemas.microsoft.com/office/drawing/2014/main" id="{C68DF2E8-A60E-429C-941C-B092DF10EA53}"/>
              </a:ext>
            </a:extLst>
          </p:cNvPr>
          <p:cNvGrpSpPr>
            <a:grpSpLocks noChangeAspect="1"/>
          </p:cNvGrpSpPr>
          <p:nvPr/>
        </p:nvGrpSpPr>
        <p:grpSpPr>
          <a:xfrm>
            <a:off x="7592062" y="2603143"/>
            <a:ext cx="594001" cy="594001"/>
            <a:chOff x="8382541" y="3888000"/>
            <a:chExt cx="412715" cy="412715"/>
          </a:xfrm>
        </p:grpSpPr>
        <p:sp>
          <p:nvSpPr>
            <p:cNvPr id="41" name="Oval 4">
              <a:extLst>
                <a:ext uri="{FF2B5EF4-FFF2-40B4-BE49-F238E27FC236}">
                  <a16:creationId xmlns:a16="http://schemas.microsoft.com/office/drawing/2014/main" id="{A1CBA9D7-166A-4772-BF9E-6515E81E9F11}"/>
                </a:ext>
              </a:extLst>
            </p:cNvPr>
            <p:cNvSpPr>
              <a:spLocks noChangeAspect="1" noChangeArrowheads="1"/>
            </p:cNvSpPr>
            <p:nvPr/>
          </p:nvSpPr>
          <p:spPr bwMode="auto">
            <a:xfrm>
              <a:off x="8382541" y="3888000"/>
              <a:ext cx="412715" cy="412715"/>
            </a:xfrm>
            <a:prstGeom prst="rect">
              <a:avLst/>
            </a:prstGeom>
            <a:noFill/>
            <a:ln>
              <a:noFill/>
            </a:ln>
            <a:effectLst/>
          </p:spPr>
          <p:txBody>
            <a:bodyPr wrap="none" lIns="84337" tIns="42169" rIns="84337" bIns="42169" anchor="ctr"/>
            <a:lstStyle/>
            <a:p>
              <a:pPr algn="ctr" defTabSz="702911">
                <a:spcBef>
                  <a:spcPct val="0"/>
                </a:spcBef>
              </a:pPr>
              <a:endParaRPr lang="en-US" sz="1799" b="1" dirty="0">
                <a:solidFill>
                  <a:schemeClr val="bg1"/>
                </a:solidFill>
              </a:endParaRPr>
            </a:p>
          </p:txBody>
        </p:sp>
        <p:sp>
          <p:nvSpPr>
            <p:cNvPr id="42" name="Freeform 52">
              <a:extLst>
                <a:ext uri="{FF2B5EF4-FFF2-40B4-BE49-F238E27FC236}">
                  <a16:creationId xmlns:a16="http://schemas.microsoft.com/office/drawing/2014/main" id="{A18BD637-7EDE-4830-9902-B32D06A5AECB}"/>
                </a:ext>
              </a:extLst>
            </p:cNvPr>
            <p:cNvSpPr>
              <a:spLocks noChangeAspect="1"/>
            </p:cNvSpPr>
            <p:nvPr/>
          </p:nvSpPr>
          <p:spPr bwMode="auto">
            <a:xfrm>
              <a:off x="8471275" y="4004358"/>
              <a:ext cx="235248" cy="180000"/>
            </a:xfrm>
            <a:custGeom>
              <a:avLst/>
              <a:gdLst>
                <a:gd name="T0" fmla="*/ 116 w 132"/>
                <a:gd name="T1" fmla="*/ 0 h 101"/>
                <a:gd name="T2" fmla="*/ 132 w 132"/>
                <a:gd name="T3" fmla="*/ 15 h 101"/>
                <a:gd name="T4" fmla="*/ 46 w 132"/>
                <a:gd name="T5" fmla="*/ 101 h 101"/>
                <a:gd name="T6" fmla="*/ 0 w 132"/>
                <a:gd name="T7" fmla="*/ 55 h 101"/>
                <a:gd name="T8" fmla="*/ 15 w 132"/>
                <a:gd name="T9" fmla="*/ 39 h 101"/>
                <a:gd name="T10" fmla="*/ 43 w 132"/>
                <a:gd name="T11" fmla="*/ 63 h 101"/>
                <a:gd name="T12" fmla="*/ 116 w 132"/>
                <a:gd name="T13" fmla="*/ 0 h 101"/>
              </a:gdLst>
              <a:ahLst/>
              <a:cxnLst>
                <a:cxn ang="0">
                  <a:pos x="T0" y="T1"/>
                </a:cxn>
                <a:cxn ang="0">
                  <a:pos x="T2" y="T3"/>
                </a:cxn>
                <a:cxn ang="0">
                  <a:pos x="T4" y="T5"/>
                </a:cxn>
                <a:cxn ang="0">
                  <a:pos x="T6" y="T7"/>
                </a:cxn>
                <a:cxn ang="0">
                  <a:pos x="T8" y="T9"/>
                </a:cxn>
                <a:cxn ang="0">
                  <a:pos x="T10" y="T11"/>
                </a:cxn>
                <a:cxn ang="0">
                  <a:pos x="T12" y="T13"/>
                </a:cxn>
              </a:cxnLst>
              <a:rect l="0" t="0" r="r" b="b"/>
              <a:pathLst>
                <a:path w="132" h="101">
                  <a:moveTo>
                    <a:pt x="116" y="0"/>
                  </a:moveTo>
                  <a:lnTo>
                    <a:pt x="132" y="15"/>
                  </a:lnTo>
                  <a:lnTo>
                    <a:pt x="46" y="101"/>
                  </a:lnTo>
                  <a:lnTo>
                    <a:pt x="0" y="55"/>
                  </a:lnTo>
                  <a:lnTo>
                    <a:pt x="15" y="39"/>
                  </a:lnTo>
                  <a:lnTo>
                    <a:pt x="43" y="63"/>
                  </a:lnTo>
                  <a:lnTo>
                    <a:pt x="116" y="0"/>
                  </a:lnTo>
                  <a:close/>
                </a:path>
              </a:pathLst>
            </a:custGeom>
            <a:solidFill>
              <a:schemeClr val="accent2"/>
            </a:solidFill>
            <a:ln>
              <a:noFill/>
            </a:ln>
          </p:spPr>
          <p:txBody>
            <a:bodyPr vert="horz" wrap="square" lIns="91392" tIns="45696" rIns="91392" bIns="45696" numCol="1" anchor="t" anchorCtr="0" compatLnSpc="1">
              <a:prstTxWarp prst="textNoShape">
                <a:avLst/>
              </a:prstTxWarp>
            </a:bodyPr>
            <a:lstStyle/>
            <a:p>
              <a:endParaRPr lang="en-US" sz="1799" dirty="0">
                <a:solidFill>
                  <a:srgbClr val="879BAA"/>
                </a:solidFill>
              </a:endParaRPr>
            </a:p>
          </p:txBody>
        </p:sp>
      </p:grpSp>
      <p:grpSp>
        <p:nvGrpSpPr>
          <p:cNvPr id="69" name="Group 68">
            <a:extLst>
              <a:ext uri="{FF2B5EF4-FFF2-40B4-BE49-F238E27FC236}">
                <a16:creationId xmlns:a16="http://schemas.microsoft.com/office/drawing/2014/main" id="{1EFDEA2A-D2ED-434F-9AA9-B02628AA336A}"/>
              </a:ext>
            </a:extLst>
          </p:cNvPr>
          <p:cNvGrpSpPr>
            <a:grpSpLocks noChangeAspect="1"/>
          </p:cNvGrpSpPr>
          <p:nvPr/>
        </p:nvGrpSpPr>
        <p:grpSpPr>
          <a:xfrm>
            <a:off x="7592062" y="3196790"/>
            <a:ext cx="594001" cy="594001"/>
            <a:chOff x="8382541" y="3888000"/>
            <a:chExt cx="412715" cy="412715"/>
          </a:xfrm>
        </p:grpSpPr>
        <p:sp>
          <p:nvSpPr>
            <p:cNvPr id="70" name="Oval 4">
              <a:extLst>
                <a:ext uri="{FF2B5EF4-FFF2-40B4-BE49-F238E27FC236}">
                  <a16:creationId xmlns:a16="http://schemas.microsoft.com/office/drawing/2014/main" id="{53A025A3-2BDC-448E-847D-6C2121A4C576}"/>
                </a:ext>
              </a:extLst>
            </p:cNvPr>
            <p:cNvSpPr>
              <a:spLocks noChangeAspect="1" noChangeArrowheads="1"/>
            </p:cNvSpPr>
            <p:nvPr/>
          </p:nvSpPr>
          <p:spPr bwMode="auto">
            <a:xfrm>
              <a:off x="8382541" y="3888000"/>
              <a:ext cx="412715" cy="412715"/>
            </a:xfrm>
            <a:prstGeom prst="rect">
              <a:avLst/>
            </a:prstGeom>
            <a:noFill/>
            <a:ln>
              <a:noFill/>
            </a:ln>
            <a:effectLst/>
          </p:spPr>
          <p:txBody>
            <a:bodyPr wrap="none" lIns="84337" tIns="42169" rIns="84337" bIns="42169" anchor="ctr"/>
            <a:lstStyle/>
            <a:p>
              <a:pPr algn="ctr" defTabSz="702911">
                <a:spcBef>
                  <a:spcPct val="0"/>
                </a:spcBef>
              </a:pPr>
              <a:endParaRPr lang="en-US" sz="1799" b="1" dirty="0">
                <a:solidFill>
                  <a:schemeClr val="bg1"/>
                </a:solidFill>
              </a:endParaRPr>
            </a:p>
          </p:txBody>
        </p:sp>
        <p:sp>
          <p:nvSpPr>
            <p:cNvPr id="71" name="Freeform 52">
              <a:extLst>
                <a:ext uri="{FF2B5EF4-FFF2-40B4-BE49-F238E27FC236}">
                  <a16:creationId xmlns:a16="http://schemas.microsoft.com/office/drawing/2014/main" id="{634379D9-CA99-4675-93D2-E7063B2211CD}"/>
                </a:ext>
              </a:extLst>
            </p:cNvPr>
            <p:cNvSpPr>
              <a:spLocks noChangeAspect="1"/>
            </p:cNvSpPr>
            <p:nvPr/>
          </p:nvSpPr>
          <p:spPr bwMode="auto">
            <a:xfrm>
              <a:off x="8471275" y="4004358"/>
              <a:ext cx="235248" cy="180000"/>
            </a:xfrm>
            <a:custGeom>
              <a:avLst/>
              <a:gdLst>
                <a:gd name="T0" fmla="*/ 116 w 132"/>
                <a:gd name="T1" fmla="*/ 0 h 101"/>
                <a:gd name="T2" fmla="*/ 132 w 132"/>
                <a:gd name="T3" fmla="*/ 15 h 101"/>
                <a:gd name="T4" fmla="*/ 46 w 132"/>
                <a:gd name="T5" fmla="*/ 101 h 101"/>
                <a:gd name="T6" fmla="*/ 0 w 132"/>
                <a:gd name="T7" fmla="*/ 55 h 101"/>
                <a:gd name="T8" fmla="*/ 15 w 132"/>
                <a:gd name="T9" fmla="*/ 39 h 101"/>
                <a:gd name="T10" fmla="*/ 43 w 132"/>
                <a:gd name="T11" fmla="*/ 63 h 101"/>
                <a:gd name="T12" fmla="*/ 116 w 132"/>
                <a:gd name="T13" fmla="*/ 0 h 101"/>
              </a:gdLst>
              <a:ahLst/>
              <a:cxnLst>
                <a:cxn ang="0">
                  <a:pos x="T0" y="T1"/>
                </a:cxn>
                <a:cxn ang="0">
                  <a:pos x="T2" y="T3"/>
                </a:cxn>
                <a:cxn ang="0">
                  <a:pos x="T4" y="T5"/>
                </a:cxn>
                <a:cxn ang="0">
                  <a:pos x="T6" y="T7"/>
                </a:cxn>
                <a:cxn ang="0">
                  <a:pos x="T8" y="T9"/>
                </a:cxn>
                <a:cxn ang="0">
                  <a:pos x="T10" y="T11"/>
                </a:cxn>
                <a:cxn ang="0">
                  <a:pos x="T12" y="T13"/>
                </a:cxn>
              </a:cxnLst>
              <a:rect l="0" t="0" r="r" b="b"/>
              <a:pathLst>
                <a:path w="132" h="101">
                  <a:moveTo>
                    <a:pt x="116" y="0"/>
                  </a:moveTo>
                  <a:lnTo>
                    <a:pt x="132" y="15"/>
                  </a:lnTo>
                  <a:lnTo>
                    <a:pt x="46" y="101"/>
                  </a:lnTo>
                  <a:lnTo>
                    <a:pt x="0" y="55"/>
                  </a:lnTo>
                  <a:lnTo>
                    <a:pt x="15" y="39"/>
                  </a:lnTo>
                  <a:lnTo>
                    <a:pt x="43" y="63"/>
                  </a:lnTo>
                  <a:lnTo>
                    <a:pt x="116" y="0"/>
                  </a:lnTo>
                  <a:close/>
                </a:path>
              </a:pathLst>
            </a:custGeom>
            <a:solidFill>
              <a:schemeClr val="accent2"/>
            </a:solidFill>
            <a:ln>
              <a:noFill/>
            </a:ln>
          </p:spPr>
          <p:txBody>
            <a:bodyPr vert="horz" wrap="square" lIns="91392" tIns="45696" rIns="91392" bIns="45696" numCol="1" anchor="t" anchorCtr="0" compatLnSpc="1">
              <a:prstTxWarp prst="textNoShape">
                <a:avLst/>
              </a:prstTxWarp>
            </a:bodyPr>
            <a:lstStyle/>
            <a:p>
              <a:endParaRPr lang="en-US" sz="1799" dirty="0">
                <a:solidFill>
                  <a:srgbClr val="879BAA"/>
                </a:solidFill>
              </a:endParaRPr>
            </a:p>
          </p:txBody>
        </p:sp>
      </p:grpSp>
      <p:grpSp>
        <p:nvGrpSpPr>
          <p:cNvPr id="72" name="Group 71">
            <a:extLst>
              <a:ext uri="{FF2B5EF4-FFF2-40B4-BE49-F238E27FC236}">
                <a16:creationId xmlns:a16="http://schemas.microsoft.com/office/drawing/2014/main" id="{67E83F67-8AEB-40AD-89E6-6D4D4F2B2794}"/>
              </a:ext>
            </a:extLst>
          </p:cNvPr>
          <p:cNvGrpSpPr>
            <a:grpSpLocks noChangeAspect="1"/>
          </p:cNvGrpSpPr>
          <p:nvPr/>
        </p:nvGrpSpPr>
        <p:grpSpPr>
          <a:xfrm>
            <a:off x="7592062" y="3790437"/>
            <a:ext cx="594001" cy="594001"/>
            <a:chOff x="8382541" y="3888000"/>
            <a:chExt cx="412715" cy="412715"/>
          </a:xfrm>
        </p:grpSpPr>
        <p:sp>
          <p:nvSpPr>
            <p:cNvPr id="73" name="Oval 4">
              <a:extLst>
                <a:ext uri="{FF2B5EF4-FFF2-40B4-BE49-F238E27FC236}">
                  <a16:creationId xmlns:a16="http://schemas.microsoft.com/office/drawing/2014/main" id="{6BB38CD0-58DE-4D36-AEB1-6344325E5BE2}"/>
                </a:ext>
              </a:extLst>
            </p:cNvPr>
            <p:cNvSpPr>
              <a:spLocks noChangeAspect="1" noChangeArrowheads="1"/>
            </p:cNvSpPr>
            <p:nvPr/>
          </p:nvSpPr>
          <p:spPr bwMode="auto">
            <a:xfrm>
              <a:off x="8382541" y="3888000"/>
              <a:ext cx="412715" cy="412715"/>
            </a:xfrm>
            <a:prstGeom prst="rect">
              <a:avLst/>
            </a:prstGeom>
            <a:noFill/>
            <a:ln>
              <a:noFill/>
            </a:ln>
            <a:effectLst/>
          </p:spPr>
          <p:txBody>
            <a:bodyPr wrap="none" lIns="84337" tIns="42169" rIns="84337" bIns="42169" anchor="ctr"/>
            <a:lstStyle/>
            <a:p>
              <a:pPr algn="ctr" defTabSz="702911">
                <a:spcBef>
                  <a:spcPct val="0"/>
                </a:spcBef>
              </a:pPr>
              <a:endParaRPr lang="en-US" sz="1799" b="1" dirty="0">
                <a:solidFill>
                  <a:schemeClr val="bg1"/>
                </a:solidFill>
              </a:endParaRPr>
            </a:p>
          </p:txBody>
        </p:sp>
        <p:sp>
          <p:nvSpPr>
            <p:cNvPr id="74" name="Freeform 52">
              <a:extLst>
                <a:ext uri="{FF2B5EF4-FFF2-40B4-BE49-F238E27FC236}">
                  <a16:creationId xmlns:a16="http://schemas.microsoft.com/office/drawing/2014/main" id="{05EE9ADE-9525-4437-B470-9D0E570A9925}"/>
                </a:ext>
              </a:extLst>
            </p:cNvPr>
            <p:cNvSpPr>
              <a:spLocks noChangeAspect="1"/>
            </p:cNvSpPr>
            <p:nvPr/>
          </p:nvSpPr>
          <p:spPr bwMode="auto">
            <a:xfrm>
              <a:off x="8471275" y="4004358"/>
              <a:ext cx="235248" cy="180000"/>
            </a:xfrm>
            <a:custGeom>
              <a:avLst/>
              <a:gdLst>
                <a:gd name="T0" fmla="*/ 116 w 132"/>
                <a:gd name="T1" fmla="*/ 0 h 101"/>
                <a:gd name="T2" fmla="*/ 132 w 132"/>
                <a:gd name="T3" fmla="*/ 15 h 101"/>
                <a:gd name="T4" fmla="*/ 46 w 132"/>
                <a:gd name="T5" fmla="*/ 101 h 101"/>
                <a:gd name="T6" fmla="*/ 0 w 132"/>
                <a:gd name="T7" fmla="*/ 55 h 101"/>
                <a:gd name="T8" fmla="*/ 15 w 132"/>
                <a:gd name="T9" fmla="*/ 39 h 101"/>
                <a:gd name="T10" fmla="*/ 43 w 132"/>
                <a:gd name="T11" fmla="*/ 63 h 101"/>
                <a:gd name="T12" fmla="*/ 116 w 132"/>
                <a:gd name="T13" fmla="*/ 0 h 101"/>
              </a:gdLst>
              <a:ahLst/>
              <a:cxnLst>
                <a:cxn ang="0">
                  <a:pos x="T0" y="T1"/>
                </a:cxn>
                <a:cxn ang="0">
                  <a:pos x="T2" y="T3"/>
                </a:cxn>
                <a:cxn ang="0">
                  <a:pos x="T4" y="T5"/>
                </a:cxn>
                <a:cxn ang="0">
                  <a:pos x="T6" y="T7"/>
                </a:cxn>
                <a:cxn ang="0">
                  <a:pos x="T8" y="T9"/>
                </a:cxn>
                <a:cxn ang="0">
                  <a:pos x="T10" y="T11"/>
                </a:cxn>
                <a:cxn ang="0">
                  <a:pos x="T12" y="T13"/>
                </a:cxn>
              </a:cxnLst>
              <a:rect l="0" t="0" r="r" b="b"/>
              <a:pathLst>
                <a:path w="132" h="101">
                  <a:moveTo>
                    <a:pt x="116" y="0"/>
                  </a:moveTo>
                  <a:lnTo>
                    <a:pt x="132" y="15"/>
                  </a:lnTo>
                  <a:lnTo>
                    <a:pt x="46" y="101"/>
                  </a:lnTo>
                  <a:lnTo>
                    <a:pt x="0" y="55"/>
                  </a:lnTo>
                  <a:lnTo>
                    <a:pt x="15" y="39"/>
                  </a:lnTo>
                  <a:lnTo>
                    <a:pt x="43" y="63"/>
                  </a:lnTo>
                  <a:lnTo>
                    <a:pt x="116" y="0"/>
                  </a:lnTo>
                  <a:close/>
                </a:path>
              </a:pathLst>
            </a:custGeom>
            <a:solidFill>
              <a:schemeClr val="accent2"/>
            </a:solidFill>
            <a:ln>
              <a:noFill/>
            </a:ln>
          </p:spPr>
          <p:txBody>
            <a:bodyPr vert="horz" wrap="square" lIns="91392" tIns="45696" rIns="91392" bIns="45696" numCol="1" anchor="t" anchorCtr="0" compatLnSpc="1">
              <a:prstTxWarp prst="textNoShape">
                <a:avLst/>
              </a:prstTxWarp>
            </a:bodyPr>
            <a:lstStyle/>
            <a:p>
              <a:endParaRPr lang="en-US" sz="1799" dirty="0">
                <a:solidFill>
                  <a:srgbClr val="879BAA"/>
                </a:solidFill>
              </a:endParaRPr>
            </a:p>
          </p:txBody>
        </p:sp>
      </p:grpSp>
      <p:grpSp>
        <p:nvGrpSpPr>
          <p:cNvPr id="75" name="Group 74">
            <a:extLst>
              <a:ext uri="{FF2B5EF4-FFF2-40B4-BE49-F238E27FC236}">
                <a16:creationId xmlns:a16="http://schemas.microsoft.com/office/drawing/2014/main" id="{BD48FA48-04EE-4528-9DE7-D3E0AF057DDF}"/>
              </a:ext>
            </a:extLst>
          </p:cNvPr>
          <p:cNvGrpSpPr>
            <a:grpSpLocks noChangeAspect="1"/>
          </p:cNvGrpSpPr>
          <p:nvPr/>
        </p:nvGrpSpPr>
        <p:grpSpPr>
          <a:xfrm>
            <a:off x="7592062" y="4977731"/>
            <a:ext cx="594001" cy="594001"/>
            <a:chOff x="8382541" y="3888000"/>
            <a:chExt cx="412715" cy="412715"/>
          </a:xfrm>
        </p:grpSpPr>
        <p:sp>
          <p:nvSpPr>
            <p:cNvPr id="76" name="Oval 4">
              <a:extLst>
                <a:ext uri="{FF2B5EF4-FFF2-40B4-BE49-F238E27FC236}">
                  <a16:creationId xmlns:a16="http://schemas.microsoft.com/office/drawing/2014/main" id="{10544BE0-C460-47EB-B637-6CB42C4486BC}"/>
                </a:ext>
              </a:extLst>
            </p:cNvPr>
            <p:cNvSpPr>
              <a:spLocks noChangeAspect="1" noChangeArrowheads="1"/>
            </p:cNvSpPr>
            <p:nvPr/>
          </p:nvSpPr>
          <p:spPr bwMode="auto">
            <a:xfrm>
              <a:off x="8382541" y="3888000"/>
              <a:ext cx="412715" cy="412715"/>
            </a:xfrm>
            <a:prstGeom prst="rect">
              <a:avLst/>
            </a:prstGeom>
            <a:noFill/>
            <a:ln>
              <a:noFill/>
            </a:ln>
            <a:effectLst/>
          </p:spPr>
          <p:txBody>
            <a:bodyPr wrap="none" lIns="84337" tIns="42169" rIns="84337" bIns="42169" anchor="ctr"/>
            <a:lstStyle/>
            <a:p>
              <a:pPr algn="ctr" defTabSz="702911">
                <a:spcBef>
                  <a:spcPct val="0"/>
                </a:spcBef>
              </a:pPr>
              <a:endParaRPr lang="en-US" sz="1799" b="1" dirty="0">
                <a:solidFill>
                  <a:schemeClr val="bg1"/>
                </a:solidFill>
              </a:endParaRPr>
            </a:p>
          </p:txBody>
        </p:sp>
        <p:sp>
          <p:nvSpPr>
            <p:cNvPr id="77" name="Freeform 52">
              <a:extLst>
                <a:ext uri="{FF2B5EF4-FFF2-40B4-BE49-F238E27FC236}">
                  <a16:creationId xmlns:a16="http://schemas.microsoft.com/office/drawing/2014/main" id="{7345D63D-85E4-4C7E-947D-6D82472B1B9E}"/>
                </a:ext>
              </a:extLst>
            </p:cNvPr>
            <p:cNvSpPr>
              <a:spLocks noChangeAspect="1"/>
            </p:cNvSpPr>
            <p:nvPr/>
          </p:nvSpPr>
          <p:spPr bwMode="auto">
            <a:xfrm>
              <a:off x="8471275" y="4004358"/>
              <a:ext cx="235248" cy="180000"/>
            </a:xfrm>
            <a:custGeom>
              <a:avLst/>
              <a:gdLst>
                <a:gd name="T0" fmla="*/ 116 w 132"/>
                <a:gd name="T1" fmla="*/ 0 h 101"/>
                <a:gd name="T2" fmla="*/ 132 w 132"/>
                <a:gd name="T3" fmla="*/ 15 h 101"/>
                <a:gd name="T4" fmla="*/ 46 w 132"/>
                <a:gd name="T5" fmla="*/ 101 h 101"/>
                <a:gd name="T6" fmla="*/ 0 w 132"/>
                <a:gd name="T7" fmla="*/ 55 h 101"/>
                <a:gd name="T8" fmla="*/ 15 w 132"/>
                <a:gd name="T9" fmla="*/ 39 h 101"/>
                <a:gd name="T10" fmla="*/ 43 w 132"/>
                <a:gd name="T11" fmla="*/ 63 h 101"/>
                <a:gd name="T12" fmla="*/ 116 w 132"/>
                <a:gd name="T13" fmla="*/ 0 h 101"/>
              </a:gdLst>
              <a:ahLst/>
              <a:cxnLst>
                <a:cxn ang="0">
                  <a:pos x="T0" y="T1"/>
                </a:cxn>
                <a:cxn ang="0">
                  <a:pos x="T2" y="T3"/>
                </a:cxn>
                <a:cxn ang="0">
                  <a:pos x="T4" y="T5"/>
                </a:cxn>
                <a:cxn ang="0">
                  <a:pos x="T6" y="T7"/>
                </a:cxn>
                <a:cxn ang="0">
                  <a:pos x="T8" y="T9"/>
                </a:cxn>
                <a:cxn ang="0">
                  <a:pos x="T10" y="T11"/>
                </a:cxn>
                <a:cxn ang="0">
                  <a:pos x="T12" y="T13"/>
                </a:cxn>
              </a:cxnLst>
              <a:rect l="0" t="0" r="r" b="b"/>
              <a:pathLst>
                <a:path w="132" h="101">
                  <a:moveTo>
                    <a:pt x="116" y="0"/>
                  </a:moveTo>
                  <a:lnTo>
                    <a:pt x="132" y="15"/>
                  </a:lnTo>
                  <a:lnTo>
                    <a:pt x="46" y="101"/>
                  </a:lnTo>
                  <a:lnTo>
                    <a:pt x="0" y="55"/>
                  </a:lnTo>
                  <a:lnTo>
                    <a:pt x="15" y="39"/>
                  </a:lnTo>
                  <a:lnTo>
                    <a:pt x="43" y="63"/>
                  </a:lnTo>
                  <a:lnTo>
                    <a:pt x="116" y="0"/>
                  </a:lnTo>
                  <a:close/>
                </a:path>
              </a:pathLst>
            </a:custGeom>
            <a:solidFill>
              <a:schemeClr val="accent2"/>
            </a:solidFill>
            <a:ln>
              <a:noFill/>
            </a:ln>
          </p:spPr>
          <p:txBody>
            <a:bodyPr vert="horz" wrap="square" lIns="91392" tIns="45696" rIns="91392" bIns="45696" numCol="1" anchor="t" anchorCtr="0" compatLnSpc="1">
              <a:prstTxWarp prst="textNoShape">
                <a:avLst/>
              </a:prstTxWarp>
            </a:bodyPr>
            <a:lstStyle/>
            <a:p>
              <a:endParaRPr lang="en-US" sz="1799" dirty="0">
                <a:solidFill>
                  <a:srgbClr val="879BAA"/>
                </a:solidFill>
              </a:endParaRPr>
            </a:p>
          </p:txBody>
        </p:sp>
      </p:grpSp>
      <p:grpSp>
        <p:nvGrpSpPr>
          <p:cNvPr id="78" name="Group 77">
            <a:extLst>
              <a:ext uri="{FF2B5EF4-FFF2-40B4-BE49-F238E27FC236}">
                <a16:creationId xmlns:a16="http://schemas.microsoft.com/office/drawing/2014/main" id="{D04C5148-BA99-4E88-8F14-9B3EE9BDA628}"/>
              </a:ext>
            </a:extLst>
          </p:cNvPr>
          <p:cNvGrpSpPr>
            <a:grpSpLocks noChangeAspect="1"/>
          </p:cNvGrpSpPr>
          <p:nvPr/>
        </p:nvGrpSpPr>
        <p:grpSpPr>
          <a:xfrm>
            <a:off x="7592062" y="5571376"/>
            <a:ext cx="594001" cy="594001"/>
            <a:chOff x="8382541" y="3888000"/>
            <a:chExt cx="412715" cy="412715"/>
          </a:xfrm>
        </p:grpSpPr>
        <p:sp>
          <p:nvSpPr>
            <p:cNvPr id="79" name="Oval 4">
              <a:extLst>
                <a:ext uri="{FF2B5EF4-FFF2-40B4-BE49-F238E27FC236}">
                  <a16:creationId xmlns:a16="http://schemas.microsoft.com/office/drawing/2014/main" id="{C414EEDD-A9D6-4AA8-A28A-32ABD7D459A5}"/>
                </a:ext>
              </a:extLst>
            </p:cNvPr>
            <p:cNvSpPr>
              <a:spLocks noChangeAspect="1" noChangeArrowheads="1"/>
            </p:cNvSpPr>
            <p:nvPr/>
          </p:nvSpPr>
          <p:spPr bwMode="auto">
            <a:xfrm>
              <a:off x="8382541" y="3888000"/>
              <a:ext cx="412715" cy="412715"/>
            </a:xfrm>
            <a:prstGeom prst="rect">
              <a:avLst/>
            </a:prstGeom>
            <a:noFill/>
            <a:ln>
              <a:noFill/>
            </a:ln>
            <a:effectLst/>
          </p:spPr>
          <p:txBody>
            <a:bodyPr wrap="none" lIns="84337" tIns="42169" rIns="84337" bIns="42169" anchor="ctr"/>
            <a:lstStyle/>
            <a:p>
              <a:pPr algn="ctr" defTabSz="702911">
                <a:spcBef>
                  <a:spcPct val="0"/>
                </a:spcBef>
              </a:pPr>
              <a:endParaRPr lang="en-US" sz="1799" b="1" dirty="0">
                <a:solidFill>
                  <a:schemeClr val="bg1"/>
                </a:solidFill>
              </a:endParaRPr>
            </a:p>
          </p:txBody>
        </p:sp>
        <p:sp>
          <p:nvSpPr>
            <p:cNvPr id="80" name="Freeform 52">
              <a:extLst>
                <a:ext uri="{FF2B5EF4-FFF2-40B4-BE49-F238E27FC236}">
                  <a16:creationId xmlns:a16="http://schemas.microsoft.com/office/drawing/2014/main" id="{4622A69D-74F9-4457-A608-8DC1D4CCC641}"/>
                </a:ext>
              </a:extLst>
            </p:cNvPr>
            <p:cNvSpPr>
              <a:spLocks noChangeAspect="1"/>
            </p:cNvSpPr>
            <p:nvPr/>
          </p:nvSpPr>
          <p:spPr bwMode="auto">
            <a:xfrm>
              <a:off x="8471275" y="4004358"/>
              <a:ext cx="235248" cy="180000"/>
            </a:xfrm>
            <a:custGeom>
              <a:avLst/>
              <a:gdLst>
                <a:gd name="T0" fmla="*/ 116 w 132"/>
                <a:gd name="T1" fmla="*/ 0 h 101"/>
                <a:gd name="T2" fmla="*/ 132 w 132"/>
                <a:gd name="T3" fmla="*/ 15 h 101"/>
                <a:gd name="T4" fmla="*/ 46 w 132"/>
                <a:gd name="T5" fmla="*/ 101 h 101"/>
                <a:gd name="T6" fmla="*/ 0 w 132"/>
                <a:gd name="T7" fmla="*/ 55 h 101"/>
                <a:gd name="T8" fmla="*/ 15 w 132"/>
                <a:gd name="T9" fmla="*/ 39 h 101"/>
                <a:gd name="T10" fmla="*/ 43 w 132"/>
                <a:gd name="T11" fmla="*/ 63 h 101"/>
                <a:gd name="T12" fmla="*/ 116 w 132"/>
                <a:gd name="T13" fmla="*/ 0 h 101"/>
              </a:gdLst>
              <a:ahLst/>
              <a:cxnLst>
                <a:cxn ang="0">
                  <a:pos x="T0" y="T1"/>
                </a:cxn>
                <a:cxn ang="0">
                  <a:pos x="T2" y="T3"/>
                </a:cxn>
                <a:cxn ang="0">
                  <a:pos x="T4" y="T5"/>
                </a:cxn>
                <a:cxn ang="0">
                  <a:pos x="T6" y="T7"/>
                </a:cxn>
                <a:cxn ang="0">
                  <a:pos x="T8" y="T9"/>
                </a:cxn>
                <a:cxn ang="0">
                  <a:pos x="T10" y="T11"/>
                </a:cxn>
                <a:cxn ang="0">
                  <a:pos x="T12" y="T13"/>
                </a:cxn>
              </a:cxnLst>
              <a:rect l="0" t="0" r="r" b="b"/>
              <a:pathLst>
                <a:path w="132" h="101">
                  <a:moveTo>
                    <a:pt x="116" y="0"/>
                  </a:moveTo>
                  <a:lnTo>
                    <a:pt x="132" y="15"/>
                  </a:lnTo>
                  <a:lnTo>
                    <a:pt x="46" y="101"/>
                  </a:lnTo>
                  <a:lnTo>
                    <a:pt x="0" y="55"/>
                  </a:lnTo>
                  <a:lnTo>
                    <a:pt x="15" y="39"/>
                  </a:lnTo>
                  <a:lnTo>
                    <a:pt x="43" y="63"/>
                  </a:lnTo>
                  <a:lnTo>
                    <a:pt x="116" y="0"/>
                  </a:lnTo>
                  <a:close/>
                </a:path>
              </a:pathLst>
            </a:custGeom>
            <a:solidFill>
              <a:schemeClr val="accent2"/>
            </a:solidFill>
            <a:ln>
              <a:noFill/>
            </a:ln>
          </p:spPr>
          <p:txBody>
            <a:bodyPr vert="horz" wrap="square" lIns="91392" tIns="45696" rIns="91392" bIns="45696" numCol="1" anchor="t" anchorCtr="0" compatLnSpc="1">
              <a:prstTxWarp prst="textNoShape">
                <a:avLst/>
              </a:prstTxWarp>
            </a:bodyPr>
            <a:lstStyle/>
            <a:p>
              <a:endParaRPr lang="en-US" sz="1799" dirty="0">
                <a:solidFill>
                  <a:srgbClr val="879BAA"/>
                </a:solidFill>
              </a:endParaRPr>
            </a:p>
          </p:txBody>
        </p:sp>
      </p:grpSp>
      <p:sp>
        <p:nvSpPr>
          <p:cNvPr id="2" name="Footer Placeholder 1">
            <a:extLst>
              <a:ext uri="{FF2B5EF4-FFF2-40B4-BE49-F238E27FC236}">
                <a16:creationId xmlns:a16="http://schemas.microsoft.com/office/drawing/2014/main" id="{BD502795-4357-430C-988D-3123AE94A9EE}"/>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3" name="Slide Number Placeholder 2">
            <a:extLst>
              <a:ext uri="{FF2B5EF4-FFF2-40B4-BE49-F238E27FC236}">
                <a16:creationId xmlns:a16="http://schemas.microsoft.com/office/drawing/2014/main" id="{4C1B19DD-0C12-45FA-B97A-F36122C57FE6}"/>
              </a:ext>
            </a:extLst>
          </p:cNvPr>
          <p:cNvSpPr>
            <a:spLocks noGrp="1"/>
          </p:cNvSpPr>
          <p:nvPr>
            <p:ph type="sldNum" sz="quarter" idx="11"/>
          </p:nvPr>
        </p:nvSpPr>
        <p:spPr/>
        <p:txBody>
          <a:bodyPr/>
          <a:lstStyle/>
          <a:p>
            <a:r>
              <a:rPr lang="en-US" dirty="0"/>
              <a:t>Page </a:t>
            </a:r>
            <a:fld id="{15EBE321-CBB1-4E91-BD14-37C8D44326FB}" type="slidenum">
              <a:rPr lang="en-US" smtClean="0"/>
              <a:pPr/>
              <a:t>53</a:t>
            </a:fld>
            <a:endParaRPr lang="en-US" dirty="0"/>
          </a:p>
        </p:txBody>
      </p:sp>
    </p:spTree>
    <p:extLst>
      <p:ext uri="{BB962C8B-B14F-4D97-AF65-F5344CB8AC3E}">
        <p14:creationId xmlns:p14="http://schemas.microsoft.com/office/powerpoint/2010/main" val="235657147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Tabelle 54"/>
          <p:cNvGraphicFramePr>
            <a:graphicFrameLocks noGrp="1"/>
          </p:cNvGraphicFramePr>
          <p:nvPr>
            <p:extLst>
              <p:ext uri="{D42A27DB-BD31-4B8C-83A1-F6EECF244321}">
                <p14:modId xmlns:p14="http://schemas.microsoft.com/office/powerpoint/2010/main" val="905963842"/>
              </p:ext>
            </p:extLst>
          </p:nvPr>
        </p:nvGraphicFramePr>
        <p:xfrm>
          <a:off x="410400" y="1415848"/>
          <a:ext cx="7775588" cy="3562146"/>
        </p:xfrm>
        <a:graphic>
          <a:graphicData uri="http://schemas.openxmlformats.org/drawingml/2006/table">
            <a:tbl>
              <a:tblPr>
                <a:tableStyleId>{0E3FDE45-AF77-4B5C-9715-49D594BDF05E}</a:tableStyleId>
              </a:tblPr>
              <a:tblGrid>
                <a:gridCol w="6984000">
                  <a:extLst>
                    <a:ext uri="{9D8B030D-6E8A-4147-A177-3AD203B41FA5}">
                      <a16:colId xmlns:a16="http://schemas.microsoft.com/office/drawing/2014/main" val="20002"/>
                    </a:ext>
                  </a:extLst>
                </a:gridCol>
                <a:gridCol w="791588">
                  <a:extLst>
                    <a:ext uri="{9D8B030D-6E8A-4147-A177-3AD203B41FA5}">
                      <a16:colId xmlns:a16="http://schemas.microsoft.com/office/drawing/2014/main" val="2347491445"/>
                    </a:ext>
                  </a:extLst>
                </a:gridCol>
              </a:tblGrid>
              <a:tr h="593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rgbClr val="66667E"/>
                          </a:solidFill>
                          <a:effectLst/>
                          <a:uLnTx/>
                          <a:uFillTx/>
                        </a:rPr>
                        <a:t>At vero eos et accusam</a:t>
                      </a:r>
                      <a:endParaRPr lang="en-US" sz="1600" noProof="0" dirty="0">
                        <a:solidFill>
                          <a:srgbClr val="66667E"/>
                        </a:solidFill>
                        <a:latin typeface="+mn-lt"/>
                        <a:ea typeface="Arial Unicode MS"/>
                      </a:endParaRPr>
                    </a:p>
                  </a:txBody>
                  <a:tcPr marL="0" marR="0" marT="71963" marB="71963" anchor="ctr">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noProof="0" dirty="0">
                        <a:solidFill>
                          <a:srgbClr val="3C464B"/>
                        </a:solidFill>
                        <a:latin typeface="+mn-lt"/>
                        <a:ea typeface="Arial Unicode MS"/>
                      </a:endParaRPr>
                    </a:p>
                  </a:txBody>
                  <a:tcPr marL="0" marR="0" marT="71963" marB="71963" anchor="ctr">
                    <a:lnB w="12700" cap="flat" cmpd="sng" algn="ctr">
                      <a:solidFill>
                        <a:srgbClr val="66667E"/>
                      </a:solidFill>
                      <a:prstDash val="solid"/>
                      <a:round/>
                      <a:headEnd type="none" w="med" len="med"/>
                      <a:tailEnd type="none" w="med" len="med"/>
                    </a:lnB>
                    <a:solidFill>
                      <a:srgbClr val="E5E5E9"/>
                    </a:solidFill>
                  </a:tcPr>
                </a:tc>
                <a:extLst>
                  <a:ext uri="{0D108BD9-81ED-4DB2-BD59-A6C34878D82A}">
                    <a16:rowId xmlns:a16="http://schemas.microsoft.com/office/drawing/2014/main" val="10001"/>
                  </a:ext>
                </a:extLst>
              </a:tr>
              <a:tr h="593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rgbClr val="66667E"/>
                          </a:solidFill>
                          <a:effectLst/>
                          <a:uLnTx/>
                          <a:uFillTx/>
                        </a:rPr>
                        <a:t>Cras ultricies mi eu</a:t>
                      </a:r>
                      <a:endParaRPr lang="en-US" sz="1600" noProof="0" dirty="0">
                        <a:solidFill>
                          <a:srgbClr val="66667E"/>
                        </a:solidFill>
                        <a:latin typeface="+mn-lt"/>
                        <a:ea typeface="Arial Unicode MS"/>
                      </a:endParaRPr>
                    </a:p>
                  </a:txBody>
                  <a:tcPr marL="0" marR="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noProof="0" dirty="0">
                        <a:solidFill>
                          <a:srgbClr val="3C464B"/>
                        </a:solidFill>
                        <a:latin typeface="+mn-lt"/>
                        <a:ea typeface="Arial Unicode MS"/>
                      </a:endParaRPr>
                    </a:p>
                  </a:txBody>
                  <a:tcPr marL="0" marR="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E5E5E9"/>
                    </a:solidFill>
                  </a:tcPr>
                </a:tc>
                <a:extLst>
                  <a:ext uri="{0D108BD9-81ED-4DB2-BD59-A6C34878D82A}">
                    <a16:rowId xmlns:a16="http://schemas.microsoft.com/office/drawing/2014/main" val="10002"/>
                  </a:ext>
                </a:extLst>
              </a:tr>
              <a:tr h="593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rgbClr val="66667E"/>
                          </a:solidFill>
                          <a:effectLst/>
                          <a:uLnTx/>
                          <a:uFillTx/>
                        </a:rPr>
                        <a:t>At vero eos et accusam</a:t>
                      </a:r>
                      <a:endParaRPr lang="en-US" sz="1600" noProof="0" dirty="0">
                        <a:solidFill>
                          <a:srgbClr val="66667E"/>
                        </a:solidFill>
                        <a:latin typeface="+mn-lt"/>
                        <a:ea typeface="Arial Unicode MS"/>
                      </a:endParaRPr>
                    </a:p>
                  </a:txBody>
                  <a:tcPr marL="0" marR="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noProof="0" dirty="0">
                        <a:solidFill>
                          <a:srgbClr val="3C464B"/>
                        </a:solidFill>
                        <a:latin typeface="+mn-lt"/>
                        <a:ea typeface="Arial Unicode MS"/>
                      </a:endParaRPr>
                    </a:p>
                  </a:txBody>
                  <a:tcPr marL="0" marR="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E5E5E9"/>
                    </a:solidFill>
                  </a:tcPr>
                </a:tc>
                <a:extLst>
                  <a:ext uri="{0D108BD9-81ED-4DB2-BD59-A6C34878D82A}">
                    <a16:rowId xmlns:a16="http://schemas.microsoft.com/office/drawing/2014/main" val="10003"/>
                  </a:ext>
                </a:extLst>
              </a:tr>
              <a:tr h="593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rgbClr val="66667E"/>
                          </a:solidFill>
                          <a:effectLst/>
                          <a:uLnTx/>
                          <a:uFillTx/>
                        </a:rPr>
                        <a:t>Duis arcu tortor, suscipit eget, imperdiet nec, imperdiet iaculis, ipsum</a:t>
                      </a:r>
                      <a:endParaRPr lang="en-US" sz="1600" noProof="0" dirty="0">
                        <a:solidFill>
                          <a:srgbClr val="66667E"/>
                        </a:solidFill>
                        <a:latin typeface="+mn-lt"/>
                        <a:ea typeface="Arial Unicode MS"/>
                      </a:endParaRPr>
                    </a:p>
                  </a:txBody>
                  <a:tcPr marL="0" marR="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noProof="0" dirty="0">
                        <a:solidFill>
                          <a:srgbClr val="3C464B"/>
                        </a:solidFill>
                        <a:latin typeface="+mn-lt"/>
                        <a:ea typeface="Arial Unicode MS"/>
                      </a:endParaRPr>
                    </a:p>
                  </a:txBody>
                  <a:tcPr marL="0" marR="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E5E5E9"/>
                    </a:solidFill>
                  </a:tcPr>
                </a:tc>
                <a:extLst>
                  <a:ext uri="{0D108BD9-81ED-4DB2-BD59-A6C34878D82A}">
                    <a16:rowId xmlns:a16="http://schemas.microsoft.com/office/drawing/2014/main" val="10004"/>
                  </a:ext>
                </a:extLst>
              </a:tr>
              <a:tr h="593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rgbClr val="66667E"/>
                          </a:solidFill>
                          <a:effectLst/>
                          <a:uLnTx/>
                          <a:uFillTx/>
                        </a:rPr>
                        <a:t>Cras ultricies mi eu</a:t>
                      </a:r>
                      <a:endParaRPr lang="en-US" sz="1600" noProof="0" dirty="0">
                        <a:solidFill>
                          <a:srgbClr val="66667E"/>
                        </a:solidFill>
                        <a:latin typeface="+mn-lt"/>
                        <a:ea typeface="Arial Unicode MS"/>
                      </a:endParaRPr>
                    </a:p>
                  </a:txBody>
                  <a:tcPr marL="0" marR="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noProof="0" dirty="0">
                        <a:solidFill>
                          <a:srgbClr val="3C464B"/>
                        </a:solidFill>
                        <a:latin typeface="+mn-lt"/>
                        <a:ea typeface="Arial Unicode MS"/>
                      </a:endParaRPr>
                    </a:p>
                  </a:txBody>
                  <a:tcPr marL="0" marR="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E5E5E9"/>
                    </a:solidFill>
                  </a:tcPr>
                </a:tc>
                <a:extLst>
                  <a:ext uri="{0D108BD9-81ED-4DB2-BD59-A6C34878D82A}">
                    <a16:rowId xmlns:a16="http://schemas.microsoft.com/office/drawing/2014/main" val="2514599482"/>
                  </a:ext>
                </a:extLst>
              </a:tr>
              <a:tr h="593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s-ES" sz="1600" u="none" strike="noStrike" kern="1200" cap="none" spc="0" normalizeH="0" baseline="0" noProof="0" dirty="0">
                          <a:ln>
                            <a:noFill/>
                          </a:ln>
                          <a:solidFill>
                            <a:srgbClr val="66667E"/>
                          </a:solidFill>
                          <a:effectLst/>
                          <a:uLnTx/>
                          <a:uFillTx/>
                        </a:rPr>
                        <a:t>Duis arcu tortor, suscipit eget</a:t>
                      </a:r>
                      <a:endParaRPr lang="en-US" sz="1600" noProof="0" dirty="0">
                        <a:solidFill>
                          <a:srgbClr val="66667E"/>
                        </a:solidFill>
                        <a:latin typeface="+mn-lt"/>
                        <a:ea typeface="Arial Unicode MS"/>
                      </a:endParaRPr>
                    </a:p>
                  </a:txBody>
                  <a:tcPr marL="0" marR="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noProof="0" dirty="0">
                        <a:solidFill>
                          <a:srgbClr val="3C464B"/>
                        </a:solidFill>
                        <a:latin typeface="+mn-lt"/>
                        <a:ea typeface="Arial Unicode MS"/>
                      </a:endParaRPr>
                    </a:p>
                  </a:txBody>
                  <a:tcPr marL="0" marR="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rgbClr val="E5E5E9"/>
                    </a:solidFill>
                  </a:tcPr>
                </a:tc>
                <a:extLst>
                  <a:ext uri="{0D108BD9-81ED-4DB2-BD59-A6C34878D82A}">
                    <a16:rowId xmlns:a16="http://schemas.microsoft.com/office/drawing/2014/main" val="1237210138"/>
                  </a:ext>
                </a:extLst>
              </a:tr>
            </a:tbl>
          </a:graphicData>
        </a:graphic>
      </p:graphicFrame>
      <p:graphicFrame>
        <p:nvGraphicFramePr>
          <p:cNvPr id="56" name="Objekt 55"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3" imgW="360" imgH="360" progId="">
                  <p:embed/>
                </p:oleObj>
              </mc:Choice>
              <mc:Fallback>
                <p:oleObj name="think-cell Folie" r:id="rId3" imgW="360" imgH="360" progId="">
                  <p:embed/>
                  <p:pic>
                    <p:nvPicPr>
                      <p:cNvPr id="56" name="Objekt 5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el 4"/>
          <p:cNvSpPr>
            <a:spLocks noGrp="1"/>
          </p:cNvSpPr>
          <p:nvPr>
            <p:ph type="title"/>
          </p:nvPr>
        </p:nvSpPr>
        <p:spPr>
          <a:xfrm>
            <a:off x="410400" y="478800"/>
            <a:ext cx="9863997" cy="576000"/>
          </a:xfrm>
        </p:spPr>
        <p:txBody>
          <a:bodyPr/>
          <a:lstStyle/>
          <a:p>
            <a:r>
              <a:rPr lang="en-US" dirty="0"/>
              <a:t>Evaluation – traffic light rating system</a:t>
            </a:r>
          </a:p>
        </p:txBody>
      </p:sp>
      <p:grpSp>
        <p:nvGrpSpPr>
          <p:cNvPr id="43" name="Group 105">
            <a:extLst>
              <a:ext uri="{FF2B5EF4-FFF2-40B4-BE49-F238E27FC236}">
                <a16:creationId xmlns:a16="http://schemas.microsoft.com/office/drawing/2014/main" id="{A615612D-518D-7F47-9B1F-3DBD6D53B1E2}"/>
              </a:ext>
            </a:extLst>
          </p:cNvPr>
          <p:cNvGrpSpPr/>
          <p:nvPr/>
        </p:nvGrpSpPr>
        <p:grpSpPr>
          <a:xfrm rot="5400000">
            <a:off x="7646063" y="1424962"/>
            <a:ext cx="287850" cy="575772"/>
            <a:chOff x="4659997" y="3908085"/>
            <a:chExt cx="288000" cy="576072"/>
          </a:xfrm>
        </p:grpSpPr>
        <p:sp>
          <p:nvSpPr>
            <p:cNvPr id="44" name="Rechteck 271">
              <a:extLst>
                <a:ext uri="{FF2B5EF4-FFF2-40B4-BE49-F238E27FC236}">
                  <a16:creationId xmlns:a16="http://schemas.microsoft.com/office/drawing/2014/main" id="{B5B7C6AA-77A3-0B40-B47C-29720FAF7E7A}"/>
                </a:ext>
              </a:extLst>
            </p:cNvPr>
            <p:cNvSpPr/>
            <p:nvPr/>
          </p:nvSpPr>
          <p:spPr bwMode="auto">
            <a:xfrm rot="16200000">
              <a:off x="4515961" y="4052121"/>
              <a:ext cx="576072" cy="288000"/>
            </a:xfrm>
            <a:prstGeom prst="rect">
              <a:avLst/>
            </a:prstGeom>
            <a:solidFill>
              <a:srgbClr val="FFFFFF"/>
            </a:solidFill>
            <a:ln w="6350">
              <a:noFill/>
              <a:miter lim="800000"/>
              <a:headEnd/>
              <a:tailEnd/>
            </a:ln>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style>
            <a:lnRef idx="2">
              <a:schemeClr val="dk1"/>
            </a:lnRef>
            <a:fillRef idx="1">
              <a:schemeClr val="lt1"/>
            </a:fillRef>
            <a:effectRef idx="0">
              <a:schemeClr val="dk1"/>
            </a:effectRef>
            <a:fontRef idx="minor">
              <a:schemeClr val="dk1"/>
            </a:fontRef>
          </p:style>
          <p:txBody>
            <a:bodyPr wrap="square" lIns="107944" tIns="53972" rIns="107944" bIns="53972" numCol="1" spcCol="72000" rtlCol="0" anchor="ctr">
              <a:noAutofit/>
            </a:bodyPr>
            <a:lstStyle/>
            <a:p>
              <a:pPr algn="ctr">
                <a:lnSpc>
                  <a:spcPct val="110000"/>
                </a:lnSpc>
                <a:spcBef>
                  <a:spcPct val="0"/>
                </a:spcBef>
              </a:pPr>
              <a:endParaRPr lang="en-US" sz="1799" b="1" dirty="0">
                <a:solidFill>
                  <a:schemeClr val="tx1"/>
                </a:solidFill>
              </a:endParaRPr>
            </a:p>
          </p:txBody>
        </p:sp>
        <p:grpSp>
          <p:nvGrpSpPr>
            <p:cNvPr id="45" name="Group 107">
              <a:extLst>
                <a:ext uri="{FF2B5EF4-FFF2-40B4-BE49-F238E27FC236}">
                  <a16:creationId xmlns:a16="http://schemas.microsoft.com/office/drawing/2014/main" id="{FEC8E881-CF14-3140-B0CA-E1F35D033499}"/>
                </a:ext>
              </a:extLst>
            </p:cNvPr>
            <p:cNvGrpSpPr/>
            <p:nvPr/>
          </p:nvGrpSpPr>
          <p:grpSpPr>
            <a:xfrm>
              <a:off x="4731997" y="3958632"/>
              <a:ext cx="144000" cy="474977"/>
              <a:chOff x="4736859" y="3962409"/>
              <a:chExt cx="144000" cy="474977"/>
            </a:xfrm>
          </p:grpSpPr>
          <p:sp>
            <p:nvSpPr>
              <p:cNvPr id="46" name="Ellipse 272">
                <a:extLst>
                  <a:ext uri="{FF2B5EF4-FFF2-40B4-BE49-F238E27FC236}">
                    <a16:creationId xmlns:a16="http://schemas.microsoft.com/office/drawing/2014/main" id="{7BA3674F-00A3-254B-8725-7FB620A26C01}"/>
                  </a:ext>
                </a:extLst>
              </p:cNvPr>
              <p:cNvSpPr/>
              <p:nvPr/>
            </p:nvSpPr>
            <p:spPr bwMode="auto">
              <a:xfrm rot="16200000">
                <a:off x="4736859" y="4293386"/>
                <a:ext cx="144000" cy="144000"/>
              </a:xfrm>
              <a:prstGeom prst="ellipse">
                <a:avLst/>
              </a:prstGeom>
              <a:solidFill>
                <a:srgbClr val="EF0137"/>
              </a:solidFill>
              <a:ln w="6350">
                <a:noFill/>
                <a:miter lim="800000"/>
                <a:headEnd/>
                <a:tailEnd/>
              </a:ln>
              <a:effectLst/>
              <a:scene3d>
                <a:camera prst="orthographicFront">
                  <a:rot lat="0" lon="0" rev="0"/>
                </a:camera>
                <a:lightRig rig="threePt" dir="t"/>
              </a:scene3d>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sp>
            <p:nvSpPr>
              <p:cNvPr id="47" name="Ellipse 273">
                <a:extLst>
                  <a:ext uri="{FF2B5EF4-FFF2-40B4-BE49-F238E27FC236}">
                    <a16:creationId xmlns:a16="http://schemas.microsoft.com/office/drawing/2014/main" id="{AB374B90-1A87-4D4E-BCB2-B22DDF25C931}"/>
                  </a:ext>
                </a:extLst>
              </p:cNvPr>
              <p:cNvSpPr/>
              <p:nvPr/>
            </p:nvSpPr>
            <p:spPr bwMode="auto">
              <a:xfrm rot="16200000">
                <a:off x="4736859" y="4127898"/>
                <a:ext cx="144000" cy="144000"/>
              </a:xfrm>
              <a:prstGeom prst="ellipse">
                <a:avLst/>
              </a:prstGeom>
              <a:solidFill>
                <a:srgbClr val="E5E5E9"/>
              </a:solidFill>
              <a:ln w="6350">
                <a:noFill/>
                <a:miter lim="800000"/>
                <a:headEnd/>
                <a:tailEnd/>
              </a:ln>
              <a:effectLst/>
              <a:scene3d>
                <a:camera prst="orthographicFront">
                  <a:rot lat="0" lon="0" rev="0"/>
                </a:camera>
                <a:lightRig rig="threePt" dir="t"/>
              </a:scene3d>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sp>
            <p:nvSpPr>
              <p:cNvPr id="48" name="Ellipse 274">
                <a:extLst>
                  <a:ext uri="{FF2B5EF4-FFF2-40B4-BE49-F238E27FC236}">
                    <a16:creationId xmlns:a16="http://schemas.microsoft.com/office/drawing/2014/main" id="{A9F66A62-8A4F-5646-A73F-60E9142531A8}"/>
                  </a:ext>
                </a:extLst>
              </p:cNvPr>
              <p:cNvSpPr/>
              <p:nvPr/>
            </p:nvSpPr>
            <p:spPr bwMode="auto">
              <a:xfrm rot="16200000">
                <a:off x="4736859" y="3962409"/>
                <a:ext cx="144000" cy="144000"/>
              </a:xfrm>
              <a:prstGeom prst="ellipse">
                <a:avLst/>
              </a:prstGeom>
              <a:solidFill>
                <a:srgbClr val="E5E5E9"/>
              </a:solidFill>
              <a:ln>
                <a:noFill/>
              </a:ln>
              <a:effectLst/>
              <a:scene3d>
                <a:camera prst="orthographicFront">
                  <a:rot lat="0" lon="0" rev="0"/>
                </a:camera>
                <a:lightRig rig="threePt" dir="t"/>
              </a:scene3d>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grpSp>
      </p:grpSp>
      <p:grpSp>
        <p:nvGrpSpPr>
          <p:cNvPr id="49" name="Group 111">
            <a:extLst>
              <a:ext uri="{FF2B5EF4-FFF2-40B4-BE49-F238E27FC236}">
                <a16:creationId xmlns:a16="http://schemas.microsoft.com/office/drawing/2014/main" id="{8DBC1493-561F-7649-9BC0-F23046095629}"/>
              </a:ext>
            </a:extLst>
          </p:cNvPr>
          <p:cNvGrpSpPr/>
          <p:nvPr/>
        </p:nvGrpSpPr>
        <p:grpSpPr>
          <a:xfrm rot="5400000">
            <a:off x="7646063" y="2018591"/>
            <a:ext cx="287850" cy="575772"/>
            <a:chOff x="4659997" y="3908085"/>
            <a:chExt cx="288000" cy="576072"/>
          </a:xfrm>
        </p:grpSpPr>
        <p:sp>
          <p:nvSpPr>
            <p:cNvPr id="50" name="Rechteck 271">
              <a:extLst>
                <a:ext uri="{FF2B5EF4-FFF2-40B4-BE49-F238E27FC236}">
                  <a16:creationId xmlns:a16="http://schemas.microsoft.com/office/drawing/2014/main" id="{8D0092E4-21DA-A24C-A4DD-940B1C610F48}"/>
                </a:ext>
              </a:extLst>
            </p:cNvPr>
            <p:cNvSpPr/>
            <p:nvPr/>
          </p:nvSpPr>
          <p:spPr bwMode="auto">
            <a:xfrm rot="16200000">
              <a:off x="4515961" y="4052121"/>
              <a:ext cx="576072" cy="288000"/>
            </a:xfrm>
            <a:prstGeom prst="rect">
              <a:avLst/>
            </a:prstGeom>
            <a:solidFill>
              <a:srgbClr val="FFFFFF"/>
            </a:solidFill>
            <a:ln w="6350">
              <a:noFill/>
              <a:miter lim="800000"/>
              <a:headEnd/>
              <a:tailEnd/>
            </a:ln>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style>
            <a:lnRef idx="2">
              <a:schemeClr val="dk1"/>
            </a:lnRef>
            <a:fillRef idx="1">
              <a:schemeClr val="lt1"/>
            </a:fillRef>
            <a:effectRef idx="0">
              <a:schemeClr val="dk1"/>
            </a:effectRef>
            <a:fontRef idx="minor">
              <a:schemeClr val="dk1"/>
            </a:fontRef>
          </p:style>
          <p:txBody>
            <a:bodyPr wrap="square" lIns="107944" tIns="53972" rIns="107944" bIns="53972" numCol="1" spcCol="72000" rtlCol="0" anchor="ctr">
              <a:noAutofit/>
            </a:bodyPr>
            <a:lstStyle/>
            <a:p>
              <a:pPr algn="ctr">
                <a:lnSpc>
                  <a:spcPct val="110000"/>
                </a:lnSpc>
                <a:spcBef>
                  <a:spcPct val="0"/>
                </a:spcBef>
              </a:pPr>
              <a:endParaRPr lang="en-US" sz="1799" b="1" dirty="0">
                <a:solidFill>
                  <a:schemeClr val="tx1"/>
                </a:solidFill>
              </a:endParaRPr>
            </a:p>
          </p:txBody>
        </p:sp>
        <p:grpSp>
          <p:nvGrpSpPr>
            <p:cNvPr id="51" name="Group 113">
              <a:extLst>
                <a:ext uri="{FF2B5EF4-FFF2-40B4-BE49-F238E27FC236}">
                  <a16:creationId xmlns:a16="http://schemas.microsoft.com/office/drawing/2014/main" id="{F8253EEE-8200-0245-9A79-8F5A94D31C30}"/>
                </a:ext>
              </a:extLst>
            </p:cNvPr>
            <p:cNvGrpSpPr/>
            <p:nvPr/>
          </p:nvGrpSpPr>
          <p:grpSpPr>
            <a:xfrm>
              <a:off x="4731997" y="3958632"/>
              <a:ext cx="144000" cy="474977"/>
              <a:chOff x="4736859" y="3962409"/>
              <a:chExt cx="144000" cy="474977"/>
            </a:xfrm>
          </p:grpSpPr>
          <p:sp>
            <p:nvSpPr>
              <p:cNvPr id="52" name="Ellipse 272">
                <a:extLst>
                  <a:ext uri="{FF2B5EF4-FFF2-40B4-BE49-F238E27FC236}">
                    <a16:creationId xmlns:a16="http://schemas.microsoft.com/office/drawing/2014/main" id="{98B9135C-498C-594C-AB55-48D9886B6A75}"/>
                  </a:ext>
                </a:extLst>
              </p:cNvPr>
              <p:cNvSpPr/>
              <p:nvPr/>
            </p:nvSpPr>
            <p:spPr bwMode="auto">
              <a:xfrm rot="16200000">
                <a:off x="4736859" y="4293386"/>
                <a:ext cx="144000" cy="144000"/>
              </a:xfrm>
              <a:prstGeom prst="ellipse">
                <a:avLst/>
              </a:prstGeom>
              <a:solidFill>
                <a:srgbClr val="E5E5E9"/>
              </a:solidFill>
              <a:ln w="6350">
                <a:noFill/>
                <a:miter lim="800000"/>
                <a:headEnd/>
                <a:tailEnd/>
              </a:ln>
              <a:effectLst/>
              <a:scene3d>
                <a:camera prst="orthographicFront">
                  <a:rot lat="0" lon="0" rev="0"/>
                </a:camera>
                <a:lightRig rig="threePt" dir="t"/>
              </a:scene3d>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sp>
            <p:nvSpPr>
              <p:cNvPr id="53" name="Ellipse 273">
                <a:extLst>
                  <a:ext uri="{FF2B5EF4-FFF2-40B4-BE49-F238E27FC236}">
                    <a16:creationId xmlns:a16="http://schemas.microsoft.com/office/drawing/2014/main" id="{0CCAA2A7-6E10-A842-889D-05AB13707C24}"/>
                  </a:ext>
                </a:extLst>
              </p:cNvPr>
              <p:cNvSpPr/>
              <p:nvPr/>
            </p:nvSpPr>
            <p:spPr bwMode="auto">
              <a:xfrm rot="16200000">
                <a:off x="4736859" y="4127898"/>
                <a:ext cx="144000" cy="144000"/>
              </a:xfrm>
              <a:prstGeom prst="ellipse">
                <a:avLst/>
              </a:prstGeom>
              <a:solidFill>
                <a:srgbClr val="FF9000"/>
              </a:solidFill>
              <a:ln>
                <a:noFill/>
              </a:ln>
              <a:effectLst/>
              <a:scene3d>
                <a:camera prst="orthographicFront">
                  <a:rot lat="0" lon="0" rev="0"/>
                </a:camera>
                <a:lightRig rig="threePt" dir="t"/>
              </a:scene3d>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sp>
            <p:nvSpPr>
              <p:cNvPr id="54" name="Ellipse 274">
                <a:extLst>
                  <a:ext uri="{FF2B5EF4-FFF2-40B4-BE49-F238E27FC236}">
                    <a16:creationId xmlns:a16="http://schemas.microsoft.com/office/drawing/2014/main" id="{A01D68BD-75AE-A24A-8E53-9137375069BF}"/>
                  </a:ext>
                </a:extLst>
              </p:cNvPr>
              <p:cNvSpPr/>
              <p:nvPr/>
            </p:nvSpPr>
            <p:spPr bwMode="auto">
              <a:xfrm rot="16200000">
                <a:off x="4736859" y="3962409"/>
                <a:ext cx="144000" cy="144000"/>
              </a:xfrm>
              <a:prstGeom prst="ellipse">
                <a:avLst/>
              </a:prstGeom>
              <a:solidFill>
                <a:srgbClr val="E5E5E9"/>
              </a:solidFill>
              <a:ln w="6350">
                <a:noFill/>
                <a:miter lim="800000"/>
                <a:headEnd/>
                <a:tailEnd/>
              </a:ln>
              <a:effectLst/>
              <a:scene3d>
                <a:camera prst="orthographicFront">
                  <a:rot lat="0" lon="0" rev="0"/>
                </a:camera>
                <a:lightRig rig="threePt" dir="t"/>
              </a:scene3d>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grpSp>
      </p:grpSp>
      <p:grpSp>
        <p:nvGrpSpPr>
          <p:cNvPr id="57" name="Group 105">
            <a:extLst>
              <a:ext uri="{FF2B5EF4-FFF2-40B4-BE49-F238E27FC236}">
                <a16:creationId xmlns:a16="http://schemas.microsoft.com/office/drawing/2014/main" id="{8A477A9B-303F-3E42-8FED-5704EBA44A48}"/>
              </a:ext>
            </a:extLst>
          </p:cNvPr>
          <p:cNvGrpSpPr/>
          <p:nvPr/>
        </p:nvGrpSpPr>
        <p:grpSpPr>
          <a:xfrm rot="5400000">
            <a:off x="7646063" y="2612220"/>
            <a:ext cx="287850" cy="575772"/>
            <a:chOff x="4659997" y="3908085"/>
            <a:chExt cx="288000" cy="576072"/>
          </a:xfrm>
        </p:grpSpPr>
        <p:sp>
          <p:nvSpPr>
            <p:cNvPr id="58" name="Rechteck 271">
              <a:extLst>
                <a:ext uri="{FF2B5EF4-FFF2-40B4-BE49-F238E27FC236}">
                  <a16:creationId xmlns:a16="http://schemas.microsoft.com/office/drawing/2014/main" id="{6101A781-DB99-F342-B94B-20D26ACCC85B}"/>
                </a:ext>
              </a:extLst>
            </p:cNvPr>
            <p:cNvSpPr/>
            <p:nvPr/>
          </p:nvSpPr>
          <p:spPr bwMode="auto">
            <a:xfrm rot="16200000">
              <a:off x="4515961" y="4052121"/>
              <a:ext cx="576072" cy="288000"/>
            </a:xfrm>
            <a:prstGeom prst="rect">
              <a:avLst/>
            </a:prstGeom>
            <a:solidFill>
              <a:srgbClr val="FFFFFF"/>
            </a:solidFill>
            <a:ln w="6350">
              <a:noFill/>
              <a:miter lim="800000"/>
              <a:headEnd/>
              <a:tailEnd/>
            </a:ln>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style>
            <a:lnRef idx="2">
              <a:schemeClr val="dk1"/>
            </a:lnRef>
            <a:fillRef idx="1">
              <a:schemeClr val="lt1"/>
            </a:fillRef>
            <a:effectRef idx="0">
              <a:schemeClr val="dk1"/>
            </a:effectRef>
            <a:fontRef idx="minor">
              <a:schemeClr val="dk1"/>
            </a:fontRef>
          </p:style>
          <p:txBody>
            <a:bodyPr wrap="square" lIns="107944" tIns="53972" rIns="107944" bIns="53972" numCol="1" spcCol="72000" rtlCol="0" anchor="ctr">
              <a:noAutofit/>
            </a:bodyPr>
            <a:lstStyle/>
            <a:p>
              <a:pPr algn="ctr">
                <a:lnSpc>
                  <a:spcPct val="110000"/>
                </a:lnSpc>
                <a:spcBef>
                  <a:spcPct val="0"/>
                </a:spcBef>
              </a:pPr>
              <a:endParaRPr lang="en-US" sz="1799" b="1" dirty="0">
                <a:solidFill>
                  <a:schemeClr val="tx1"/>
                </a:solidFill>
              </a:endParaRPr>
            </a:p>
          </p:txBody>
        </p:sp>
        <p:grpSp>
          <p:nvGrpSpPr>
            <p:cNvPr id="59" name="Group 107">
              <a:extLst>
                <a:ext uri="{FF2B5EF4-FFF2-40B4-BE49-F238E27FC236}">
                  <a16:creationId xmlns:a16="http://schemas.microsoft.com/office/drawing/2014/main" id="{EE09D2CA-0EB8-5948-9655-8CCDB7554B0C}"/>
                </a:ext>
              </a:extLst>
            </p:cNvPr>
            <p:cNvGrpSpPr/>
            <p:nvPr/>
          </p:nvGrpSpPr>
          <p:grpSpPr>
            <a:xfrm>
              <a:off x="4731997" y="3958632"/>
              <a:ext cx="144000" cy="474977"/>
              <a:chOff x="4736859" y="3962409"/>
              <a:chExt cx="144000" cy="474977"/>
            </a:xfrm>
          </p:grpSpPr>
          <p:sp>
            <p:nvSpPr>
              <p:cNvPr id="60" name="Ellipse 272">
                <a:extLst>
                  <a:ext uri="{FF2B5EF4-FFF2-40B4-BE49-F238E27FC236}">
                    <a16:creationId xmlns:a16="http://schemas.microsoft.com/office/drawing/2014/main" id="{80EBC6A9-7F09-134E-AB5D-F440C7F51575}"/>
                  </a:ext>
                </a:extLst>
              </p:cNvPr>
              <p:cNvSpPr/>
              <p:nvPr/>
            </p:nvSpPr>
            <p:spPr bwMode="auto">
              <a:xfrm rot="16200000">
                <a:off x="4736859" y="4293386"/>
                <a:ext cx="144000" cy="144000"/>
              </a:xfrm>
              <a:prstGeom prst="ellipse">
                <a:avLst/>
              </a:prstGeom>
              <a:solidFill>
                <a:srgbClr val="EF0137"/>
              </a:solidFill>
              <a:ln>
                <a:noFill/>
              </a:ln>
              <a:effectLst/>
              <a:scene3d>
                <a:camera prst="orthographicFront">
                  <a:rot lat="0" lon="0" rev="0"/>
                </a:camera>
                <a:lightRig rig="threePt" dir="t"/>
              </a:scene3d>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sp>
            <p:nvSpPr>
              <p:cNvPr id="61" name="Ellipse 273">
                <a:extLst>
                  <a:ext uri="{FF2B5EF4-FFF2-40B4-BE49-F238E27FC236}">
                    <a16:creationId xmlns:a16="http://schemas.microsoft.com/office/drawing/2014/main" id="{1EEBB398-590B-4449-ABFF-7EC98ED46902}"/>
                  </a:ext>
                </a:extLst>
              </p:cNvPr>
              <p:cNvSpPr/>
              <p:nvPr/>
            </p:nvSpPr>
            <p:spPr bwMode="auto">
              <a:xfrm rot="16200000">
                <a:off x="4736859" y="4127898"/>
                <a:ext cx="144000" cy="144000"/>
              </a:xfrm>
              <a:prstGeom prst="ellipse">
                <a:avLst/>
              </a:prstGeom>
              <a:solidFill>
                <a:srgbClr val="E5E5E9"/>
              </a:solidFill>
              <a:ln>
                <a:noFill/>
              </a:ln>
              <a:effectLst/>
              <a:scene3d>
                <a:camera prst="orthographicFront">
                  <a:rot lat="0" lon="0" rev="0"/>
                </a:camera>
                <a:lightRig rig="threePt" dir="t"/>
              </a:scene3d>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sp>
            <p:nvSpPr>
              <p:cNvPr id="62" name="Ellipse 274">
                <a:extLst>
                  <a:ext uri="{FF2B5EF4-FFF2-40B4-BE49-F238E27FC236}">
                    <a16:creationId xmlns:a16="http://schemas.microsoft.com/office/drawing/2014/main" id="{4081B0E7-E36C-0141-A0F1-F2DA6D8D402F}"/>
                  </a:ext>
                </a:extLst>
              </p:cNvPr>
              <p:cNvSpPr/>
              <p:nvPr/>
            </p:nvSpPr>
            <p:spPr bwMode="auto">
              <a:xfrm rot="16200000">
                <a:off x="4736859" y="3962409"/>
                <a:ext cx="144000" cy="144000"/>
              </a:xfrm>
              <a:prstGeom prst="ellipse">
                <a:avLst/>
              </a:prstGeom>
              <a:solidFill>
                <a:srgbClr val="E5E5E9"/>
              </a:solidFill>
              <a:ln>
                <a:noFill/>
              </a:ln>
              <a:effectLst/>
              <a:scene3d>
                <a:camera prst="orthographicFront">
                  <a:rot lat="0" lon="0" rev="0"/>
                </a:camera>
                <a:lightRig rig="threePt" dir="t"/>
              </a:scene3d>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grpSp>
      </p:grpSp>
      <p:grpSp>
        <p:nvGrpSpPr>
          <p:cNvPr id="63" name="Group 105">
            <a:extLst>
              <a:ext uri="{FF2B5EF4-FFF2-40B4-BE49-F238E27FC236}">
                <a16:creationId xmlns:a16="http://schemas.microsoft.com/office/drawing/2014/main" id="{69EA9127-35AE-294F-B3C2-D735A0C68EEA}"/>
              </a:ext>
            </a:extLst>
          </p:cNvPr>
          <p:cNvGrpSpPr/>
          <p:nvPr/>
        </p:nvGrpSpPr>
        <p:grpSpPr>
          <a:xfrm rot="5400000">
            <a:off x="7646063" y="3205849"/>
            <a:ext cx="287850" cy="575772"/>
            <a:chOff x="4659997" y="3908085"/>
            <a:chExt cx="288000" cy="576072"/>
          </a:xfrm>
        </p:grpSpPr>
        <p:sp>
          <p:nvSpPr>
            <p:cNvPr id="64" name="Rechteck 271">
              <a:extLst>
                <a:ext uri="{FF2B5EF4-FFF2-40B4-BE49-F238E27FC236}">
                  <a16:creationId xmlns:a16="http://schemas.microsoft.com/office/drawing/2014/main" id="{3077BB2D-012E-5B40-A268-828EDCF389BC}"/>
                </a:ext>
              </a:extLst>
            </p:cNvPr>
            <p:cNvSpPr/>
            <p:nvPr/>
          </p:nvSpPr>
          <p:spPr bwMode="auto">
            <a:xfrm rot="16200000">
              <a:off x="4515961" y="4052121"/>
              <a:ext cx="576072" cy="288000"/>
            </a:xfrm>
            <a:prstGeom prst="rect">
              <a:avLst/>
            </a:prstGeom>
            <a:solidFill>
              <a:srgbClr val="FFFFFF"/>
            </a:solidFill>
            <a:ln w="6350">
              <a:noFill/>
              <a:miter lim="800000"/>
              <a:headEnd/>
              <a:tailEnd/>
            </a:ln>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style>
            <a:lnRef idx="2">
              <a:schemeClr val="dk1"/>
            </a:lnRef>
            <a:fillRef idx="1">
              <a:schemeClr val="lt1"/>
            </a:fillRef>
            <a:effectRef idx="0">
              <a:schemeClr val="dk1"/>
            </a:effectRef>
            <a:fontRef idx="minor">
              <a:schemeClr val="dk1"/>
            </a:fontRef>
          </p:style>
          <p:txBody>
            <a:bodyPr wrap="square" lIns="107944" tIns="53972" rIns="107944" bIns="53972" numCol="1" spcCol="72000" rtlCol="0" anchor="ctr">
              <a:noAutofit/>
            </a:bodyPr>
            <a:lstStyle/>
            <a:p>
              <a:pPr algn="ctr">
                <a:lnSpc>
                  <a:spcPct val="110000"/>
                </a:lnSpc>
                <a:spcBef>
                  <a:spcPct val="0"/>
                </a:spcBef>
              </a:pPr>
              <a:endParaRPr lang="en-US" sz="1799" b="1" dirty="0">
                <a:solidFill>
                  <a:schemeClr val="tx1"/>
                </a:solidFill>
              </a:endParaRPr>
            </a:p>
          </p:txBody>
        </p:sp>
        <p:grpSp>
          <p:nvGrpSpPr>
            <p:cNvPr id="65" name="Group 107">
              <a:extLst>
                <a:ext uri="{FF2B5EF4-FFF2-40B4-BE49-F238E27FC236}">
                  <a16:creationId xmlns:a16="http://schemas.microsoft.com/office/drawing/2014/main" id="{8EE1DAB8-0CFF-504B-ABDA-602D7DFEE2D3}"/>
                </a:ext>
              </a:extLst>
            </p:cNvPr>
            <p:cNvGrpSpPr/>
            <p:nvPr/>
          </p:nvGrpSpPr>
          <p:grpSpPr>
            <a:xfrm>
              <a:off x="4731997" y="3958632"/>
              <a:ext cx="144000" cy="474977"/>
              <a:chOff x="4736859" y="3962409"/>
              <a:chExt cx="144000" cy="474977"/>
            </a:xfrm>
          </p:grpSpPr>
          <p:sp>
            <p:nvSpPr>
              <p:cNvPr id="66" name="Ellipse 272">
                <a:extLst>
                  <a:ext uri="{FF2B5EF4-FFF2-40B4-BE49-F238E27FC236}">
                    <a16:creationId xmlns:a16="http://schemas.microsoft.com/office/drawing/2014/main" id="{E3CFAEAC-C859-7544-80DD-6A4A75BD80EB}"/>
                  </a:ext>
                </a:extLst>
              </p:cNvPr>
              <p:cNvSpPr/>
              <p:nvPr/>
            </p:nvSpPr>
            <p:spPr bwMode="auto">
              <a:xfrm rot="16200000">
                <a:off x="4736859" y="4293386"/>
                <a:ext cx="144000" cy="144000"/>
              </a:xfrm>
              <a:prstGeom prst="ellipse">
                <a:avLst/>
              </a:prstGeom>
              <a:solidFill>
                <a:srgbClr val="EF0137"/>
              </a:solidFill>
              <a:ln>
                <a:noFill/>
              </a:ln>
              <a:effectLst/>
              <a:scene3d>
                <a:camera prst="orthographicFront">
                  <a:rot lat="0" lon="0" rev="0"/>
                </a:camera>
                <a:lightRig rig="threePt" dir="t"/>
              </a:scene3d>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sp>
            <p:nvSpPr>
              <p:cNvPr id="67" name="Ellipse 273">
                <a:extLst>
                  <a:ext uri="{FF2B5EF4-FFF2-40B4-BE49-F238E27FC236}">
                    <a16:creationId xmlns:a16="http://schemas.microsoft.com/office/drawing/2014/main" id="{EAA18912-C4A7-1C4B-91CB-86527F7A834D}"/>
                  </a:ext>
                </a:extLst>
              </p:cNvPr>
              <p:cNvSpPr/>
              <p:nvPr/>
            </p:nvSpPr>
            <p:spPr bwMode="auto">
              <a:xfrm rot="16200000">
                <a:off x="4736859" y="4127898"/>
                <a:ext cx="144000" cy="144000"/>
              </a:xfrm>
              <a:prstGeom prst="ellipse">
                <a:avLst/>
              </a:prstGeom>
              <a:solidFill>
                <a:srgbClr val="E5E5E9"/>
              </a:solidFill>
              <a:ln>
                <a:noFill/>
              </a:ln>
              <a:effectLst/>
              <a:scene3d>
                <a:camera prst="orthographicFront">
                  <a:rot lat="0" lon="0" rev="0"/>
                </a:camera>
                <a:lightRig rig="threePt" dir="t"/>
              </a:scene3d>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sp>
            <p:nvSpPr>
              <p:cNvPr id="68" name="Ellipse 274">
                <a:extLst>
                  <a:ext uri="{FF2B5EF4-FFF2-40B4-BE49-F238E27FC236}">
                    <a16:creationId xmlns:a16="http://schemas.microsoft.com/office/drawing/2014/main" id="{4A434DB1-D600-4341-A9C2-D3A841CA4D1E}"/>
                  </a:ext>
                </a:extLst>
              </p:cNvPr>
              <p:cNvSpPr/>
              <p:nvPr/>
            </p:nvSpPr>
            <p:spPr bwMode="auto">
              <a:xfrm rot="16200000">
                <a:off x="4736859" y="3962409"/>
                <a:ext cx="144000" cy="144000"/>
              </a:xfrm>
              <a:prstGeom prst="ellipse">
                <a:avLst/>
              </a:prstGeom>
              <a:solidFill>
                <a:srgbClr val="E5E5E9"/>
              </a:solidFill>
              <a:ln>
                <a:noFill/>
              </a:ln>
              <a:effectLst/>
              <a:scene3d>
                <a:camera prst="orthographicFront">
                  <a:rot lat="0" lon="0" rev="0"/>
                </a:camera>
                <a:lightRig rig="threePt" dir="t"/>
              </a:scene3d>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grpSp>
      </p:grpSp>
      <p:grpSp>
        <p:nvGrpSpPr>
          <p:cNvPr id="69" name="Group 117">
            <a:extLst>
              <a:ext uri="{FF2B5EF4-FFF2-40B4-BE49-F238E27FC236}">
                <a16:creationId xmlns:a16="http://schemas.microsoft.com/office/drawing/2014/main" id="{5A0C2E3A-51E7-8A45-9676-5488156580F5}"/>
              </a:ext>
            </a:extLst>
          </p:cNvPr>
          <p:cNvGrpSpPr/>
          <p:nvPr/>
        </p:nvGrpSpPr>
        <p:grpSpPr>
          <a:xfrm rot="5400000">
            <a:off x="7646063" y="3799478"/>
            <a:ext cx="287850" cy="575772"/>
            <a:chOff x="4659997" y="3908085"/>
            <a:chExt cx="288000" cy="576072"/>
          </a:xfrm>
        </p:grpSpPr>
        <p:sp>
          <p:nvSpPr>
            <p:cNvPr id="70" name="Rechteck 271">
              <a:extLst>
                <a:ext uri="{FF2B5EF4-FFF2-40B4-BE49-F238E27FC236}">
                  <a16:creationId xmlns:a16="http://schemas.microsoft.com/office/drawing/2014/main" id="{E7EF9CD7-6E4E-6B44-B4C4-2C209FE93F28}"/>
                </a:ext>
              </a:extLst>
            </p:cNvPr>
            <p:cNvSpPr/>
            <p:nvPr/>
          </p:nvSpPr>
          <p:spPr bwMode="auto">
            <a:xfrm rot="16200000">
              <a:off x="4515961" y="4052121"/>
              <a:ext cx="576072" cy="288000"/>
            </a:xfrm>
            <a:prstGeom prst="rect">
              <a:avLst/>
            </a:prstGeom>
            <a:solidFill>
              <a:srgbClr val="FFFFFF"/>
            </a:solidFill>
            <a:ln w="6350">
              <a:noFill/>
              <a:miter lim="800000"/>
              <a:headEnd/>
              <a:tailEnd/>
            </a:ln>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style>
            <a:lnRef idx="2">
              <a:schemeClr val="dk1"/>
            </a:lnRef>
            <a:fillRef idx="1">
              <a:schemeClr val="lt1"/>
            </a:fillRef>
            <a:effectRef idx="0">
              <a:schemeClr val="dk1"/>
            </a:effectRef>
            <a:fontRef idx="minor">
              <a:schemeClr val="dk1"/>
            </a:fontRef>
          </p:style>
          <p:txBody>
            <a:bodyPr wrap="square" lIns="107944" tIns="53972" rIns="107944" bIns="53972" numCol="1" spcCol="72000" rtlCol="0" anchor="ctr">
              <a:noAutofit/>
            </a:bodyPr>
            <a:lstStyle/>
            <a:p>
              <a:pPr algn="ctr">
                <a:lnSpc>
                  <a:spcPct val="110000"/>
                </a:lnSpc>
                <a:spcBef>
                  <a:spcPct val="0"/>
                </a:spcBef>
              </a:pPr>
              <a:endParaRPr lang="en-US" sz="1799" b="1" dirty="0">
                <a:solidFill>
                  <a:schemeClr val="tx1"/>
                </a:solidFill>
              </a:endParaRPr>
            </a:p>
          </p:txBody>
        </p:sp>
        <p:grpSp>
          <p:nvGrpSpPr>
            <p:cNvPr id="71" name="Group 119">
              <a:extLst>
                <a:ext uri="{FF2B5EF4-FFF2-40B4-BE49-F238E27FC236}">
                  <a16:creationId xmlns:a16="http://schemas.microsoft.com/office/drawing/2014/main" id="{0B183432-BF46-2C42-91FF-CE8FA7BEF4D5}"/>
                </a:ext>
              </a:extLst>
            </p:cNvPr>
            <p:cNvGrpSpPr/>
            <p:nvPr/>
          </p:nvGrpSpPr>
          <p:grpSpPr>
            <a:xfrm>
              <a:off x="4731997" y="3958632"/>
              <a:ext cx="144000" cy="474977"/>
              <a:chOff x="4736859" y="3962409"/>
              <a:chExt cx="144000" cy="474977"/>
            </a:xfrm>
          </p:grpSpPr>
          <p:sp>
            <p:nvSpPr>
              <p:cNvPr id="72" name="Ellipse 272">
                <a:extLst>
                  <a:ext uri="{FF2B5EF4-FFF2-40B4-BE49-F238E27FC236}">
                    <a16:creationId xmlns:a16="http://schemas.microsoft.com/office/drawing/2014/main" id="{31DC1A73-A28E-F148-8F0A-A2AA4670C6DA}"/>
                  </a:ext>
                </a:extLst>
              </p:cNvPr>
              <p:cNvSpPr/>
              <p:nvPr/>
            </p:nvSpPr>
            <p:spPr bwMode="auto">
              <a:xfrm rot="16200000">
                <a:off x="4736859" y="4293386"/>
                <a:ext cx="144000" cy="144000"/>
              </a:xfrm>
              <a:prstGeom prst="ellipse">
                <a:avLst/>
              </a:prstGeom>
              <a:solidFill>
                <a:srgbClr val="E5E5E9"/>
              </a:solidFill>
              <a:ln>
                <a:noFill/>
              </a:ln>
              <a:effectLst/>
              <a:scene3d>
                <a:camera prst="orthographicFront">
                  <a:rot lat="0" lon="0" rev="0"/>
                </a:camera>
                <a:lightRig rig="threePt" dir="t"/>
              </a:scene3d>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sp>
            <p:nvSpPr>
              <p:cNvPr id="73" name="Ellipse 273">
                <a:extLst>
                  <a:ext uri="{FF2B5EF4-FFF2-40B4-BE49-F238E27FC236}">
                    <a16:creationId xmlns:a16="http://schemas.microsoft.com/office/drawing/2014/main" id="{BFE57224-00DC-9C48-8E5A-1690210ED6F0}"/>
                  </a:ext>
                </a:extLst>
              </p:cNvPr>
              <p:cNvSpPr/>
              <p:nvPr/>
            </p:nvSpPr>
            <p:spPr bwMode="auto">
              <a:xfrm rot="16200000">
                <a:off x="4736859" y="4127898"/>
                <a:ext cx="144000" cy="144000"/>
              </a:xfrm>
              <a:prstGeom prst="ellipse">
                <a:avLst/>
              </a:prstGeom>
              <a:solidFill>
                <a:srgbClr val="E5E5E9"/>
              </a:solidFill>
              <a:ln>
                <a:noFill/>
              </a:ln>
              <a:effectLst/>
              <a:scene3d>
                <a:camera prst="orthographicFront">
                  <a:rot lat="0" lon="0" rev="0"/>
                </a:camera>
                <a:lightRig rig="threePt" dir="t"/>
              </a:scene3d>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sp>
            <p:nvSpPr>
              <p:cNvPr id="74" name="Ellipse 274">
                <a:extLst>
                  <a:ext uri="{FF2B5EF4-FFF2-40B4-BE49-F238E27FC236}">
                    <a16:creationId xmlns:a16="http://schemas.microsoft.com/office/drawing/2014/main" id="{3543F993-816B-7549-B682-F23EC8376587}"/>
                  </a:ext>
                </a:extLst>
              </p:cNvPr>
              <p:cNvSpPr/>
              <p:nvPr/>
            </p:nvSpPr>
            <p:spPr bwMode="auto">
              <a:xfrm rot="16200000">
                <a:off x="4736859" y="3962409"/>
                <a:ext cx="144000" cy="144000"/>
              </a:xfrm>
              <a:prstGeom prst="ellipse">
                <a:avLst/>
              </a:prstGeom>
              <a:solidFill>
                <a:srgbClr val="00AF8E"/>
              </a:solidFill>
              <a:ln>
                <a:noFill/>
              </a:ln>
              <a:effectLst/>
              <a:scene3d>
                <a:camera prst="orthographicFront">
                  <a:rot lat="0" lon="0" rev="0"/>
                </a:camera>
                <a:lightRig rig="threePt" dir="t"/>
              </a:scene3d>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grpSp>
      </p:grpSp>
      <p:grpSp>
        <p:nvGrpSpPr>
          <p:cNvPr id="75" name="Group 117">
            <a:extLst>
              <a:ext uri="{FF2B5EF4-FFF2-40B4-BE49-F238E27FC236}">
                <a16:creationId xmlns:a16="http://schemas.microsoft.com/office/drawing/2014/main" id="{E5F5456F-7C1D-7B40-839E-ADB1AB467F5F}"/>
              </a:ext>
            </a:extLst>
          </p:cNvPr>
          <p:cNvGrpSpPr/>
          <p:nvPr/>
        </p:nvGrpSpPr>
        <p:grpSpPr>
          <a:xfrm rot="5400000">
            <a:off x="7646063" y="4393108"/>
            <a:ext cx="287850" cy="575772"/>
            <a:chOff x="4659997" y="3908085"/>
            <a:chExt cx="288000" cy="576072"/>
          </a:xfrm>
        </p:grpSpPr>
        <p:sp>
          <p:nvSpPr>
            <p:cNvPr id="76" name="Rechteck 271">
              <a:extLst>
                <a:ext uri="{FF2B5EF4-FFF2-40B4-BE49-F238E27FC236}">
                  <a16:creationId xmlns:a16="http://schemas.microsoft.com/office/drawing/2014/main" id="{DB6330AA-016A-5947-B12A-AA6338681858}"/>
                </a:ext>
              </a:extLst>
            </p:cNvPr>
            <p:cNvSpPr/>
            <p:nvPr/>
          </p:nvSpPr>
          <p:spPr bwMode="auto">
            <a:xfrm rot="16200000">
              <a:off x="4515961" y="4052121"/>
              <a:ext cx="576072" cy="288000"/>
            </a:xfrm>
            <a:prstGeom prst="rect">
              <a:avLst/>
            </a:prstGeom>
            <a:solidFill>
              <a:srgbClr val="FFFFFF"/>
            </a:solidFill>
            <a:ln w="6350">
              <a:noFill/>
              <a:miter lim="800000"/>
              <a:headEnd/>
              <a:tailEnd/>
            </a:ln>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style>
            <a:lnRef idx="2">
              <a:schemeClr val="dk1"/>
            </a:lnRef>
            <a:fillRef idx="1">
              <a:schemeClr val="lt1"/>
            </a:fillRef>
            <a:effectRef idx="0">
              <a:schemeClr val="dk1"/>
            </a:effectRef>
            <a:fontRef idx="minor">
              <a:schemeClr val="dk1"/>
            </a:fontRef>
          </p:style>
          <p:txBody>
            <a:bodyPr wrap="square" lIns="107944" tIns="53972" rIns="107944" bIns="53972" numCol="1" spcCol="72000" rtlCol="0" anchor="ctr">
              <a:noAutofit/>
            </a:bodyPr>
            <a:lstStyle/>
            <a:p>
              <a:pPr algn="ctr">
                <a:lnSpc>
                  <a:spcPct val="110000"/>
                </a:lnSpc>
                <a:spcBef>
                  <a:spcPct val="0"/>
                </a:spcBef>
              </a:pPr>
              <a:endParaRPr lang="en-US" sz="1799" b="1" dirty="0">
                <a:solidFill>
                  <a:schemeClr val="tx1"/>
                </a:solidFill>
              </a:endParaRPr>
            </a:p>
          </p:txBody>
        </p:sp>
        <p:grpSp>
          <p:nvGrpSpPr>
            <p:cNvPr id="77" name="Group 119">
              <a:extLst>
                <a:ext uri="{FF2B5EF4-FFF2-40B4-BE49-F238E27FC236}">
                  <a16:creationId xmlns:a16="http://schemas.microsoft.com/office/drawing/2014/main" id="{2504F319-600B-CB45-852D-85DE2E5499F8}"/>
                </a:ext>
              </a:extLst>
            </p:cNvPr>
            <p:cNvGrpSpPr/>
            <p:nvPr/>
          </p:nvGrpSpPr>
          <p:grpSpPr>
            <a:xfrm>
              <a:off x="4731997" y="3958632"/>
              <a:ext cx="144000" cy="474977"/>
              <a:chOff x="4736859" y="3962409"/>
              <a:chExt cx="144000" cy="474977"/>
            </a:xfrm>
          </p:grpSpPr>
          <p:sp>
            <p:nvSpPr>
              <p:cNvPr id="78" name="Ellipse 272">
                <a:extLst>
                  <a:ext uri="{FF2B5EF4-FFF2-40B4-BE49-F238E27FC236}">
                    <a16:creationId xmlns:a16="http://schemas.microsoft.com/office/drawing/2014/main" id="{7604B8A4-5343-B448-8E3C-7AB3495D7BAA}"/>
                  </a:ext>
                </a:extLst>
              </p:cNvPr>
              <p:cNvSpPr/>
              <p:nvPr/>
            </p:nvSpPr>
            <p:spPr bwMode="auto">
              <a:xfrm rot="16200000">
                <a:off x="4736859" y="4293386"/>
                <a:ext cx="144000" cy="144000"/>
              </a:xfrm>
              <a:prstGeom prst="ellipse">
                <a:avLst/>
              </a:prstGeom>
              <a:solidFill>
                <a:srgbClr val="E5E5E9"/>
              </a:solidFill>
              <a:ln>
                <a:noFill/>
              </a:ln>
              <a:effectLst/>
              <a:scene3d>
                <a:camera prst="orthographicFront">
                  <a:rot lat="0" lon="0" rev="0"/>
                </a:camera>
                <a:lightRig rig="threePt" dir="t"/>
              </a:scene3d>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sp>
            <p:nvSpPr>
              <p:cNvPr id="79" name="Ellipse 273">
                <a:extLst>
                  <a:ext uri="{FF2B5EF4-FFF2-40B4-BE49-F238E27FC236}">
                    <a16:creationId xmlns:a16="http://schemas.microsoft.com/office/drawing/2014/main" id="{7631D162-7C24-A746-A203-66398AE1E3F5}"/>
                  </a:ext>
                </a:extLst>
              </p:cNvPr>
              <p:cNvSpPr/>
              <p:nvPr/>
            </p:nvSpPr>
            <p:spPr bwMode="auto">
              <a:xfrm rot="16200000">
                <a:off x="4736859" y="4127898"/>
                <a:ext cx="144000" cy="144000"/>
              </a:xfrm>
              <a:prstGeom prst="ellipse">
                <a:avLst/>
              </a:prstGeom>
              <a:solidFill>
                <a:srgbClr val="E5E5E9"/>
              </a:solidFill>
              <a:ln>
                <a:noFill/>
              </a:ln>
              <a:effectLst/>
              <a:scene3d>
                <a:camera prst="orthographicFront">
                  <a:rot lat="0" lon="0" rev="0"/>
                </a:camera>
                <a:lightRig rig="threePt" dir="t"/>
              </a:scene3d>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sp>
            <p:nvSpPr>
              <p:cNvPr id="80" name="Ellipse 274">
                <a:extLst>
                  <a:ext uri="{FF2B5EF4-FFF2-40B4-BE49-F238E27FC236}">
                    <a16:creationId xmlns:a16="http://schemas.microsoft.com/office/drawing/2014/main" id="{27FA7B6F-20AF-3649-9116-CA977D8435C8}"/>
                  </a:ext>
                </a:extLst>
              </p:cNvPr>
              <p:cNvSpPr/>
              <p:nvPr/>
            </p:nvSpPr>
            <p:spPr bwMode="auto">
              <a:xfrm rot="16200000">
                <a:off x="4736859" y="3962409"/>
                <a:ext cx="144000" cy="144000"/>
              </a:xfrm>
              <a:prstGeom prst="ellipse">
                <a:avLst/>
              </a:prstGeom>
              <a:solidFill>
                <a:srgbClr val="00AF8E"/>
              </a:solidFill>
              <a:ln>
                <a:noFill/>
              </a:ln>
              <a:effectLst/>
              <a:scene3d>
                <a:camera prst="orthographicFront">
                  <a:rot lat="0" lon="0" rev="0"/>
                </a:camera>
                <a:lightRig rig="threePt" dir="t"/>
              </a:scene3d>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grpSp>
      </p:grpSp>
      <p:grpSp>
        <p:nvGrpSpPr>
          <p:cNvPr id="9" name="Group 8">
            <a:extLst>
              <a:ext uri="{FF2B5EF4-FFF2-40B4-BE49-F238E27FC236}">
                <a16:creationId xmlns:a16="http://schemas.microsoft.com/office/drawing/2014/main" id="{ED48184C-5670-4C18-BA3C-ED07D8C3AAD3}"/>
              </a:ext>
            </a:extLst>
          </p:cNvPr>
          <p:cNvGrpSpPr/>
          <p:nvPr/>
        </p:nvGrpSpPr>
        <p:grpSpPr>
          <a:xfrm>
            <a:off x="410400" y="5878800"/>
            <a:ext cx="4719833" cy="299056"/>
            <a:chOff x="624216" y="5659602"/>
            <a:chExt cx="4719833" cy="299056"/>
          </a:xfrm>
        </p:grpSpPr>
        <p:grpSp>
          <p:nvGrpSpPr>
            <p:cNvPr id="8" name="Group 7">
              <a:extLst>
                <a:ext uri="{FF2B5EF4-FFF2-40B4-BE49-F238E27FC236}">
                  <a16:creationId xmlns:a16="http://schemas.microsoft.com/office/drawing/2014/main" id="{D6F53C3D-E6B1-4509-B4E8-01466B420FD8}"/>
                </a:ext>
              </a:extLst>
            </p:cNvPr>
            <p:cNvGrpSpPr/>
            <p:nvPr/>
          </p:nvGrpSpPr>
          <p:grpSpPr>
            <a:xfrm>
              <a:off x="624216" y="5659602"/>
              <a:ext cx="1330714" cy="287850"/>
              <a:chOff x="624216" y="5659602"/>
              <a:chExt cx="1330714" cy="287850"/>
            </a:xfrm>
          </p:grpSpPr>
          <p:sp>
            <p:nvSpPr>
              <p:cNvPr id="83" name="Rectangle 1">
                <a:extLst>
                  <a:ext uri="{FF2B5EF4-FFF2-40B4-BE49-F238E27FC236}">
                    <a16:creationId xmlns:a16="http://schemas.microsoft.com/office/drawing/2014/main" id="{258EF61F-5473-9A4E-A85B-64859F60B1EC}"/>
                  </a:ext>
                </a:extLst>
              </p:cNvPr>
              <p:cNvSpPr/>
              <p:nvPr/>
            </p:nvSpPr>
            <p:spPr>
              <a:xfrm>
                <a:off x="1199988" y="5659602"/>
                <a:ext cx="754942" cy="287850"/>
              </a:xfrm>
              <a:prstGeom prst="rect">
                <a:avLst/>
              </a:prstGeom>
            </p:spPr>
            <p:txBody>
              <a:bodyPr wrap="none" lIns="143925" tIns="0" rIns="0" bIns="0" anchor="ctr">
                <a:noAutofit/>
              </a:bodyPr>
              <a:lstStyle/>
              <a:p>
                <a:r>
                  <a:rPr lang="en-US" sz="1199" dirty="0">
                    <a:solidFill>
                      <a:srgbClr val="66667E"/>
                    </a:solidFill>
                  </a:rPr>
                  <a:t>Stopped</a:t>
                </a:r>
              </a:p>
            </p:txBody>
          </p:sp>
          <p:grpSp>
            <p:nvGrpSpPr>
              <p:cNvPr id="82" name="Group 105">
                <a:extLst>
                  <a:ext uri="{FF2B5EF4-FFF2-40B4-BE49-F238E27FC236}">
                    <a16:creationId xmlns:a16="http://schemas.microsoft.com/office/drawing/2014/main" id="{CBEB8373-3ED2-44C2-88A0-E3E1BB5C0DE0}"/>
                  </a:ext>
                </a:extLst>
              </p:cNvPr>
              <p:cNvGrpSpPr/>
              <p:nvPr/>
            </p:nvGrpSpPr>
            <p:grpSpPr>
              <a:xfrm rot="5400000">
                <a:off x="768177" y="5515641"/>
                <a:ext cx="287850" cy="575772"/>
                <a:chOff x="4659997" y="3908085"/>
                <a:chExt cx="288000" cy="576072"/>
              </a:xfrm>
            </p:grpSpPr>
            <p:sp>
              <p:nvSpPr>
                <p:cNvPr id="84" name="Rechteck 271">
                  <a:extLst>
                    <a:ext uri="{FF2B5EF4-FFF2-40B4-BE49-F238E27FC236}">
                      <a16:creationId xmlns:a16="http://schemas.microsoft.com/office/drawing/2014/main" id="{F629A321-FF03-4793-AE2C-3D868B6D4FCA}"/>
                    </a:ext>
                  </a:extLst>
                </p:cNvPr>
                <p:cNvSpPr/>
                <p:nvPr/>
              </p:nvSpPr>
              <p:spPr bwMode="auto">
                <a:xfrm rot="16200000">
                  <a:off x="4515961" y="4052121"/>
                  <a:ext cx="576072" cy="288000"/>
                </a:xfrm>
                <a:prstGeom prst="rect">
                  <a:avLst/>
                </a:prstGeom>
                <a:solidFill>
                  <a:srgbClr val="FFFFFF"/>
                </a:solidFill>
                <a:ln w="6350">
                  <a:solidFill>
                    <a:srgbClr val="66667E"/>
                  </a:solidFill>
                  <a:miter lim="800000"/>
                  <a:headEnd/>
                  <a:tailEnd/>
                </a:ln>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style>
                <a:lnRef idx="2">
                  <a:schemeClr val="dk1"/>
                </a:lnRef>
                <a:fillRef idx="1">
                  <a:schemeClr val="lt1"/>
                </a:fillRef>
                <a:effectRef idx="0">
                  <a:schemeClr val="dk1"/>
                </a:effectRef>
                <a:fontRef idx="minor">
                  <a:schemeClr val="dk1"/>
                </a:fontRef>
              </p:style>
              <p:txBody>
                <a:bodyPr wrap="square" lIns="107944" tIns="53972" rIns="107944" bIns="53972" numCol="1" spcCol="72000" rtlCol="0" anchor="ctr">
                  <a:noAutofit/>
                </a:bodyPr>
                <a:lstStyle/>
                <a:p>
                  <a:pPr algn="ctr">
                    <a:lnSpc>
                      <a:spcPct val="110000"/>
                    </a:lnSpc>
                    <a:spcBef>
                      <a:spcPct val="0"/>
                    </a:spcBef>
                  </a:pPr>
                  <a:endParaRPr lang="en-US" sz="1799" b="1" dirty="0">
                    <a:solidFill>
                      <a:schemeClr val="tx1"/>
                    </a:solidFill>
                  </a:endParaRPr>
                </a:p>
              </p:txBody>
            </p:sp>
            <p:grpSp>
              <p:nvGrpSpPr>
                <p:cNvPr id="85" name="Group 107">
                  <a:extLst>
                    <a:ext uri="{FF2B5EF4-FFF2-40B4-BE49-F238E27FC236}">
                      <a16:creationId xmlns:a16="http://schemas.microsoft.com/office/drawing/2014/main" id="{6B5262E4-8D15-468A-962E-D0AF4259BC1A}"/>
                    </a:ext>
                  </a:extLst>
                </p:cNvPr>
                <p:cNvGrpSpPr/>
                <p:nvPr/>
              </p:nvGrpSpPr>
              <p:grpSpPr>
                <a:xfrm>
                  <a:off x="4731997" y="3958632"/>
                  <a:ext cx="144000" cy="474977"/>
                  <a:chOff x="4736859" y="3962409"/>
                  <a:chExt cx="144000" cy="474977"/>
                </a:xfrm>
              </p:grpSpPr>
              <p:sp>
                <p:nvSpPr>
                  <p:cNvPr id="86" name="Ellipse 272">
                    <a:extLst>
                      <a:ext uri="{FF2B5EF4-FFF2-40B4-BE49-F238E27FC236}">
                        <a16:creationId xmlns:a16="http://schemas.microsoft.com/office/drawing/2014/main" id="{06238DFD-0EBB-4D17-900D-22E73AC6CED2}"/>
                      </a:ext>
                    </a:extLst>
                  </p:cNvPr>
                  <p:cNvSpPr/>
                  <p:nvPr/>
                </p:nvSpPr>
                <p:spPr bwMode="auto">
                  <a:xfrm rot="16200000">
                    <a:off x="4736859" y="4293386"/>
                    <a:ext cx="144000" cy="144000"/>
                  </a:xfrm>
                  <a:prstGeom prst="ellipse">
                    <a:avLst/>
                  </a:prstGeom>
                  <a:solidFill>
                    <a:srgbClr val="EF0137"/>
                  </a:solidFill>
                  <a:ln w="6350">
                    <a:noFill/>
                    <a:miter lim="800000"/>
                    <a:headEnd/>
                    <a:tailEnd/>
                  </a:ln>
                  <a:effectLst/>
                  <a:scene3d>
                    <a:camera prst="orthographicFront">
                      <a:rot lat="0" lon="0" rev="0"/>
                    </a:camera>
                    <a:lightRig rig="threePt" dir="t"/>
                  </a:scene3d>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sp>
                <p:nvSpPr>
                  <p:cNvPr id="87" name="Ellipse 273">
                    <a:extLst>
                      <a:ext uri="{FF2B5EF4-FFF2-40B4-BE49-F238E27FC236}">
                        <a16:creationId xmlns:a16="http://schemas.microsoft.com/office/drawing/2014/main" id="{13529F37-6135-45FC-887E-2AE4319B5CB7}"/>
                      </a:ext>
                    </a:extLst>
                  </p:cNvPr>
                  <p:cNvSpPr/>
                  <p:nvPr/>
                </p:nvSpPr>
                <p:spPr bwMode="auto">
                  <a:xfrm rot="16200000">
                    <a:off x="4736859" y="4127898"/>
                    <a:ext cx="144000" cy="144000"/>
                  </a:xfrm>
                  <a:prstGeom prst="ellipse">
                    <a:avLst/>
                  </a:prstGeom>
                  <a:solidFill>
                    <a:srgbClr val="E5E5E9"/>
                  </a:solidFill>
                  <a:ln w="6350">
                    <a:noFill/>
                    <a:miter lim="800000"/>
                    <a:headEnd/>
                    <a:tailEnd/>
                  </a:ln>
                  <a:effectLst/>
                  <a:scene3d>
                    <a:camera prst="orthographicFront">
                      <a:rot lat="0" lon="0" rev="0"/>
                    </a:camera>
                    <a:lightRig rig="threePt" dir="t"/>
                  </a:scene3d>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sp>
                <p:nvSpPr>
                  <p:cNvPr id="88" name="Ellipse 274">
                    <a:extLst>
                      <a:ext uri="{FF2B5EF4-FFF2-40B4-BE49-F238E27FC236}">
                        <a16:creationId xmlns:a16="http://schemas.microsoft.com/office/drawing/2014/main" id="{E0B6A9A9-D757-423D-B595-01512EF073D2}"/>
                      </a:ext>
                    </a:extLst>
                  </p:cNvPr>
                  <p:cNvSpPr/>
                  <p:nvPr/>
                </p:nvSpPr>
                <p:spPr bwMode="auto">
                  <a:xfrm rot="16200000">
                    <a:off x="4736859" y="3962409"/>
                    <a:ext cx="144000" cy="144000"/>
                  </a:xfrm>
                  <a:prstGeom prst="ellipse">
                    <a:avLst/>
                  </a:prstGeom>
                  <a:solidFill>
                    <a:srgbClr val="E5E5E9"/>
                  </a:solidFill>
                  <a:ln>
                    <a:noFill/>
                  </a:ln>
                  <a:effectLst/>
                  <a:scene3d>
                    <a:camera prst="orthographicFront">
                      <a:rot lat="0" lon="0" rev="0"/>
                    </a:camera>
                    <a:lightRig rig="threePt" dir="t"/>
                  </a:scene3d>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grpSp>
          </p:grpSp>
        </p:grpSp>
        <p:grpSp>
          <p:nvGrpSpPr>
            <p:cNvPr id="7" name="Group 6">
              <a:extLst>
                <a:ext uri="{FF2B5EF4-FFF2-40B4-BE49-F238E27FC236}">
                  <a16:creationId xmlns:a16="http://schemas.microsoft.com/office/drawing/2014/main" id="{7F745D7B-5528-4534-BFB6-2543B48C0285}"/>
                </a:ext>
              </a:extLst>
            </p:cNvPr>
            <p:cNvGrpSpPr/>
            <p:nvPr/>
          </p:nvGrpSpPr>
          <p:grpSpPr>
            <a:xfrm>
              <a:off x="2316356" y="5659602"/>
              <a:ext cx="1335553" cy="287850"/>
              <a:chOff x="2316356" y="5659602"/>
              <a:chExt cx="1335553" cy="287850"/>
            </a:xfrm>
          </p:grpSpPr>
          <p:sp>
            <p:nvSpPr>
              <p:cNvPr id="108" name="Rectangle 48">
                <a:extLst>
                  <a:ext uri="{FF2B5EF4-FFF2-40B4-BE49-F238E27FC236}">
                    <a16:creationId xmlns:a16="http://schemas.microsoft.com/office/drawing/2014/main" id="{57FD8C7F-C3F0-C34A-A561-4BB95C0573D1}"/>
                  </a:ext>
                </a:extLst>
              </p:cNvPr>
              <p:cNvSpPr/>
              <p:nvPr/>
            </p:nvSpPr>
            <p:spPr>
              <a:xfrm>
                <a:off x="2896967" y="5659602"/>
                <a:ext cx="754942" cy="287850"/>
              </a:xfrm>
              <a:prstGeom prst="rect">
                <a:avLst/>
              </a:prstGeom>
            </p:spPr>
            <p:txBody>
              <a:bodyPr wrap="none" lIns="143925" tIns="0" rIns="0" bIns="0" anchor="ctr">
                <a:noAutofit/>
              </a:bodyPr>
              <a:lstStyle/>
              <a:p>
                <a:r>
                  <a:rPr lang="en-US" sz="1199" dirty="0">
                    <a:solidFill>
                      <a:srgbClr val="66667E"/>
                    </a:solidFill>
                  </a:rPr>
                  <a:t>Standby</a:t>
                </a:r>
              </a:p>
            </p:txBody>
          </p:sp>
          <p:grpSp>
            <p:nvGrpSpPr>
              <p:cNvPr id="89" name="Group 111">
                <a:extLst>
                  <a:ext uri="{FF2B5EF4-FFF2-40B4-BE49-F238E27FC236}">
                    <a16:creationId xmlns:a16="http://schemas.microsoft.com/office/drawing/2014/main" id="{FAD5ED70-F9B1-4A5A-AEC3-03EA06EA4384}"/>
                  </a:ext>
                </a:extLst>
              </p:cNvPr>
              <p:cNvGrpSpPr/>
              <p:nvPr/>
            </p:nvGrpSpPr>
            <p:grpSpPr>
              <a:xfrm rot="5400000">
                <a:off x="2460317" y="5515641"/>
                <a:ext cx="287850" cy="575772"/>
                <a:chOff x="4659997" y="3908085"/>
                <a:chExt cx="288000" cy="576072"/>
              </a:xfrm>
            </p:grpSpPr>
            <p:sp>
              <p:nvSpPr>
                <p:cNvPr id="110" name="Rechteck 271">
                  <a:extLst>
                    <a:ext uri="{FF2B5EF4-FFF2-40B4-BE49-F238E27FC236}">
                      <a16:creationId xmlns:a16="http://schemas.microsoft.com/office/drawing/2014/main" id="{A177CC6D-E6CD-4FC4-9BE0-EA6BDC21C0C8}"/>
                    </a:ext>
                  </a:extLst>
                </p:cNvPr>
                <p:cNvSpPr/>
                <p:nvPr/>
              </p:nvSpPr>
              <p:spPr bwMode="auto">
                <a:xfrm rot="16200000">
                  <a:off x="4515961" y="4052121"/>
                  <a:ext cx="576072" cy="288000"/>
                </a:xfrm>
                <a:prstGeom prst="rect">
                  <a:avLst/>
                </a:prstGeom>
                <a:solidFill>
                  <a:srgbClr val="FFFFFF"/>
                </a:solidFill>
                <a:ln w="6350">
                  <a:solidFill>
                    <a:srgbClr val="66667E"/>
                  </a:solidFill>
                  <a:miter lim="800000"/>
                  <a:headEnd/>
                  <a:tailEnd/>
                </a:ln>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style>
                <a:lnRef idx="2">
                  <a:schemeClr val="dk1"/>
                </a:lnRef>
                <a:fillRef idx="1">
                  <a:schemeClr val="lt1"/>
                </a:fillRef>
                <a:effectRef idx="0">
                  <a:schemeClr val="dk1"/>
                </a:effectRef>
                <a:fontRef idx="minor">
                  <a:schemeClr val="dk1"/>
                </a:fontRef>
              </p:style>
              <p:txBody>
                <a:bodyPr wrap="square" lIns="107944" tIns="53972" rIns="107944" bIns="53972" numCol="1" spcCol="72000" rtlCol="0" anchor="ctr">
                  <a:noAutofit/>
                </a:bodyPr>
                <a:lstStyle/>
                <a:p>
                  <a:pPr algn="ctr">
                    <a:lnSpc>
                      <a:spcPct val="110000"/>
                    </a:lnSpc>
                    <a:spcBef>
                      <a:spcPct val="0"/>
                    </a:spcBef>
                  </a:pPr>
                  <a:endParaRPr lang="en-US" sz="1799" b="1" dirty="0">
                    <a:solidFill>
                      <a:schemeClr val="tx1"/>
                    </a:solidFill>
                  </a:endParaRPr>
                </a:p>
              </p:txBody>
            </p:sp>
            <p:grpSp>
              <p:nvGrpSpPr>
                <p:cNvPr id="111" name="Group 113">
                  <a:extLst>
                    <a:ext uri="{FF2B5EF4-FFF2-40B4-BE49-F238E27FC236}">
                      <a16:creationId xmlns:a16="http://schemas.microsoft.com/office/drawing/2014/main" id="{33408767-D4FE-4338-AB01-BE9C57B1FEB6}"/>
                    </a:ext>
                  </a:extLst>
                </p:cNvPr>
                <p:cNvGrpSpPr/>
                <p:nvPr/>
              </p:nvGrpSpPr>
              <p:grpSpPr>
                <a:xfrm>
                  <a:off x="4731997" y="3958632"/>
                  <a:ext cx="144000" cy="474977"/>
                  <a:chOff x="4736859" y="3962409"/>
                  <a:chExt cx="144000" cy="474977"/>
                </a:xfrm>
              </p:grpSpPr>
              <p:sp>
                <p:nvSpPr>
                  <p:cNvPr id="112" name="Ellipse 272">
                    <a:extLst>
                      <a:ext uri="{FF2B5EF4-FFF2-40B4-BE49-F238E27FC236}">
                        <a16:creationId xmlns:a16="http://schemas.microsoft.com/office/drawing/2014/main" id="{E6415D79-971E-44A6-B98B-AB72215D2F3D}"/>
                      </a:ext>
                    </a:extLst>
                  </p:cNvPr>
                  <p:cNvSpPr/>
                  <p:nvPr/>
                </p:nvSpPr>
                <p:spPr bwMode="auto">
                  <a:xfrm rot="16200000">
                    <a:off x="4736859" y="4293386"/>
                    <a:ext cx="144000" cy="144000"/>
                  </a:xfrm>
                  <a:prstGeom prst="ellipse">
                    <a:avLst/>
                  </a:prstGeom>
                  <a:solidFill>
                    <a:srgbClr val="E5E5E9"/>
                  </a:solidFill>
                  <a:ln w="6350">
                    <a:noFill/>
                    <a:miter lim="800000"/>
                    <a:headEnd/>
                    <a:tailEnd/>
                  </a:ln>
                  <a:effectLst/>
                  <a:scene3d>
                    <a:camera prst="orthographicFront">
                      <a:rot lat="0" lon="0" rev="0"/>
                    </a:camera>
                    <a:lightRig rig="threePt" dir="t"/>
                  </a:scene3d>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sp>
                <p:nvSpPr>
                  <p:cNvPr id="113" name="Ellipse 273">
                    <a:extLst>
                      <a:ext uri="{FF2B5EF4-FFF2-40B4-BE49-F238E27FC236}">
                        <a16:creationId xmlns:a16="http://schemas.microsoft.com/office/drawing/2014/main" id="{7335CFB4-2B5E-4A21-AA73-FA9104758B93}"/>
                      </a:ext>
                    </a:extLst>
                  </p:cNvPr>
                  <p:cNvSpPr/>
                  <p:nvPr/>
                </p:nvSpPr>
                <p:spPr bwMode="auto">
                  <a:xfrm rot="16200000">
                    <a:off x="4736859" y="4127898"/>
                    <a:ext cx="144000" cy="144000"/>
                  </a:xfrm>
                  <a:prstGeom prst="ellipse">
                    <a:avLst/>
                  </a:prstGeom>
                  <a:solidFill>
                    <a:srgbClr val="FF9000"/>
                  </a:solidFill>
                  <a:ln>
                    <a:noFill/>
                  </a:ln>
                  <a:effectLst/>
                  <a:scene3d>
                    <a:camera prst="orthographicFront">
                      <a:rot lat="0" lon="0" rev="0"/>
                    </a:camera>
                    <a:lightRig rig="threePt" dir="t"/>
                  </a:scene3d>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sp>
                <p:nvSpPr>
                  <p:cNvPr id="114" name="Ellipse 274">
                    <a:extLst>
                      <a:ext uri="{FF2B5EF4-FFF2-40B4-BE49-F238E27FC236}">
                        <a16:creationId xmlns:a16="http://schemas.microsoft.com/office/drawing/2014/main" id="{8EE92EA6-94DC-4868-ACC0-7E2FBBDBF75E}"/>
                      </a:ext>
                    </a:extLst>
                  </p:cNvPr>
                  <p:cNvSpPr/>
                  <p:nvPr/>
                </p:nvSpPr>
                <p:spPr bwMode="auto">
                  <a:xfrm rot="16200000">
                    <a:off x="4736859" y="3962409"/>
                    <a:ext cx="144000" cy="144000"/>
                  </a:xfrm>
                  <a:prstGeom prst="ellipse">
                    <a:avLst/>
                  </a:prstGeom>
                  <a:solidFill>
                    <a:srgbClr val="E5E5E9"/>
                  </a:solidFill>
                  <a:ln w="6350">
                    <a:noFill/>
                    <a:miter lim="800000"/>
                    <a:headEnd/>
                    <a:tailEnd/>
                  </a:ln>
                  <a:effectLst/>
                  <a:scene3d>
                    <a:camera prst="orthographicFront">
                      <a:rot lat="0" lon="0" rev="0"/>
                    </a:camera>
                    <a:lightRig rig="threePt" dir="t"/>
                  </a:scene3d>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grpSp>
          </p:grpSp>
        </p:grpSp>
        <p:grpSp>
          <p:nvGrpSpPr>
            <p:cNvPr id="6" name="Group 5">
              <a:extLst>
                <a:ext uri="{FF2B5EF4-FFF2-40B4-BE49-F238E27FC236}">
                  <a16:creationId xmlns:a16="http://schemas.microsoft.com/office/drawing/2014/main" id="{BED53BC0-0C5A-4EEA-8E31-F28B780C7805}"/>
                </a:ext>
              </a:extLst>
            </p:cNvPr>
            <p:cNvGrpSpPr/>
            <p:nvPr/>
          </p:nvGrpSpPr>
          <p:grpSpPr>
            <a:xfrm>
              <a:off x="4013335" y="5659602"/>
              <a:ext cx="1330714" cy="299056"/>
              <a:chOff x="4013335" y="5659602"/>
              <a:chExt cx="1330714" cy="299056"/>
            </a:xfrm>
          </p:grpSpPr>
          <p:sp>
            <p:nvSpPr>
              <p:cNvPr id="109" name="Rectangle 108"/>
              <p:cNvSpPr/>
              <p:nvPr/>
            </p:nvSpPr>
            <p:spPr>
              <a:xfrm>
                <a:off x="4589107" y="5670808"/>
                <a:ext cx="754942" cy="287850"/>
              </a:xfrm>
              <a:prstGeom prst="rect">
                <a:avLst/>
              </a:prstGeom>
            </p:spPr>
            <p:txBody>
              <a:bodyPr wrap="none" lIns="143925" tIns="0" rIns="0" bIns="0" anchor="ctr">
                <a:noAutofit/>
              </a:bodyPr>
              <a:lstStyle/>
              <a:p>
                <a:r>
                  <a:rPr lang="en-US" sz="1199" dirty="0">
                    <a:solidFill>
                      <a:srgbClr val="66667E"/>
                    </a:solidFill>
                  </a:rPr>
                  <a:t>Ongoing</a:t>
                </a:r>
              </a:p>
            </p:txBody>
          </p:sp>
          <p:grpSp>
            <p:nvGrpSpPr>
              <p:cNvPr id="115" name="Group 117">
                <a:extLst>
                  <a:ext uri="{FF2B5EF4-FFF2-40B4-BE49-F238E27FC236}">
                    <a16:creationId xmlns:a16="http://schemas.microsoft.com/office/drawing/2014/main" id="{C16AA9A8-920F-47C1-BFA6-9211D1480EE2}"/>
                  </a:ext>
                </a:extLst>
              </p:cNvPr>
              <p:cNvGrpSpPr/>
              <p:nvPr/>
            </p:nvGrpSpPr>
            <p:grpSpPr>
              <a:xfrm rot="5400000">
                <a:off x="4157296" y="5515641"/>
                <a:ext cx="287850" cy="575772"/>
                <a:chOff x="4659997" y="3908085"/>
                <a:chExt cx="288000" cy="576072"/>
              </a:xfrm>
            </p:grpSpPr>
            <p:sp>
              <p:nvSpPr>
                <p:cNvPr id="116" name="Rechteck 271">
                  <a:extLst>
                    <a:ext uri="{FF2B5EF4-FFF2-40B4-BE49-F238E27FC236}">
                      <a16:creationId xmlns:a16="http://schemas.microsoft.com/office/drawing/2014/main" id="{C998EE39-DFE7-4720-B85D-59ED5414D8E3}"/>
                    </a:ext>
                  </a:extLst>
                </p:cNvPr>
                <p:cNvSpPr/>
                <p:nvPr/>
              </p:nvSpPr>
              <p:spPr bwMode="auto">
                <a:xfrm rot="16200000">
                  <a:off x="4515961" y="4052121"/>
                  <a:ext cx="576072" cy="288000"/>
                </a:xfrm>
                <a:prstGeom prst="rect">
                  <a:avLst/>
                </a:prstGeom>
                <a:solidFill>
                  <a:srgbClr val="FFFFFF"/>
                </a:solidFill>
                <a:ln w="6350">
                  <a:solidFill>
                    <a:srgbClr val="66667E"/>
                  </a:solidFill>
                  <a:miter lim="800000"/>
                  <a:headEnd/>
                  <a:tailEnd/>
                </a:ln>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style>
                <a:lnRef idx="2">
                  <a:schemeClr val="dk1"/>
                </a:lnRef>
                <a:fillRef idx="1">
                  <a:schemeClr val="lt1"/>
                </a:fillRef>
                <a:effectRef idx="0">
                  <a:schemeClr val="dk1"/>
                </a:effectRef>
                <a:fontRef idx="minor">
                  <a:schemeClr val="dk1"/>
                </a:fontRef>
              </p:style>
              <p:txBody>
                <a:bodyPr wrap="square" lIns="107944" tIns="53972" rIns="107944" bIns="53972" numCol="1" spcCol="72000" rtlCol="0" anchor="ctr">
                  <a:noAutofit/>
                </a:bodyPr>
                <a:lstStyle/>
                <a:p>
                  <a:pPr algn="ctr">
                    <a:lnSpc>
                      <a:spcPct val="110000"/>
                    </a:lnSpc>
                    <a:spcBef>
                      <a:spcPct val="0"/>
                    </a:spcBef>
                  </a:pPr>
                  <a:endParaRPr lang="en-US" sz="1799" b="1" dirty="0">
                    <a:solidFill>
                      <a:schemeClr val="tx1"/>
                    </a:solidFill>
                  </a:endParaRPr>
                </a:p>
              </p:txBody>
            </p:sp>
            <p:grpSp>
              <p:nvGrpSpPr>
                <p:cNvPr id="117" name="Group 119">
                  <a:extLst>
                    <a:ext uri="{FF2B5EF4-FFF2-40B4-BE49-F238E27FC236}">
                      <a16:creationId xmlns:a16="http://schemas.microsoft.com/office/drawing/2014/main" id="{59027EA5-F307-4C60-9B62-7EF71BC54F7B}"/>
                    </a:ext>
                  </a:extLst>
                </p:cNvPr>
                <p:cNvGrpSpPr/>
                <p:nvPr/>
              </p:nvGrpSpPr>
              <p:grpSpPr>
                <a:xfrm>
                  <a:off x="4731997" y="3958632"/>
                  <a:ext cx="144000" cy="474977"/>
                  <a:chOff x="4736859" y="3962409"/>
                  <a:chExt cx="144000" cy="474977"/>
                </a:xfrm>
              </p:grpSpPr>
              <p:sp>
                <p:nvSpPr>
                  <p:cNvPr id="118" name="Ellipse 272">
                    <a:extLst>
                      <a:ext uri="{FF2B5EF4-FFF2-40B4-BE49-F238E27FC236}">
                        <a16:creationId xmlns:a16="http://schemas.microsoft.com/office/drawing/2014/main" id="{F8BCC3F7-76F1-4947-BE04-E17990AEF197}"/>
                      </a:ext>
                    </a:extLst>
                  </p:cNvPr>
                  <p:cNvSpPr/>
                  <p:nvPr/>
                </p:nvSpPr>
                <p:spPr bwMode="auto">
                  <a:xfrm rot="16200000">
                    <a:off x="4736859" y="4293386"/>
                    <a:ext cx="144000" cy="144000"/>
                  </a:xfrm>
                  <a:prstGeom prst="ellipse">
                    <a:avLst/>
                  </a:prstGeom>
                  <a:solidFill>
                    <a:srgbClr val="E5E5E9"/>
                  </a:solidFill>
                  <a:ln>
                    <a:noFill/>
                  </a:ln>
                  <a:effectLst/>
                  <a:scene3d>
                    <a:camera prst="orthographicFront">
                      <a:rot lat="0" lon="0" rev="0"/>
                    </a:camera>
                    <a:lightRig rig="threePt" dir="t"/>
                  </a:scene3d>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sp>
                <p:nvSpPr>
                  <p:cNvPr id="119" name="Ellipse 273">
                    <a:extLst>
                      <a:ext uri="{FF2B5EF4-FFF2-40B4-BE49-F238E27FC236}">
                        <a16:creationId xmlns:a16="http://schemas.microsoft.com/office/drawing/2014/main" id="{557975C0-5065-4A1E-9E06-9F5CA05D1A04}"/>
                      </a:ext>
                    </a:extLst>
                  </p:cNvPr>
                  <p:cNvSpPr/>
                  <p:nvPr/>
                </p:nvSpPr>
                <p:spPr bwMode="auto">
                  <a:xfrm rot="16200000">
                    <a:off x="4736859" y="4127898"/>
                    <a:ext cx="144000" cy="144000"/>
                  </a:xfrm>
                  <a:prstGeom prst="ellipse">
                    <a:avLst/>
                  </a:prstGeom>
                  <a:solidFill>
                    <a:srgbClr val="E5E5E9"/>
                  </a:solidFill>
                  <a:ln>
                    <a:noFill/>
                  </a:ln>
                  <a:effectLst/>
                  <a:scene3d>
                    <a:camera prst="orthographicFront">
                      <a:rot lat="0" lon="0" rev="0"/>
                    </a:camera>
                    <a:lightRig rig="threePt" dir="t"/>
                  </a:scene3d>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sp>
                <p:nvSpPr>
                  <p:cNvPr id="120" name="Ellipse 274">
                    <a:extLst>
                      <a:ext uri="{FF2B5EF4-FFF2-40B4-BE49-F238E27FC236}">
                        <a16:creationId xmlns:a16="http://schemas.microsoft.com/office/drawing/2014/main" id="{F87F0508-F54C-4826-8A5E-21BE276929FA}"/>
                      </a:ext>
                    </a:extLst>
                  </p:cNvPr>
                  <p:cNvSpPr/>
                  <p:nvPr/>
                </p:nvSpPr>
                <p:spPr bwMode="auto">
                  <a:xfrm rot="16200000">
                    <a:off x="4736859" y="3962409"/>
                    <a:ext cx="144000" cy="144000"/>
                  </a:xfrm>
                  <a:prstGeom prst="ellipse">
                    <a:avLst/>
                  </a:prstGeom>
                  <a:solidFill>
                    <a:srgbClr val="00AF8E"/>
                  </a:solidFill>
                  <a:ln>
                    <a:noFill/>
                  </a:ln>
                  <a:effectLst/>
                  <a:scene3d>
                    <a:camera prst="orthographicFront">
                      <a:rot lat="0" lon="0" rev="0"/>
                    </a:camera>
                    <a:lightRig rig="threePt" dir="t"/>
                  </a:scene3d>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grpSp>
          </p:grpSp>
        </p:grpSp>
      </p:grpSp>
      <p:sp>
        <p:nvSpPr>
          <p:cNvPr id="2" name="Footer Placeholder 1">
            <a:extLst>
              <a:ext uri="{FF2B5EF4-FFF2-40B4-BE49-F238E27FC236}">
                <a16:creationId xmlns:a16="http://schemas.microsoft.com/office/drawing/2014/main" id="{AF343A4D-1406-416F-A0BA-D15DE47B0CD6}"/>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3" name="Slide Number Placeholder 2">
            <a:extLst>
              <a:ext uri="{FF2B5EF4-FFF2-40B4-BE49-F238E27FC236}">
                <a16:creationId xmlns:a16="http://schemas.microsoft.com/office/drawing/2014/main" id="{3512175E-33A1-4AE5-A12E-C85C1727F378}"/>
              </a:ext>
            </a:extLst>
          </p:cNvPr>
          <p:cNvSpPr>
            <a:spLocks noGrp="1"/>
          </p:cNvSpPr>
          <p:nvPr>
            <p:ph type="sldNum" sz="quarter" idx="11"/>
          </p:nvPr>
        </p:nvSpPr>
        <p:spPr/>
        <p:txBody>
          <a:bodyPr/>
          <a:lstStyle/>
          <a:p>
            <a:r>
              <a:rPr lang="en-US" dirty="0"/>
              <a:t>Page </a:t>
            </a:r>
            <a:fld id="{15EBE321-CBB1-4E91-BD14-37C8D44326FB}" type="slidenum">
              <a:rPr lang="en-US" smtClean="0"/>
              <a:pPr/>
              <a:t>54</a:t>
            </a:fld>
            <a:endParaRPr lang="en-US" dirty="0"/>
          </a:p>
        </p:txBody>
      </p:sp>
    </p:spTree>
    <p:extLst>
      <p:ext uri="{BB962C8B-B14F-4D97-AF65-F5344CB8AC3E}">
        <p14:creationId xmlns:p14="http://schemas.microsoft.com/office/powerpoint/2010/main" val="27244738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Tabelle 54"/>
          <p:cNvGraphicFramePr>
            <a:graphicFrameLocks noGrp="1"/>
          </p:cNvGraphicFramePr>
          <p:nvPr>
            <p:extLst>
              <p:ext uri="{D42A27DB-BD31-4B8C-83A1-F6EECF244321}">
                <p14:modId xmlns:p14="http://schemas.microsoft.com/office/powerpoint/2010/main" val="1415964143"/>
              </p:ext>
            </p:extLst>
          </p:nvPr>
        </p:nvGraphicFramePr>
        <p:xfrm>
          <a:off x="410400" y="1415848"/>
          <a:ext cx="7775588" cy="3562146"/>
        </p:xfrm>
        <a:graphic>
          <a:graphicData uri="http://schemas.openxmlformats.org/drawingml/2006/table">
            <a:tbl>
              <a:tblPr>
                <a:tableStyleId>{0E3FDE45-AF77-4B5C-9715-49D594BDF05E}</a:tableStyleId>
              </a:tblPr>
              <a:tblGrid>
                <a:gridCol w="6984000">
                  <a:extLst>
                    <a:ext uri="{9D8B030D-6E8A-4147-A177-3AD203B41FA5}">
                      <a16:colId xmlns:a16="http://schemas.microsoft.com/office/drawing/2014/main" val="20002"/>
                    </a:ext>
                  </a:extLst>
                </a:gridCol>
                <a:gridCol w="791588">
                  <a:extLst>
                    <a:ext uri="{9D8B030D-6E8A-4147-A177-3AD203B41FA5}">
                      <a16:colId xmlns:a16="http://schemas.microsoft.com/office/drawing/2014/main" val="2347491445"/>
                    </a:ext>
                  </a:extLst>
                </a:gridCol>
              </a:tblGrid>
              <a:tr h="593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rgbClr val="9999A9"/>
                          </a:solidFill>
                          <a:effectLst/>
                          <a:uLnTx/>
                          <a:uFillTx/>
                        </a:rPr>
                        <a:t>At vero eos et accusam</a:t>
                      </a:r>
                      <a:endParaRPr lang="en-US" sz="1600" noProof="0" dirty="0">
                        <a:solidFill>
                          <a:srgbClr val="9999A9"/>
                        </a:solidFill>
                        <a:latin typeface="+mn-lt"/>
                        <a:ea typeface="Arial Unicode MS"/>
                      </a:endParaRPr>
                    </a:p>
                  </a:txBody>
                  <a:tcPr marL="0" marR="0" marT="71963" marB="71963" anchor="ctr">
                    <a:lnB w="12700" cap="flat" cmpd="sng" algn="ctr">
                      <a:solidFill>
                        <a:srgbClr val="9999A9"/>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noProof="0" dirty="0">
                        <a:solidFill>
                          <a:srgbClr val="9999A9"/>
                        </a:solidFill>
                        <a:latin typeface="+mn-lt"/>
                        <a:ea typeface="Arial Unicode MS"/>
                      </a:endParaRPr>
                    </a:p>
                  </a:txBody>
                  <a:tcPr marL="0" marR="0" marT="71963" marB="71963" anchor="ctr">
                    <a:lnB w="12700" cap="flat" cmpd="sng" algn="ctr">
                      <a:solidFill>
                        <a:srgbClr val="9999A9"/>
                      </a:solidFill>
                      <a:prstDash val="solid"/>
                      <a:round/>
                      <a:headEnd type="none" w="med" len="med"/>
                      <a:tailEnd type="none" w="med" len="med"/>
                    </a:lnB>
                    <a:solidFill>
                      <a:srgbClr val="333353"/>
                    </a:solidFill>
                  </a:tcPr>
                </a:tc>
                <a:extLst>
                  <a:ext uri="{0D108BD9-81ED-4DB2-BD59-A6C34878D82A}">
                    <a16:rowId xmlns:a16="http://schemas.microsoft.com/office/drawing/2014/main" val="10001"/>
                  </a:ext>
                </a:extLst>
              </a:tr>
              <a:tr h="593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rgbClr val="9999A9"/>
                          </a:solidFill>
                          <a:effectLst/>
                          <a:uLnTx/>
                          <a:uFillTx/>
                        </a:rPr>
                        <a:t>Cras ultricies mi eu</a:t>
                      </a:r>
                      <a:endParaRPr lang="en-US" sz="1600" noProof="0" dirty="0">
                        <a:solidFill>
                          <a:srgbClr val="9999A9"/>
                        </a:solidFill>
                        <a:latin typeface="+mn-lt"/>
                        <a:ea typeface="Arial Unicode MS"/>
                      </a:endParaRPr>
                    </a:p>
                  </a:txBody>
                  <a:tcPr marL="0" marR="0"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noProof="0" dirty="0">
                        <a:solidFill>
                          <a:srgbClr val="9999A9"/>
                        </a:solidFill>
                        <a:latin typeface="+mn-lt"/>
                        <a:ea typeface="Arial Unicode MS"/>
                      </a:endParaRPr>
                    </a:p>
                  </a:txBody>
                  <a:tcPr marL="0" marR="0"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solidFill>
                      <a:srgbClr val="333353"/>
                    </a:solidFill>
                  </a:tcPr>
                </a:tc>
                <a:extLst>
                  <a:ext uri="{0D108BD9-81ED-4DB2-BD59-A6C34878D82A}">
                    <a16:rowId xmlns:a16="http://schemas.microsoft.com/office/drawing/2014/main" val="10002"/>
                  </a:ext>
                </a:extLst>
              </a:tr>
              <a:tr h="593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rgbClr val="9999A9"/>
                          </a:solidFill>
                          <a:effectLst/>
                          <a:uLnTx/>
                          <a:uFillTx/>
                        </a:rPr>
                        <a:t>At vero eos et accusam</a:t>
                      </a:r>
                      <a:endParaRPr lang="en-US" sz="1600" noProof="0" dirty="0">
                        <a:solidFill>
                          <a:srgbClr val="9999A9"/>
                        </a:solidFill>
                        <a:latin typeface="+mn-lt"/>
                        <a:ea typeface="Arial Unicode MS"/>
                      </a:endParaRPr>
                    </a:p>
                  </a:txBody>
                  <a:tcPr marL="0" marR="0"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noProof="0" dirty="0">
                        <a:solidFill>
                          <a:srgbClr val="9999A9"/>
                        </a:solidFill>
                        <a:latin typeface="+mn-lt"/>
                        <a:ea typeface="Arial Unicode MS"/>
                      </a:endParaRPr>
                    </a:p>
                  </a:txBody>
                  <a:tcPr marL="0" marR="0"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solidFill>
                      <a:srgbClr val="333353"/>
                    </a:solidFill>
                  </a:tcPr>
                </a:tc>
                <a:extLst>
                  <a:ext uri="{0D108BD9-81ED-4DB2-BD59-A6C34878D82A}">
                    <a16:rowId xmlns:a16="http://schemas.microsoft.com/office/drawing/2014/main" val="10003"/>
                  </a:ext>
                </a:extLst>
              </a:tr>
              <a:tr h="593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rgbClr val="9999A9"/>
                          </a:solidFill>
                          <a:effectLst/>
                          <a:uLnTx/>
                          <a:uFillTx/>
                        </a:rPr>
                        <a:t>Duis arcu tortor, suscipit eget, imperdiet nec, imperdiet iaculis, ipsum</a:t>
                      </a:r>
                      <a:endParaRPr lang="en-US" sz="1600" noProof="0" dirty="0">
                        <a:solidFill>
                          <a:srgbClr val="9999A9"/>
                        </a:solidFill>
                        <a:latin typeface="+mn-lt"/>
                        <a:ea typeface="Arial Unicode MS"/>
                      </a:endParaRPr>
                    </a:p>
                  </a:txBody>
                  <a:tcPr marL="0" marR="0"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noProof="0" dirty="0">
                        <a:solidFill>
                          <a:srgbClr val="9999A9"/>
                        </a:solidFill>
                        <a:latin typeface="+mn-lt"/>
                        <a:ea typeface="Arial Unicode MS"/>
                      </a:endParaRPr>
                    </a:p>
                  </a:txBody>
                  <a:tcPr marL="0" marR="0"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solidFill>
                      <a:srgbClr val="333353"/>
                    </a:solidFill>
                  </a:tcPr>
                </a:tc>
                <a:extLst>
                  <a:ext uri="{0D108BD9-81ED-4DB2-BD59-A6C34878D82A}">
                    <a16:rowId xmlns:a16="http://schemas.microsoft.com/office/drawing/2014/main" val="10004"/>
                  </a:ext>
                </a:extLst>
              </a:tr>
              <a:tr h="593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rgbClr val="9999A9"/>
                          </a:solidFill>
                          <a:effectLst/>
                          <a:uLnTx/>
                          <a:uFillTx/>
                        </a:rPr>
                        <a:t>Cras ultricies mi eu</a:t>
                      </a:r>
                      <a:endParaRPr lang="en-US" sz="1600" noProof="0" dirty="0">
                        <a:solidFill>
                          <a:srgbClr val="9999A9"/>
                        </a:solidFill>
                        <a:latin typeface="+mn-lt"/>
                        <a:ea typeface="Arial Unicode MS"/>
                      </a:endParaRPr>
                    </a:p>
                  </a:txBody>
                  <a:tcPr marL="0" marR="0"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noProof="0" dirty="0">
                        <a:solidFill>
                          <a:srgbClr val="9999A9"/>
                        </a:solidFill>
                        <a:latin typeface="+mn-lt"/>
                        <a:ea typeface="Arial Unicode MS"/>
                      </a:endParaRPr>
                    </a:p>
                  </a:txBody>
                  <a:tcPr marL="0" marR="0"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solidFill>
                      <a:srgbClr val="333353"/>
                    </a:solidFill>
                  </a:tcPr>
                </a:tc>
                <a:extLst>
                  <a:ext uri="{0D108BD9-81ED-4DB2-BD59-A6C34878D82A}">
                    <a16:rowId xmlns:a16="http://schemas.microsoft.com/office/drawing/2014/main" val="2514599482"/>
                  </a:ext>
                </a:extLst>
              </a:tr>
              <a:tr h="593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s-ES" sz="1600" u="none" strike="noStrike" kern="1200" cap="none" spc="0" normalizeH="0" baseline="0" noProof="0" dirty="0">
                          <a:ln>
                            <a:noFill/>
                          </a:ln>
                          <a:solidFill>
                            <a:srgbClr val="9999A9"/>
                          </a:solidFill>
                          <a:effectLst/>
                          <a:uLnTx/>
                          <a:uFillTx/>
                        </a:rPr>
                        <a:t>Duis arcu tortor, suscipit eget</a:t>
                      </a:r>
                      <a:endParaRPr lang="en-US" sz="1600" noProof="0" dirty="0">
                        <a:solidFill>
                          <a:srgbClr val="9999A9"/>
                        </a:solidFill>
                        <a:latin typeface="+mn-lt"/>
                        <a:ea typeface="Arial Unicode MS"/>
                      </a:endParaRPr>
                    </a:p>
                  </a:txBody>
                  <a:tcPr marL="0" marR="0"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noProof="0" dirty="0">
                        <a:solidFill>
                          <a:srgbClr val="9999A9"/>
                        </a:solidFill>
                        <a:latin typeface="+mn-lt"/>
                        <a:ea typeface="Arial Unicode MS"/>
                      </a:endParaRPr>
                    </a:p>
                  </a:txBody>
                  <a:tcPr marL="0" marR="0"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solidFill>
                      <a:srgbClr val="333353"/>
                    </a:solidFill>
                  </a:tcPr>
                </a:tc>
                <a:extLst>
                  <a:ext uri="{0D108BD9-81ED-4DB2-BD59-A6C34878D82A}">
                    <a16:rowId xmlns:a16="http://schemas.microsoft.com/office/drawing/2014/main" val="1237210138"/>
                  </a:ext>
                </a:extLst>
              </a:tr>
            </a:tbl>
          </a:graphicData>
        </a:graphic>
      </p:graphicFrame>
      <p:graphicFrame>
        <p:nvGraphicFramePr>
          <p:cNvPr id="56" name="Objekt 55"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3" imgW="360" imgH="360" progId="">
                  <p:embed/>
                </p:oleObj>
              </mc:Choice>
              <mc:Fallback>
                <p:oleObj name="think-cell Folie" r:id="rId3" imgW="360" imgH="360" progId="">
                  <p:embed/>
                  <p:pic>
                    <p:nvPicPr>
                      <p:cNvPr id="56" name="Objekt 5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el 4"/>
          <p:cNvSpPr>
            <a:spLocks noGrp="1"/>
          </p:cNvSpPr>
          <p:nvPr>
            <p:ph type="title"/>
          </p:nvPr>
        </p:nvSpPr>
        <p:spPr/>
        <p:txBody>
          <a:bodyPr/>
          <a:lstStyle/>
          <a:p>
            <a:r>
              <a:rPr lang="en-US" dirty="0"/>
              <a:t>Evaluation – traffic light rating system</a:t>
            </a:r>
          </a:p>
        </p:txBody>
      </p:sp>
      <p:grpSp>
        <p:nvGrpSpPr>
          <p:cNvPr id="43" name="Group 105">
            <a:extLst>
              <a:ext uri="{FF2B5EF4-FFF2-40B4-BE49-F238E27FC236}">
                <a16:creationId xmlns:a16="http://schemas.microsoft.com/office/drawing/2014/main" id="{A615612D-518D-7F47-9B1F-3DBD6D53B1E2}"/>
              </a:ext>
            </a:extLst>
          </p:cNvPr>
          <p:cNvGrpSpPr/>
          <p:nvPr/>
        </p:nvGrpSpPr>
        <p:grpSpPr>
          <a:xfrm rot="5400000">
            <a:off x="7646063" y="1424962"/>
            <a:ext cx="287850" cy="575772"/>
            <a:chOff x="4659997" y="3908085"/>
            <a:chExt cx="288000" cy="576072"/>
          </a:xfrm>
        </p:grpSpPr>
        <p:sp>
          <p:nvSpPr>
            <p:cNvPr id="44" name="Rechteck 271">
              <a:extLst>
                <a:ext uri="{FF2B5EF4-FFF2-40B4-BE49-F238E27FC236}">
                  <a16:creationId xmlns:a16="http://schemas.microsoft.com/office/drawing/2014/main" id="{B5B7C6AA-77A3-0B40-B47C-29720FAF7E7A}"/>
                </a:ext>
              </a:extLst>
            </p:cNvPr>
            <p:cNvSpPr/>
            <p:nvPr/>
          </p:nvSpPr>
          <p:spPr bwMode="auto">
            <a:xfrm rot="16200000">
              <a:off x="4515961" y="4052121"/>
              <a:ext cx="576072" cy="288000"/>
            </a:xfrm>
            <a:prstGeom prst="rect">
              <a:avLst/>
            </a:prstGeom>
            <a:solidFill>
              <a:schemeClr val="bg2"/>
            </a:solidFill>
            <a:ln w="6350">
              <a:noFill/>
              <a:miter lim="800000"/>
              <a:headEnd/>
              <a:tailEnd/>
            </a:ln>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style>
            <a:lnRef idx="2">
              <a:schemeClr val="dk1"/>
            </a:lnRef>
            <a:fillRef idx="1">
              <a:schemeClr val="lt1"/>
            </a:fillRef>
            <a:effectRef idx="0">
              <a:schemeClr val="dk1"/>
            </a:effectRef>
            <a:fontRef idx="minor">
              <a:schemeClr val="dk1"/>
            </a:fontRef>
          </p:style>
          <p:txBody>
            <a:bodyPr wrap="square" lIns="107944" tIns="53972" rIns="107944" bIns="53972" numCol="1" spcCol="72000" rtlCol="0" anchor="ctr">
              <a:noAutofit/>
            </a:bodyPr>
            <a:lstStyle/>
            <a:p>
              <a:pPr algn="ctr">
                <a:lnSpc>
                  <a:spcPct val="110000"/>
                </a:lnSpc>
                <a:spcBef>
                  <a:spcPct val="0"/>
                </a:spcBef>
              </a:pPr>
              <a:endParaRPr lang="en-US" sz="1799" b="1" dirty="0">
                <a:solidFill>
                  <a:schemeClr val="tx1"/>
                </a:solidFill>
              </a:endParaRPr>
            </a:p>
          </p:txBody>
        </p:sp>
        <p:grpSp>
          <p:nvGrpSpPr>
            <p:cNvPr id="45" name="Group 107">
              <a:extLst>
                <a:ext uri="{FF2B5EF4-FFF2-40B4-BE49-F238E27FC236}">
                  <a16:creationId xmlns:a16="http://schemas.microsoft.com/office/drawing/2014/main" id="{FEC8E881-CF14-3140-B0CA-E1F35D033499}"/>
                </a:ext>
              </a:extLst>
            </p:cNvPr>
            <p:cNvGrpSpPr/>
            <p:nvPr/>
          </p:nvGrpSpPr>
          <p:grpSpPr>
            <a:xfrm>
              <a:off x="4731997" y="3958632"/>
              <a:ext cx="144000" cy="474977"/>
              <a:chOff x="4736859" y="3962409"/>
              <a:chExt cx="144000" cy="474977"/>
            </a:xfrm>
          </p:grpSpPr>
          <p:sp>
            <p:nvSpPr>
              <p:cNvPr id="46" name="Ellipse 272">
                <a:extLst>
                  <a:ext uri="{FF2B5EF4-FFF2-40B4-BE49-F238E27FC236}">
                    <a16:creationId xmlns:a16="http://schemas.microsoft.com/office/drawing/2014/main" id="{7BA3674F-00A3-254B-8725-7FB620A26C01}"/>
                  </a:ext>
                </a:extLst>
              </p:cNvPr>
              <p:cNvSpPr/>
              <p:nvPr/>
            </p:nvSpPr>
            <p:spPr bwMode="auto">
              <a:xfrm rot="16200000">
                <a:off x="4736859" y="4293386"/>
                <a:ext cx="144000" cy="144000"/>
              </a:xfrm>
              <a:prstGeom prst="ellipse">
                <a:avLst/>
              </a:prstGeom>
              <a:solidFill>
                <a:srgbClr val="EF0137"/>
              </a:solidFill>
              <a:ln w="6350">
                <a:noFill/>
                <a:miter lim="800000"/>
                <a:headEnd/>
                <a:tailEnd/>
              </a:ln>
              <a:effectLst/>
              <a:scene3d>
                <a:camera prst="orthographicFront">
                  <a:rot lat="0" lon="0" rev="0"/>
                </a:camera>
                <a:lightRig rig="threePt" dir="t"/>
              </a:scene3d>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sp>
            <p:nvSpPr>
              <p:cNvPr id="47" name="Ellipse 273">
                <a:extLst>
                  <a:ext uri="{FF2B5EF4-FFF2-40B4-BE49-F238E27FC236}">
                    <a16:creationId xmlns:a16="http://schemas.microsoft.com/office/drawing/2014/main" id="{AB374B90-1A87-4D4E-BCB2-B22DDF25C931}"/>
                  </a:ext>
                </a:extLst>
              </p:cNvPr>
              <p:cNvSpPr/>
              <p:nvPr/>
            </p:nvSpPr>
            <p:spPr bwMode="auto">
              <a:xfrm rot="16200000">
                <a:off x="4736859" y="4127898"/>
                <a:ext cx="144000" cy="144000"/>
              </a:xfrm>
              <a:prstGeom prst="ellipse">
                <a:avLst/>
              </a:prstGeom>
              <a:solidFill>
                <a:srgbClr val="333353"/>
              </a:solidFill>
              <a:ln w="6350">
                <a:noFill/>
                <a:miter lim="800000"/>
                <a:headEnd/>
                <a:tailEnd/>
              </a:ln>
              <a:effectLst/>
              <a:scene3d>
                <a:camera prst="orthographicFront">
                  <a:rot lat="0" lon="0" rev="0"/>
                </a:camera>
                <a:lightRig rig="threePt" dir="t"/>
              </a:scene3d>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sp>
            <p:nvSpPr>
              <p:cNvPr id="48" name="Ellipse 274">
                <a:extLst>
                  <a:ext uri="{FF2B5EF4-FFF2-40B4-BE49-F238E27FC236}">
                    <a16:creationId xmlns:a16="http://schemas.microsoft.com/office/drawing/2014/main" id="{A9F66A62-8A4F-5646-A73F-60E9142531A8}"/>
                  </a:ext>
                </a:extLst>
              </p:cNvPr>
              <p:cNvSpPr/>
              <p:nvPr/>
            </p:nvSpPr>
            <p:spPr bwMode="auto">
              <a:xfrm rot="16200000">
                <a:off x="4736859" y="3962409"/>
                <a:ext cx="144000" cy="144000"/>
              </a:xfrm>
              <a:prstGeom prst="ellipse">
                <a:avLst/>
              </a:prstGeom>
              <a:solidFill>
                <a:srgbClr val="333353"/>
              </a:solidFill>
              <a:ln>
                <a:noFill/>
              </a:ln>
              <a:effectLst/>
              <a:scene3d>
                <a:camera prst="orthographicFront">
                  <a:rot lat="0" lon="0" rev="0"/>
                </a:camera>
                <a:lightRig rig="threePt" dir="t"/>
              </a:scene3d>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grpSp>
      </p:grpSp>
      <p:grpSp>
        <p:nvGrpSpPr>
          <p:cNvPr id="49" name="Group 111">
            <a:extLst>
              <a:ext uri="{FF2B5EF4-FFF2-40B4-BE49-F238E27FC236}">
                <a16:creationId xmlns:a16="http://schemas.microsoft.com/office/drawing/2014/main" id="{8DBC1493-561F-7649-9BC0-F23046095629}"/>
              </a:ext>
            </a:extLst>
          </p:cNvPr>
          <p:cNvGrpSpPr/>
          <p:nvPr/>
        </p:nvGrpSpPr>
        <p:grpSpPr>
          <a:xfrm rot="5400000">
            <a:off x="7646063" y="2018591"/>
            <a:ext cx="287850" cy="575772"/>
            <a:chOff x="4659997" y="3908085"/>
            <a:chExt cx="288000" cy="576072"/>
          </a:xfrm>
        </p:grpSpPr>
        <p:sp>
          <p:nvSpPr>
            <p:cNvPr id="50" name="Rechteck 271">
              <a:extLst>
                <a:ext uri="{FF2B5EF4-FFF2-40B4-BE49-F238E27FC236}">
                  <a16:creationId xmlns:a16="http://schemas.microsoft.com/office/drawing/2014/main" id="{8D0092E4-21DA-A24C-A4DD-940B1C610F48}"/>
                </a:ext>
              </a:extLst>
            </p:cNvPr>
            <p:cNvSpPr/>
            <p:nvPr/>
          </p:nvSpPr>
          <p:spPr bwMode="auto">
            <a:xfrm rot="16200000">
              <a:off x="4515961" y="4052121"/>
              <a:ext cx="576072" cy="288000"/>
            </a:xfrm>
            <a:prstGeom prst="rect">
              <a:avLst/>
            </a:prstGeom>
            <a:solidFill>
              <a:schemeClr val="bg2"/>
            </a:solidFill>
            <a:ln w="6350">
              <a:noFill/>
              <a:miter lim="800000"/>
              <a:headEnd/>
              <a:tailEnd/>
            </a:ln>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style>
            <a:lnRef idx="2">
              <a:schemeClr val="dk1"/>
            </a:lnRef>
            <a:fillRef idx="1">
              <a:schemeClr val="lt1"/>
            </a:fillRef>
            <a:effectRef idx="0">
              <a:schemeClr val="dk1"/>
            </a:effectRef>
            <a:fontRef idx="minor">
              <a:schemeClr val="dk1"/>
            </a:fontRef>
          </p:style>
          <p:txBody>
            <a:bodyPr wrap="square" lIns="107944" tIns="53972" rIns="107944" bIns="53972" numCol="1" spcCol="72000" rtlCol="0" anchor="ctr">
              <a:noAutofit/>
            </a:bodyPr>
            <a:lstStyle/>
            <a:p>
              <a:pPr algn="ctr">
                <a:lnSpc>
                  <a:spcPct val="110000"/>
                </a:lnSpc>
                <a:spcBef>
                  <a:spcPct val="0"/>
                </a:spcBef>
              </a:pPr>
              <a:endParaRPr lang="en-US" sz="1799" b="1" dirty="0">
                <a:solidFill>
                  <a:schemeClr val="tx1"/>
                </a:solidFill>
              </a:endParaRPr>
            </a:p>
          </p:txBody>
        </p:sp>
        <p:grpSp>
          <p:nvGrpSpPr>
            <p:cNvPr id="51" name="Group 113">
              <a:extLst>
                <a:ext uri="{FF2B5EF4-FFF2-40B4-BE49-F238E27FC236}">
                  <a16:creationId xmlns:a16="http://schemas.microsoft.com/office/drawing/2014/main" id="{F8253EEE-8200-0245-9A79-8F5A94D31C30}"/>
                </a:ext>
              </a:extLst>
            </p:cNvPr>
            <p:cNvGrpSpPr/>
            <p:nvPr/>
          </p:nvGrpSpPr>
          <p:grpSpPr>
            <a:xfrm>
              <a:off x="4731997" y="3958632"/>
              <a:ext cx="144000" cy="474977"/>
              <a:chOff x="4736859" y="3962409"/>
              <a:chExt cx="144000" cy="474977"/>
            </a:xfrm>
          </p:grpSpPr>
          <p:sp>
            <p:nvSpPr>
              <p:cNvPr id="52" name="Ellipse 272">
                <a:extLst>
                  <a:ext uri="{FF2B5EF4-FFF2-40B4-BE49-F238E27FC236}">
                    <a16:creationId xmlns:a16="http://schemas.microsoft.com/office/drawing/2014/main" id="{98B9135C-498C-594C-AB55-48D9886B6A75}"/>
                  </a:ext>
                </a:extLst>
              </p:cNvPr>
              <p:cNvSpPr/>
              <p:nvPr/>
            </p:nvSpPr>
            <p:spPr bwMode="auto">
              <a:xfrm rot="16200000">
                <a:off x="4736859" y="4293386"/>
                <a:ext cx="144000" cy="144000"/>
              </a:xfrm>
              <a:prstGeom prst="ellipse">
                <a:avLst/>
              </a:prstGeom>
              <a:solidFill>
                <a:srgbClr val="333353"/>
              </a:solidFill>
              <a:ln w="6350">
                <a:noFill/>
                <a:miter lim="800000"/>
                <a:headEnd/>
                <a:tailEnd/>
              </a:ln>
              <a:effectLst/>
              <a:scene3d>
                <a:camera prst="orthographicFront">
                  <a:rot lat="0" lon="0" rev="0"/>
                </a:camera>
                <a:lightRig rig="threePt" dir="t"/>
              </a:scene3d>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sp>
            <p:nvSpPr>
              <p:cNvPr id="53" name="Ellipse 273">
                <a:extLst>
                  <a:ext uri="{FF2B5EF4-FFF2-40B4-BE49-F238E27FC236}">
                    <a16:creationId xmlns:a16="http://schemas.microsoft.com/office/drawing/2014/main" id="{0CCAA2A7-6E10-A842-889D-05AB13707C24}"/>
                  </a:ext>
                </a:extLst>
              </p:cNvPr>
              <p:cNvSpPr/>
              <p:nvPr/>
            </p:nvSpPr>
            <p:spPr bwMode="auto">
              <a:xfrm rot="16200000">
                <a:off x="4736859" y="4127898"/>
                <a:ext cx="144000" cy="144000"/>
              </a:xfrm>
              <a:prstGeom prst="ellipse">
                <a:avLst/>
              </a:prstGeom>
              <a:solidFill>
                <a:srgbClr val="FF9000"/>
              </a:solidFill>
              <a:ln>
                <a:noFill/>
              </a:ln>
              <a:effectLst/>
              <a:scene3d>
                <a:camera prst="orthographicFront">
                  <a:rot lat="0" lon="0" rev="0"/>
                </a:camera>
                <a:lightRig rig="threePt" dir="t"/>
              </a:scene3d>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sp>
            <p:nvSpPr>
              <p:cNvPr id="54" name="Ellipse 274">
                <a:extLst>
                  <a:ext uri="{FF2B5EF4-FFF2-40B4-BE49-F238E27FC236}">
                    <a16:creationId xmlns:a16="http://schemas.microsoft.com/office/drawing/2014/main" id="{A01D68BD-75AE-A24A-8E53-9137375069BF}"/>
                  </a:ext>
                </a:extLst>
              </p:cNvPr>
              <p:cNvSpPr/>
              <p:nvPr/>
            </p:nvSpPr>
            <p:spPr bwMode="auto">
              <a:xfrm rot="16200000">
                <a:off x="4736859" y="3962409"/>
                <a:ext cx="144000" cy="144000"/>
              </a:xfrm>
              <a:prstGeom prst="ellipse">
                <a:avLst/>
              </a:prstGeom>
              <a:solidFill>
                <a:srgbClr val="333353"/>
              </a:solidFill>
              <a:ln w="6350">
                <a:noFill/>
                <a:miter lim="800000"/>
                <a:headEnd/>
                <a:tailEnd/>
              </a:ln>
              <a:effectLst/>
              <a:scene3d>
                <a:camera prst="orthographicFront">
                  <a:rot lat="0" lon="0" rev="0"/>
                </a:camera>
                <a:lightRig rig="threePt" dir="t"/>
              </a:scene3d>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grpSp>
      </p:grpSp>
      <p:grpSp>
        <p:nvGrpSpPr>
          <p:cNvPr id="57" name="Group 105">
            <a:extLst>
              <a:ext uri="{FF2B5EF4-FFF2-40B4-BE49-F238E27FC236}">
                <a16:creationId xmlns:a16="http://schemas.microsoft.com/office/drawing/2014/main" id="{8A477A9B-303F-3E42-8FED-5704EBA44A48}"/>
              </a:ext>
            </a:extLst>
          </p:cNvPr>
          <p:cNvGrpSpPr/>
          <p:nvPr/>
        </p:nvGrpSpPr>
        <p:grpSpPr>
          <a:xfrm rot="5400000">
            <a:off x="7646063" y="2612220"/>
            <a:ext cx="287850" cy="575772"/>
            <a:chOff x="4659997" y="3908085"/>
            <a:chExt cx="288000" cy="576072"/>
          </a:xfrm>
        </p:grpSpPr>
        <p:sp>
          <p:nvSpPr>
            <p:cNvPr id="58" name="Rechteck 271">
              <a:extLst>
                <a:ext uri="{FF2B5EF4-FFF2-40B4-BE49-F238E27FC236}">
                  <a16:creationId xmlns:a16="http://schemas.microsoft.com/office/drawing/2014/main" id="{6101A781-DB99-F342-B94B-20D26ACCC85B}"/>
                </a:ext>
              </a:extLst>
            </p:cNvPr>
            <p:cNvSpPr/>
            <p:nvPr/>
          </p:nvSpPr>
          <p:spPr bwMode="auto">
            <a:xfrm rot="16200000">
              <a:off x="4515961" y="4052121"/>
              <a:ext cx="576072" cy="288000"/>
            </a:xfrm>
            <a:prstGeom prst="rect">
              <a:avLst/>
            </a:prstGeom>
            <a:solidFill>
              <a:schemeClr val="bg2"/>
            </a:solidFill>
            <a:ln w="6350">
              <a:noFill/>
              <a:miter lim="800000"/>
              <a:headEnd/>
              <a:tailEnd/>
            </a:ln>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style>
            <a:lnRef idx="2">
              <a:schemeClr val="dk1"/>
            </a:lnRef>
            <a:fillRef idx="1">
              <a:schemeClr val="lt1"/>
            </a:fillRef>
            <a:effectRef idx="0">
              <a:schemeClr val="dk1"/>
            </a:effectRef>
            <a:fontRef idx="minor">
              <a:schemeClr val="dk1"/>
            </a:fontRef>
          </p:style>
          <p:txBody>
            <a:bodyPr wrap="square" lIns="107944" tIns="53972" rIns="107944" bIns="53972" numCol="1" spcCol="72000" rtlCol="0" anchor="ctr">
              <a:noAutofit/>
            </a:bodyPr>
            <a:lstStyle/>
            <a:p>
              <a:pPr algn="ctr">
                <a:lnSpc>
                  <a:spcPct val="110000"/>
                </a:lnSpc>
                <a:spcBef>
                  <a:spcPct val="0"/>
                </a:spcBef>
              </a:pPr>
              <a:endParaRPr lang="en-US" sz="1799" b="1" dirty="0">
                <a:solidFill>
                  <a:schemeClr val="tx1"/>
                </a:solidFill>
              </a:endParaRPr>
            </a:p>
          </p:txBody>
        </p:sp>
        <p:grpSp>
          <p:nvGrpSpPr>
            <p:cNvPr id="59" name="Group 107">
              <a:extLst>
                <a:ext uri="{FF2B5EF4-FFF2-40B4-BE49-F238E27FC236}">
                  <a16:creationId xmlns:a16="http://schemas.microsoft.com/office/drawing/2014/main" id="{EE09D2CA-0EB8-5948-9655-8CCDB7554B0C}"/>
                </a:ext>
              </a:extLst>
            </p:cNvPr>
            <p:cNvGrpSpPr/>
            <p:nvPr/>
          </p:nvGrpSpPr>
          <p:grpSpPr>
            <a:xfrm>
              <a:off x="4731997" y="3958632"/>
              <a:ext cx="144000" cy="474977"/>
              <a:chOff x="4736859" y="3962409"/>
              <a:chExt cx="144000" cy="474977"/>
            </a:xfrm>
          </p:grpSpPr>
          <p:sp>
            <p:nvSpPr>
              <p:cNvPr id="60" name="Ellipse 272">
                <a:extLst>
                  <a:ext uri="{FF2B5EF4-FFF2-40B4-BE49-F238E27FC236}">
                    <a16:creationId xmlns:a16="http://schemas.microsoft.com/office/drawing/2014/main" id="{80EBC6A9-7F09-134E-AB5D-F440C7F51575}"/>
                  </a:ext>
                </a:extLst>
              </p:cNvPr>
              <p:cNvSpPr/>
              <p:nvPr/>
            </p:nvSpPr>
            <p:spPr bwMode="auto">
              <a:xfrm rot="16200000">
                <a:off x="4736859" y="4293386"/>
                <a:ext cx="144000" cy="144000"/>
              </a:xfrm>
              <a:prstGeom prst="ellipse">
                <a:avLst/>
              </a:prstGeom>
              <a:solidFill>
                <a:srgbClr val="EF0137"/>
              </a:solidFill>
              <a:ln>
                <a:noFill/>
              </a:ln>
              <a:effectLst/>
              <a:scene3d>
                <a:camera prst="orthographicFront">
                  <a:rot lat="0" lon="0" rev="0"/>
                </a:camera>
                <a:lightRig rig="threePt" dir="t"/>
              </a:scene3d>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sp>
            <p:nvSpPr>
              <p:cNvPr id="61" name="Ellipse 273">
                <a:extLst>
                  <a:ext uri="{FF2B5EF4-FFF2-40B4-BE49-F238E27FC236}">
                    <a16:creationId xmlns:a16="http://schemas.microsoft.com/office/drawing/2014/main" id="{1EEBB398-590B-4449-ABFF-7EC98ED46902}"/>
                  </a:ext>
                </a:extLst>
              </p:cNvPr>
              <p:cNvSpPr/>
              <p:nvPr/>
            </p:nvSpPr>
            <p:spPr bwMode="auto">
              <a:xfrm rot="16200000">
                <a:off x="4736859" y="4127898"/>
                <a:ext cx="144000" cy="144000"/>
              </a:xfrm>
              <a:prstGeom prst="ellipse">
                <a:avLst/>
              </a:prstGeom>
              <a:solidFill>
                <a:srgbClr val="333353"/>
              </a:solidFill>
              <a:ln>
                <a:noFill/>
              </a:ln>
              <a:effectLst/>
              <a:scene3d>
                <a:camera prst="orthographicFront">
                  <a:rot lat="0" lon="0" rev="0"/>
                </a:camera>
                <a:lightRig rig="threePt" dir="t"/>
              </a:scene3d>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sp>
            <p:nvSpPr>
              <p:cNvPr id="62" name="Ellipse 274">
                <a:extLst>
                  <a:ext uri="{FF2B5EF4-FFF2-40B4-BE49-F238E27FC236}">
                    <a16:creationId xmlns:a16="http://schemas.microsoft.com/office/drawing/2014/main" id="{4081B0E7-E36C-0141-A0F1-F2DA6D8D402F}"/>
                  </a:ext>
                </a:extLst>
              </p:cNvPr>
              <p:cNvSpPr/>
              <p:nvPr/>
            </p:nvSpPr>
            <p:spPr bwMode="auto">
              <a:xfrm rot="16200000">
                <a:off x="4736859" y="3962409"/>
                <a:ext cx="144000" cy="144000"/>
              </a:xfrm>
              <a:prstGeom prst="ellipse">
                <a:avLst/>
              </a:prstGeom>
              <a:solidFill>
                <a:srgbClr val="333353"/>
              </a:solidFill>
              <a:ln>
                <a:noFill/>
              </a:ln>
              <a:effectLst/>
              <a:scene3d>
                <a:camera prst="orthographicFront">
                  <a:rot lat="0" lon="0" rev="0"/>
                </a:camera>
                <a:lightRig rig="threePt" dir="t"/>
              </a:scene3d>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grpSp>
      </p:grpSp>
      <p:grpSp>
        <p:nvGrpSpPr>
          <p:cNvPr id="63" name="Group 105">
            <a:extLst>
              <a:ext uri="{FF2B5EF4-FFF2-40B4-BE49-F238E27FC236}">
                <a16:creationId xmlns:a16="http://schemas.microsoft.com/office/drawing/2014/main" id="{69EA9127-35AE-294F-B3C2-D735A0C68EEA}"/>
              </a:ext>
            </a:extLst>
          </p:cNvPr>
          <p:cNvGrpSpPr/>
          <p:nvPr/>
        </p:nvGrpSpPr>
        <p:grpSpPr>
          <a:xfrm rot="5400000">
            <a:off x="7646063" y="3205849"/>
            <a:ext cx="287850" cy="575772"/>
            <a:chOff x="4659997" y="3908085"/>
            <a:chExt cx="288000" cy="576072"/>
          </a:xfrm>
        </p:grpSpPr>
        <p:sp>
          <p:nvSpPr>
            <p:cNvPr id="64" name="Rechteck 271">
              <a:extLst>
                <a:ext uri="{FF2B5EF4-FFF2-40B4-BE49-F238E27FC236}">
                  <a16:creationId xmlns:a16="http://schemas.microsoft.com/office/drawing/2014/main" id="{3077BB2D-012E-5B40-A268-828EDCF389BC}"/>
                </a:ext>
              </a:extLst>
            </p:cNvPr>
            <p:cNvSpPr/>
            <p:nvPr/>
          </p:nvSpPr>
          <p:spPr bwMode="auto">
            <a:xfrm rot="16200000">
              <a:off x="4515961" y="4052121"/>
              <a:ext cx="576072" cy="288000"/>
            </a:xfrm>
            <a:prstGeom prst="rect">
              <a:avLst/>
            </a:prstGeom>
            <a:solidFill>
              <a:schemeClr val="bg2"/>
            </a:solidFill>
            <a:ln w="6350">
              <a:noFill/>
              <a:miter lim="800000"/>
              <a:headEnd/>
              <a:tailEnd/>
            </a:ln>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style>
            <a:lnRef idx="2">
              <a:schemeClr val="dk1"/>
            </a:lnRef>
            <a:fillRef idx="1">
              <a:schemeClr val="lt1"/>
            </a:fillRef>
            <a:effectRef idx="0">
              <a:schemeClr val="dk1"/>
            </a:effectRef>
            <a:fontRef idx="minor">
              <a:schemeClr val="dk1"/>
            </a:fontRef>
          </p:style>
          <p:txBody>
            <a:bodyPr wrap="square" lIns="107944" tIns="53972" rIns="107944" bIns="53972" numCol="1" spcCol="72000" rtlCol="0" anchor="ctr">
              <a:noAutofit/>
            </a:bodyPr>
            <a:lstStyle/>
            <a:p>
              <a:pPr algn="ctr">
                <a:lnSpc>
                  <a:spcPct val="110000"/>
                </a:lnSpc>
                <a:spcBef>
                  <a:spcPct val="0"/>
                </a:spcBef>
              </a:pPr>
              <a:endParaRPr lang="en-US" sz="1799" b="1" dirty="0">
                <a:solidFill>
                  <a:schemeClr val="tx1"/>
                </a:solidFill>
              </a:endParaRPr>
            </a:p>
          </p:txBody>
        </p:sp>
        <p:grpSp>
          <p:nvGrpSpPr>
            <p:cNvPr id="65" name="Group 107">
              <a:extLst>
                <a:ext uri="{FF2B5EF4-FFF2-40B4-BE49-F238E27FC236}">
                  <a16:creationId xmlns:a16="http://schemas.microsoft.com/office/drawing/2014/main" id="{8EE1DAB8-0CFF-504B-ABDA-602D7DFEE2D3}"/>
                </a:ext>
              </a:extLst>
            </p:cNvPr>
            <p:cNvGrpSpPr/>
            <p:nvPr/>
          </p:nvGrpSpPr>
          <p:grpSpPr>
            <a:xfrm>
              <a:off x="4731997" y="3958632"/>
              <a:ext cx="144000" cy="474977"/>
              <a:chOff x="4736859" y="3962409"/>
              <a:chExt cx="144000" cy="474977"/>
            </a:xfrm>
          </p:grpSpPr>
          <p:sp>
            <p:nvSpPr>
              <p:cNvPr id="66" name="Ellipse 272">
                <a:extLst>
                  <a:ext uri="{FF2B5EF4-FFF2-40B4-BE49-F238E27FC236}">
                    <a16:creationId xmlns:a16="http://schemas.microsoft.com/office/drawing/2014/main" id="{E3CFAEAC-C859-7544-80DD-6A4A75BD80EB}"/>
                  </a:ext>
                </a:extLst>
              </p:cNvPr>
              <p:cNvSpPr/>
              <p:nvPr/>
            </p:nvSpPr>
            <p:spPr bwMode="auto">
              <a:xfrm rot="16200000">
                <a:off x="4736859" y="4293386"/>
                <a:ext cx="144000" cy="144000"/>
              </a:xfrm>
              <a:prstGeom prst="ellipse">
                <a:avLst/>
              </a:prstGeom>
              <a:solidFill>
                <a:srgbClr val="EF0137"/>
              </a:solidFill>
              <a:ln>
                <a:noFill/>
              </a:ln>
              <a:effectLst/>
              <a:scene3d>
                <a:camera prst="orthographicFront">
                  <a:rot lat="0" lon="0" rev="0"/>
                </a:camera>
                <a:lightRig rig="threePt" dir="t"/>
              </a:scene3d>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sp>
            <p:nvSpPr>
              <p:cNvPr id="67" name="Ellipse 273">
                <a:extLst>
                  <a:ext uri="{FF2B5EF4-FFF2-40B4-BE49-F238E27FC236}">
                    <a16:creationId xmlns:a16="http://schemas.microsoft.com/office/drawing/2014/main" id="{EAA18912-C4A7-1C4B-91CB-86527F7A834D}"/>
                  </a:ext>
                </a:extLst>
              </p:cNvPr>
              <p:cNvSpPr/>
              <p:nvPr/>
            </p:nvSpPr>
            <p:spPr bwMode="auto">
              <a:xfrm rot="16200000">
                <a:off x="4736859" y="4127898"/>
                <a:ext cx="144000" cy="144000"/>
              </a:xfrm>
              <a:prstGeom prst="ellipse">
                <a:avLst/>
              </a:prstGeom>
              <a:solidFill>
                <a:srgbClr val="333353"/>
              </a:solidFill>
              <a:ln>
                <a:noFill/>
              </a:ln>
              <a:effectLst/>
              <a:scene3d>
                <a:camera prst="orthographicFront">
                  <a:rot lat="0" lon="0" rev="0"/>
                </a:camera>
                <a:lightRig rig="threePt" dir="t"/>
              </a:scene3d>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sp>
            <p:nvSpPr>
              <p:cNvPr id="68" name="Ellipse 274">
                <a:extLst>
                  <a:ext uri="{FF2B5EF4-FFF2-40B4-BE49-F238E27FC236}">
                    <a16:creationId xmlns:a16="http://schemas.microsoft.com/office/drawing/2014/main" id="{4A434DB1-D600-4341-A9C2-D3A841CA4D1E}"/>
                  </a:ext>
                </a:extLst>
              </p:cNvPr>
              <p:cNvSpPr/>
              <p:nvPr/>
            </p:nvSpPr>
            <p:spPr bwMode="auto">
              <a:xfrm rot="16200000">
                <a:off x="4736859" y="3962409"/>
                <a:ext cx="144000" cy="144000"/>
              </a:xfrm>
              <a:prstGeom prst="ellipse">
                <a:avLst/>
              </a:prstGeom>
              <a:solidFill>
                <a:srgbClr val="333353"/>
              </a:solidFill>
              <a:ln>
                <a:noFill/>
              </a:ln>
              <a:effectLst/>
              <a:scene3d>
                <a:camera prst="orthographicFront">
                  <a:rot lat="0" lon="0" rev="0"/>
                </a:camera>
                <a:lightRig rig="threePt" dir="t"/>
              </a:scene3d>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grpSp>
      </p:grpSp>
      <p:grpSp>
        <p:nvGrpSpPr>
          <p:cNvPr id="69" name="Group 117">
            <a:extLst>
              <a:ext uri="{FF2B5EF4-FFF2-40B4-BE49-F238E27FC236}">
                <a16:creationId xmlns:a16="http://schemas.microsoft.com/office/drawing/2014/main" id="{5A0C2E3A-51E7-8A45-9676-5488156580F5}"/>
              </a:ext>
            </a:extLst>
          </p:cNvPr>
          <p:cNvGrpSpPr/>
          <p:nvPr/>
        </p:nvGrpSpPr>
        <p:grpSpPr>
          <a:xfrm rot="5400000">
            <a:off x="7646063" y="3799478"/>
            <a:ext cx="287850" cy="575772"/>
            <a:chOff x="4659997" y="3908085"/>
            <a:chExt cx="288000" cy="576072"/>
          </a:xfrm>
        </p:grpSpPr>
        <p:sp>
          <p:nvSpPr>
            <p:cNvPr id="70" name="Rechteck 271">
              <a:extLst>
                <a:ext uri="{FF2B5EF4-FFF2-40B4-BE49-F238E27FC236}">
                  <a16:creationId xmlns:a16="http://schemas.microsoft.com/office/drawing/2014/main" id="{E7EF9CD7-6E4E-6B44-B4C4-2C209FE93F28}"/>
                </a:ext>
              </a:extLst>
            </p:cNvPr>
            <p:cNvSpPr/>
            <p:nvPr/>
          </p:nvSpPr>
          <p:spPr bwMode="auto">
            <a:xfrm rot="16200000">
              <a:off x="4515961" y="4052121"/>
              <a:ext cx="576072" cy="288000"/>
            </a:xfrm>
            <a:prstGeom prst="rect">
              <a:avLst/>
            </a:prstGeom>
            <a:solidFill>
              <a:schemeClr val="bg2"/>
            </a:solidFill>
            <a:ln w="6350">
              <a:noFill/>
              <a:miter lim="800000"/>
              <a:headEnd/>
              <a:tailEnd/>
            </a:ln>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style>
            <a:lnRef idx="2">
              <a:schemeClr val="dk1"/>
            </a:lnRef>
            <a:fillRef idx="1">
              <a:schemeClr val="lt1"/>
            </a:fillRef>
            <a:effectRef idx="0">
              <a:schemeClr val="dk1"/>
            </a:effectRef>
            <a:fontRef idx="minor">
              <a:schemeClr val="dk1"/>
            </a:fontRef>
          </p:style>
          <p:txBody>
            <a:bodyPr wrap="square" lIns="107944" tIns="53972" rIns="107944" bIns="53972" numCol="1" spcCol="72000" rtlCol="0" anchor="ctr">
              <a:noAutofit/>
            </a:bodyPr>
            <a:lstStyle/>
            <a:p>
              <a:pPr algn="ctr">
                <a:lnSpc>
                  <a:spcPct val="110000"/>
                </a:lnSpc>
                <a:spcBef>
                  <a:spcPct val="0"/>
                </a:spcBef>
              </a:pPr>
              <a:endParaRPr lang="en-US" sz="1799" b="1" dirty="0">
                <a:solidFill>
                  <a:schemeClr val="tx1"/>
                </a:solidFill>
              </a:endParaRPr>
            </a:p>
          </p:txBody>
        </p:sp>
        <p:grpSp>
          <p:nvGrpSpPr>
            <p:cNvPr id="71" name="Group 119">
              <a:extLst>
                <a:ext uri="{FF2B5EF4-FFF2-40B4-BE49-F238E27FC236}">
                  <a16:creationId xmlns:a16="http://schemas.microsoft.com/office/drawing/2014/main" id="{0B183432-BF46-2C42-91FF-CE8FA7BEF4D5}"/>
                </a:ext>
              </a:extLst>
            </p:cNvPr>
            <p:cNvGrpSpPr/>
            <p:nvPr/>
          </p:nvGrpSpPr>
          <p:grpSpPr>
            <a:xfrm>
              <a:off x="4731997" y="3958632"/>
              <a:ext cx="144000" cy="474977"/>
              <a:chOff x="4736859" y="3962409"/>
              <a:chExt cx="144000" cy="474977"/>
            </a:xfrm>
          </p:grpSpPr>
          <p:sp>
            <p:nvSpPr>
              <p:cNvPr id="72" name="Ellipse 272">
                <a:extLst>
                  <a:ext uri="{FF2B5EF4-FFF2-40B4-BE49-F238E27FC236}">
                    <a16:creationId xmlns:a16="http://schemas.microsoft.com/office/drawing/2014/main" id="{31DC1A73-A28E-F148-8F0A-A2AA4670C6DA}"/>
                  </a:ext>
                </a:extLst>
              </p:cNvPr>
              <p:cNvSpPr/>
              <p:nvPr/>
            </p:nvSpPr>
            <p:spPr bwMode="auto">
              <a:xfrm rot="16200000">
                <a:off x="4736859" y="4293386"/>
                <a:ext cx="144000" cy="144000"/>
              </a:xfrm>
              <a:prstGeom prst="ellipse">
                <a:avLst/>
              </a:prstGeom>
              <a:solidFill>
                <a:srgbClr val="333353"/>
              </a:solidFill>
              <a:ln>
                <a:noFill/>
              </a:ln>
              <a:effectLst/>
              <a:scene3d>
                <a:camera prst="orthographicFront">
                  <a:rot lat="0" lon="0" rev="0"/>
                </a:camera>
                <a:lightRig rig="threePt" dir="t"/>
              </a:scene3d>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sp>
            <p:nvSpPr>
              <p:cNvPr id="73" name="Ellipse 273">
                <a:extLst>
                  <a:ext uri="{FF2B5EF4-FFF2-40B4-BE49-F238E27FC236}">
                    <a16:creationId xmlns:a16="http://schemas.microsoft.com/office/drawing/2014/main" id="{BFE57224-00DC-9C48-8E5A-1690210ED6F0}"/>
                  </a:ext>
                </a:extLst>
              </p:cNvPr>
              <p:cNvSpPr/>
              <p:nvPr/>
            </p:nvSpPr>
            <p:spPr bwMode="auto">
              <a:xfrm rot="16200000">
                <a:off x="4736859" y="4127898"/>
                <a:ext cx="144000" cy="144000"/>
              </a:xfrm>
              <a:prstGeom prst="ellipse">
                <a:avLst/>
              </a:prstGeom>
              <a:solidFill>
                <a:srgbClr val="333353"/>
              </a:solidFill>
              <a:ln>
                <a:noFill/>
              </a:ln>
              <a:effectLst/>
              <a:scene3d>
                <a:camera prst="orthographicFront">
                  <a:rot lat="0" lon="0" rev="0"/>
                </a:camera>
                <a:lightRig rig="threePt" dir="t"/>
              </a:scene3d>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sp>
            <p:nvSpPr>
              <p:cNvPr id="74" name="Ellipse 274">
                <a:extLst>
                  <a:ext uri="{FF2B5EF4-FFF2-40B4-BE49-F238E27FC236}">
                    <a16:creationId xmlns:a16="http://schemas.microsoft.com/office/drawing/2014/main" id="{3543F993-816B-7549-B682-F23EC8376587}"/>
                  </a:ext>
                </a:extLst>
              </p:cNvPr>
              <p:cNvSpPr/>
              <p:nvPr/>
            </p:nvSpPr>
            <p:spPr bwMode="auto">
              <a:xfrm rot="16200000">
                <a:off x="4736859" y="3962409"/>
                <a:ext cx="144000" cy="144000"/>
              </a:xfrm>
              <a:prstGeom prst="ellipse">
                <a:avLst/>
              </a:prstGeom>
              <a:solidFill>
                <a:srgbClr val="00AF8E"/>
              </a:solidFill>
              <a:ln>
                <a:noFill/>
              </a:ln>
              <a:effectLst/>
              <a:scene3d>
                <a:camera prst="orthographicFront">
                  <a:rot lat="0" lon="0" rev="0"/>
                </a:camera>
                <a:lightRig rig="threePt" dir="t"/>
              </a:scene3d>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grpSp>
      </p:grpSp>
      <p:grpSp>
        <p:nvGrpSpPr>
          <p:cNvPr id="75" name="Group 117">
            <a:extLst>
              <a:ext uri="{FF2B5EF4-FFF2-40B4-BE49-F238E27FC236}">
                <a16:creationId xmlns:a16="http://schemas.microsoft.com/office/drawing/2014/main" id="{E5F5456F-7C1D-7B40-839E-ADB1AB467F5F}"/>
              </a:ext>
            </a:extLst>
          </p:cNvPr>
          <p:cNvGrpSpPr/>
          <p:nvPr/>
        </p:nvGrpSpPr>
        <p:grpSpPr>
          <a:xfrm rot="5400000">
            <a:off x="7646063" y="4393108"/>
            <a:ext cx="287850" cy="575772"/>
            <a:chOff x="4659997" y="3908085"/>
            <a:chExt cx="288000" cy="576072"/>
          </a:xfrm>
        </p:grpSpPr>
        <p:sp>
          <p:nvSpPr>
            <p:cNvPr id="76" name="Rechteck 271">
              <a:extLst>
                <a:ext uri="{FF2B5EF4-FFF2-40B4-BE49-F238E27FC236}">
                  <a16:creationId xmlns:a16="http://schemas.microsoft.com/office/drawing/2014/main" id="{DB6330AA-016A-5947-B12A-AA6338681858}"/>
                </a:ext>
              </a:extLst>
            </p:cNvPr>
            <p:cNvSpPr/>
            <p:nvPr/>
          </p:nvSpPr>
          <p:spPr bwMode="auto">
            <a:xfrm rot="16200000">
              <a:off x="4515961" y="4052121"/>
              <a:ext cx="576072" cy="288000"/>
            </a:xfrm>
            <a:prstGeom prst="rect">
              <a:avLst/>
            </a:prstGeom>
            <a:solidFill>
              <a:schemeClr val="bg2"/>
            </a:solidFill>
            <a:ln w="6350">
              <a:noFill/>
              <a:miter lim="800000"/>
              <a:headEnd/>
              <a:tailEnd/>
            </a:ln>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style>
            <a:lnRef idx="2">
              <a:schemeClr val="dk1"/>
            </a:lnRef>
            <a:fillRef idx="1">
              <a:schemeClr val="lt1"/>
            </a:fillRef>
            <a:effectRef idx="0">
              <a:schemeClr val="dk1"/>
            </a:effectRef>
            <a:fontRef idx="minor">
              <a:schemeClr val="dk1"/>
            </a:fontRef>
          </p:style>
          <p:txBody>
            <a:bodyPr wrap="square" lIns="107944" tIns="53972" rIns="107944" bIns="53972" numCol="1" spcCol="72000" rtlCol="0" anchor="ctr">
              <a:noAutofit/>
            </a:bodyPr>
            <a:lstStyle/>
            <a:p>
              <a:pPr algn="ctr">
                <a:lnSpc>
                  <a:spcPct val="110000"/>
                </a:lnSpc>
                <a:spcBef>
                  <a:spcPct val="0"/>
                </a:spcBef>
              </a:pPr>
              <a:endParaRPr lang="en-US" sz="1799" b="1" dirty="0">
                <a:solidFill>
                  <a:schemeClr val="tx1"/>
                </a:solidFill>
              </a:endParaRPr>
            </a:p>
          </p:txBody>
        </p:sp>
        <p:grpSp>
          <p:nvGrpSpPr>
            <p:cNvPr id="77" name="Group 119">
              <a:extLst>
                <a:ext uri="{FF2B5EF4-FFF2-40B4-BE49-F238E27FC236}">
                  <a16:creationId xmlns:a16="http://schemas.microsoft.com/office/drawing/2014/main" id="{2504F319-600B-CB45-852D-85DE2E5499F8}"/>
                </a:ext>
              </a:extLst>
            </p:cNvPr>
            <p:cNvGrpSpPr/>
            <p:nvPr/>
          </p:nvGrpSpPr>
          <p:grpSpPr>
            <a:xfrm>
              <a:off x="4731997" y="3958632"/>
              <a:ext cx="144000" cy="474977"/>
              <a:chOff x="4736859" y="3962409"/>
              <a:chExt cx="144000" cy="474977"/>
            </a:xfrm>
          </p:grpSpPr>
          <p:sp>
            <p:nvSpPr>
              <p:cNvPr id="78" name="Ellipse 272">
                <a:extLst>
                  <a:ext uri="{FF2B5EF4-FFF2-40B4-BE49-F238E27FC236}">
                    <a16:creationId xmlns:a16="http://schemas.microsoft.com/office/drawing/2014/main" id="{7604B8A4-5343-B448-8E3C-7AB3495D7BAA}"/>
                  </a:ext>
                </a:extLst>
              </p:cNvPr>
              <p:cNvSpPr/>
              <p:nvPr/>
            </p:nvSpPr>
            <p:spPr bwMode="auto">
              <a:xfrm rot="16200000">
                <a:off x="4736859" y="4293386"/>
                <a:ext cx="144000" cy="144000"/>
              </a:xfrm>
              <a:prstGeom prst="ellipse">
                <a:avLst/>
              </a:prstGeom>
              <a:solidFill>
                <a:srgbClr val="333353"/>
              </a:solidFill>
              <a:ln>
                <a:noFill/>
              </a:ln>
              <a:effectLst/>
              <a:scene3d>
                <a:camera prst="orthographicFront">
                  <a:rot lat="0" lon="0" rev="0"/>
                </a:camera>
                <a:lightRig rig="threePt" dir="t"/>
              </a:scene3d>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sp>
            <p:nvSpPr>
              <p:cNvPr id="79" name="Ellipse 273">
                <a:extLst>
                  <a:ext uri="{FF2B5EF4-FFF2-40B4-BE49-F238E27FC236}">
                    <a16:creationId xmlns:a16="http://schemas.microsoft.com/office/drawing/2014/main" id="{7631D162-7C24-A746-A203-66398AE1E3F5}"/>
                  </a:ext>
                </a:extLst>
              </p:cNvPr>
              <p:cNvSpPr/>
              <p:nvPr/>
            </p:nvSpPr>
            <p:spPr bwMode="auto">
              <a:xfrm rot="16200000">
                <a:off x="4736859" y="4127898"/>
                <a:ext cx="144000" cy="144000"/>
              </a:xfrm>
              <a:prstGeom prst="ellipse">
                <a:avLst/>
              </a:prstGeom>
              <a:solidFill>
                <a:srgbClr val="333353"/>
              </a:solidFill>
              <a:ln>
                <a:noFill/>
              </a:ln>
              <a:effectLst/>
              <a:scene3d>
                <a:camera prst="orthographicFront">
                  <a:rot lat="0" lon="0" rev="0"/>
                </a:camera>
                <a:lightRig rig="threePt" dir="t"/>
              </a:scene3d>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sp>
            <p:nvSpPr>
              <p:cNvPr id="80" name="Ellipse 274">
                <a:extLst>
                  <a:ext uri="{FF2B5EF4-FFF2-40B4-BE49-F238E27FC236}">
                    <a16:creationId xmlns:a16="http://schemas.microsoft.com/office/drawing/2014/main" id="{27FA7B6F-20AF-3649-9116-CA977D8435C8}"/>
                  </a:ext>
                </a:extLst>
              </p:cNvPr>
              <p:cNvSpPr/>
              <p:nvPr/>
            </p:nvSpPr>
            <p:spPr bwMode="auto">
              <a:xfrm rot="16200000">
                <a:off x="4736859" y="3962409"/>
                <a:ext cx="144000" cy="144000"/>
              </a:xfrm>
              <a:prstGeom prst="ellipse">
                <a:avLst/>
              </a:prstGeom>
              <a:solidFill>
                <a:srgbClr val="00AF8E"/>
              </a:solidFill>
              <a:ln>
                <a:noFill/>
              </a:ln>
              <a:effectLst/>
              <a:scene3d>
                <a:camera prst="orthographicFront">
                  <a:rot lat="0" lon="0" rev="0"/>
                </a:camera>
                <a:lightRig rig="threePt" dir="t"/>
              </a:scene3d>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grpSp>
      </p:grpSp>
      <p:grpSp>
        <p:nvGrpSpPr>
          <p:cNvPr id="9" name="Group 8">
            <a:extLst>
              <a:ext uri="{FF2B5EF4-FFF2-40B4-BE49-F238E27FC236}">
                <a16:creationId xmlns:a16="http://schemas.microsoft.com/office/drawing/2014/main" id="{ED48184C-5670-4C18-BA3C-ED07D8C3AAD3}"/>
              </a:ext>
            </a:extLst>
          </p:cNvPr>
          <p:cNvGrpSpPr/>
          <p:nvPr/>
        </p:nvGrpSpPr>
        <p:grpSpPr>
          <a:xfrm>
            <a:off x="410400" y="5878800"/>
            <a:ext cx="4719833" cy="299056"/>
            <a:chOff x="624216" y="5659602"/>
            <a:chExt cx="4719833" cy="299056"/>
          </a:xfrm>
        </p:grpSpPr>
        <p:grpSp>
          <p:nvGrpSpPr>
            <p:cNvPr id="8" name="Group 7">
              <a:extLst>
                <a:ext uri="{FF2B5EF4-FFF2-40B4-BE49-F238E27FC236}">
                  <a16:creationId xmlns:a16="http://schemas.microsoft.com/office/drawing/2014/main" id="{D6F53C3D-E6B1-4509-B4E8-01466B420FD8}"/>
                </a:ext>
              </a:extLst>
            </p:cNvPr>
            <p:cNvGrpSpPr/>
            <p:nvPr/>
          </p:nvGrpSpPr>
          <p:grpSpPr>
            <a:xfrm>
              <a:off x="624216" y="5659602"/>
              <a:ext cx="1330714" cy="287850"/>
              <a:chOff x="624216" y="5659602"/>
              <a:chExt cx="1330714" cy="287850"/>
            </a:xfrm>
          </p:grpSpPr>
          <p:sp>
            <p:nvSpPr>
              <p:cNvPr id="83" name="Rectangle 1">
                <a:extLst>
                  <a:ext uri="{FF2B5EF4-FFF2-40B4-BE49-F238E27FC236}">
                    <a16:creationId xmlns:a16="http://schemas.microsoft.com/office/drawing/2014/main" id="{258EF61F-5473-9A4E-A85B-64859F60B1EC}"/>
                  </a:ext>
                </a:extLst>
              </p:cNvPr>
              <p:cNvSpPr/>
              <p:nvPr/>
            </p:nvSpPr>
            <p:spPr>
              <a:xfrm>
                <a:off x="1199988" y="5659602"/>
                <a:ext cx="754942" cy="287850"/>
              </a:xfrm>
              <a:prstGeom prst="rect">
                <a:avLst/>
              </a:prstGeom>
            </p:spPr>
            <p:txBody>
              <a:bodyPr wrap="none" lIns="143925" tIns="0" rIns="0" bIns="0" anchor="ctr">
                <a:noAutofit/>
              </a:bodyPr>
              <a:lstStyle/>
              <a:p>
                <a:r>
                  <a:rPr lang="en-US" sz="1199" dirty="0">
                    <a:solidFill>
                      <a:srgbClr val="66667E"/>
                    </a:solidFill>
                  </a:rPr>
                  <a:t>Stopped</a:t>
                </a:r>
              </a:p>
            </p:txBody>
          </p:sp>
          <p:grpSp>
            <p:nvGrpSpPr>
              <p:cNvPr id="82" name="Group 105">
                <a:extLst>
                  <a:ext uri="{FF2B5EF4-FFF2-40B4-BE49-F238E27FC236}">
                    <a16:creationId xmlns:a16="http://schemas.microsoft.com/office/drawing/2014/main" id="{CBEB8373-3ED2-44C2-88A0-E3E1BB5C0DE0}"/>
                  </a:ext>
                </a:extLst>
              </p:cNvPr>
              <p:cNvGrpSpPr/>
              <p:nvPr/>
            </p:nvGrpSpPr>
            <p:grpSpPr>
              <a:xfrm rot="5400000">
                <a:off x="768177" y="5515641"/>
                <a:ext cx="287850" cy="575772"/>
                <a:chOff x="4659997" y="3908085"/>
                <a:chExt cx="288000" cy="576072"/>
              </a:xfrm>
            </p:grpSpPr>
            <p:sp>
              <p:nvSpPr>
                <p:cNvPr id="84" name="Rechteck 271">
                  <a:extLst>
                    <a:ext uri="{FF2B5EF4-FFF2-40B4-BE49-F238E27FC236}">
                      <a16:creationId xmlns:a16="http://schemas.microsoft.com/office/drawing/2014/main" id="{F629A321-FF03-4793-AE2C-3D868B6D4FCA}"/>
                    </a:ext>
                  </a:extLst>
                </p:cNvPr>
                <p:cNvSpPr/>
                <p:nvPr/>
              </p:nvSpPr>
              <p:spPr bwMode="auto">
                <a:xfrm rot="16200000">
                  <a:off x="4515961" y="4052121"/>
                  <a:ext cx="576072" cy="288000"/>
                </a:xfrm>
                <a:prstGeom prst="rect">
                  <a:avLst/>
                </a:prstGeom>
                <a:solidFill>
                  <a:schemeClr val="bg2"/>
                </a:solidFill>
                <a:ln w="6350">
                  <a:solidFill>
                    <a:srgbClr val="9999A9"/>
                  </a:solidFill>
                  <a:miter lim="800000"/>
                  <a:headEnd/>
                  <a:tailEnd/>
                </a:ln>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style>
                <a:lnRef idx="2">
                  <a:schemeClr val="dk1"/>
                </a:lnRef>
                <a:fillRef idx="1">
                  <a:schemeClr val="lt1"/>
                </a:fillRef>
                <a:effectRef idx="0">
                  <a:schemeClr val="dk1"/>
                </a:effectRef>
                <a:fontRef idx="minor">
                  <a:schemeClr val="dk1"/>
                </a:fontRef>
              </p:style>
              <p:txBody>
                <a:bodyPr wrap="square" lIns="107944" tIns="53972" rIns="107944" bIns="53972" numCol="1" spcCol="72000" rtlCol="0" anchor="ctr">
                  <a:noAutofit/>
                </a:bodyPr>
                <a:lstStyle/>
                <a:p>
                  <a:pPr algn="ctr">
                    <a:lnSpc>
                      <a:spcPct val="110000"/>
                    </a:lnSpc>
                    <a:spcBef>
                      <a:spcPct val="0"/>
                    </a:spcBef>
                  </a:pPr>
                  <a:endParaRPr lang="en-US" sz="1799" b="1" dirty="0">
                    <a:solidFill>
                      <a:schemeClr val="tx1"/>
                    </a:solidFill>
                  </a:endParaRPr>
                </a:p>
              </p:txBody>
            </p:sp>
            <p:grpSp>
              <p:nvGrpSpPr>
                <p:cNvPr id="85" name="Group 107">
                  <a:extLst>
                    <a:ext uri="{FF2B5EF4-FFF2-40B4-BE49-F238E27FC236}">
                      <a16:creationId xmlns:a16="http://schemas.microsoft.com/office/drawing/2014/main" id="{6B5262E4-8D15-468A-962E-D0AF4259BC1A}"/>
                    </a:ext>
                  </a:extLst>
                </p:cNvPr>
                <p:cNvGrpSpPr/>
                <p:nvPr/>
              </p:nvGrpSpPr>
              <p:grpSpPr>
                <a:xfrm>
                  <a:off x="4731997" y="3958632"/>
                  <a:ext cx="144000" cy="474977"/>
                  <a:chOff x="4736859" y="3962409"/>
                  <a:chExt cx="144000" cy="474977"/>
                </a:xfrm>
              </p:grpSpPr>
              <p:sp>
                <p:nvSpPr>
                  <p:cNvPr id="86" name="Ellipse 272">
                    <a:extLst>
                      <a:ext uri="{FF2B5EF4-FFF2-40B4-BE49-F238E27FC236}">
                        <a16:creationId xmlns:a16="http://schemas.microsoft.com/office/drawing/2014/main" id="{06238DFD-0EBB-4D17-900D-22E73AC6CED2}"/>
                      </a:ext>
                    </a:extLst>
                  </p:cNvPr>
                  <p:cNvSpPr/>
                  <p:nvPr/>
                </p:nvSpPr>
                <p:spPr bwMode="auto">
                  <a:xfrm rot="16200000">
                    <a:off x="4736859" y="4293386"/>
                    <a:ext cx="144000" cy="144000"/>
                  </a:xfrm>
                  <a:prstGeom prst="ellipse">
                    <a:avLst/>
                  </a:prstGeom>
                  <a:solidFill>
                    <a:srgbClr val="EF0137"/>
                  </a:solidFill>
                  <a:ln w="6350">
                    <a:noFill/>
                    <a:miter lim="800000"/>
                    <a:headEnd/>
                    <a:tailEnd/>
                  </a:ln>
                  <a:effectLst/>
                  <a:scene3d>
                    <a:camera prst="orthographicFront">
                      <a:rot lat="0" lon="0" rev="0"/>
                    </a:camera>
                    <a:lightRig rig="threePt" dir="t"/>
                  </a:scene3d>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sp>
                <p:nvSpPr>
                  <p:cNvPr id="87" name="Ellipse 273">
                    <a:extLst>
                      <a:ext uri="{FF2B5EF4-FFF2-40B4-BE49-F238E27FC236}">
                        <a16:creationId xmlns:a16="http://schemas.microsoft.com/office/drawing/2014/main" id="{13529F37-6135-45FC-887E-2AE4319B5CB7}"/>
                      </a:ext>
                    </a:extLst>
                  </p:cNvPr>
                  <p:cNvSpPr/>
                  <p:nvPr/>
                </p:nvSpPr>
                <p:spPr bwMode="auto">
                  <a:xfrm rot="16200000">
                    <a:off x="4736859" y="4127898"/>
                    <a:ext cx="144000" cy="144000"/>
                  </a:xfrm>
                  <a:prstGeom prst="ellipse">
                    <a:avLst/>
                  </a:prstGeom>
                  <a:solidFill>
                    <a:srgbClr val="333353"/>
                  </a:solidFill>
                  <a:ln w="6350">
                    <a:noFill/>
                    <a:miter lim="800000"/>
                    <a:headEnd/>
                    <a:tailEnd/>
                  </a:ln>
                  <a:effectLst/>
                  <a:scene3d>
                    <a:camera prst="orthographicFront">
                      <a:rot lat="0" lon="0" rev="0"/>
                    </a:camera>
                    <a:lightRig rig="threePt" dir="t"/>
                  </a:scene3d>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sp>
                <p:nvSpPr>
                  <p:cNvPr id="88" name="Ellipse 274">
                    <a:extLst>
                      <a:ext uri="{FF2B5EF4-FFF2-40B4-BE49-F238E27FC236}">
                        <a16:creationId xmlns:a16="http://schemas.microsoft.com/office/drawing/2014/main" id="{E0B6A9A9-D757-423D-B595-01512EF073D2}"/>
                      </a:ext>
                    </a:extLst>
                  </p:cNvPr>
                  <p:cNvSpPr/>
                  <p:nvPr/>
                </p:nvSpPr>
                <p:spPr bwMode="auto">
                  <a:xfrm rot="16200000">
                    <a:off x="4736859" y="3962409"/>
                    <a:ext cx="144000" cy="144000"/>
                  </a:xfrm>
                  <a:prstGeom prst="ellipse">
                    <a:avLst/>
                  </a:prstGeom>
                  <a:solidFill>
                    <a:srgbClr val="333353"/>
                  </a:solidFill>
                  <a:ln>
                    <a:noFill/>
                  </a:ln>
                  <a:effectLst/>
                  <a:scene3d>
                    <a:camera prst="orthographicFront">
                      <a:rot lat="0" lon="0" rev="0"/>
                    </a:camera>
                    <a:lightRig rig="threePt" dir="t"/>
                  </a:scene3d>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grpSp>
          </p:grpSp>
        </p:grpSp>
        <p:grpSp>
          <p:nvGrpSpPr>
            <p:cNvPr id="7" name="Group 6">
              <a:extLst>
                <a:ext uri="{FF2B5EF4-FFF2-40B4-BE49-F238E27FC236}">
                  <a16:creationId xmlns:a16="http://schemas.microsoft.com/office/drawing/2014/main" id="{7F745D7B-5528-4534-BFB6-2543B48C0285}"/>
                </a:ext>
              </a:extLst>
            </p:cNvPr>
            <p:cNvGrpSpPr/>
            <p:nvPr/>
          </p:nvGrpSpPr>
          <p:grpSpPr>
            <a:xfrm>
              <a:off x="2316356" y="5659602"/>
              <a:ext cx="1335553" cy="287850"/>
              <a:chOff x="2316356" y="5659602"/>
              <a:chExt cx="1335553" cy="287850"/>
            </a:xfrm>
          </p:grpSpPr>
          <p:sp>
            <p:nvSpPr>
              <p:cNvPr id="108" name="Rectangle 48">
                <a:extLst>
                  <a:ext uri="{FF2B5EF4-FFF2-40B4-BE49-F238E27FC236}">
                    <a16:creationId xmlns:a16="http://schemas.microsoft.com/office/drawing/2014/main" id="{57FD8C7F-C3F0-C34A-A561-4BB95C0573D1}"/>
                  </a:ext>
                </a:extLst>
              </p:cNvPr>
              <p:cNvSpPr/>
              <p:nvPr/>
            </p:nvSpPr>
            <p:spPr>
              <a:xfrm>
                <a:off x="2896967" y="5659602"/>
                <a:ext cx="754942" cy="287850"/>
              </a:xfrm>
              <a:prstGeom prst="rect">
                <a:avLst/>
              </a:prstGeom>
            </p:spPr>
            <p:txBody>
              <a:bodyPr wrap="none" lIns="143925" tIns="0" rIns="0" bIns="0" anchor="ctr">
                <a:noAutofit/>
              </a:bodyPr>
              <a:lstStyle/>
              <a:p>
                <a:r>
                  <a:rPr lang="en-US" sz="1199" dirty="0">
                    <a:solidFill>
                      <a:srgbClr val="66667E"/>
                    </a:solidFill>
                  </a:rPr>
                  <a:t>Standby</a:t>
                </a:r>
              </a:p>
            </p:txBody>
          </p:sp>
          <p:grpSp>
            <p:nvGrpSpPr>
              <p:cNvPr id="89" name="Group 111">
                <a:extLst>
                  <a:ext uri="{FF2B5EF4-FFF2-40B4-BE49-F238E27FC236}">
                    <a16:creationId xmlns:a16="http://schemas.microsoft.com/office/drawing/2014/main" id="{FAD5ED70-F9B1-4A5A-AEC3-03EA06EA4384}"/>
                  </a:ext>
                </a:extLst>
              </p:cNvPr>
              <p:cNvGrpSpPr/>
              <p:nvPr/>
            </p:nvGrpSpPr>
            <p:grpSpPr>
              <a:xfrm rot="5400000">
                <a:off x="2460317" y="5515641"/>
                <a:ext cx="287850" cy="575772"/>
                <a:chOff x="4659997" y="3908085"/>
                <a:chExt cx="288000" cy="576072"/>
              </a:xfrm>
            </p:grpSpPr>
            <p:sp>
              <p:nvSpPr>
                <p:cNvPr id="110" name="Rechteck 271">
                  <a:extLst>
                    <a:ext uri="{FF2B5EF4-FFF2-40B4-BE49-F238E27FC236}">
                      <a16:creationId xmlns:a16="http://schemas.microsoft.com/office/drawing/2014/main" id="{A177CC6D-E6CD-4FC4-9BE0-EA6BDC21C0C8}"/>
                    </a:ext>
                  </a:extLst>
                </p:cNvPr>
                <p:cNvSpPr/>
                <p:nvPr/>
              </p:nvSpPr>
              <p:spPr bwMode="auto">
                <a:xfrm rot="16200000">
                  <a:off x="4515961" y="4052121"/>
                  <a:ext cx="576072" cy="288000"/>
                </a:xfrm>
                <a:prstGeom prst="rect">
                  <a:avLst/>
                </a:prstGeom>
                <a:solidFill>
                  <a:schemeClr val="bg2"/>
                </a:solidFill>
                <a:ln w="6350">
                  <a:solidFill>
                    <a:srgbClr val="9999A9"/>
                  </a:solidFill>
                  <a:miter lim="800000"/>
                  <a:headEnd/>
                  <a:tailEnd/>
                </a:ln>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style>
                <a:lnRef idx="2">
                  <a:schemeClr val="dk1"/>
                </a:lnRef>
                <a:fillRef idx="1">
                  <a:schemeClr val="lt1"/>
                </a:fillRef>
                <a:effectRef idx="0">
                  <a:schemeClr val="dk1"/>
                </a:effectRef>
                <a:fontRef idx="minor">
                  <a:schemeClr val="dk1"/>
                </a:fontRef>
              </p:style>
              <p:txBody>
                <a:bodyPr wrap="square" lIns="107944" tIns="53972" rIns="107944" bIns="53972" numCol="1" spcCol="72000" rtlCol="0" anchor="ctr">
                  <a:noAutofit/>
                </a:bodyPr>
                <a:lstStyle/>
                <a:p>
                  <a:pPr algn="ctr">
                    <a:lnSpc>
                      <a:spcPct val="110000"/>
                    </a:lnSpc>
                    <a:spcBef>
                      <a:spcPct val="0"/>
                    </a:spcBef>
                  </a:pPr>
                  <a:endParaRPr lang="en-US" sz="1799" b="1" dirty="0">
                    <a:solidFill>
                      <a:schemeClr val="tx1"/>
                    </a:solidFill>
                  </a:endParaRPr>
                </a:p>
              </p:txBody>
            </p:sp>
            <p:grpSp>
              <p:nvGrpSpPr>
                <p:cNvPr id="111" name="Group 113">
                  <a:extLst>
                    <a:ext uri="{FF2B5EF4-FFF2-40B4-BE49-F238E27FC236}">
                      <a16:creationId xmlns:a16="http://schemas.microsoft.com/office/drawing/2014/main" id="{33408767-D4FE-4338-AB01-BE9C57B1FEB6}"/>
                    </a:ext>
                  </a:extLst>
                </p:cNvPr>
                <p:cNvGrpSpPr/>
                <p:nvPr/>
              </p:nvGrpSpPr>
              <p:grpSpPr>
                <a:xfrm>
                  <a:off x="4731997" y="3958632"/>
                  <a:ext cx="144000" cy="474977"/>
                  <a:chOff x="4736859" y="3962409"/>
                  <a:chExt cx="144000" cy="474977"/>
                </a:xfrm>
              </p:grpSpPr>
              <p:sp>
                <p:nvSpPr>
                  <p:cNvPr id="112" name="Ellipse 272">
                    <a:extLst>
                      <a:ext uri="{FF2B5EF4-FFF2-40B4-BE49-F238E27FC236}">
                        <a16:creationId xmlns:a16="http://schemas.microsoft.com/office/drawing/2014/main" id="{E6415D79-971E-44A6-B98B-AB72215D2F3D}"/>
                      </a:ext>
                    </a:extLst>
                  </p:cNvPr>
                  <p:cNvSpPr/>
                  <p:nvPr/>
                </p:nvSpPr>
                <p:spPr bwMode="auto">
                  <a:xfrm rot="16200000">
                    <a:off x="4736859" y="4293386"/>
                    <a:ext cx="144000" cy="144000"/>
                  </a:xfrm>
                  <a:prstGeom prst="ellipse">
                    <a:avLst/>
                  </a:prstGeom>
                  <a:solidFill>
                    <a:srgbClr val="333353"/>
                  </a:solidFill>
                  <a:ln w="6350">
                    <a:noFill/>
                    <a:miter lim="800000"/>
                    <a:headEnd/>
                    <a:tailEnd/>
                  </a:ln>
                  <a:effectLst/>
                  <a:scene3d>
                    <a:camera prst="orthographicFront">
                      <a:rot lat="0" lon="0" rev="0"/>
                    </a:camera>
                    <a:lightRig rig="threePt" dir="t"/>
                  </a:scene3d>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sp>
                <p:nvSpPr>
                  <p:cNvPr id="113" name="Ellipse 273">
                    <a:extLst>
                      <a:ext uri="{FF2B5EF4-FFF2-40B4-BE49-F238E27FC236}">
                        <a16:creationId xmlns:a16="http://schemas.microsoft.com/office/drawing/2014/main" id="{7335CFB4-2B5E-4A21-AA73-FA9104758B93}"/>
                      </a:ext>
                    </a:extLst>
                  </p:cNvPr>
                  <p:cNvSpPr/>
                  <p:nvPr/>
                </p:nvSpPr>
                <p:spPr bwMode="auto">
                  <a:xfrm rot="16200000">
                    <a:off x="4736859" y="4127898"/>
                    <a:ext cx="144000" cy="144000"/>
                  </a:xfrm>
                  <a:prstGeom prst="ellipse">
                    <a:avLst/>
                  </a:prstGeom>
                  <a:solidFill>
                    <a:srgbClr val="FF9000"/>
                  </a:solidFill>
                  <a:ln>
                    <a:noFill/>
                  </a:ln>
                  <a:effectLst/>
                  <a:scene3d>
                    <a:camera prst="orthographicFront">
                      <a:rot lat="0" lon="0" rev="0"/>
                    </a:camera>
                    <a:lightRig rig="threePt" dir="t"/>
                  </a:scene3d>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sp>
                <p:nvSpPr>
                  <p:cNvPr id="114" name="Ellipse 274">
                    <a:extLst>
                      <a:ext uri="{FF2B5EF4-FFF2-40B4-BE49-F238E27FC236}">
                        <a16:creationId xmlns:a16="http://schemas.microsoft.com/office/drawing/2014/main" id="{8EE92EA6-94DC-4868-ACC0-7E2FBBDBF75E}"/>
                      </a:ext>
                    </a:extLst>
                  </p:cNvPr>
                  <p:cNvSpPr/>
                  <p:nvPr/>
                </p:nvSpPr>
                <p:spPr bwMode="auto">
                  <a:xfrm rot="16200000">
                    <a:off x="4736859" y="3962409"/>
                    <a:ext cx="144000" cy="144000"/>
                  </a:xfrm>
                  <a:prstGeom prst="ellipse">
                    <a:avLst/>
                  </a:prstGeom>
                  <a:solidFill>
                    <a:srgbClr val="333353"/>
                  </a:solidFill>
                  <a:ln w="6350">
                    <a:noFill/>
                    <a:miter lim="800000"/>
                    <a:headEnd/>
                    <a:tailEnd/>
                  </a:ln>
                  <a:effectLst/>
                  <a:scene3d>
                    <a:camera prst="orthographicFront">
                      <a:rot lat="0" lon="0" rev="0"/>
                    </a:camera>
                    <a:lightRig rig="threePt" dir="t"/>
                  </a:scene3d>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grpSp>
          </p:grpSp>
        </p:grpSp>
        <p:grpSp>
          <p:nvGrpSpPr>
            <p:cNvPr id="6" name="Group 5">
              <a:extLst>
                <a:ext uri="{FF2B5EF4-FFF2-40B4-BE49-F238E27FC236}">
                  <a16:creationId xmlns:a16="http://schemas.microsoft.com/office/drawing/2014/main" id="{BED53BC0-0C5A-4EEA-8E31-F28B780C7805}"/>
                </a:ext>
              </a:extLst>
            </p:cNvPr>
            <p:cNvGrpSpPr/>
            <p:nvPr/>
          </p:nvGrpSpPr>
          <p:grpSpPr>
            <a:xfrm>
              <a:off x="4013335" y="5659602"/>
              <a:ext cx="1330714" cy="299056"/>
              <a:chOff x="4013335" y="5659602"/>
              <a:chExt cx="1330714" cy="299056"/>
            </a:xfrm>
          </p:grpSpPr>
          <p:sp>
            <p:nvSpPr>
              <p:cNvPr id="109" name="Rectangle 108"/>
              <p:cNvSpPr/>
              <p:nvPr/>
            </p:nvSpPr>
            <p:spPr>
              <a:xfrm>
                <a:off x="4589107" y="5670808"/>
                <a:ext cx="754942" cy="287850"/>
              </a:xfrm>
              <a:prstGeom prst="rect">
                <a:avLst/>
              </a:prstGeom>
            </p:spPr>
            <p:txBody>
              <a:bodyPr wrap="none" lIns="143925" tIns="0" rIns="0" bIns="0" anchor="ctr">
                <a:noAutofit/>
              </a:bodyPr>
              <a:lstStyle/>
              <a:p>
                <a:r>
                  <a:rPr lang="en-US" sz="1199" dirty="0">
                    <a:solidFill>
                      <a:srgbClr val="66667E"/>
                    </a:solidFill>
                  </a:rPr>
                  <a:t>Ongoing</a:t>
                </a:r>
              </a:p>
            </p:txBody>
          </p:sp>
          <p:grpSp>
            <p:nvGrpSpPr>
              <p:cNvPr id="115" name="Group 117">
                <a:extLst>
                  <a:ext uri="{FF2B5EF4-FFF2-40B4-BE49-F238E27FC236}">
                    <a16:creationId xmlns:a16="http://schemas.microsoft.com/office/drawing/2014/main" id="{C16AA9A8-920F-47C1-BFA6-9211D1480EE2}"/>
                  </a:ext>
                </a:extLst>
              </p:cNvPr>
              <p:cNvGrpSpPr/>
              <p:nvPr/>
            </p:nvGrpSpPr>
            <p:grpSpPr>
              <a:xfrm rot="5400000">
                <a:off x="4157296" y="5515641"/>
                <a:ext cx="287850" cy="575772"/>
                <a:chOff x="4659997" y="3908085"/>
                <a:chExt cx="288000" cy="576072"/>
              </a:xfrm>
            </p:grpSpPr>
            <p:sp>
              <p:nvSpPr>
                <p:cNvPr id="116" name="Rechteck 271">
                  <a:extLst>
                    <a:ext uri="{FF2B5EF4-FFF2-40B4-BE49-F238E27FC236}">
                      <a16:creationId xmlns:a16="http://schemas.microsoft.com/office/drawing/2014/main" id="{C998EE39-DFE7-4720-B85D-59ED5414D8E3}"/>
                    </a:ext>
                  </a:extLst>
                </p:cNvPr>
                <p:cNvSpPr/>
                <p:nvPr/>
              </p:nvSpPr>
              <p:spPr bwMode="auto">
                <a:xfrm rot="16200000">
                  <a:off x="4515961" y="4052121"/>
                  <a:ext cx="576072" cy="288000"/>
                </a:xfrm>
                <a:prstGeom prst="rect">
                  <a:avLst/>
                </a:prstGeom>
                <a:solidFill>
                  <a:schemeClr val="bg2"/>
                </a:solidFill>
                <a:ln w="6350">
                  <a:solidFill>
                    <a:srgbClr val="9999A9"/>
                  </a:solidFill>
                  <a:miter lim="800000"/>
                  <a:headEnd/>
                  <a:tailEnd/>
                </a:ln>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style>
                <a:lnRef idx="2">
                  <a:schemeClr val="dk1"/>
                </a:lnRef>
                <a:fillRef idx="1">
                  <a:schemeClr val="lt1"/>
                </a:fillRef>
                <a:effectRef idx="0">
                  <a:schemeClr val="dk1"/>
                </a:effectRef>
                <a:fontRef idx="minor">
                  <a:schemeClr val="dk1"/>
                </a:fontRef>
              </p:style>
              <p:txBody>
                <a:bodyPr wrap="square" lIns="107944" tIns="53972" rIns="107944" bIns="53972" numCol="1" spcCol="72000" rtlCol="0" anchor="ctr">
                  <a:noAutofit/>
                </a:bodyPr>
                <a:lstStyle/>
                <a:p>
                  <a:pPr algn="ctr">
                    <a:lnSpc>
                      <a:spcPct val="110000"/>
                    </a:lnSpc>
                    <a:spcBef>
                      <a:spcPct val="0"/>
                    </a:spcBef>
                  </a:pPr>
                  <a:endParaRPr lang="en-US" sz="1799" b="1" dirty="0">
                    <a:solidFill>
                      <a:schemeClr val="tx1"/>
                    </a:solidFill>
                  </a:endParaRPr>
                </a:p>
              </p:txBody>
            </p:sp>
            <p:grpSp>
              <p:nvGrpSpPr>
                <p:cNvPr id="117" name="Group 119">
                  <a:extLst>
                    <a:ext uri="{FF2B5EF4-FFF2-40B4-BE49-F238E27FC236}">
                      <a16:creationId xmlns:a16="http://schemas.microsoft.com/office/drawing/2014/main" id="{59027EA5-F307-4C60-9B62-7EF71BC54F7B}"/>
                    </a:ext>
                  </a:extLst>
                </p:cNvPr>
                <p:cNvGrpSpPr/>
                <p:nvPr/>
              </p:nvGrpSpPr>
              <p:grpSpPr>
                <a:xfrm>
                  <a:off x="4731997" y="3958632"/>
                  <a:ext cx="144000" cy="474977"/>
                  <a:chOff x="4736859" y="3962409"/>
                  <a:chExt cx="144000" cy="474977"/>
                </a:xfrm>
              </p:grpSpPr>
              <p:sp>
                <p:nvSpPr>
                  <p:cNvPr id="118" name="Ellipse 272">
                    <a:extLst>
                      <a:ext uri="{FF2B5EF4-FFF2-40B4-BE49-F238E27FC236}">
                        <a16:creationId xmlns:a16="http://schemas.microsoft.com/office/drawing/2014/main" id="{F8BCC3F7-76F1-4947-BE04-E17990AEF197}"/>
                      </a:ext>
                    </a:extLst>
                  </p:cNvPr>
                  <p:cNvSpPr/>
                  <p:nvPr/>
                </p:nvSpPr>
                <p:spPr bwMode="auto">
                  <a:xfrm rot="16200000">
                    <a:off x="4736859" y="4293386"/>
                    <a:ext cx="144000" cy="144000"/>
                  </a:xfrm>
                  <a:prstGeom prst="ellipse">
                    <a:avLst/>
                  </a:prstGeom>
                  <a:solidFill>
                    <a:srgbClr val="333353"/>
                  </a:solidFill>
                  <a:ln>
                    <a:noFill/>
                  </a:ln>
                  <a:effectLst/>
                  <a:scene3d>
                    <a:camera prst="orthographicFront">
                      <a:rot lat="0" lon="0" rev="0"/>
                    </a:camera>
                    <a:lightRig rig="threePt" dir="t"/>
                  </a:scene3d>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sp>
                <p:nvSpPr>
                  <p:cNvPr id="119" name="Ellipse 273">
                    <a:extLst>
                      <a:ext uri="{FF2B5EF4-FFF2-40B4-BE49-F238E27FC236}">
                        <a16:creationId xmlns:a16="http://schemas.microsoft.com/office/drawing/2014/main" id="{557975C0-5065-4A1E-9E06-9F5CA05D1A04}"/>
                      </a:ext>
                    </a:extLst>
                  </p:cNvPr>
                  <p:cNvSpPr/>
                  <p:nvPr/>
                </p:nvSpPr>
                <p:spPr bwMode="auto">
                  <a:xfrm rot="16200000">
                    <a:off x="4736859" y="4127898"/>
                    <a:ext cx="144000" cy="144000"/>
                  </a:xfrm>
                  <a:prstGeom prst="ellipse">
                    <a:avLst/>
                  </a:prstGeom>
                  <a:solidFill>
                    <a:srgbClr val="333353"/>
                  </a:solidFill>
                  <a:ln>
                    <a:noFill/>
                  </a:ln>
                  <a:effectLst/>
                  <a:scene3d>
                    <a:camera prst="orthographicFront">
                      <a:rot lat="0" lon="0" rev="0"/>
                    </a:camera>
                    <a:lightRig rig="threePt" dir="t"/>
                  </a:scene3d>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sp>
                <p:nvSpPr>
                  <p:cNvPr id="120" name="Ellipse 274">
                    <a:extLst>
                      <a:ext uri="{FF2B5EF4-FFF2-40B4-BE49-F238E27FC236}">
                        <a16:creationId xmlns:a16="http://schemas.microsoft.com/office/drawing/2014/main" id="{F87F0508-F54C-4826-8A5E-21BE276929FA}"/>
                      </a:ext>
                    </a:extLst>
                  </p:cNvPr>
                  <p:cNvSpPr/>
                  <p:nvPr/>
                </p:nvSpPr>
                <p:spPr bwMode="auto">
                  <a:xfrm rot="16200000">
                    <a:off x="4736859" y="3962409"/>
                    <a:ext cx="144000" cy="144000"/>
                  </a:xfrm>
                  <a:prstGeom prst="ellipse">
                    <a:avLst/>
                  </a:prstGeom>
                  <a:solidFill>
                    <a:srgbClr val="00AF8E"/>
                  </a:solidFill>
                  <a:ln>
                    <a:noFill/>
                  </a:ln>
                  <a:effectLst/>
                  <a:scene3d>
                    <a:camera prst="orthographicFront">
                      <a:rot lat="0" lon="0" rev="0"/>
                    </a:camera>
                    <a:lightRig rig="threePt" dir="t"/>
                  </a:scene3d>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b="1" dirty="0"/>
                  </a:p>
                </p:txBody>
              </p:sp>
            </p:grpSp>
          </p:grpSp>
        </p:grpSp>
      </p:grpSp>
      <p:sp>
        <p:nvSpPr>
          <p:cNvPr id="2" name="Footer Placeholder 1">
            <a:extLst>
              <a:ext uri="{FF2B5EF4-FFF2-40B4-BE49-F238E27FC236}">
                <a16:creationId xmlns:a16="http://schemas.microsoft.com/office/drawing/2014/main" id="{B2B70C8E-CEC1-45BB-B50C-39BBE6C83297}"/>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3" name="Slide Number Placeholder 2">
            <a:extLst>
              <a:ext uri="{FF2B5EF4-FFF2-40B4-BE49-F238E27FC236}">
                <a16:creationId xmlns:a16="http://schemas.microsoft.com/office/drawing/2014/main" id="{06094A8E-178F-4976-8DC0-1B99E05FA43D}"/>
              </a:ext>
            </a:extLst>
          </p:cNvPr>
          <p:cNvSpPr>
            <a:spLocks noGrp="1"/>
          </p:cNvSpPr>
          <p:nvPr>
            <p:ph type="sldNum" sz="quarter" idx="11"/>
          </p:nvPr>
        </p:nvSpPr>
        <p:spPr/>
        <p:txBody>
          <a:bodyPr/>
          <a:lstStyle/>
          <a:p>
            <a:r>
              <a:rPr lang="en-US" dirty="0"/>
              <a:t>Page </a:t>
            </a:r>
            <a:fld id="{15EBE321-CBB1-4E91-BD14-37C8D44326FB}" type="slidenum">
              <a:rPr lang="en-US" smtClean="0"/>
              <a:pPr/>
              <a:t>55</a:t>
            </a:fld>
            <a:endParaRPr lang="en-US" dirty="0"/>
          </a:p>
        </p:txBody>
      </p:sp>
    </p:spTree>
    <p:extLst>
      <p:ext uri="{BB962C8B-B14F-4D97-AF65-F5344CB8AC3E}">
        <p14:creationId xmlns:p14="http://schemas.microsoft.com/office/powerpoint/2010/main" val="20420697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Tabelle 54"/>
          <p:cNvGraphicFramePr>
            <a:graphicFrameLocks noGrp="1"/>
          </p:cNvGraphicFramePr>
          <p:nvPr>
            <p:extLst>
              <p:ext uri="{D42A27DB-BD31-4B8C-83A1-F6EECF244321}">
                <p14:modId xmlns:p14="http://schemas.microsoft.com/office/powerpoint/2010/main" val="2004715390"/>
              </p:ext>
            </p:extLst>
          </p:nvPr>
        </p:nvGraphicFramePr>
        <p:xfrm>
          <a:off x="410400" y="1415848"/>
          <a:ext cx="7776000" cy="3562146"/>
        </p:xfrm>
        <a:graphic>
          <a:graphicData uri="http://schemas.openxmlformats.org/drawingml/2006/table">
            <a:tbl>
              <a:tblPr>
                <a:tableStyleId>{0E3FDE45-AF77-4B5C-9715-49D594BDF05E}</a:tableStyleId>
              </a:tblPr>
              <a:tblGrid>
                <a:gridCol w="7776000">
                  <a:extLst>
                    <a:ext uri="{9D8B030D-6E8A-4147-A177-3AD203B41FA5}">
                      <a16:colId xmlns:a16="http://schemas.microsoft.com/office/drawing/2014/main" val="20002"/>
                    </a:ext>
                  </a:extLst>
                </a:gridCol>
              </a:tblGrid>
              <a:tr h="593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s-ES" sz="1600" u="none" strike="noStrike" kern="1200" cap="none" spc="0" normalizeH="0" baseline="0" noProof="0" dirty="0">
                          <a:ln>
                            <a:noFill/>
                          </a:ln>
                          <a:solidFill>
                            <a:srgbClr val="66667E"/>
                          </a:solidFill>
                          <a:effectLst/>
                          <a:uLnTx/>
                          <a:uFillTx/>
                        </a:rPr>
                        <a:t>Duis arcu tortor, suscipit eget</a:t>
                      </a:r>
                      <a:endParaRPr lang="en-US" sz="1600" noProof="0" dirty="0">
                        <a:solidFill>
                          <a:srgbClr val="66667E"/>
                        </a:solidFill>
                        <a:latin typeface="+mn-lt"/>
                        <a:ea typeface="Arial Unicode MS"/>
                      </a:endParaRPr>
                    </a:p>
                  </a:txBody>
                  <a:tcPr marL="0" marR="0" marT="71963" marB="71963" anchor="ctr">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1"/>
                  </a:ext>
                </a:extLst>
              </a:tr>
              <a:tr h="593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rgbClr val="66667E"/>
                          </a:solidFill>
                          <a:effectLst/>
                          <a:uLnTx/>
                          <a:uFillTx/>
                        </a:rPr>
                        <a:t>Cras ultricies mi eu</a:t>
                      </a:r>
                      <a:endParaRPr lang="en-US" sz="1600" noProof="0" dirty="0">
                        <a:solidFill>
                          <a:srgbClr val="66667E"/>
                        </a:solidFill>
                        <a:latin typeface="+mn-lt"/>
                        <a:ea typeface="Arial Unicode MS"/>
                      </a:endParaRPr>
                    </a:p>
                  </a:txBody>
                  <a:tcPr marL="0" marR="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2"/>
                  </a:ext>
                </a:extLst>
              </a:tr>
              <a:tr h="593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rgbClr val="66667E"/>
                          </a:solidFill>
                          <a:effectLst/>
                          <a:uLnTx/>
                          <a:uFillTx/>
                        </a:rPr>
                        <a:t>Phasellus nec sem</a:t>
                      </a:r>
                      <a:endParaRPr lang="en-US" sz="1600" noProof="0" dirty="0">
                        <a:solidFill>
                          <a:srgbClr val="66667E"/>
                        </a:solidFill>
                        <a:latin typeface="+mn-lt"/>
                        <a:ea typeface="Arial Unicode MS"/>
                      </a:endParaRPr>
                    </a:p>
                  </a:txBody>
                  <a:tcPr marL="0" marR="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3"/>
                  </a:ext>
                </a:extLst>
              </a:tr>
              <a:tr h="593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rgbClr val="66667E"/>
                          </a:solidFill>
                          <a:effectLst/>
                          <a:uLnTx/>
                          <a:uFillTx/>
                        </a:rPr>
                        <a:t>At vero eos et accusam</a:t>
                      </a:r>
                      <a:endParaRPr lang="en-US" sz="1600" noProof="0" dirty="0">
                        <a:solidFill>
                          <a:srgbClr val="66667E"/>
                        </a:solidFill>
                        <a:latin typeface="+mn-lt"/>
                        <a:ea typeface="Arial Unicode MS"/>
                      </a:endParaRPr>
                    </a:p>
                  </a:txBody>
                  <a:tcPr marL="0" marR="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4"/>
                  </a:ext>
                </a:extLst>
              </a:tr>
              <a:tr h="593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rgbClr val="66667E"/>
                          </a:solidFill>
                          <a:effectLst/>
                          <a:uLnTx/>
                          <a:uFillTx/>
                        </a:rPr>
                        <a:t>Duis arcu tortor, suscipit eget, imperdiet nec, imperdiet iaculis, ipsum</a:t>
                      </a:r>
                      <a:endParaRPr lang="en-US" sz="1600" noProof="0" dirty="0">
                        <a:solidFill>
                          <a:srgbClr val="66667E"/>
                        </a:solidFill>
                        <a:latin typeface="+mn-lt"/>
                        <a:ea typeface="Arial Unicode MS"/>
                      </a:endParaRPr>
                    </a:p>
                  </a:txBody>
                  <a:tcPr marL="0" marR="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2514599482"/>
                  </a:ext>
                </a:extLst>
              </a:tr>
              <a:tr h="593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rgbClr val="66667E"/>
                          </a:solidFill>
                          <a:effectLst/>
                          <a:uLnTx/>
                          <a:uFillTx/>
                        </a:rPr>
                        <a:t>At vero eos et accusam</a:t>
                      </a:r>
                      <a:endParaRPr lang="en-US" sz="1600" noProof="0" dirty="0">
                        <a:solidFill>
                          <a:srgbClr val="66667E"/>
                        </a:solidFill>
                        <a:latin typeface="+mn-lt"/>
                        <a:ea typeface="Arial Unicode MS"/>
                      </a:endParaRPr>
                    </a:p>
                  </a:txBody>
                  <a:tcPr marL="0" marR="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237210138"/>
                  </a:ext>
                </a:extLst>
              </a:tr>
            </a:tbl>
          </a:graphicData>
        </a:graphic>
      </p:graphicFrame>
      <p:graphicFrame>
        <p:nvGraphicFramePr>
          <p:cNvPr id="56" name="Objekt 55"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3" imgW="360" imgH="360" progId="">
                  <p:embed/>
                </p:oleObj>
              </mc:Choice>
              <mc:Fallback>
                <p:oleObj name="think-cell Folie" r:id="rId3" imgW="360" imgH="360" progId="">
                  <p:embed/>
                  <p:pic>
                    <p:nvPicPr>
                      <p:cNvPr id="56" name="Objekt 5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el 4"/>
          <p:cNvSpPr>
            <a:spLocks noGrp="1"/>
          </p:cNvSpPr>
          <p:nvPr>
            <p:ph type="title"/>
          </p:nvPr>
        </p:nvSpPr>
        <p:spPr>
          <a:xfrm>
            <a:off x="410400" y="478800"/>
            <a:ext cx="9863997" cy="576000"/>
          </a:xfrm>
        </p:spPr>
        <p:txBody>
          <a:bodyPr/>
          <a:lstStyle/>
          <a:p>
            <a:r>
              <a:rPr lang="en-US" dirty="0"/>
              <a:t>Evaluation – rating system with arrows </a:t>
            </a:r>
          </a:p>
        </p:txBody>
      </p:sp>
      <p:grpSp>
        <p:nvGrpSpPr>
          <p:cNvPr id="4" name="Group 3">
            <a:extLst>
              <a:ext uri="{FF2B5EF4-FFF2-40B4-BE49-F238E27FC236}">
                <a16:creationId xmlns:a16="http://schemas.microsoft.com/office/drawing/2014/main" id="{04A273B8-E446-4972-B69B-9E1CDD34A11F}"/>
              </a:ext>
            </a:extLst>
          </p:cNvPr>
          <p:cNvGrpSpPr/>
          <p:nvPr/>
        </p:nvGrpSpPr>
        <p:grpSpPr>
          <a:xfrm>
            <a:off x="410400" y="5878800"/>
            <a:ext cx="6446089" cy="289442"/>
            <a:chOff x="624541" y="5657372"/>
            <a:chExt cx="6449446" cy="289593"/>
          </a:xfrm>
        </p:grpSpPr>
        <p:grpSp>
          <p:nvGrpSpPr>
            <p:cNvPr id="3" name="Group 2"/>
            <p:cNvGrpSpPr/>
            <p:nvPr/>
          </p:nvGrpSpPr>
          <p:grpSpPr>
            <a:xfrm>
              <a:off x="2214780" y="5658965"/>
              <a:ext cx="735909" cy="288000"/>
              <a:chOff x="4580001" y="5121695"/>
              <a:chExt cx="735909" cy="288000"/>
            </a:xfrm>
          </p:grpSpPr>
          <p:sp>
            <p:nvSpPr>
              <p:cNvPr id="110" name="Rectangle 109"/>
              <p:cNvSpPr/>
              <p:nvPr/>
            </p:nvSpPr>
            <p:spPr>
              <a:xfrm>
                <a:off x="4868104" y="5121695"/>
                <a:ext cx="447806" cy="288000"/>
              </a:xfrm>
              <a:prstGeom prst="rect">
                <a:avLst/>
              </a:prstGeom>
            </p:spPr>
            <p:txBody>
              <a:bodyPr wrap="none" lIns="71963" tIns="0" rIns="0" bIns="0" anchor="ctr">
                <a:noAutofit/>
              </a:bodyPr>
              <a:lstStyle/>
              <a:p>
                <a:r>
                  <a:rPr lang="en-US" sz="1199" dirty="0">
                    <a:solidFill>
                      <a:srgbClr val="66667E"/>
                    </a:solidFill>
                  </a:rPr>
                  <a:t>Good</a:t>
                </a:r>
              </a:p>
            </p:txBody>
          </p:sp>
          <p:grpSp>
            <p:nvGrpSpPr>
              <p:cNvPr id="111" name="Group 190"/>
              <p:cNvGrpSpPr>
                <a:grpSpLocks noChangeAspect="1"/>
              </p:cNvGrpSpPr>
              <p:nvPr/>
            </p:nvGrpSpPr>
            <p:grpSpPr bwMode="auto">
              <a:xfrm>
                <a:off x="4580001" y="5121695"/>
                <a:ext cx="288000" cy="286417"/>
                <a:chOff x="1808" y="1616"/>
                <a:chExt cx="182" cy="181"/>
              </a:xfrm>
            </p:grpSpPr>
            <p:sp>
              <p:nvSpPr>
                <p:cNvPr id="112" name="AutoShape 189"/>
                <p:cNvSpPr>
                  <a:spLocks noChangeAspect="1" noChangeArrowheads="1" noTextEdit="1"/>
                </p:cNvSpPr>
                <p:nvPr/>
              </p:nvSpPr>
              <p:spPr bwMode="auto">
                <a:xfrm>
                  <a:off x="1808" y="1616"/>
                  <a:ext cx="182" cy="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sp>
              <p:nvSpPr>
                <p:cNvPr id="113" name="Rectangle 191"/>
                <p:cNvSpPr>
                  <a:spLocks noChangeArrowheads="1"/>
                </p:cNvSpPr>
                <p:nvPr/>
              </p:nvSpPr>
              <p:spPr bwMode="auto">
                <a:xfrm>
                  <a:off x="1808" y="1616"/>
                  <a:ext cx="182" cy="18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sp>
              <p:nvSpPr>
                <p:cNvPr id="114" name="Freeform 192"/>
                <p:cNvSpPr>
                  <a:spLocks/>
                </p:cNvSpPr>
                <p:nvPr/>
              </p:nvSpPr>
              <p:spPr bwMode="auto">
                <a:xfrm>
                  <a:off x="1844" y="1661"/>
                  <a:ext cx="101" cy="100"/>
                </a:xfrm>
                <a:custGeom>
                  <a:avLst/>
                  <a:gdLst>
                    <a:gd name="T0" fmla="*/ 16 w 101"/>
                    <a:gd name="T1" fmla="*/ 0 h 100"/>
                    <a:gd name="T2" fmla="*/ 16 w 101"/>
                    <a:gd name="T3" fmla="*/ 18 h 100"/>
                    <a:gd name="T4" fmla="*/ 58 w 101"/>
                    <a:gd name="T5" fmla="*/ 23 h 100"/>
                    <a:gd name="T6" fmla="*/ 0 w 101"/>
                    <a:gd name="T7" fmla="*/ 84 h 100"/>
                    <a:gd name="T8" fmla="*/ 16 w 101"/>
                    <a:gd name="T9" fmla="*/ 100 h 100"/>
                    <a:gd name="T10" fmla="*/ 77 w 101"/>
                    <a:gd name="T11" fmla="*/ 43 h 100"/>
                    <a:gd name="T12" fmla="*/ 83 w 101"/>
                    <a:gd name="T13" fmla="*/ 84 h 100"/>
                    <a:gd name="T14" fmla="*/ 101 w 101"/>
                    <a:gd name="T15" fmla="*/ 84 h 100"/>
                    <a:gd name="T16" fmla="*/ 101 w 101"/>
                    <a:gd name="T17" fmla="*/ 0 h 100"/>
                    <a:gd name="T18" fmla="*/ 16 w 101"/>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100">
                      <a:moveTo>
                        <a:pt x="16" y="0"/>
                      </a:moveTo>
                      <a:lnTo>
                        <a:pt x="16" y="18"/>
                      </a:lnTo>
                      <a:lnTo>
                        <a:pt x="58" y="23"/>
                      </a:lnTo>
                      <a:lnTo>
                        <a:pt x="0" y="84"/>
                      </a:lnTo>
                      <a:lnTo>
                        <a:pt x="16" y="100"/>
                      </a:lnTo>
                      <a:lnTo>
                        <a:pt x="77" y="43"/>
                      </a:lnTo>
                      <a:lnTo>
                        <a:pt x="83" y="84"/>
                      </a:lnTo>
                      <a:lnTo>
                        <a:pt x="101" y="84"/>
                      </a:lnTo>
                      <a:lnTo>
                        <a:pt x="101" y="0"/>
                      </a:lnTo>
                      <a:lnTo>
                        <a:pt x="16" y="0"/>
                      </a:lnTo>
                      <a:close/>
                    </a:path>
                  </a:pathLst>
                </a:custGeom>
                <a:solidFill>
                  <a:srgbClr val="9999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grpSp>
        </p:grpSp>
        <p:grpSp>
          <p:nvGrpSpPr>
            <p:cNvPr id="2" name="Group 1"/>
            <p:cNvGrpSpPr/>
            <p:nvPr/>
          </p:nvGrpSpPr>
          <p:grpSpPr>
            <a:xfrm>
              <a:off x="624541" y="5657372"/>
              <a:ext cx="1055904" cy="289593"/>
              <a:chOff x="3073568" y="5121695"/>
              <a:chExt cx="1055904" cy="289593"/>
            </a:xfrm>
          </p:grpSpPr>
          <p:sp>
            <p:nvSpPr>
              <p:cNvPr id="116" name="Rectangle 115"/>
              <p:cNvSpPr/>
              <p:nvPr/>
            </p:nvSpPr>
            <p:spPr>
              <a:xfrm>
                <a:off x="3366323" y="5121695"/>
                <a:ext cx="763149" cy="288000"/>
              </a:xfrm>
              <a:prstGeom prst="rect">
                <a:avLst/>
              </a:prstGeom>
            </p:spPr>
            <p:txBody>
              <a:bodyPr wrap="none" lIns="71963" tIns="0" rIns="0" bIns="0" anchor="ctr">
                <a:noAutofit/>
              </a:bodyPr>
              <a:lstStyle/>
              <a:p>
                <a:r>
                  <a:rPr lang="en-US" sz="1199" dirty="0">
                    <a:solidFill>
                      <a:srgbClr val="66667E"/>
                    </a:solidFill>
                  </a:rPr>
                  <a:t>Very good</a:t>
                </a:r>
              </a:p>
            </p:txBody>
          </p:sp>
          <p:grpSp>
            <p:nvGrpSpPr>
              <p:cNvPr id="117" name="Group 116"/>
              <p:cNvGrpSpPr>
                <a:grpSpLocks noChangeAspect="1"/>
              </p:cNvGrpSpPr>
              <p:nvPr/>
            </p:nvGrpSpPr>
            <p:grpSpPr>
              <a:xfrm>
                <a:off x="3073568" y="5121695"/>
                <a:ext cx="288000" cy="289593"/>
                <a:chOff x="1032669" y="2564606"/>
                <a:chExt cx="287338" cy="288925"/>
              </a:xfrm>
            </p:grpSpPr>
            <p:sp>
              <p:nvSpPr>
                <p:cNvPr id="118" name="Rectangle 111"/>
                <p:cNvSpPr>
                  <a:spLocks noChangeArrowheads="1"/>
                </p:cNvSpPr>
                <p:nvPr/>
              </p:nvSpPr>
              <p:spPr bwMode="auto">
                <a:xfrm rot="16200000">
                  <a:off x="1031875" y="2565400"/>
                  <a:ext cx="288925" cy="28733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sp>
              <p:nvSpPr>
                <p:cNvPr id="119" name="Freeform 112"/>
                <p:cNvSpPr>
                  <a:spLocks/>
                </p:cNvSpPr>
                <p:nvPr/>
              </p:nvSpPr>
              <p:spPr bwMode="auto">
                <a:xfrm rot="16200000">
                  <a:off x="1076325" y="2617788"/>
                  <a:ext cx="200025" cy="182563"/>
                </a:xfrm>
                <a:custGeom>
                  <a:avLst/>
                  <a:gdLst>
                    <a:gd name="T0" fmla="*/ 68 w 126"/>
                    <a:gd name="T1" fmla="*/ 0 h 115"/>
                    <a:gd name="T2" fmla="*/ 56 w 126"/>
                    <a:gd name="T3" fmla="*/ 12 h 115"/>
                    <a:gd name="T4" fmla="*/ 80 w 126"/>
                    <a:gd name="T5" fmla="*/ 44 h 115"/>
                    <a:gd name="T6" fmla="*/ 0 w 126"/>
                    <a:gd name="T7" fmla="*/ 47 h 115"/>
                    <a:gd name="T8" fmla="*/ 0 w 126"/>
                    <a:gd name="T9" fmla="*/ 68 h 115"/>
                    <a:gd name="T10" fmla="*/ 80 w 126"/>
                    <a:gd name="T11" fmla="*/ 71 h 115"/>
                    <a:gd name="T12" fmla="*/ 56 w 126"/>
                    <a:gd name="T13" fmla="*/ 103 h 115"/>
                    <a:gd name="T14" fmla="*/ 68 w 126"/>
                    <a:gd name="T15" fmla="*/ 115 h 115"/>
                    <a:gd name="T16" fmla="*/ 126 w 126"/>
                    <a:gd name="T17" fmla="*/ 58 h 115"/>
                    <a:gd name="T18" fmla="*/ 68 w 126"/>
                    <a:gd name="T19"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 h="115">
                      <a:moveTo>
                        <a:pt x="68" y="0"/>
                      </a:moveTo>
                      <a:lnTo>
                        <a:pt x="56" y="12"/>
                      </a:lnTo>
                      <a:lnTo>
                        <a:pt x="80" y="44"/>
                      </a:lnTo>
                      <a:lnTo>
                        <a:pt x="0" y="47"/>
                      </a:lnTo>
                      <a:lnTo>
                        <a:pt x="0" y="68"/>
                      </a:lnTo>
                      <a:lnTo>
                        <a:pt x="80" y="71"/>
                      </a:lnTo>
                      <a:lnTo>
                        <a:pt x="56" y="103"/>
                      </a:lnTo>
                      <a:lnTo>
                        <a:pt x="68" y="115"/>
                      </a:lnTo>
                      <a:lnTo>
                        <a:pt x="126" y="58"/>
                      </a:lnTo>
                      <a:lnTo>
                        <a:pt x="68" y="0"/>
                      </a:lnTo>
                      <a:close/>
                    </a:path>
                  </a:pathLst>
                </a:custGeom>
                <a:solidFill>
                  <a:srgbClr val="00AF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grpSp>
        </p:grpSp>
        <p:grpSp>
          <p:nvGrpSpPr>
            <p:cNvPr id="7" name="Group 6"/>
            <p:cNvGrpSpPr/>
            <p:nvPr/>
          </p:nvGrpSpPr>
          <p:grpSpPr>
            <a:xfrm>
              <a:off x="3489603" y="5658965"/>
              <a:ext cx="901327" cy="288000"/>
              <a:chOff x="5775082" y="5121695"/>
              <a:chExt cx="901327" cy="288000"/>
            </a:xfrm>
          </p:grpSpPr>
          <p:sp>
            <p:nvSpPr>
              <p:cNvPr id="121" name="Rectangle 120"/>
              <p:cNvSpPr/>
              <p:nvPr/>
            </p:nvSpPr>
            <p:spPr>
              <a:xfrm>
                <a:off x="6068303" y="5121695"/>
                <a:ext cx="608106" cy="288000"/>
              </a:xfrm>
              <a:prstGeom prst="rect">
                <a:avLst/>
              </a:prstGeom>
            </p:spPr>
            <p:txBody>
              <a:bodyPr wrap="none" lIns="71963" tIns="0" rIns="0" bIns="0" anchor="ctr">
                <a:noAutofit/>
              </a:bodyPr>
              <a:lstStyle/>
              <a:p>
                <a:r>
                  <a:rPr lang="en-US" sz="1199" dirty="0">
                    <a:solidFill>
                      <a:srgbClr val="66667E"/>
                    </a:solidFill>
                  </a:rPr>
                  <a:t>Regular</a:t>
                </a:r>
              </a:p>
            </p:txBody>
          </p:sp>
          <p:grpSp>
            <p:nvGrpSpPr>
              <p:cNvPr id="122" name="Group 121"/>
              <p:cNvGrpSpPr>
                <a:grpSpLocks noChangeAspect="1"/>
              </p:cNvGrpSpPr>
              <p:nvPr/>
            </p:nvGrpSpPr>
            <p:grpSpPr>
              <a:xfrm>
                <a:off x="5775082" y="5121695"/>
                <a:ext cx="288000" cy="286417"/>
                <a:chOff x="1430338" y="2565400"/>
                <a:chExt cx="288925" cy="287338"/>
              </a:xfrm>
              <a:solidFill>
                <a:srgbClr val="879BAA"/>
              </a:solidFill>
            </p:grpSpPr>
            <p:sp>
              <p:nvSpPr>
                <p:cNvPr id="123" name="Rectangle 116"/>
                <p:cNvSpPr>
                  <a:spLocks noChangeArrowheads="1"/>
                </p:cNvSpPr>
                <p:nvPr/>
              </p:nvSpPr>
              <p:spPr bwMode="auto">
                <a:xfrm>
                  <a:off x="1430338" y="2565400"/>
                  <a:ext cx="288925" cy="28733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sp>
              <p:nvSpPr>
                <p:cNvPr id="124" name="Freeform 117"/>
                <p:cNvSpPr>
                  <a:spLocks/>
                </p:cNvSpPr>
                <p:nvPr/>
              </p:nvSpPr>
              <p:spPr bwMode="auto">
                <a:xfrm>
                  <a:off x="1474788" y="2617788"/>
                  <a:ext cx="200025" cy="182563"/>
                </a:xfrm>
                <a:custGeom>
                  <a:avLst/>
                  <a:gdLst>
                    <a:gd name="T0" fmla="*/ 68 w 126"/>
                    <a:gd name="T1" fmla="*/ 0 h 115"/>
                    <a:gd name="T2" fmla="*/ 56 w 126"/>
                    <a:gd name="T3" fmla="*/ 12 h 115"/>
                    <a:gd name="T4" fmla="*/ 80 w 126"/>
                    <a:gd name="T5" fmla="*/ 44 h 115"/>
                    <a:gd name="T6" fmla="*/ 0 w 126"/>
                    <a:gd name="T7" fmla="*/ 47 h 115"/>
                    <a:gd name="T8" fmla="*/ 0 w 126"/>
                    <a:gd name="T9" fmla="*/ 68 h 115"/>
                    <a:gd name="T10" fmla="*/ 80 w 126"/>
                    <a:gd name="T11" fmla="*/ 71 h 115"/>
                    <a:gd name="T12" fmla="*/ 56 w 126"/>
                    <a:gd name="T13" fmla="*/ 103 h 115"/>
                    <a:gd name="T14" fmla="*/ 68 w 126"/>
                    <a:gd name="T15" fmla="*/ 115 h 115"/>
                    <a:gd name="T16" fmla="*/ 126 w 126"/>
                    <a:gd name="T17" fmla="*/ 58 h 115"/>
                    <a:gd name="T18" fmla="*/ 68 w 126"/>
                    <a:gd name="T19"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 h="115">
                      <a:moveTo>
                        <a:pt x="68" y="0"/>
                      </a:moveTo>
                      <a:lnTo>
                        <a:pt x="56" y="12"/>
                      </a:lnTo>
                      <a:lnTo>
                        <a:pt x="80" y="44"/>
                      </a:lnTo>
                      <a:lnTo>
                        <a:pt x="0" y="47"/>
                      </a:lnTo>
                      <a:lnTo>
                        <a:pt x="0" y="68"/>
                      </a:lnTo>
                      <a:lnTo>
                        <a:pt x="80" y="71"/>
                      </a:lnTo>
                      <a:lnTo>
                        <a:pt x="56" y="103"/>
                      </a:lnTo>
                      <a:lnTo>
                        <a:pt x="68" y="115"/>
                      </a:lnTo>
                      <a:lnTo>
                        <a:pt x="126" y="58"/>
                      </a:lnTo>
                      <a:lnTo>
                        <a:pt x="68" y="0"/>
                      </a:lnTo>
                      <a:close/>
                    </a:path>
                  </a:pathLst>
                </a:custGeom>
                <a:solidFill>
                  <a:srgbClr val="9999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grpSp>
        </p:grpSp>
        <p:grpSp>
          <p:nvGrpSpPr>
            <p:cNvPr id="8" name="Group 7"/>
            <p:cNvGrpSpPr/>
            <p:nvPr/>
          </p:nvGrpSpPr>
          <p:grpSpPr>
            <a:xfrm>
              <a:off x="4900711" y="5658965"/>
              <a:ext cx="641229" cy="288000"/>
              <a:chOff x="7126090" y="5121695"/>
              <a:chExt cx="641229" cy="288000"/>
            </a:xfrm>
          </p:grpSpPr>
          <p:sp>
            <p:nvSpPr>
              <p:cNvPr id="126" name="Rectangle 125"/>
              <p:cNvSpPr/>
              <p:nvPr/>
            </p:nvSpPr>
            <p:spPr>
              <a:xfrm>
                <a:off x="7414090" y="5121695"/>
                <a:ext cx="353229" cy="288000"/>
              </a:xfrm>
              <a:prstGeom prst="rect">
                <a:avLst/>
              </a:prstGeom>
            </p:spPr>
            <p:txBody>
              <a:bodyPr wrap="none" lIns="71963" tIns="0" rIns="0" bIns="0" anchor="ctr">
                <a:noAutofit/>
              </a:bodyPr>
              <a:lstStyle/>
              <a:p>
                <a:r>
                  <a:rPr lang="en-US" sz="1199" dirty="0">
                    <a:solidFill>
                      <a:srgbClr val="66667E"/>
                    </a:solidFill>
                  </a:rPr>
                  <a:t>Low</a:t>
                </a:r>
              </a:p>
            </p:txBody>
          </p:sp>
          <p:grpSp>
            <p:nvGrpSpPr>
              <p:cNvPr id="127" name="Group 190"/>
              <p:cNvGrpSpPr>
                <a:grpSpLocks noChangeAspect="1"/>
              </p:cNvGrpSpPr>
              <p:nvPr/>
            </p:nvGrpSpPr>
            <p:grpSpPr bwMode="auto">
              <a:xfrm flipV="1">
                <a:off x="7126090" y="5121695"/>
                <a:ext cx="288000" cy="286417"/>
                <a:chOff x="1808" y="1616"/>
                <a:chExt cx="182" cy="181"/>
              </a:xfrm>
              <a:solidFill>
                <a:srgbClr val="879BAA"/>
              </a:solidFill>
            </p:grpSpPr>
            <p:sp>
              <p:nvSpPr>
                <p:cNvPr id="128" name="AutoShape 189"/>
                <p:cNvSpPr>
                  <a:spLocks noChangeAspect="1" noChangeArrowheads="1" noTextEdit="1"/>
                </p:cNvSpPr>
                <p:nvPr/>
              </p:nvSpPr>
              <p:spPr bwMode="auto">
                <a:xfrm>
                  <a:off x="1808" y="1616"/>
                  <a:ext cx="182" cy="18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sp>
              <p:nvSpPr>
                <p:cNvPr id="129" name="Rectangle 191"/>
                <p:cNvSpPr>
                  <a:spLocks noChangeArrowheads="1"/>
                </p:cNvSpPr>
                <p:nvPr/>
              </p:nvSpPr>
              <p:spPr bwMode="auto">
                <a:xfrm>
                  <a:off x="1808" y="1616"/>
                  <a:ext cx="182" cy="18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sp>
              <p:nvSpPr>
                <p:cNvPr id="130" name="Freeform 192"/>
                <p:cNvSpPr>
                  <a:spLocks/>
                </p:cNvSpPr>
                <p:nvPr/>
              </p:nvSpPr>
              <p:spPr bwMode="auto">
                <a:xfrm>
                  <a:off x="1844" y="1661"/>
                  <a:ext cx="101" cy="100"/>
                </a:xfrm>
                <a:custGeom>
                  <a:avLst/>
                  <a:gdLst>
                    <a:gd name="T0" fmla="*/ 16 w 101"/>
                    <a:gd name="T1" fmla="*/ 0 h 100"/>
                    <a:gd name="T2" fmla="*/ 16 w 101"/>
                    <a:gd name="T3" fmla="*/ 18 h 100"/>
                    <a:gd name="T4" fmla="*/ 58 w 101"/>
                    <a:gd name="T5" fmla="*/ 23 h 100"/>
                    <a:gd name="T6" fmla="*/ 0 w 101"/>
                    <a:gd name="T7" fmla="*/ 84 h 100"/>
                    <a:gd name="T8" fmla="*/ 16 w 101"/>
                    <a:gd name="T9" fmla="*/ 100 h 100"/>
                    <a:gd name="T10" fmla="*/ 77 w 101"/>
                    <a:gd name="T11" fmla="*/ 43 h 100"/>
                    <a:gd name="T12" fmla="*/ 83 w 101"/>
                    <a:gd name="T13" fmla="*/ 84 h 100"/>
                    <a:gd name="T14" fmla="*/ 101 w 101"/>
                    <a:gd name="T15" fmla="*/ 84 h 100"/>
                    <a:gd name="T16" fmla="*/ 101 w 101"/>
                    <a:gd name="T17" fmla="*/ 0 h 100"/>
                    <a:gd name="T18" fmla="*/ 16 w 101"/>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100">
                      <a:moveTo>
                        <a:pt x="16" y="0"/>
                      </a:moveTo>
                      <a:lnTo>
                        <a:pt x="16" y="18"/>
                      </a:lnTo>
                      <a:lnTo>
                        <a:pt x="58" y="23"/>
                      </a:lnTo>
                      <a:lnTo>
                        <a:pt x="0" y="84"/>
                      </a:lnTo>
                      <a:lnTo>
                        <a:pt x="16" y="100"/>
                      </a:lnTo>
                      <a:lnTo>
                        <a:pt x="77" y="43"/>
                      </a:lnTo>
                      <a:lnTo>
                        <a:pt x="83" y="84"/>
                      </a:lnTo>
                      <a:lnTo>
                        <a:pt x="101" y="84"/>
                      </a:lnTo>
                      <a:lnTo>
                        <a:pt x="101" y="0"/>
                      </a:lnTo>
                      <a:lnTo>
                        <a:pt x="16" y="0"/>
                      </a:lnTo>
                      <a:close/>
                    </a:path>
                  </a:pathLst>
                </a:custGeom>
                <a:solidFill>
                  <a:srgbClr val="9999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grpSp>
        </p:grpSp>
        <p:grpSp>
          <p:nvGrpSpPr>
            <p:cNvPr id="9" name="Group 8"/>
            <p:cNvGrpSpPr/>
            <p:nvPr/>
          </p:nvGrpSpPr>
          <p:grpSpPr>
            <a:xfrm>
              <a:off x="6082149" y="5657372"/>
              <a:ext cx="991838" cy="289593"/>
              <a:chOff x="8222222" y="5121695"/>
              <a:chExt cx="991838" cy="289593"/>
            </a:xfrm>
          </p:grpSpPr>
          <p:sp>
            <p:nvSpPr>
              <p:cNvPr id="132" name="Rectangle 131"/>
              <p:cNvSpPr/>
              <p:nvPr/>
            </p:nvSpPr>
            <p:spPr>
              <a:xfrm>
                <a:off x="8510222" y="5121695"/>
                <a:ext cx="703838" cy="288000"/>
              </a:xfrm>
              <a:prstGeom prst="rect">
                <a:avLst/>
              </a:prstGeom>
            </p:spPr>
            <p:txBody>
              <a:bodyPr wrap="none" lIns="71963" tIns="0" rIns="0" bIns="0" anchor="ctr">
                <a:noAutofit/>
              </a:bodyPr>
              <a:lstStyle/>
              <a:p>
                <a:r>
                  <a:rPr lang="en-US" sz="1199" dirty="0">
                    <a:solidFill>
                      <a:srgbClr val="66667E"/>
                    </a:solidFill>
                  </a:rPr>
                  <a:t>Very low</a:t>
                </a:r>
              </a:p>
            </p:txBody>
          </p:sp>
          <p:grpSp>
            <p:nvGrpSpPr>
              <p:cNvPr id="133" name="Group 132"/>
              <p:cNvGrpSpPr>
                <a:grpSpLocks noChangeAspect="1"/>
              </p:cNvGrpSpPr>
              <p:nvPr/>
            </p:nvGrpSpPr>
            <p:grpSpPr>
              <a:xfrm flipV="1">
                <a:off x="8222222" y="5121695"/>
                <a:ext cx="288000" cy="289593"/>
                <a:chOff x="1032669" y="2564606"/>
                <a:chExt cx="287338" cy="288925"/>
              </a:xfrm>
            </p:grpSpPr>
            <p:sp>
              <p:nvSpPr>
                <p:cNvPr id="134" name="Rectangle 111"/>
                <p:cNvSpPr>
                  <a:spLocks noChangeArrowheads="1"/>
                </p:cNvSpPr>
                <p:nvPr/>
              </p:nvSpPr>
              <p:spPr bwMode="auto">
                <a:xfrm rot="16200000">
                  <a:off x="1031875" y="2565400"/>
                  <a:ext cx="288925" cy="28733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sp>
              <p:nvSpPr>
                <p:cNvPr id="135" name="Freeform 112"/>
                <p:cNvSpPr>
                  <a:spLocks/>
                </p:cNvSpPr>
                <p:nvPr/>
              </p:nvSpPr>
              <p:spPr bwMode="auto">
                <a:xfrm rot="16200000">
                  <a:off x="1076325" y="2617788"/>
                  <a:ext cx="200025" cy="182563"/>
                </a:xfrm>
                <a:custGeom>
                  <a:avLst/>
                  <a:gdLst>
                    <a:gd name="T0" fmla="*/ 68 w 126"/>
                    <a:gd name="T1" fmla="*/ 0 h 115"/>
                    <a:gd name="T2" fmla="*/ 56 w 126"/>
                    <a:gd name="T3" fmla="*/ 12 h 115"/>
                    <a:gd name="T4" fmla="*/ 80 w 126"/>
                    <a:gd name="T5" fmla="*/ 44 h 115"/>
                    <a:gd name="T6" fmla="*/ 0 w 126"/>
                    <a:gd name="T7" fmla="*/ 47 h 115"/>
                    <a:gd name="T8" fmla="*/ 0 w 126"/>
                    <a:gd name="T9" fmla="*/ 68 h 115"/>
                    <a:gd name="T10" fmla="*/ 80 w 126"/>
                    <a:gd name="T11" fmla="*/ 71 h 115"/>
                    <a:gd name="T12" fmla="*/ 56 w 126"/>
                    <a:gd name="T13" fmla="*/ 103 h 115"/>
                    <a:gd name="T14" fmla="*/ 68 w 126"/>
                    <a:gd name="T15" fmla="*/ 115 h 115"/>
                    <a:gd name="T16" fmla="*/ 126 w 126"/>
                    <a:gd name="T17" fmla="*/ 58 h 115"/>
                    <a:gd name="T18" fmla="*/ 68 w 126"/>
                    <a:gd name="T19"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 h="115">
                      <a:moveTo>
                        <a:pt x="68" y="0"/>
                      </a:moveTo>
                      <a:lnTo>
                        <a:pt x="56" y="12"/>
                      </a:lnTo>
                      <a:lnTo>
                        <a:pt x="80" y="44"/>
                      </a:lnTo>
                      <a:lnTo>
                        <a:pt x="0" y="47"/>
                      </a:lnTo>
                      <a:lnTo>
                        <a:pt x="0" y="68"/>
                      </a:lnTo>
                      <a:lnTo>
                        <a:pt x="80" y="71"/>
                      </a:lnTo>
                      <a:lnTo>
                        <a:pt x="56" y="103"/>
                      </a:lnTo>
                      <a:lnTo>
                        <a:pt x="68" y="115"/>
                      </a:lnTo>
                      <a:lnTo>
                        <a:pt x="126" y="58"/>
                      </a:lnTo>
                      <a:lnTo>
                        <a:pt x="68" y="0"/>
                      </a:lnTo>
                      <a:close/>
                    </a:path>
                  </a:pathLst>
                </a:custGeom>
                <a:solidFill>
                  <a:srgbClr val="EF01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grpSp>
        </p:grpSp>
      </p:grpSp>
      <p:grpSp>
        <p:nvGrpSpPr>
          <p:cNvPr id="136" name="Group 190"/>
          <p:cNvGrpSpPr>
            <a:grpSpLocks noChangeAspect="1"/>
          </p:cNvGrpSpPr>
          <p:nvPr/>
        </p:nvGrpSpPr>
        <p:grpSpPr bwMode="auto">
          <a:xfrm>
            <a:off x="7592400" y="2009838"/>
            <a:ext cx="593097" cy="593097"/>
            <a:chOff x="1808" y="1616"/>
            <a:chExt cx="250" cy="250"/>
          </a:xfrm>
        </p:grpSpPr>
        <p:sp>
          <p:nvSpPr>
            <p:cNvPr id="137" name="AutoShape 189"/>
            <p:cNvSpPr>
              <a:spLocks noChangeAspect="1" noChangeArrowheads="1" noTextEdit="1"/>
            </p:cNvSpPr>
            <p:nvPr/>
          </p:nvSpPr>
          <p:spPr bwMode="auto">
            <a:xfrm>
              <a:off x="1808" y="1616"/>
              <a:ext cx="182" cy="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sp>
          <p:nvSpPr>
            <p:cNvPr id="138" name="Rectangle 191"/>
            <p:cNvSpPr>
              <a:spLocks noChangeAspect="1" noChangeArrowheads="1"/>
            </p:cNvSpPr>
            <p:nvPr/>
          </p:nvSpPr>
          <p:spPr bwMode="auto">
            <a:xfrm>
              <a:off x="1808" y="1616"/>
              <a:ext cx="250" cy="25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sp>
          <p:nvSpPr>
            <p:cNvPr id="139" name="Freeform 192"/>
            <p:cNvSpPr>
              <a:spLocks/>
            </p:cNvSpPr>
            <p:nvPr/>
          </p:nvSpPr>
          <p:spPr bwMode="auto">
            <a:xfrm>
              <a:off x="1883" y="1691"/>
              <a:ext cx="101" cy="100"/>
            </a:xfrm>
            <a:custGeom>
              <a:avLst/>
              <a:gdLst>
                <a:gd name="T0" fmla="*/ 16 w 101"/>
                <a:gd name="T1" fmla="*/ 0 h 100"/>
                <a:gd name="T2" fmla="*/ 16 w 101"/>
                <a:gd name="T3" fmla="*/ 18 h 100"/>
                <a:gd name="T4" fmla="*/ 58 w 101"/>
                <a:gd name="T5" fmla="*/ 23 h 100"/>
                <a:gd name="T6" fmla="*/ 0 w 101"/>
                <a:gd name="T7" fmla="*/ 84 h 100"/>
                <a:gd name="T8" fmla="*/ 16 w 101"/>
                <a:gd name="T9" fmla="*/ 100 h 100"/>
                <a:gd name="T10" fmla="*/ 77 w 101"/>
                <a:gd name="T11" fmla="*/ 43 h 100"/>
                <a:gd name="T12" fmla="*/ 83 w 101"/>
                <a:gd name="T13" fmla="*/ 84 h 100"/>
                <a:gd name="T14" fmla="*/ 101 w 101"/>
                <a:gd name="T15" fmla="*/ 84 h 100"/>
                <a:gd name="T16" fmla="*/ 101 w 101"/>
                <a:gd name="T17" fmla="*/ 0 h 100"/>
                <a:gd name="T18" fmla="*/ 16 w 101"/>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100">
                  <a:moveTo>
                    <a:pt x="16" y="0"/>
                  </a:moveTo>
                  <a:lnTo>
                    <a:pt x="16" y="18"/>
                  </a:lnTo>
                  <a:lnTo>
                    <a:pt x="58" y="23"/>
                  </a:lnTo>
                  <a:lnTo>
                    <a:pt x="0" y="84"/>
                  </a:lnTo>
                  <a:lnTo>
                    <a:pt x="16" y="100"/>
                  </a:lnTo>
                  <a:lnTo>
                    <a:pt x="77" y="43"/>
                  </a:lnTo>
                  <a:lnTo>
                    <a:pt x="83" y="84"/>
                  </a:lnTo>
                  <a:lnTo>
                    <a:pt x="101" y="84"/>
                  </a:lnTo>
                  <a:lnTo>
                    <a:pt x="101" y="0"/>
                  </a:lnTo>
                  <a:lnTo>
                    <a:pt x="16" y="0"/>
                  </a:lnTo>
                  <a:close/>
                </a:path>
              </a:pathLst>
            </a:custGeom>
            <a:solidFill>
              <a:srgbClr val="9999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grpSp>
      <p:grpSp>
        <p:nvGrpSpPr>
          <p:cNvPr id="140" name="Group 139"/>
          <p:cNvGrpSpPr>
            <a:grpSpLocks noChangeAspect="1"/>
          </p:cNvGrpSpPr>
          <p:nvPr/>
        </p:nvGrpSpPr>
        <p:grpSpPr>
          <a:xfrm>
            <a:off x="7592400" y="1415848"/>
            <a:ext cx="594000" cy="594000"/>
            <a:chOff x="1032669" y="2456055"/>
            <a:chExt cx="397482" cy="397478"/>
          </a:xfrm>
        </p:grpSpPr>
        <p:sp>
          <p:nvSpPr>
            <p:cNvPr id="141" name="Rectangle 111"/>
            <p:cNvSpPr>
              <a:spLocks noChangeAspect="1" noChangeArrowheads="1"/>
            </p:cNvSpPr>
            <p:nvPr/>
          </p:nvSpPr>
          <p:spPr bwMode="auto">
            <a:xfrm>
              <a:off x="1032669" y="2456055"/>
              <a:ext cx="397482" cy="39747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sp>
          <p:nvSpPr>
            <p:cNvPr id="142" name="Freeform 112"/>
            <p:cNvSpPr>
              <a:spLocks/>
            </p:cNvSpPr>
            <p:nvPr/>
          </p:nvSpPr>
          <p:spPr bwMode="auto">
            <a:xfrm rot="16200000">
              <a:off x="1131397" y="2563513"/>
              <a:ext cx="200025" cy="182563"/>
            </a:xfrm>
            <a:custGeom>
              <a:avLst/>
              <a:gdLst>
                <a:gd name="T0" fmla="*/ 68 w 126"/>
                <a:gd name="T1" fmla="*/ 0 h 115"/>
                <a:gd name="T2" fmla="*/ 56 w 126"/>
                <a:gd name="T3" fmla="*/ 12 h 115"/>
                <a:gd name="T4" fmla="*/ 80 w 126"/>
                <a:gd name="T5" fmla="*/ 44 h 115"/>
                <a:gd name="T6" fmla="*/ 0 w 126"/>
                <a:gd name="T7" fmla="*/ 47 h 115"/>
                <a:gd name="T8" fmla="*/ 0 w 126"/>
                <a:gd name="T9" fmla="*/ 68 h 115"/>
                <a:gd name="T10" fmla="*/ 80 w 126"/>
                <a:gd name="T11" fmla="*/ 71 h 115"/>
                <a:gd name="T12" fmla="*/ 56 w 126"/>
                <a:gd name="T13" fmla="*/ 103 h 115"/>
                <a:gd name="T14" fmla="*/ 68 w 126"/>
                <a:gd name="T15" fmla="*/ 115 h 115"/>
                <a:gd name="T16" fmla="*/ 126 w 126"/>
                <a:gd name="T17" fmla="*/ 58 h 115"/>
                <a:gd name="T18" fmla="*/ 68 w 126"/>
                <a:gd name="T19"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 h="115">
                  <a:moveTo>
                    <a:pt x="68" y="0"/>
                  </a:moveTo>
                  <a:lnTo>
                    <a:pt x="56" y="12"/>
                  </a:lnTo>
                  <a:lnTo>
                    <a:pt x="80" y="44"/>
                  </a:lnTo>
                  <a:lnTo>
                    <a:pt x="0" y="47"/>
                  </a:lnTo>
                  <a:lnTo>
                    <a:pt x="0" y="68"/>
                  </a:lnTo>
                  <a:lnTo>
                    <a:pt x="80" y="71"/>
                  </a:lnTo>
                  <a:lnTo>
                    <a:pt x="56" y="103"/>
                  </a:lnTo>
                  <a:lnTo>
                    <a:pt x="68" y="115"/>
                  </a:lnTo>
                  <a:lnTo>
                    <a:pt x="126" y="58"/>
                  </a:lnTo>
                  <a:lnTo>
                    <a:pt x="68" y="0"/>
                  </a:lnTo>
                  <a:close/>
                </a:path>
              </a:pathLst>
            </a:custGeom>
            <a:solidFill>
              <a:srgbClr val="00AF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grpSp>
      <p:grpSp>
        <p:nvGrpSpPr>
          <p:cNvPr id="143" name="Group 142"/>
          <p:cNvGrpSpPr>
            <a:grpSpLocks noChangeAspect="1"/>
          </p:cNvGrpSpPr>
          <p:nvPr/>
        </p:nvGrpSpPr>
        <p:grpSpPr>
          <a:xfrm>
            <a:off x="7592400" y="2602925"/>
            <a:ext cx="594001" cy="594001"/>
            <a:chOff x="1430338" y="2565399"/>
            <a:chExt cx="395294" cy="395296"/>
          </a:xfrm>
        </p:grpSpPr>
        <p:sp>
          <p:nvSpPr>
            <p:cNvPr id="144" name="Rectangle 116"/>
            <p:cNvSpPr>
              <a:spLocks noChangeAspect="1" noChangeArrowheads="1"/>
            </p:cNvSpPr>
            <p:nvPr/>
          </p:nvSpPr>
          <p:spPr bwMode="auto">
            <a:xfrm>
              <a:off x="1430338" y="2565399"/>
              <a:ext cx="395294" cy="39529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sp>
          <p:nvSpPr>
            <p:cNvPr id="145" name="Freeform 117"/>
            <p:cNvSpPr>
              <a:spLocks/>
            </p:cNvSpPr>
            <p:nvPr/>
          </p:nvSpPr>
          <p:spPr bwMode="auto">
            <a:xfrm>
              <a:off x="1527972" y="2671765"/>
              <a:ext cx="200025" cy="182563"/>
            </a:xfrm>
            <a:custGeom>
              <a:avLst/>
              <a:gdLst>
                <a:gd name="T0" fmla="*/ 68 w 126"/>
                <a:gd name="T1" fmla="*/ 0 h 115"/>
                <a:gd name="T2" fmla="*/ 56 w 126"/>
                <a:gd name="T3" fmla="*/ 12 h 115"/>
                <a:gd name="T4" fmla="*/ 80 w 126"/>
                <a:gd name="T5" fmla="*/ 44 h 115"/>
                <a:gd name="T6" fmla="*/ 0 w 126"/>
                <a:gd name="T7" fmla="*/ 47 h 115"/>
                <a:gd name="T8" fmla="*/ 0 w 126"/>
                <a:gd name="T9" fmla="*/ 68 h 115"/>
                <a:gd name="T10" fmla="*/ 80 w 126"/>
                <a:gd name="T11" fmla="*/ 71 h 115"/>
                <a:gd name="T12" fmla="*/ 56 w 126"/>
                <a:gd name="T13" fmla="*/ 103 h 115"/>
                <a:gd name="T14" fmla="*/ 68 w 126"/>
                <a:gd name="T15" fmla="*/ 115 h 115"/>
                <a:gd name="T16" fmla="*/ 126 w 126"/>
                <a:gd name="T17" fmla="*/ 58 h 115"/>
                <a:gd name="T18" fmla="*/ 68 w 126"/>
                <a:gd name="T19"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 h="115">
                  <a:moveTo>
                    <a:pt x="68" y="0"/>
                  </a:moveTo>
                  <a:lnTo>
                    <a:pt x="56" y="12"/>
                  </a:lnTo>
                  <a:lnTo>
                    <a:pt x="80" y="44"/>
                  </a:lnTo>
                  <a:lnTo>
                    <a:pt x="0" y="47"/>
                  </a:lnTo>
                  <a:lnTo>
                    <a:pt x="0" y="68"/>
                  </a:lnTo>
                  <a:lnTo>
                    <a:pt x="80" y="71"/>
                  </a:lnTo>
                  <a:lnTo>
                    <a:pt x="56" y="103"/>
                  </a:lnTo>
                  <a:lnTo>
                    <a:pt x="68" y="115"/>
                  </a:lnTo>
                  <a:lnTo>
                    <a:pt x="126" y="58"/>
                  </a:lnTo>
                  <a:lnTo>
                    <a:pt x="68" y="0"/>
                  </a:lnTo>
                  <a:close/>
                </a:path>
              </a:pathLst>
            </a:custGeom>
            <a:solidFill>
              <a:srgbClr val="9999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grpSp>
      <p:grpSp>
        <p:nvGrpSpPr>
          <p:cNvPr id="146" name="Group 190"/>
          <p:cNvGrpSpPr>
            <a:grpSpLocks noChangeAspect="1"/>
          </p:cNvGrpSpPr>
          <p:nvPr/>
        </p:nvGrpSpPr>
        <p:grpSpPr bwMode="auto">
          <a:xfrm flipV="1">
            <a:off x="7592400" y="3196916"/>
            <a:ext cx="593097" cy="593097"/>
            <a:chOff x="1808" y="1547"/>
            <a:chExt cx="250" cy="250"/>
          </a:xfrm>
        </p:grpSpPr>
        <p:sp>
          <p:nvSpPr>
            <p:cNvPr id="147" name="AutoShape 189"/>
            <p:cNvSpPr>
              <a:spLocks noChangeAspect="1" noChangeArrowheads="1" noTextEdit="1"/>
            </p:cNvSpPr>
            <p:nvPr/>
          </p:nvSpPr>
          <p:spPr bwMode="auto">
            <a:xfrm>
              <a:off x="1808" y="1616"/>
              <a:ext cx="182" cy="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sp>
          <p:nvSpPr>
            <p:cNvPr id="148" name="Rectangle 191"/>
            <p:cNvSpPr>
              <a:spLocks noChangeAspect="1" noChangeArrowheads="1"/>
            </p:cNvSpPr>
            <p:nvPr/>
          </p:nvSpPr>
          <p:spPr bwMode="auto">
            <a:xfrm>
              <a:off x="1808" y="1547"/>
              <a:ext cx="250" cy="25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sp>
          <p:nvSpPr>
            <p:cNvPr id="149" name="Freeform 192"/>
            <p:cNvSpPr>
              <a:spLocks/>
            </p:cNvSpPr>
            <p:nvPr/>
          </p:nvSpPr>
          <p:spPr bwMode="auto">
            <a:xfrm>
              <a:off x="1883" y="1622"/>
              <a:ext cx="101" cy="100"/>
            </a:xfrm>
            <a:custGeom>
              <a:avLst/>
              <a:gdLst>
                <a:gd name="T0" fmla="*/ 16 w 101"/>
                <a:gd name="T1" fmla="*/ 0 h 100"/>
                <a:gd name="T2" fmla="*/ 16 w 101"/>
                <a:gd name="T3" fmla="*/ 18 h 100"/>
                <a:gd name="T4" fmla="*/ 58 w 101"/>
                <a:gd name="T5" fmla="*/ 23 h 100"/>
                <a:gd name="T6" fmla="*/ 0 w 101"/>
                <a:gd name="T7" fmla="*/ 84 h 100"/>
                <a:gd name="T8" fmla="*/ 16 w 101"/>
                <a:gd name="T9" fmla="*/ 100 h 100"/>
                <a:gd name="T10" fmla="*/ 77 w 101"/>
                <a:gd name="T11" fmla="*/ 43 h 100"/>
                <a:gd name="T12" fmla="*/ 83 w 101"/>
                <a:gd name="T13" fmla="*/ 84 h 100"/>
                <a:gd name="T14" fmla="*/ 101 w 101"/>
                <a:gd name="T15" fmla="*/ 84 h 100"/>
                <a:gd name="T16" fmla="*/ 101 w 101"/>
                <a:gd name="T17" fmla="*/ 0 h 100"/>
                <a:gd name="T18" fmla="*/ 16 w 101"/>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100">
                  <a:moveTo>
                    <a:pt x="16" y="0"/>
                  </a:moveTo>
                  <a:lnTo>
                    <a:pt x="16" y="18"/>
                  </a:lnTo>
                  <a:lnTo>
                    <a:pt x="58" y="23"/>
                  </a:lnTo>
                  <a:lnTo>
                    <a:pt x="0" y="84"/>
                  </a:lnTo>
                  <a:lnTo>
                    <a:pt x="16" y="100"/>
                  </a:lnTo>
                  <a:lnTo>
                    <a:pt x="77" y="43"/>
                  </a:lnTo>
                  <a:lnTo>
                    <a:pt x="83" y="84"/>
                  </a:lnTo>
                  <a:lnTo>
                    <a:pt x="101" y="84"/>
                  </a:lnTo>
                  <a:lnTo>
                    <a:pt x="101" y="0"/>
                  </a:lnTo>
                  <a:lnTo>
                    <a:pt x="16" y="0"/>
                  </a:lnTo>
                  <a:close/>
                </a:path>
              </a:pathLst>
            </a:custGeom>
            <a:solidFill>
              <a:srgbClr val="9999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grpSp>
      <p:grpSp>
        <p:nvGrpSpPr>
          <p:cNvPr id="150" name="Group 149"/>
          <p:cNvGrpSpPr>
            <a:grpSpLocks noChangeAspect="1"/>
          </p:cNvGrpSpPr>
          <p:nvPr/>
        </p:nvGrpSpPr>
        <p:grpSpPr>
          <a:xfrm flipV="1">
            <a:off x="7592400" y="3790003"/>
            <a:ext cx="594000" cy="594000"/>
            <a:chOff x="970783" y="2407796"/>
            <a:chExt cx="397482" cy="397478"/>
          </a:xfrm>
        </p:grpSpPr>
        <p:sp>
          <p:nvSpPr>
            <p:cNvPr id="151" name="Rectangle 111"/>
            <p:cNvSpPr>
              <a:spLocks noChangeAspect="1" noChangeArrowheads="1"/>
            </p:cNvSpPr>
            <p:nvPr/>
          </p:nvSpPr>
          <p:spPr bwMode="auto">
            <a:xfrm>
              <a:off x="970783" y="2407796"/>
              <a:ext cx="397482" cy="39747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sp>
          <p:nvSpPr>
            <p:cNvPr id="152" name="Freeform 112"/>
            <p:cNvSpPr>
              <a:spLocks/>
            </p:cNvSpPr>
            <p:nvPr/>
          </p:nvSpPr>
          <p:spPr bwMode="auto">
            <a:xfrm rot="16200000">
              <a:off x="1069511" y="2515253"/>
              <a:ext cx="200025" cy="182563"/>
            </a:xfrm>
            <a:custGeom>
              <a:avLst/>
              <a:gdLst>
                <a:gd name="T0" fmla="*/ 68 w 126"/>
                <a:gd name="T1" fmla="*/ 0 h 115"/>
                <a:gd name="T2" fmla="*/ 56 w 126"/>
                <a:gd name="T3" fmla="*/ 12 h 115"/>
                <a:gd name="T4" fmla="*/ 80 w 126"/>
                <a:gd name="T5" fmla="*/ 44 h 115"/>
                <a:gd name="T6" fmla="*/ 0 w 126"/>
                <a:gd name="T7" fmla="*/ 47 h 115"/>
                <a:gd name="T8" fmla="*/ 0 w 126"/>
                <a:gd name="T9" fmla="*/ 68 h 115"/>
                <a:gd name="T10" fmla="*/ 80 w 126"/>
                <a:gd name="T11" fmla="*/ 71 h 115"/>
                <a:gd name="T12" fmla="*/ 56 w 126"/>
                <a:gd name="T13" fmla="*/ 103 h 115"/>
                <a:gd name="T14" fmla="*/ 68 w 126"/>
                <a:gd name="T15" fmla="*/ 115 h 115"/>
                <a:gd name="T16" fmla="*/ 126 w 126"/>
                <a:gd name="T17" fmla="*/ 58 h 115"/>
                <a:gd name="T18" fmla="*/ 68 w 126"/>
                <a:gd name="T19"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 h="115">
                  <a:moveTo>
                    <a:pt x="68" y="0"/>
                  </a:moveTo>
                  <a:lnTo>
                    <a:pt x="56" y="12"/>
                  </a:lnTo>
                  <a:lnTo>
                    <a:pt x="80" y="44"/>
                  </a:lnTo>
                  <a:lnTo>
                    <a:pt x="0" y="47"/>
                  </a:lnTo>
                  <a:lnTo>
                    <a:pt x="0" y="68"/>
                  </a:lnTo>
                  <a:lnTo>
                    <a:pt x="80" y="71"/>
                  </a:lnTo>
                  <a:lnTo>
                    <a:pt x="56" y="103"/>
                  </a:lnTo>
                  <a:lnTo>
                    <a:pt x="68" y="115"/>
                  </a:lnTo>
                  <a:lnTo>
                    <a:pt x="126" y="58"/>
                  </a:lnTo>
                  <a:lnTo>
                    <a:pt x="68" y="0"/>
                  </a:lnTo>
                  <a:close/>
                </a:path>
              </a:pathLst>
            </a:custGeom>
            <a:solidFill>
              <a:srgbClr val="EF01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grpSp>
      <p:grpSp>
        <p:nvGrpSpPr>
          <p:cNvPr id="53" name="Group 52">
            <a:extLst>
              <a:ext uri="{FF2B5EF4-FFF2-40B4-BE49-F238E27FC236}">
                <a16:creationId xmlns:a16="http://schemas.microsoft.com/office/drawing/2014/main" id="{F2E2EECA-0C1F-4D3D-BD4B-89F53D76AAFC}"/>
              </a:ext>
            </a:extLst>
          </p:cNvPr>
          <p:cNvGrpSpPr>
            <a:grpSpLocks noChangeAspect="1"/>
          </p:cNvGrpSpPr>
          <p:nvPr/>
        </p:nvGrpSpPr>
        <p:grpSpPr>
          <a:xfrm>
            <a:off x="7592400" y="4383994"/>
            <a:ext cx="594000" cy="594000"/>
            <a:chOff x="1032669" y="2456055"/>
            <a:chExt cx="397482" cy="397478"/>
          </a:xfrm>
        </p:grpSpPr>
        <p:sp>
          <p:nvSpPr>
            <p:cNvPr id="54" name="Rectangle 111">
              <a:extLst>
                <a:ext uri="{FF2B5EF4-FFF2-40B4-BE49-F238E27FC236}">
                  <a16:creationId xmlns:a16="http://schemas.microsoft.com/office/drawing/2014/main" id="{2FEFAD4E-85FA-4B8F-B744-0F620FE38B3D}"/>
                </a:ext>
              </a:extLst>
            </p:cNvPr>
            <p:cNvSpPr>
              <a:spLocks noChangeAspect="1" noChangeArrowheads="1"/>
            </p:cNvSpPr>
            <p:nvPr/>
          </p:nvSpPr>
          <p:spPr bwMode="auto">
            <a:xfrm>
              <a:off x="1032669" y="2456055"/>
              <a:ext cx="397482" cy="39747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sp>
          <p:nvSpPr>
            <p:cNvPr id="57" name="Freeform 112">
              <a:extLst>
                <a:ext uri="{FF2B5EF4-FFF2-40B4-BE49-F238E27FC236}">
                  <a16:creationId xmlns:a16="http://schemas.microsoft.com/office/drawing/2014/main" id="{4E96B622-033A-438A-9F07-263B42EE5B4B}"/>
                </a:ext>
              </a:extLst>
            </p:cNvPr>
            <p:cNvSpPr>
              <a:spLocks/>
            </p:cNvSpPr>
            <p:nvPr/>
          </p:nvSpPr>
          <p:spPr bwMode="auto">
            <a:xfrm rot="16200000">
              <a:off x="1131397" y="2563513"/>
              <a:ext cx="200025" cy="182563"/>
            </a:xfrm>
            <a:custGeom>
              <a:avLst/>
              <a:gdLst>
                <a:gd name="T0" fmla="*/ 68 w 126"/>
                <a:gd name="T1" fmla="*/ 0 h 115"/>
                <a:gd name="T2" fmla="*/ 56 w 126"/>
                <a:gd name="T3" fmla="*/ 12 h 115"/>
                <a:gd name="T4" fmla="*/ 80 w 126"/>
                <a:gd name="T5" fmla="*/ 44 h 115"/>
                <a:gd name="T6" fmla="*/ 0 w 126"/>
                <a:gd name="T7" fmla="*/ 47 h 115"/>
                <a:gd name="T8" fmla="*/ 0 w 126"/>
                <a:gd name="T9" fmla="*/ 68 h 115"/>
                <a:gd name="T10" fmla="*/ 80 w 126"/>
                <a:gd name="T11" fmla="*/ 71 h 115"/>
                <a:gd name="T12" fmla="*/ 56 w 126"/>
                <a:gd name="T13" fmla="*/ 103 h 115"/>
                <a:gd name="T14" fmla="*/ 68 w 126"/>
                <a:gd name="T15" fmla="*/ 115 h 115"/>
                <a:gd name="T16" fmla="*/ 126 w 126"/>
                <a:gd name="T17" fmla="*/ 58 h 115"/>
                <a:gd name="T18" fmla="*/ 68 w 126"/>
                <a:gd name="T19"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 h="115">
                  <a:moveTo>
                    <a:pt x="68" y="0"/>
                  </a:moveTo>
                  <a:lnTo>
                    <a:pt x="56" y="12"/>
                  </a:lnTo>
                  <a:lnTo>
                    <a:pt x="80" y="44"/>
                  </a:lnTo>
                  <a:lnTo>
                    <a:pt x="0" y="47"/>
                  </a:lnTo>
                  <a:lnTo>
                    <a:pt x="0" y="68"/>
                  </a:lnTo>
                  <a:lnTo>
                    <a:pt x="80" y="71"/>
                  </a:lnTo>
                  <a:lnTo>
                    <a:pt x="56" y="103"/>
                  </a:lnTo>
                  <a:lnTo>
                    <a:pt x="68" y="115"/>
                  </a:lnTo>
                  <a:lnTo>
                    <a:pt x="126" y="58"/>
                  </a:lnTo>
                  <a:lnTo>
                    <a:pt x="68" y="0"/>
                  </a:lnTo>
                  <a:close/>
                </a:path>
              </a:pathLst>
            </a:custGeom>
            <a:solidFill>
              <a:srgbClr val="00AF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grpSp>
      <p:sp>
        <p:nvSpPr>
          <p:cNvPr id="6" name="Footer Placeholder 5">
            <a:extLst>
              <a:ext uri="{FF2B5EF4-FFF2-40B4-BE49-F238E27FC236}">
                <a16:creationId xmlns:a16="http://schemas.microsoft.com/office/drawing/2014/main" id="{139F4F99-6287-4ECA-B3F2-1DBEABDB6385}"/>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10" name="Slide Number Placeholder 9">
            <a:extLst>
              <a:ext uri="{FF2B5EF4-FFF2-40B4-BE49-F238E27FC236}">
                <a16:creationId xmlns:a16="http://schemas.microsoft.com/office/drawing/2014/main" id="{CF048875-C31D-49E8-A91E-541C41C489B4}"/>
              </a:ext>
            </a:extLst>
          </p:cNvPr>
          <p:cNvSpPr>
            <a:spLocks noGrp="1"/>
          </p:cNvSpPr>
          <p:nvPr>
            <p:ph type="sldNum" sz="quarter" idx="11"/>
          </p:nvPr>
        </p:nvSpPr>
        <p:spPr/>
        <p:txBody>
          <a:bodyPr/>
          <a:lstStyle/>
          <a:p>
            <a:r>
              <a:rPr lang="en-US" dirty="0"/>
              <a:t>Page </a:t>
            </a:r>
            <a:fld id="{15EBE321-CBB1-4E91-BD14-37C8D44326FB}" type="slidenum">
              <a:rPr lang="en-US" smtClean="0"/>
              <a:pPr/>
              <a:t>56</a:t>
            </a:fld>
            <a:endParaRPr lang="en-US" dirty="0"/>
          </a:p>
        </p:txBody>
      </p:sp>
    </p:spTree>
    <p:extLst>
      <p:ext uri="{BB962C8B-B14F-4D97-AF65-F5344CB8AC3E}">
        <p14:creationId xmlns:p14="http://schemas.microsoft.com/office/powerpoint/2010/main" val="46775500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Tabelle 54"/>
          <p:cNvGraphicFramePr>
            <a:graphicFrameLocks noGrp="1"/>
          </p:cNvGraphicFramePr>
          <p:nvPr>
            <p:extLst>
              <p:ext uri="{D42A27DB-BD31-4B8C-83A1-F6EECF244321}">
                <p14:modId xmlns:p14="http://schemas.microsoft.com/office/powerpoint/2010/main" val="493422683"/>
              </p:ext>
            </p:extLst>
          </p:nvPr>
        </p:nvGraphicFramePr>
        <p:xfrm>
          <a:off x="410399" y="1415848"/>
          <a:ext cx="7776000" cy="3562146"/>
        </p:xfrm>
        <a:graphic>
          <a:graphicData uri="http://schemas.openxmlformats.org/drawingml/2006/table">
            <a:tbl>
              <a:tblPr>
                <a:tableStyleId>{0E3FDE45-AF77-4B5C-9715-49D594BDF05E}</a:tableStyleId>
              </a:tblPr>
              <a:tblGrid>
                <a:gridCol w="7776000">
                  <a:extLst>
                    <a:ext uri="{9D8B030D-6E8A-4147-A177-3AD203B41FA5}">
                      <a16:colId xmlns:a16="http://schemas.microsoft.com/office/drawing/2014/main" val="20002"/>
                    </a:ext>
                  </a:extLst>
                </a:gridCol>
              </a:tblGrid>
              <a:tr h="593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s-ES" sz="1600" u="none" strike="noStrike" kern="1200" cap="none" spc="0" normalizeH="0" baseline="0" noProof="0" dirty="0">
                          <a:ln>
                            <a:noFill/>
                          </a:ln>
                          <a:solidFill>
                            <a:srgbClr val="9999A9"/>
                          </a:solidFill>
                          <a:effectLst/>
                          <a:uLnTx/>
                          <a:uFillTx/>
                        </a:rPr>
                        <a:t>Duis arcu tortor, suscipit eget</a:t>
                      </a:r>
                      <a:endParaRPr lang="en-US" sz="1600" noProof="0" dirty="0">
                        <a:solidFill>
                          <a:srgbClr val="9999A9"/>
                        </a:solidFill>
                        <a:latin typeface="+mn-lt"/>
                        <a:ea typeface="Arial Unicode MS"/>
                      </a:endParaRPr>
                    </a:p>
                  </a:txBody>
                  <a:tcPr marL="0" marR="0" marT="71963" marB="71963" anchor="ctr">
                    <a:lnB w="12700" cap="flat" cmpd="sng" algn="ctr">
                      <a:solidFill>
                        <a:srgbClr val="9999A9"/>
                      </a:solidFill>
                      <a:prstDash val="solid"/>
                      <a:round/>
                      <a:headEnd type="none" w="med" len="med"/>
                      <a:tailEnd type="none" w="med" len="med"/>
                    </a:lnB>
                  </a:tcPr>
                </a:tc>
                <a:extLst>
                  <a:ext uri="{0D108BD9-81ED-4DB2-BD59-A6C34878D82A}">
                    <a16:rowId xmlns:a16="http://schemas.microsoft.com/office/drawing/2014/main" val="10001"/>
                  </a:ext>
                </a:extLst>
              </a:tr>
              <a:tr h="593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rgbClr val="9999A9"/>
                          </a:solidFill>
                          <a:effectLst/>
                          <a:uLnTx/>
                          <a:uFillTx/>
                        </a:rPr>
                        <a:t>Cras ultricies mi eu</a:t>
                      </a:r>
                      <a:endParaRPr lang="en-US" sz="1600" noProof="0" dirty="0">
                        <a:solidFill>
                          <a:srgbClr val="9999A9"/>
                        </a:solidFill>
                        <a:latin typeface="+mn-lt"/>
                        <a:ea typeface="Arial Unicode MS"/>
                      </a:endParaRPr>
                    </a:p>
                  </a:txBody>
                  <a:tcPr marL="0" marR="0"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tcPr>
                </a:tc>
                <a:extLst>
                  <a:ext uri="{0D108BD9-81ED-4DB2-BD59-A6C34878D82A}">
                    <a16:rowId xmlns:a16="http://schemas.microsoft.com/office/drawing/2014/main" val="10002"/>
                  </a:ext>
                </a:extLst>
              </a:tr>
              <a:tr h="593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rgbClr val="9999A9"/>
                          </a:solidFill>
                          <a:effectLst/>
                          <a:uLnTx/>
                          <a:uFillTx/>
                        </a:rPr>
                        <a:t>Phasellus nec sem</a:t>
                      </a:r>
                      <a:endParaRPr lang="en-US" sz="1600" noProof="0" dirty="0">
                        <a:solidFill>
                          <a:srgbClr val="9999A9"/>
                        </a:solidFill>
                        <a:latin typeface="+mn-lt"/>
                        <a:ea typeface="Arial Unicode MS"/>
                      </a:endParaRPr>
                    </a:p>
                  </a:txBody>
                  <a:tcPr marL="0" marR="0"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tcPr>
                </a:tc>
                <a:extLst>
                  <a:ext uri="{0D108BD9-81ED-4DB2-BD59-A6C34878D82A}">
                    <a16:rowId xmlns:a16="http://schemas.microsoft.com/office/drawing/2014/main" val="10003"/>
                  </a:ext>
                </a:extLst>
              </a:tr>
              <a:tr h="593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rgbClr val="9999A9"/>
                          </a:solidFill>
                          <a:effectLst/>
                          <a:uLnTx/>
                          <a:uFillTx/>
                        </a:rPr>
                        <a:t>At vero eos et accusam</a:t>
                      </a:r>
                      <a:endParaRPr lang="en-US" sz="1600" noProof="0" dirty="0">
                        <a:solidFill>
                          <a:srgbClr val="9999A9"/>
                        </a:solidFill>
                        <a:latin typeface="+mn-lt"/>
                        <a:ea typeface="Arial Unicode MS"/>
                      </a:endParaRPr>
                    </a:p>
                  </a:txBody>
                  <a:tcPr marL="0" marR="0"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tcPr>
                </a:tc>
                <a:extLst>
                  <a:ext uri="{0D108BD9-81ED-4DB2-BD59-A6C34878D82A}">
                    <a16:rowId xmlns:a16="http://schemas.microsoft.com/office/drawing/2014/main" val="10004"/>
                  </a:ext>
                </a:extLst>
              </a:tr>
              <a:tr h="593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rgbClr val="9999A9"/>
                          </a:solidFill>
                          <a:effectLst/>
                          <a:uLnTx/>
                          <a:uFillTx/>
                        </a:rPr>
                        <a:t>Duis arcu tortor, suscipit eget, imperdiet nec, imperdiet iaculis, ipsum</a:t>
                      </a:r>
                      <a:endParaRPr lang="en-US" sz="1600" noProof="0" dirty="0">
                        <a:solidFill>
                          <a:srgbClr val="9999A9"/>
                        </a:solidFill>
                        <a:latin typeface="+mn-lt"/>
                        <a:ea typeface="Arial Unicode MS"/>
                      </a:endParaRPr>
                    </a:p>
                  </a:txBody>
                  <a:tcPr marL="0" marR="0"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tcPr>
                </a:tc>
                <a:extLst>
                  <a:ext uri="{0D108BD9-81ED-4DB2-BD59-A6C34878D82A}">
                    <a16:rowId xmlns:a16="http://schemas.microsoft.com/office/drawing/2014/main" val="2514599482"/>
                  </a:ext>
                </a:extLst>
              </a:tr>
              <a:tr h="593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rgbClr val="9999A9"/>
                          </a:solidFill>
                          <a:effectLst/>
                          <a:uLnTx/>
                          <a:uFillTx/>
                        </a:rPr>
                        <a:t>At vero eos et accusam</a:t>
                      </a:r>
                      <a:endParaRPr lang="en-US" sz="1600" noProof="0" dirty="0">
                        <a:solidFill>
                          <a:srgbClr val="9999A9"/>
                        </a:solidFill>
                        <a:latin typeface="+mn-lt"/>
                        <a:ea typeface="Arial Unicode MS"/>
                      </a:endParaRPr>
                    </a:p>
                  </a:txBody>
                  <a:tcPr marL="0" marR="0"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tcPr>
                </a:tc>
                <a:extLst>
                  <a:ext uri="{0D108BD9-81ED-4DB2-BD59-A6C34878D82A}">
                    <a16:rowId xmlns:a16="http://schemas.microsoft.com/office/drawing/2014/main" val="1237210138"/>
                  </a:ext>
                </a:extLst>
              </a:tr>
            </a:tbl>
          </a:graphicData>
        </a:graphic>
      </p:graphicFrame>
      <p:graphicFrame>
        <p:nvGraphicFramePr>
          <p:cNvPr id="56" name="Objekt 55"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3" imgW="360" imgH="360" progId="">
                  <p:embed/>
                </p:oleObj>
              </mc:Choice>
              <mc:Fallback>
                <p:oleObj name="think-cell Folie" r:id="rId3" imgW="360" imgH="360" progId="">
                  <p:embed/>
                  <p:pic>
                    <p:nvPicPr>
                      <p:cNvPr id="56" name="Objekt 5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el 4"/>
          <p:cNvSpPr>
            <a:spLocks noGrp="1"/>
          </p:cNvSpPr>
          <p:nvPr>
            <p:ph type="title"/>
          </p:nvPr>
        </p:nvSpPr>
        <p:spPr/>
        <p:txBody>
          <a:bodyPr/>
          <a:lstStyle/>
          <a:p>
            <a:r>
              <a:rPr lang="en-US" dirty="0"/>
              <a:t>Evaluation – rating system with arrows </a:t>
            </a:r>
          </a:p>
        </p:txBody>
      </p:sp>
      <p:grpSp>
        <p:nvGrpSpPr>
          <p:cNvPr id="4" name="Group 3">
            <a:extLst>
              <a:ext uri="{FF2B5EF4-FFF2-40B4-BE49-F238E27FC236}">
                <a16:creationId xmlns:a16="http://schemas.microsoft.com/office/drawing/2014/main" id="{04A273B8-E446-4972-B69B-9E1CDD34A11F}"/>
              </a:ext>
            </a:extLst>
          </p:cNvPr>
          <p:cNvGrpSpPr/>
          <p:nvPr/>
        </p:nvGrpSpPr>
        <p:grpSpPr>
          <a:xfrm>
            <a:off x="410400" y="5878800"/>
            <a:ext cx="6446089" cy="289442"/>
            <a:chOff x="624541" y="5657372"/>
            <a:chExt cx="6449446" cy="289593"/>
          </a:xfrm>
        </p:grpSpPr>
        <p:grpSp>
          <p:nvGrpSpPr>
            <p:cNvPr id="3" name="Group 2"/>
            <p:cNvGrpSpPr/>
            <p:nvPr/>
          </p:nvGrpSpPr>
          <p:grpSpPr>
            <a:xfrm>
              <a:off x="2214780" y="5658965"/>
              <a:ext cx="735909" cy="288000"/>
              <a:chOff x="4580001" y="5121695"/>
              <a:chExt cx="735909" cy="288000"/>
            </a:xfrm>
          </p:grpSpPr>
          <p:sp>
            <p:nvSpPr>
              <p:cNvPr id="110" name="Rectangle 109"/>
              <p:cNvSpPr/>
              <p:nvPr/>
            </p:nvSpPr>
            <p:spPr>
              <a:xfrm>
                <a:off x="4868104" y="5121695"/>
                <a:ext cx="447806" cy="288000"/>
              </a:xfrm>
              <a:prstGeom prst="rect">
                <a:avLst/>
              </a:prstGeom>
            </p:spPr>
            <p:txBody>
              <a:bodyPr wrap="none" lIns="71963" tIns="0" rIns="0" bIns="0" anchor="ctr">
                <a:noAutofit/>
              </a:bodyPr>
              <a:lstStyle/>
              <a:p>
                <a:r>
                  <a:rPr lang="en-US" sz="1199" dirty="0">
                    <a:solidFill>
                      <a:srgbClr val="9999A9"/>
                    </a:solidFill>
                  </a:rPr>
                  <a:t>Good</a:t>
                </a:r>
              </a:p>
            </p:txBody>
          </p:sp>
          <p:grpSp>
            <p:nvGrpSpPr>
              <p:cNvPr id="111" name="Group 190"/>
              <p:cNvGrpSpPr>
                <a:grpSpLocks noChangeAspect="1"/>
              </p:cNvGrpSpPr>
              <p:nvPr/>
            </p:nvGrpSpPr>
            <p:grpSpPr bwMode="auto">
              <a:xfrm>
                <a:off x="4580001" y="5121695"/>
                <a:ext cx="288000" cy="286417"/>
                <a:chOff x="1808" y="1616"/>
                <a:chExt cx="182" cy="181"/>
              </a:xfrm>
            </p:grpSpPr>
            <p:sp>
              <p:nvSpPr>
                <p:cNvPr id="112" name="AutoShape 189"/>
                <p:cNvSpPr>
                  <a:spLocks noChangeAspect="1" noChangeArrowheads="1" noTextEdit="1"/>
                </p:cNvSpPr>
                <p:nvPr/>
              </p:nvSpPr>
              <p:spPr bwMode="auto">
                <a:xfrm>
                  <a:off x="1808" y="1616"/>
                  <a:ext cx="182" cy="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sp>
              <p:nvSpPr>
                <p:cNvPr id="113" name="Rectangle 191"/>
                <p:cNvSpPr>
                  <a:spLocks noChangeArrowheads="1"/>
                </p:cNvSpPr>
                <p:nvPr/>
              </p:nvSpPr>
              <p:spPr bwMode="auto">
                <a:xfrm>
                  <a:off x="1808" y="1616"/>
                  <a:ext cx="182" cy="18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sp>
              <p:nvSpPr>
                <p:cNvPr id="114" name="Freeform 192"/>
                <p:cNvSpPr>
                  <a:spLocks/>
                </p:cNvSpPr>
                <p:nvPr/>
              </p:nvSpPr>
              <p:spPr bwMode="auto">
                <a:xfrm>
                  <a:off x="1844" y="1661"/>
                  <a:ext cx="101" cy="100"/>
                </a:xfrm>
                <a:custGeom>
                  <a:avLst/>
                  <a:gdLst>
                    <a:gd name="T0" fmla="*/ 16 w 101"/>
                    <a:gd name="T1" fmla="*/ 0 h 100"/>
                    <a:gd name="T2" fmla="*/ 16 w 101"/>
                    <a:gd name="T3" fmla="*/ 18 h 100"/>
                    <a:gd name="T4" fmla="*/ 58 w 101"/>
                    <a:gd name="T5" fmla="*/ 23 h 100"/>
                    <a:gd name="T6" fmla="*/ 0 w 101"/>
                    <a:gd name="T7" fmla="*/ 84 h 100"/>
                    <a:gd name="T8" fmla="*/ 16 w 101"/>
                    <a:gd name="T9" fmla="*/ 100 h 100"/>
                    <a:gd name="T10" fmla="*/ 77 w 101"/>
                    <a:gd name="T11" fmla="*/ 43 h 100"/>
                    <a:gd name="T12" fmla="*/ 83 w 101"/>
                    <a:gd name="T13" fmla="*/ 84 h 100"/>
                    <a:gd name="T14" fmla="*/ 101 w 101"/>
                    <a:gd name="T15" fmla="*/ 84 h 100"/>
                    <a:gd name="T16" fmla="*/ 101 w 101"/>
                    <a:gd name="T17" fmla="*/ 0 h 100"/>
                    <a:gd name="T18" fmla="*/ 16 w 101"/>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100">
                      <a:moveTo>
                        <a:pt x="16" y="0"/>
                      </a:moveTo>
                      <a:lnTo>
                        <a:pt x="16" y="18"/>
                      </a:lnTo>
                      <a:lnTo>
                        <a:pt x="58" y="23"/>
                      </a:lnTo>
                      <a:lnTo>
                        <a:pt x="0" y="84"/>
                      </a:lnTo>
                      <a:lnTo>
                        <a:pt x="16" y="100"/>
                      </a:lnTo>
                      <a:lnTo>
                        <a:pt x="77" y="43"/>
                      </a:lnTo>
                      <a:lnTo>
                        <a:pt x="83" y="84"/>
                      </a:lnTo>
                      <a:lnTo>
                        <a:pt x="101" y="84"/>
                      </a:lnTo>
                      <a:lnTo>
                        <a:pt x="101" y="0"/>
                      </a:lnTo>
                      <a:lnTo>
                        <a:pt x="16" y="0"/>
                      </a:lnTo>
                      <a:close/>
                    </a:path>
                  </a:pathLst>
                </a:custGeom>
                <a:solidFill>
                  <a:srgbClr val="6666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grpSp>
        </p:grpSp>
        <p:grpSp>
          <p:nvGrpSpPr>
            <p:cNvPr id="2" name="Group 1"/>
            <p:cNvGrpSpPr/>
            <p:nvPr/>
          </p:nvGrpSpPr>
          <p:grpSpPr>
            <a:xfrm>
              <a:off x="624541" y="5657372"/>
              <a:ext cx="1055904" cy="289593"/>
              <a:chOff x="3073568" y="5121695"/>
              <a:chExt cx="1055904" cy="289593"/>
            </a:xfrm>
          </p:grpSpPr>
          <p:sp>
            <p:nvSpPr>
              <p:cNvPr id="116" name="Rectangle 115"/>
              <p:cNvSpPr/>
              <p:nvPr/>
            </p:nvSpPr>
            <p:spPr>
              <a:xfrm>
                <a:off x="3366323" y="5121695"/>
                <a:ext cx="763149" cy="288000"/>
              </a:xfrm>
              <a:prstGeom prst="rect">
                <a:avLst/>
              </a:prstGeom>
            </p:spPr>
            <p:txBody>
              <a:bodyPr wrap="none" lIns="71963" tIns="0" rIns="0" bIns="0" anchor="ctr">
                <a:noAutofit/>
              </a:bodyPr>
              <a:lstStyle/>
              <a:p>
                <a:r>
                  <a:rPr lang="en-US" sz="1199" dirty="0">
                    <a:solidFill>
                      <a:srgbClr val="9999A9"/>
                    </a:solidFill>
                  </a:rPr>
                  <a:t>Very good</a:t>
                </a:r>
              </a:p>
            </p:txBody>
          </p:sp>
          <p:grpSp>
            <p:nvGrpSpPr>
              <p:cNvPr id="117" name="Group 116"/>
              <p:cNvGrpSpPr>
                <a:grpSpLocks noChangeAspect="1"/>
              </p:cNvGrpSpPr>
              <p:nvPr/>
            </p:nvGrpSpPr>
            <p:grpSpPr>
              <a:xfrm>
                <a:off x="3073568" y="5121695"/>
                <a:ext cx="288000" cy="289593"/>
                <a:chOff x="1032669" y="2564606"/>
                <a:chExt cx="287338" cy="288925"/>
              </a:xfrm>
            </p:grpSpPr>
            <p:sp>
              <p:nvSpPr>
                <p:cNvPr id="118" name="Rectangle 111"/>
                <p:cNvSpPr>
                  <a:spLocks noChangeArrowheads="1"/>
                </p:cNvSpPr>
                <p:nvPr/>
              </p:nvSpPr>
              <p:spPr bwMode="auto">
                <a:xfrm rot="16200000">
                  <a:off x="1031875" y="2565400"/>
                  <a:ext cx="288925" cy="28733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sp>
              <p:nvSpPr>
                <p:cNvPr id="119" name="Freeform 112"/>
                <p:cNvSpPr>
                  <a:spLocks/>
                </p:cNvSpPr>
                <p:nvPr/>
              </p:nvSpPr>
              <p:spPr bwMode="auto">
                <a:xfrm rot="16200000">
                  <a:off x="1076325" y="2617788"/>
                  <a:ext cx="200025" cy="182563"/>
                </a:xfrm>
                <a:custGeom>
                  <a:avLst/>
                  <a:gdLst>
                    <a:gd name="T0" fmla="*/ 68 w 126"/>
                    <a:gd name="T1" fmla="*/ 0 h 115"/>
                    <a:gd name="T2" fmla="*/ 56 w 126"/>
                    <a:gd name="T3" fmla="*/ 12 h 115"/>
                    <a:gd name="T4" fmla="*/ 80 w 126"/>
                    <a:gd name="T5" fmla="*/ 44 h 115"/>
                    <a:gd name="T6" fmla="*/ 0 w 126"/>
                    <a:gd name="T7" fmla="*/ 47 h 115"/>
                    <a:gd name="T8" fmla="*/ 0 w 126"/>
                    <a:gd name="T9" fmla="*/ 68 h 115"/>
                    <a:gd name="T10" fmla="*/ 80 w 126"/>
                    <a:gd name="T11" fmla="*/ 71 h 115"/>
                    <a:gd name="T12" fmla="*/ 56 w 126"/>
                    <a:gd name="T13" fmla="*/ 103 h 115"/>
                    <a:gd name="T14" fmla="*/ 68 w 126"/>
                    <a:gd name="T15" fmla="*/ 115 h 115"/>
                    <a:gd name="T16" fmla="*/ 126 w 126"/>
                    <a:gd name="T17" fmla="*/ 58 h 115"/>
                    <a:gd name="T18" fmla="*/ 68 w 126"/>
                    <a:gd name="T19"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 h="115">
                      <a:moveTo>
                        <a:pt x="68" y="0"/>
                      </a:moveTo>
                      <a:lnTo>
                        <a:pt x="56" y="12"/>
                      </a:lnTo>
                      <a:lnTo>
                        <a:pt x="80" y="44"/>
                      </a:lnTo>
                      <a:lnTo>
                        <a:pt x="0" y="47"/>
                      </a:lnTo>
                      <a:lnTo>
                        <a:pt x="0" y="68"/>
                      </a:lnTo>
                      <a:lnTo>
                        <a:pt x="80" y="71"/>
                      </a:lnTo>
                      <a:lnTo>
                        <a:pt x="56" y="103"/>
                      </a:lnTo>
                      <a:lnTo>
                        <a:pt x="68" y="115"/>
                      </a:lnTo>
                      <a:lnTo>
                        <a:pt x="126" y="58"/>
                      </a:lnTo>
                      <a:lnTo>
                        <a:pt x="68"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grpSp>
        </p:grpSp>
        <p:grpSp>
          <p:nvGrpSpPr>
            <p:cNvPr id="7" name="Group 6"/>
            <p:cNvGrpSpPr/>
            <p:nvPr/>
          </p:nvGrpSpPr>
          <p:grpSpPr>
            <a:xfrm>
              <a:off x="3489603" y="5658965"/>
              <a:ext cx="901327" cy="288000"/>
              <a:chOff x="5775082" y="5121695"/>
              <a:chExt cx="901327" cy="288000"/>
            </a:xfrm>
          </p:grpSpPr>
          <p:sp>
            <p:nvSpPr>
              <p:cNvPr id="121" name="Rectangle 120"/>
              <p:cNvSpPr/>
              <p:nvPr/>
            </p:nvSpPr>
            <p:spPr>
              <a:xfrm>
                <a:off x="6068303" y="5121695"/>
                <a:ext cx="608106" cy="288000"/>
              </a:xfrm>
              <a:prstGeom prst="rect">
                <a:avLst/>
              </a:prstGeom>
            </p:spPr>
            <p:txBody>
              <a:bodyPr wrap="none" lIns="71963" tIns="0" rIns="0" bIns="0" anchor="ctr">
                <a:noAutofit/>
              </a:bodyPr>
              <a:lstStyle/>
              <a:p>
                <a:r>
                  <a:rPr lang="en-US" sz="1199" dirty="0">
                    <a:solidFill>
                      <a:srgbClr val="9999A9"/>
                    </a:solidFill>
                  </a:rPr>
                  <a:t>Regular</a:t>
                </a:r>
              </a:p>
            </p:txBody>
          </p:sp>
          <p:grpSp>
            <p:nvGrpSpPr>
              <p:cNvPr id="122" name="Group 121"/>
              <p:cNvGrpSpPr>
                <a:grpSpLocks noChangeAspect="1"/>
              </p:cNvGrpSpPr>
              <p:nvPr/>
            </p:nvGrpSpPr>
            <p:grpSpPr>
              <a:xfrm>
                <a:off x="5775082" y="5121695"/>
                <a:ext cx="288000" cy="286417"/>
                <a:chOff x="1430338" y="2565400"/>
                <a:chExt cx="288925" cy="287338"/>
              </a:xfrm>
              <a:solidFill>
                <a:srgbClr val="879BAA"/>
              </a:solidFill>
            </p:grpSpPr>
            <p:sp>
              <p:nvSpPr>
                <p:cNvPr id="123" name="Rectangle 116"/>
                <p:cNvSpPr>
                  <a:spLocks noChangeArrowheads="1"/>
                </p:cNvSpPr>
                <p:nvPr/>
              </p:nvSpPr>
              <p:spPr bwMode="auto">
                <a:xfrm>
                  <a:off x="1430338" y="2565400"/>
                  <a:ext cx="288925" cy="28733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sp>
              <p:nvSpPr>
                <p:cNvPr id="124" name="Freeform 117"/>
                <p:cNvSpPr>
                  <a:spLocks/>
                </p:cNvSpPr>
                <p:nvPr/>
              </p:nvSpPr>
              <p:spPr bwMode="auto">
                <a:xfrm>
                  <a:off x="1474788" y="2617788"/>
                  <a:ext cx="200025" cy="182563"/>
                </a:xfrm>
                <a:custGeom>
                  <a:avLst/>
                  <a:gdLst>
                    <a:gd name="T0" fmla="*/ 68 w 126"/>
                    <a:gd name="T1" fmla="*/ 0 h 115"/>
                    <a:gd name="T2" fmla="*/ 56 w 126"/>
                    <a:gd name="T3" fmla="*/ 12 h 115"/>
                    <a:gd name="T4" fmla="*/ 80 w 126"/>
                    <a:gd name="T5" fmla="*/ 44 h 115"/>
                    <a:gd name="T6" fmla="*/ 0 w 126"/>
                    <a:gd name="T7" fmla="*/ 47 h 115"/>
                    <a:gd name="T8" fmla="*/ 0 w 126"/>
                    <a:gd name="T9" fmla="*/ 68 h 115"/>
                    <a:gd name="T10" fmla="*/ 80 w 126"/>
                    <a:gd name="T11" fmla="*/ 71 h 115"/>
                    <a:gd name="T12" fmla="*/ 56 w 126"/>
                    <a:gd name="T13" fmla="*/ 103 h 115"/>
                    <a:gd name="T14" fmla="*/ 68 w 126"/>
                    <a:gd name="T15" fmla="*/ 115 h 115"/>
                    <a:gd name="T16" fmla="*/ 126 w 126"/>
                    <a:gd name="T17" fmla="*/ 58 h 115"/>
                    <a:gd name="T18" fmla="*/ 68 w 126"/>
                    <a:gd name="T19"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 h="115">
                      <a:moveTo>
                        <a:pt x="68" y="0"/>
                      </a:moveTo>
                      <a:lnTo>
                        <a:pt x="56" y="12"/>
                      </a:lnTo>
                      <a:lnTo>
                        <a:pt x="80" y="44"/>
                      </a:lnTo>
                      <a:lnTo>
                        <a:pt x="0" y="47"/>
                      </a:lnTo>
                      <a:lnTo>
                        <a:pt x="0" y="68"/>
                      </a:lnTo>
                      <a:lnTo>
                        <a:pt x="80" y="71"/>
                      </a:lnTo>
                      <a:lnTo>
                        <a:pt x="56" y="103"/>
                      </a:lnTo>
                      <a:lnTo>
                        <a:pt x="68" y="115"/>
                      </a:lnTo>
                      <a:lnTo>
                        <a:pt x="126" y="58"/>
                      </a:lnTo>
                      <a:lnTo>
                        <a:pt x="68" y="0"/>
                      </a:lnTo>
                      <a:close/>
                    </a:path>
                  </a:pathLst>
                </a:custGeom>
                <a:solidFill>
                  <a:srgbClr val="6666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grpSp>
        </p:grpSp>
        <p:grpSp>
          <p:nvGrpSpPr>
            <p:cNvPr id="8" name="Group 7"/>
            <p:cNvGrpSpPr/>
            <p:nvPr/>
          </p:nvGrpSpPr>
          <p:grpSpPr>
            <a:xfrm>
              <a:off x="4900711" y="5658965"/>
              <a:ext cx="641229" cy="288000"/>
              <a:chOff x="7126090" y="5121695"/>
              <a:chExt cx="641229" cy="288000"/>
            </a:xfrm>
          </p:grpSpPr>
          <p:sp>
            <p:nvSpPr>
              <p:cNvPr id="126" name="Rectangle 125"/>
              <p:cNvSpPr/>
              <p:nvPr/>
            </p:nvSpPr>
            <p:spPr>
              <a:xfrm>
                <a:off x="7414090" y="5121695"/>
                <a:ext cx="353229" cy="288000"/>
              </a:xfrm>
              <a:prstGeom prst="rect">
                <a:avLst/>
              </a:prstGeom>
            </p:spPr>
            <p:txBody>
              <a:bodyPr wrap="none" lIns="71963" tIns="0" rIns="0" bIns="0" anchor="ctr">
                <a:noAutofit/>
              </a:bodyPr>
              <a:lstStyle/>
              <a:p>
                <a:r>
                  <a:rPr lang="en-US" sz="1199" dirty="0">
                    <a:solidFill>
                      <a:srgbClr val="9999A9"/>
                    </a:solidFill>
                  </a:rPr>
                  <a:t>Low</a:t>
                </a:r>
              </a:p>
            </p:txBody>
          </p:sp>
          <p:grpSp>
            <p:nvGrpSpPr>
              <p:cNvPr id="127" name="Group 190"/>
              <p:cNvGrpSpPr>
                <a:grpSpLocks noChangeAspect="1"/>
              </p:cNvGrpSpPr>
              <p:nvPr/>
            </p:nvGrpSpPr>
            <p:grpSpPr bwMode="auto">
              <a:xfrm flipV="1">
                <a:off x="7126090" y="5121695"/>
                <a:ext cx="288000" cy="286417"/>
                <a:chOff x="1808" y="1616"/>
                <a:chExt cx="182" cy="181"/>
              </a:xfrm>
              <a:solidFill>
                <a:srgbClr val="879BAA"/>
              </a:solidFill>
            </p:grpSpPr>
            <p:sp>
              <p:nvSpPr>
                <p:cNvPr id="128" name="AutoShape 189"/>
                <p:cNvSpPr>
                  <a:spLocks noChangeAspect="1" noChangeArrowheads="1" noTextEdit="1"/>
                </p:cNvSpPr>
                <p:nvPr/>
              </p:nvSpPr>
              <p:spPr bwMode="auto">
                <a:xfrm>
                  <a:off x="1808" y="1616"/>
                  <a:ext cx="182" cy="18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sp>
              <p:nvSpPr>
                <p:cNvPr id="129" name="Rectangle 191"/>
                <p:cNvSpPr>
                  <a:spLocks noChangeArrowheads="1"/>
                </p:cNvSpPr>
                <p:nvPr/>
              </p:nvSpPr>
              <p:spPr bwMode="auto">
                <a:xfrm>
                  <a:off x="1808" y="1616"/>
                  <a:ext cx="182" cy="18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sp>
              <p:nvSpPr>
                <p:cNvPr id="130" name="Freeform 192"/>
                <p:cNvSpPr>
                  <a:spLocks/>
                </p:cNvSpPr>
                <p:nvPr/>
              </p:nvSpPr>
              <p:spPr bwMode="auto">
                <a:xfrm>
                  <a:off x="1844" y="1661"/>
                  <a:ext cx="101" cy="100"/>
                </a:xfrm>
                <a:custGeom>
                  <a:avLst/>
                  <a:gdLst>
                    <a:gd name="T0" fmla="*/ 16 w 101"/>
                    <a:gd name="T1" fmla="*/ 0 h 100"/>
                    <a:gd name="T2" fmla="*/ 16 w 101"/>
                    <a:gd name="T3" fmla="*/ 18 h 100"/>
                    <a:gd name="T4" fmla="*/ 58 w 101"/>
                    <a:gd name="T5" fmla="*/ 23 h 100"/>
                    <a:gd name="T6" fmla="*/ 0 w 101"/>
                    <a:gd name="T7" fmla="*/ 84 h 100"/>
                    <a:gd name="T8" fmla="*/ 16 w 101"/>
                    <a:gd name="T9" fmla="*/ 100 h 100"/>
                    <a:gd name="T10" fmla="*/ 77 w 101"/>
                    <a:gd name="T11" fmla="*/ 43 h 100"/>
                    <a:gd name="T12" fmla="*/ 83 w 101"/>
                    <a:gd name="T13" fmla="*/ 84 h 100"/>
                    <a:gd name="T14" fmla="*/ 101 w 101"/>
                    <a:gd name="T15" fmla="*/ 84 h 100"/>
                    <a:gd name="T16" fmla="*/ 101 w 101"/>
                    <a:gd name="T17" fmla="*/ 0 h 100"/>
                    <a:gd name="T18" fmla="*/ 16 w 101"/>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100">
                      <a:moveTo>
                        <a:pt x="16" y="0"/>
                      </a:moveTo>
                      <a:lnTo>
                        <a:pt x="16" y="18"/>
                      </a:lnTo>
                      <a:lnTo>
                        <a:pt x="58" y="23"/>
                      </a:lnTo>
                      <a:lnTo>
                        <a:pt x="0" y="84"/>
                      </a:lnTo>
                      <a:lnTo>
                        <a:pt x="16" y="100"/>
                      </a:lnTo>
                      <a:lnTo>
                        <a:pt x="77" y="43"/>
                      </a:lnTo>
                      <a:lnTo>
                        <a:pt x="83" y="84"/>
                      </a:lnTo>
                      <a:lnTo>
                        <a:pt x="101" y="84"/>
                      </a:lnTo>
                      <a:lnTo>
                        <a:pt x="101" y="0"/>
                      </a:lnTo>
                      <a:lnTo>
                        <a:pt x="16" y="0"/>
                      </a:lnTo>
                      <a:close/>
                    </a:path>
                  </a:pathLst>
                </a:custGeom>
                <a:solidFill>
                  <a:srgbClr val="6666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grpSp>
        </p:grpSp>
        <p:grpSp>
          <p:nvGrpSpPr>
            <p:cNvPr id="9" name="Group 8"/>
            <p:cNvGrpSpPr/>
            <p:nvPr/>
          </p:nvGrpSpPr>
          <p:grpSpPr>
            <a:xfrm>
              <a:off x="6082149" y="5657372"/>
              <a:ext cx="991838" cy="289593"/>
              <a:chOff x="8222222" y="5121695"/>
              <a:chExt cx="991838" cy="289593"/>
            </a:xfrm>
          </p:grpSpPr>
          <p:sp>
            <p:nvSpPr>
              <p:cNvPr id="132" name="Rectangle 131"/>
              <p:cNvSpPr/>
              <p:nvPr/>
            </p:nvSpPr>
            <p:spPr>
              <a:xfrm>
                <a:off x="8510222" y="5121695"/>
                <a:ext cx="703838" cy="288000"/>
              </a:xfrm>
              <a:prstGeom prst="rect">
                <a:avLst/>
              </a:prstGeom>
            </p:spPr>
            <p:txBody>
              <a:bodyPr wrap="none" lIns="71963" tIns="0" rIns="0" bIns="0" anchor="ctr">
                <a:noAutofit/>
              </a:bodyPr>
              <a:lstStyle/>
              <a:p>
                <a:r>
                  <a:rPr lang="en-US" sz="1199" dirty="0">
                    <a:solidFill>
                      <a:srgbClr val="9999A9"/>
                    </a:solidFill>
                  </a:rPr>
                  <a:t>Very low</a:t>
                </a:r>
              </a:p>
            </p:txBody>
          </p:sp>
          <p:grpSp>
            <p:nvGrpSpPr>
              <p:cNvPr id="133" name="Group 132"/>
              <p:cNvGrpSpPr>
                <a:grpSpLocks noChangeAspect="1"/>
              </p:cNvGrpSpPr>
              <p:nvPr/>
            </p:nvGrpSpPr>
            <p:grpSpPr>
              <a:xfrm flipV="1">
                <a:off x="8222222" y="5121695"/>
                <a:ext cx="288000" cy="289593"/>
                <a:chOff x="1032669" y="2564606"/>
                <a:chExt cx="287338" cy="288925"/>
              </a:xfrm>
            </p:grpSpPr>
            <p:sp>
              <p:nvSpPr>
                <p:cNvPr id="134" name="Rectangle 111"/>
                <p:cNvSpPr>
                  <a:spLocks noChangeArrowheads="1"/>
                </p:cNvSpPr>
                <p:nvPr/>
              </p:nvSpPr>
              <p:spPr bwMode="auto">
                <a:xfrm rot="16200000">
                  <a:off x="1031875" y="2565400"/>
                  <a:ext cx="288925" cy="28733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sp>
              <p:nvSpPr>
                <p:cNvPr id="135" name="Freeform 112"/>
                <p:cNvSpPr>
                  <a:spLocks/>
                </p:cNvSpPr>
                <p:nvPr/>
              </p:nvSpPr>
              <p:spPr bwMode="auto">
                <a:xfrm rot="16200000">
                  <a:off x="1076325" y="2617788"/>
                  <a:ext cx="200025" cy="182563"/>
                </a:xfrm>
                <a:custGeom>
                  <a:avLst/>
                  <a:gdLst>
                    <a:gd name="T0" fmla="*/ 68 w 126"/>
                    <a:gd name="T1" fmla="*/ 0 h 115"/>
                    <a:gd name="T2" fmla="*/ 56 w 126"/>
                    <a:gd name="T3" fmla="*/ 12 h 115"/>
                    <a:gd name="T4" fmla="*/ 80 w 126"/>
                    <a:gd name="T5" fmla="*/ 44 h 115"/>
                    <a:gd name="T6" fmla="*/ 0 w 126"/>
                    <a:gd name="T7" fmla="*/ 47 h 115"/>
                    <a:gd name="T8" fmla="*/ 0 w 126"/>
                    <a:gd name="T9" fmla="*/ 68 h 115"/>
                    <a:gd name="T10" fmla="*/ 80 w 126"/>
                    <a:gd name="T11" fmla="*/ 71 h 115"/>
                    <a:gd name="T12" fmla="*/ 56 w 126"/>
                    <a:gd name="T13" fmla="*/ 103 h 115"/>
                    <a:gd name="T14" fmla="*/ 68 w 126"/>
                    <a:gd name="T15" fmla="*/ 115 h 115"/>
                    <a:gd name="T16" fmla="*/ 126 w 126"/>
                    <a:gd name="T17" fmla="*/ 58 h 115"/>
                    <a:gd name="T18" fmla="*/ 68 w 126"/>
                    <a:gd name="T19"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 h="115">
                      <a:moveTo>
                        <a:pt x="68" y="0"/>
                      </a:moveTo>
                      <a:lnTo>
                        <a:pt x="56" y="12"/>
                      </a:lnTo>
                      <a:lnTo>
                        <a:pt x="80" y="44"/>
                      </a:lnTo>
                      <a:lnTo>
                        <a:pt x="0" y="47"/>
                      </a:lnTo>
                      <a:lnTo>
                        <a:pt x="0" y="68"/>
                      </a:lnTo>
                      <a:lnTo>
                        <a:pt x="80" y="71"/>
                      </a:lnTo>
                      <a:lnTo>
                        <a:pt x="56" y="103"/>
                      </a:lnTo>
                      <a:lnTo>
                        <a:pt x="68" y="115"/>
                      </a:lnTo>
                      <a:lnTo>
                        <a:pt x="126" y="58"/>
                      </a:lnTo>
                      <a:lnTo>
                        <a:pt x="68" y="0"/>
                      </a:lnTo>
                      <a:close/>
                    </a:path>
                  </a:pathLst>
                </a:custGeom>
                <a:solidFill>
                  <a:srgbClr val="EF01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grpSp>
        </p:grpSp>
      </p:grpSp>
      <p:grpSp>
        <p:nvGrpSpPr>
          <p:cNvPr id="136" name="Group 190"/>
          <p:cNvGrpSpPr>
            <a:grpSpLocks noChangeAspect="1"/>
          </p:cNvGrpSpPr>
          <p:nvPr/>
        </p:nvGrpSpPr>
        <p:grpSpPr bwMode="auto">
          <a:xfrm>
            <a:off x="7592400" y="2009838"/>
            <a:ext cx="593097" cy="593097"/>
            <a:chOff x="1808" y="1616"/>
            <a:chExt cx="250" cy="250"/>
          </a:xfrm>
        </p:grpSpPr>
        <p:sp>
          <p:nvSpPr>
            <p:cNvPr id="137" name="AutoShape 189"/>
            <p:cNvSpPr>
              <a:spLocks noChangeAspect="1" noChangeArrowheads="1" noTextEdit="1"/>
            </p:cNvSpPr>
            <p:nvPr/>
          </p:nvSpPr>
          <p:spPr bwMode="auto">
            <a:xfrm>
              <a:off x="1808" y="1616"/>
              <a:ext cx="182" cy="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sp>
          <p:nvSpPr>
            <p:cNvPr id="138" name="Rectangle 191"/>
            <p:cNvSpPr>
              <a:spLocks noChangeAspect="1" noChangeArrowheads="1"/>
            </p:cNvSpPr>
            <p:nvPr/>
          </p:nvSpPr>
          <p:spPr bwMode="auto">
            <a:xfrm>
              <a:off x="1808" y="1616"/>
              <a:ext cx="250" cy="25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sp>
          <p:nvSpPr>
            <p:cNvPr id="139" name="Freeform 192"/>
            <p:cNvSpPr>
              <a:spLocks/>
            </p:cNvSpPr>
            <p:nvPr/>
          </p:nvSpPr>
          <p:spPr bwMode="auto">
            <a:xfrm>
              <a:off x="1883" y="1691"/>
              <a:ext cx="101" cy="100"/>
            </a:xfrm>
            <a:custGeom>
              <a:avLst/>
              <a:gdLst>
                <a:gd name="T0" fmla="*/ 16 w 101"/>
                <a:gd name="T1" fmla="*/ 0 h 100"/>
                <a:gd name="T2" fmla="*/ 16 w 101"/>
                <a:gd name="T3" fmla="*/ 18 h 100"/>
                <a:gd name="T4" fmla="*/ 58 w 101"/>
                <a:gd name="T5" fmla="*/ 23 h 100"/>
                <a:gd name="T6" fmla="*/ 0 w 101"/>
                <a:gd name="T7" fmla="*/ 84 h 100"/>
                <a:gd name="T8" fmla="*/ 16 w 101"/>
                <a:gd name="T9" fmla="*/ 100 h 100"/>
                <a:gd name="T10" fmla="*/ 77 w 101"/>
                <a:gd name="T11" fmla="*/ 43 h 100"/>
                <a:gd name="T12" fmla="*/ 83 w 101"/>
                <a:gd name="T13" fmla="*/ 84 h 100"/>
                <a:gd name="T14" fmla="*/ 101 w 101"/>
                <a:gd name="T15" fmla="*/ 84 h 100"/>
                <a:gd name="T16" fmla="*/ 101 w 101"/>
                <a:gd name="T17" fmla="*/ 0 h 100"/>
                <a:gd name="T18" fmla="*/ 16 w 101"/>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100">
                  <a:moveTo>
                    <a:pt x="16" y="0"/>
                  </a:moveTo>
                  <a:lnTo>
                    <a:pt x="16" y="18"/>
                  </a:lnTo>
                  <a:lnTo>
                    <a:pt x="58" y="23"/>
                  </a:lnTo>
                  <a:lnTo>
                    <a:pt x="0" y="84"/>
                  </a:lnTo>
                  <a:lnTo>
                    <a:pt x="16" y="100"/>
                  </a:lnTo>
                  <a:lnTo>
                    <a:pt x="77" y="43"/>
                  </a:lnTo>
                  <a:lnTo>
                    <a:pt x="83" y="84"/>
                  </a:lnTo>
                  <a:lnTo>
                    <a:pt x="101" y="84"/>
                  </a:lnTo>
                  <a:lnTo>
                    <a:pt x="101" y="0"/>
                  </a:lnTo>
                  <a:lnTo>
                    <a:pt x="16" y="0"/>
                  </a:lnTo>
                  <a:close/>
                </a:path>
              </a:pathLst>
            </a:custGeom>
            <a:solidFill>
              <a:srgbClr val="6666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grpSp>
      <p:grpSp>
        <p:nvGrpSpPr>
          <p:cNvPr id="140" name="Group 139"/>
          <p:cNvGrpSpPr>
            <a:grpSpLocks noChangeAspect="1"/>
          </p:cNvGrpSpPr>
          <p:nvPr/>
        </p:nvGrpSpPr>
        <p:grpSpPr>
          <a:xfrm>
            <a:off x="7592400" y="1415848"/>
            <a:ext cx="594000" cy="594000"/>
            <a:chOff x="1032669" y="2456055"/>
            <a:chExt cx="397482" cy="397478"/>
          </a:xfrm>
        </p:grpSpPr>
        <p:sp>
          <p:nvSpPr>
            <p:cNvPr id="141" name="Rectangle 111"/>
            <p:cNvSpPr>
              <a:spLocks noChangeAspect="1" noChangeArrowheads="1"/>
            </p:cNvSpPr>
            <p:nvPr/>
          </p:nvSpPr>
          <p:spPr bwMode="auto">
            <a:xfrm>
              <a:off x="1032669" y="2456055"/>
              <a:ext cx="397482" cy="39747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sp>
          <p:nvSpPr>
            <p:cNvPr id="142" name="Freeform 112"/>
            <p:cNvSpPr>
              <a:spLocks/>
            </p:cNvSpPr>
            <p:nvPr/>
          </p:nvSpPr>
          <p:spPr bwMode="auto">
            <a:xfrm rot="16200000">
              <a:off x="1131397" y="2563513"/>
              <a:ext cx="200025" cy="182563"/>
            </a:xfrm>
            <a:custGeom>
              <a:avLst/>
              <a:gdLst>
                <a:gd name="T0" fmla="*/ 68 w 126"/>
                <a:gd name="T1" fmla="*/ 0 h 115"/>
                <a:gd name="T2" fmla="*/ 56 w 126"/>
                <a:gd name="T3" fmla="*/ 12 h 115"/>
                <a:gd name="T4" fmla="*/ 80 w 126"/>
                <a:gd name="T5" fmla="*/ 44 h 115"/>
                <a:gd name="T6" fmla="*/ 0 w 126"/>
                <a:gd name="T7" fmla="*/ 47 h 115"/>
                <a:gd name="T8" fmla="*/ 0 w 126"/>
                <a:gd name="T9" fmla="*/ 68 h 115"/>
                <a:gd name="T10" fmla="*/ 80 w 126"/>
                <a:gd name="T11" fmla="*/ 71 h 115"/>
                <a:gd name="T12" fmla="*/ 56 w 126"/>
                <a:gd name="T13" fmla="*/ 103 h 115"/>
                <a:gd name="T14" fmla="*/ 68 w 126"/>
                <a:gd name="T15" fmla="*/ 115 h 115"/>
                <a:gd name="T16" fmla="*/ 126 w 126"/>
                <a:gd name="T17" fmla="*/ 58 h 115"/>
                <a:gd name="T18" fmla="*/ 68 w 126"/>
                <a:gd name="T19"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 h="115">
                  <a:moveTo>
                    <a:pt x="68" y="0"/>
                  </a:moveTo>
                  <a:lnTo>
                    <a:pt x="56" y="12"/>
                  </a:lnTo>
                  <a:lnTo>
                    <a:pt x="80" y="44"/>
                  </a:lnTo>
                  <a:lnTo>
                    <a:pt x="0" y="47"/>
                  </a:lnTo>
                  <a:lnTo>
                    <a:pt x="0" y="68"/>
                  </a:lnTo>
                  <a:lnTo>
                    <a:pt x="80" y="71"/>
                  </a:lnTo>
                  <a:lnTo>
                    <a:pt x="56" y="103"/>
                  </a:lnTo>
                  <a:lnTo>
                    <a:pt x="68" y="115"/>
                  </a:lnTo>
                  <a:lnTo>
                    <a:pt x="126" y="58"/>
                  </a:lnTo>
                  <a:lnTo>
                    <a:pt x="68"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grpSp>
      <p:grpSp>
        <p:nvGrpSpPr>
          <p:cNvPr id="143" name="Group 142"/>
          <p:cNvGrpSpPr>
            <a:grpSpLocks noChangeAspect="1"/>
          </p:cNvGrpSpPr>
          <p:nvPr/>
        </p:nvGrpSpPr>
        <p:grpSpPr>
          <a:xfrm>
            <a:off x="7592400" y="2602925"/>
            <a:ext cx="594001" cy="594001"/>
            <a:chOff x="1430338" y="2565399"/>
            <a:chExt cx="395294" cy="395296"/>
          </a:xfrm>
        </p:grpSpPr>
        <p:sp>
          <p:nvSpPr>
            <p:cNvPr id="144" name="Rectangle 116"/>
            <p:cNvSpPr>
              <a:spLocks noChangeAspect="1" noChangeArrowheads="1"/>
            </p:cNvSpPr>
            <p:nvPr/>
          </p:nvSpPr>
          <p:spPr bwMode="auto">
            <a:xfrm>
              <a:off x="1430338" y="2565399"/>
              <a:ext cx="395294" cy="39529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sp>
          <p:nvSpPr>
            <p:cNvPr id="145" name="Freeform 117"/>
            <p:cNvSpPr>
              <a:spLocks/>
            </p:cNvSpPr>
            <p:nvPr/>
          </p:nvSpPr>
          <p:spPr bwMode="auto">
            <a:xfrm>
              <a:off x="1527972" y="2671765"/>
              <a:ext cx="200025" cy="182563"/>
            </a:xfrm>
            <a:custGeom>
              <a:avLst/>
              <a:gdLst>
                <a:gd name="T0" fmla="*/ 68 w 126"/>
                <a:gd name="T1" fmla="*/ 0 h 115"/>
                <a:gd name="T2" fmla="*/ 56 w 126"/>
                <a:gd name="T3" fmla="*/ 12 h 115"/>
                <a:gd name="T4" fmla="*/ 80 w 126"/>
                <a:gd name="T5" fmla="*/ 44 h 115"/>
                <a:gd name="T6" fmla="*/ 0 w 126"/>
                <a:gd name="T7" fmla="*/ 47 h 115"/>
                <a:gd name="T8" fmla="*/ 0 w 126"/>
                <a:gd name="T9" fmla="*/ 68 h 115"/>
                <a:gd name="T10" fmla="*/ 80 w 126"/>
                <a:gd name="T11" fmla="*/ 71 h 115"/>
                <a:gd name="T12" fmla="*/ 56 w 126"/>
                <a:gd name="T13" fmla="*/ 103 h 115"/>
                <a:gd name="T14" fmla="*/ 68 w 126"/>
                <a:gd name="T15" fmla="*/ 115 h 115"/>
                <a:gd name="T16" fmla="*/ 126 w 126"/>
                <a:gd name="T17" fmla="*/ 58 h 115"/>
                <a:gd name="T18" fmla="*/ 68 w 126"/>
                <a:gd name="T19"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 h="115">
                  <a:moveTo>
                    <a:pt x="68" y="0"/>
                  </a:moveTo>
                  <a:lnTo>
                    <a:pt x="56" y="12"/>
                  </a:lnTo>
                  <a:lnTo>
                    <a:pt x="80" y="44"/>
                  </a:lnTo>
                  <a:lnTo>
                    <a:pt x="0" y="47"/>
                  </a:lnTo>
                  <a:lnTo>
                    <a:pt x="0" y="68"/>
                  </a:lnTo>
                  <a:lnTo>
                    <a:pt x="80" y="71"/>
                  </a:lnTo>
                  <a:lnTo>
                    <a:pt x="56" y="103"/>
                  </a:lnTo>
                  <a:lnTo>
                    <a:pt x="68" y="115"/>
                  </a:lnTo>
                  <a:lnTo>
                    <a:pt x="126" y="58"/>
                  </a:lnTo>
                  <a:lnTo>
                    <a:pt x="68" y="0"/>
                  </a:lnTo>
                  <a:close/>
                </a:path>
              </a:pathLst>
            </a:custGeom>
            <a:solidFill>
              <a:srgbClr val="6666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grpSp>
      <p:grpSp>
        <p:nvGrpSpPr>
          <p:cNvPr id="146" name="Group 190"/>
          <p:cNvGrpSpPr>
            <a:grpSpLocks noChangeAspect="1"/>
          </p:cNvGrpSpPr>
          <p:nvPr/>
        </p:nvGrpSpPr>
        <p:grpSpPr bwMode="auto">
          <a:xfrm flipV="1">
            <a:off x="7592400" y="3196916"/>
            <a:ext cx="593097" cy="593097"/>
            <a:chOff x="1808" y="1547"/>
            <a:chExt cx="250" cy="250"/>
          </a:xfrm>
        </p:grpSpPr>
        <p:sp>
          <p:nvSpPr>
            <p:cNvPr id="147" name="AutoShape 189"/>
            <p:cNvSpPr>
              <a:spLocks noChangeAspect="1" noChangeArrowheads="1" noTextEdit="1"/>
            </p:cNvSpPr>
            <p:nvPr/>
          </p:nvSpPr>
          <p:spPr bwMode="auto">
            <a:xfrm>
              <a:off x="1808" y="1616"/>
              <a:ext cx="182" cy="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sp>
          <p:nvSpPr>
            <p:cNvPr id="148" name="Rectangle 191"/>
            <p:cNvSpPr>
              <a:spLocks noChangeAspect="1" noChangeArrowheads="1"/>
            </p:cNvSpPr>
            <p:nvPr/>
          </p:nvSpPr>
          <p:spPr bwMode="auto">
            <a:xfrm>
              <a:off x="1808" y="1547"/>
              <a:ext cx="250" cy="25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sp>
          <p:nvSpPr>
            <p:cNvPr id="149" name="Freeform 192"/>
            <p:cNvSpPr>
              <a:spLocks/>
            </p:cNvSpPr>
            <p:nvPr/>
          </p:nvSpPr>
          <p:spPr bwMode="auto">
            <a:xfrm>
              <a:off x="1883" y="1622"/>
              <a:ext cx="101" cy="100"/>
            </a:xfrm>
            <a:custGeom>
              <a:avLst/>
              <a:gdLst>
                <a:gd name="T0" fmla="*/ 16 w 101"/>
                <a:gd name="T1" fmla="*/ 0 h 100"/>
                <a:gd name="T2" fmla="*/ 16 w 101"/>
                <a:gd name="T3" fmla="*/ 18 h 100"/>
                <a:gd name="T4" fmla="*/ 58 w 101"/>
                <a:gd name="T5" fmla="*/ 23 h 100"/>
                <a:gd name="T6" fmla="*/ 0 w 101"/>
                <a:gd name="T7" fmla="*/ 84 h 100"/>
                <a:gd name="T8" fmla="*/ 16 w 101"/>
                <a:gd name="T9" fmla="*/ 100 h 100"/>
                <a:gd name="T10" fmla="*/ 77 w 101"/>
                <a:gd name="T11" fmla="*/ 43 h 100"/>
                <a:gd name="T12" fmla="*/ 83 w 101"/>
                <a:gd name="T13" fmla="*/ 84 h 100"/>
                <a:gd name="T14" fmla="*/ 101 w 101"/>
                <a:gd name="T15" fmla="*/ 84 h 100"/>
                <a:gd name="T16" fmla="*/ 101 w 101"/>
                <a:gd name="T17" fmla="*/ 0 h 100"/>
                <a:gd name="T18" fmla="*/ 16 w 101"/>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100">
                  <a:moveTo>
                    <a:pt x="16" y="0"/>
                  </a:moveTo>
                  <a:lnTo>
                    <a:pt x="16" y="18"/>
                  </a:lnTo>
                  <a:lnTo>
                    <a:pt x="58" y="23"/>
                  </a:lnTo>
                  <a:lnTo>
                    <a:pt x="0" y="84"/>
                  </a:lnTo>
                  <a:lnTo>
                    <a:pt x="16" y="100"/>
                  </a:lnTo>
                  <a:lnTo>
                    <a:pt x="77" y="43"/>
                  </a:lnTo>
                  <a:lnTo>
                    <a:pt x="83" y="84"/>
                  </a:lnTo>
                  <a:lnTo>
                    <a:pt x="101" y="84"/>
                  </a:lnTo>
                  <a:lnTo>
                    <a:pt x="101" y="0"/>
                  </a:lnTo>
                  <a:lnTo>
                    <a:pt x="16" y="0"/>
                  </a:lnTo>
                  <a:close/>
                </a:path>
              </a:pathLst>
            </a:custGeom>
            <a:solidFill>
              <a:srgbClr val="6666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grpSp>
      <p:grpSp>
        <p:nvGrpSpPr>
          <p:cNvPr id="150" name="Group 149"/>
          <p:cNvGrpSpPr>
            <a:grpSpLocks noChangeAspect="1"/>
          </p:cNvGrpSpPr>
          <p:nvPr/>
        </p:nvGrpSpPr>
        <p:grpSpPr>
          <a:xfrm flipV="1">
            <a:off x="7592400" y="3790003"/>
            <a:ext cx="594000" cy="594000"/>
            <a:chOff x="970783" y="2407796"/>
            <a:chExt cx="397482" cy="397478"/>
          </a:xfrm>
        </p:grpSpPr>
        <p:sp>
          <p:nvSpPr>
            <p:cNvPr id="151" name="Rectangle 111"/>
            <p:cNvSpPr>
              <a:spLocks noChangeAspect="1" noChangeArrowheads="1"/>
            </p:cNvSpPr>
            <p:nvPr/>
          </p:nvSpPr>
          <p:spPr bwMode="auto">
            <a:xfrm>
              <a:off x="970783" y="2407796"/>
              <a:ext cx="397482" cy="39747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sp>
          <p:nvSpPr>
            <p:cNvPr id="152" name="Freeform 112"/>
            <p:cNvSpPr>
              <a:spLocks/>
            </p:cNvSpPr>
            <p:nvPr/>
          </p:nvSpPr>
          <p:spPr bwMode="auto">
            <a:xfrm rot="16200000">
              <a:off x="1069511" y="2515253"/>
              <a:ext cx="200025" cy="182563"/>
            </a:xfrm>
            <a:custGeom>
              <a:avLst/>
              <a:gdLst>
                <a:gd name="T0" fmla="*/ 68 w 126"/>
                <a:gd name="T1" fmla="*/ 0 h 115"/>
                <a:gd name="T2" fmla="*/ 56 w 126"/>
                <a:gd name="T3" fmla="*/ 12 h 115"/>
                <a:gd name="T4" fmla="*/ 80 w 126"/>
                <a:gd name="T5" fmla="*/ 44 h 115"/>
                <a:gd name="T6" fmla="*/ 0 w 126"/>
                <a:gd name="T7" fmla="*/ 47 h 115"/>
                <a:gd name="T8" fmla="*/ 0 w 126"/>
                <a:gd name="T9" fmla="*/ 68 h 115"/>
                <a:gd name="T10" fmla="*/ 80 w 126"/>
                <a:gd name="T11" fmla="*/ 71 h 115"/>
                <a:gd name="T12" fmla="*/ 56 w 126"/>
                <a:gd name="T13" fmla="*/ 103 h 115"/>
                <a:gd name="T14" fmla="*/ 68 w 126"/>
                <a:gd name="T15" fmla="*/ 115 h 115"/>
                <a:gd name="T16" fmla="*/ 126 w 126"/>
                <a:gd name="T17" fmla="*/ 58 h 115"/>
                <a:gd name="T18" fmla="*/ 68 w 126"/>
                <a:gd name="T19"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 h="115">
                  <a:moveTo>
                    <a:pt x="68" y="0"/>
                  </a:moveTo>
                  <a:lnTo>
                    <a:pt x="56" y="12"/>
                  </a:lnTo>
                  <a:lnTo>
                    <a:pt x="80" y="44"/>
                  </a:lnTo>
                  <a:lnTo>
                    <a:pt x="0" y="47"/>
                  </a:lnTo>
                  <a:lnTo>
                    <a:pt x="0" y="68"/>
                  </a:lnTo>
                  <a:lnTo>
                    <a:pt x="80" y="71"/>
                  </a:lnTo>
                  <a:lnTo>
                    <a:pt x="56" y="103"/>
                  </a:lnTo>
                  <a:lnTo>
                    <a:pt x="68" y="115"/>
                  </a:lnTo>
                  <a:lnTo>
                    <a:pt x="126" y="58"/>
                  </a:lnTo>
                  <a:lnTo>
                    <a:pt x="68" y="0"/>
                  </a:lnTo>
                  <a:close/>
                </a:path>
              </a:pathLst>
            </a:custGeom>
            <a:solidFill>
              <a:srgbClr val="EF01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grpSp>
      <p:grpSp>
        <p:nvGrpSpPr>
          <p:cNvPr id="53" name="Group 52">
            <a:extLst>
              <a:ext uri="{FF2B5EF4-FFF2-40B4-BE49-F238E27FC236}">
                <a16:creationId xmlns:a16="http://schemas.microsoft.com/office/drawing/2014/main" id="{F2E2EECA-0C1F-4D3D-BD4B-89F53D76AAFC}"/>
              </a:ext>
            </a:extLst>
          </p:cNvPr>
          <p:cNvGrpSpPr>
            <a:grpSpLocks noChangeAspect="1"/>
          </p:cNvGrpSpPr>
          <p:nvPr/>
        </p:nvGrpSpPr>
        <p:grpSpPr>
          <a:xfrm>
            <a:off x="7592400" y="4383994"/>
            <a:ext cx="594000" cy="594000"/>
            <a:chOff x="1032669" y="2456055"/>
            <a:chExt cx="397482" cy="397478"/>
          </a:xfrm>
        </p:grpSpPr>
        <p:sp>
          <p:nvSpPr>
            <p:cNvPr id="54" name="Rectangle 111">
              <a:extLst>
                <a:ext uri="{FF2B5EF4-FFF2-40B4-BE49-F238E27FC236}">
                  <a16:creationId xmlns:a16="http://schemas.microsoft.com/office/drawing/2014/main" id="{2FEFAD4E-85FA-4B8F-B744-0F620FE38B3D}"/>
                </a:ext>
              </a:extLst>
            </p:cNvPr>
            <p:cNvSpPr>
              <a:spLocks noChangeAspect="1" noChangeArrowheads="1"/>
            </p:cNvSpPr>
            <p:nvPr/>
          </p:nvSpPr>
          <p:spPr bwMode="auto">
            <a:xfrm>
              <a:off x="1032669" y="2456055"/>
              <a:ext cx="397482" cy="39747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sp>
          <p:nvSpPr>
            <p:cNvPr id="57" name="Freeform 112">
              <a:extLst>
                <a:ext uri="{FF2B5EF4-FFF2-40B4-BE49-F238E27FC236}">
                  <a16:creationId xmlns:a16="http://schemas.microsoft.com/office/drawing/2014/main" id="{4E96B622-033A-438A-9F07-263B42EE5B4B}"/>
                </a:ext>
              </a:extLst>
            </p:cNvPr>
            <p:cNvSpPr>
              <a:spLocks/>
            </p:cNvSpPr>
            <p:nvPr/>
          </p:nvSpPr>
          <p:spPr bwMode="auto">
            <a:xfrm rot="16200000">
              <a:off x="1131397" y="2563513"/>
              <a:ext cx="200025" cy="182563"/>
            </a:xfrm>
            <a:custGeom>
              <a:avLst/>
              <a:gdLst>
                <a:gd name="T0" fmla="*/ 68 w 126"/>
                <a:gd name="T1" fmla="*/ 0 h 115"/>
                <a:gd name="T2" fmla="*/ 56 w 126"/>
                <a:gd name="T3" fmla="*/ 12 h 115"/>
                <a:gd name="T4" fmla="*/ 80 w 126"/>
                <a:gd name="T5" fmla="*/ 44 h 115"/>
                <a:gd name="T6" fmla="*/ 0 w 126"/>
                <a:gd name="T7" fmla="*/ 47 h 115"/>
                <a:gd name="T8" fmla="*/ 0 w 126"/>
                <a:gd name="T9" fmla="*/ 68 h 115"/>
                <a:gd name="T10" fmla="*/ 80 w 126"/>
                <a:gd name="T11" fmla="*/ 71 h 115"/>
                <a:gd name="T12" fmla="*/ 56 w 126"/>
                <a:gd name="T13" fmla="*/ 103 h 115"/>
                <a:gd name="T14" fmla="*/ 68 w 126"/>
                <a:gd name="T15" fmla="*/ 115 h 115"/>
                <a:gd name="T16" fmla="*/ 126 w 126"/>
                <a:gd name="T17" fmla="*/ 58 h 115"/>
                <a:gd name="T18" fmla="*/ 68 w 126"/>
                <a:gd name="T19"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 h="115">
                  <a:moveTo>
                    <a:pt x="68" y="0"/>
                  </a:moveTo>
                  <a:lnTo>
                    <a:pt x="56" y="12"/>
                  </a:lnTo>
                  <a:lnTo>
                    <a:pt x="80" y="44"/>
                  </a:lnTo>
                  <a:lnTo>
                    <a:pt x="0" y="47"/>
                  </a:lnTo>
                  <a:lnTo>
                    <a:pt x="0" y="68"/>
                  </a:lnTo>
                  <a:lnTo>
                    <a:pt x="80" y="71"/>
                  </a:lnTo>
                  <a:lnTo>
                    <a:pt x="56" y="103"/>
                  </a:lnTo>
                  <a:lnTo>
                    <a:pt x="68" y="115"/>
                  </a:lnTo>
                  <a:lnTo>
                    <a:pt x="126" y="58"/>
                  </a:lnTo>
                  <a:lnTo>
                    <a:pt x="68"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grpSp>
      <p:sp>
        <p:nvSpPr>
          <p:cNvPr id="6" name="Footer Placeholder 5">
            <a:extLst>
              <a:ext uri="{FF2B5EF4-FFF2-40B4-BE49-F238E27FC236}">
                <a16:creationId xmlns:a16="http://schemas.microsoft.com/office/drawing/2014/main" id="{F11A13AE-95B3-41D9-BE65-2315E96C437B}"/>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10" name="Slide Number Placeholder 9">
            <a:extLst>
              <a:ext uri="{FF2B5EF4-FFF2-40B4-BE49-F238E27FC236}">
                <a16:creationId xmlns:a16="http://schemas.microsoft.com/office/drawing/2014/main" id="{35AC87A0-27F7-4608-9C1B-8EBF35BAB330}"/>
              </a:ext>
            </a:extLst>
          </p:cNvPr>
          <p:cNvSpPr>
            <a:spLocks noGrp="1"/>
          </p:cNvSpPr>
          <p:nvPr>
            <p:ph type="sldNum" sz="quarter" idx="11"/>
          </p:nvPr>
        </p:nvSpPr>
        <p:spPr/>
        <p:txBody>
          <a:bodyPr/>
          <a:lstStyle/>
          <a:p>
            <a:r>
              <a:rPr lang="en-US" dirty="0"/>
              <a:t>Page </a:t>
            </a:r>
            <a:fld id="{15EBE321-CBB1-4E91-BD14-37C8D44326FB}" type="slidenum">
              <a:rPr lang="en-US" smtClean="0"/>
              <a:pPr/>
              <a:t>57</a:t>
            </a:fld>
            <a:endParaRPr lang="en-US" dirty="0"/>
          </a:p>
        </p:txBody>
      </p:sp>
    </p:spTree>
    <p:extLst>
      <p:ext uri="{BB962C8B-B14F-4D97-AF65-F5344CB8AC3E}">
        <p14:creationId xmlns:p14="http://schemas.microsoft.com/office/powerpoint/2010/main" val="168911337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Tabelle 54"/>
          <p:cNvGraphicFramePr>
            <a:graphicFrameLocks noGrp="1"/>
          </p:cNvGraphicFramePr>
          <p:nvPr>
            <p:extLst>
              <p:ext uri="{D42A27DB-BD31-4B8C-83A1-F6EECF244321}">
                <p14:modId xmlns:p14="http://schemas.microsoft.com/office/powerpoint/2010/main" val="373121539"/>
              </p:ext>
            </p:extLst>
          </p:nvPr>
        </p:nvGraphicFramePr>
        <p:xfrm>
          <a:off x="410400" y="1415848"/>
          <a:ext cx="7776000" cy="3562146"/>
        </p:xfrm>
        <a:graphic>
          <a:graphicData uri="http://schemas.openxmlformats.org/drawingml/2006/table">
            <a:tbl>
              <a:tblPr>
                <a:tableStyleId>{0E3FDE45-AF77-4B5C-9715-49D594BDF05E}</a:tableStyleId>
              </a:tblPr>
              <a:tblGrid>
                <a:gridCol w="7776000">
                  <a:extLst>
                    <a:ext uri="{9D8B030D-6E8A-4147-A177-3AD203B41FA5}">
                      <a16:colId xmlns:a16="http://schemas.microsoft.com/office/drawing/2014/main" val="20002"/>
                    </a:ext>
                  </a:extLst>
                </a:gridCol>
              </a:tblGrid>
              <a:tr h="593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rgbClr val="66667E"/>
                          </a:solidFill>
                          <a:effectLst/>
                          <a:uLnTx/>
                          <a:uFillTx/>
                        </a:rPr>
                        <a:t>Duis arcu tortor, suscipit eget, imperdiet nec, imperdiet iaculis, ipsum</a:t>
                      </a:r>
                      <a:endParaRPr lang="en-US" sz="1600" noProof="0" dirty="0">
                        <a:solidFill>
                          <a:srgbClr val="66667E"/>
                        </a:solidFill>
                        <a:latin typeface="+mn-lt"/>
                        <a:ea typeface="Arial Unicode MS"/>
                      </a:endParaRPr>
                    </a:p>
                  </a:txBody>
                  <a:tcPr marL="0" marR="0" marT="71963" marB="71963" anchor="ctr">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1"/>
                  </a:ext>
                </a:extLst>
              </a:tr>
              <a:tr h="593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rgbClr val="66667E"/>
                          </a:solidFill>
                          <a:effectLst/>
                          <a:uLnTx/>
                          <a:uFillTx/>
                        </a:rPr>
                        <a:t>Phasellus nec sem</a:t>
                      </a:r>
                      <a:endParaRPr lang="en-US" sz="1600" noProof="0" dirty="0">
                        <a:solidFill>
                          <a:srgbClr val="66667E"/>
                        </a:solidFill>
                        <a:latin typeface="+mn-lt"/>
                        <a:ea typeface="Arial Unicode MS"/>
                      </a:endParaRPr>
                    </a:p>
                  </a:txBody>
                  <a:tcPr marL="0" marR="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2"/>
                  </a:ext>
                </a:extLst>
              </a:tr>
              <a:tr h="593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rgbClr val="66667E"/>
                          </a:solidFill>
                          <a:effectLst/>
                          <a:uLnTx/>
                          <a:uFillTx/>
                        </a:rPr>
                        <a:t>At vero eos et accusam</a:t>
                      </a:r>
                      <a:endParaRPr lang="en-US" sz="1600" noProof="0" dirty="0">
                        <a:solidFill>
                          <a:srgbClr val="66667E"/>
                        </a:solidFill>
                        <a:latin typeface="+mn-lt"/>
                        <a:ea typeface="Arial Unicode MS"/>
                      </a:endParaRPr>
                    </a:p>
                  </a:txBody>
                  <a:tcPr marL="0" marR="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3"/>
                  </a:ext>
                </a:extLst>
              </a:tr>
              <a:tr h="593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s-ES" sz="1600" u="none" strike="noStrike" kern="1200" cap="none" spc="0" normalizeH="0" baseline="0" noProof="0" dirty="0">
                          <a:ln>
                            <a:noFill/>
                          </a:ln>
                          <a:solidFill>
                            <a:srgbClr val="66667E"/>
                          </a:solidFill>
                          <a:effectLst/>
                          <a:uLnTx/>
                          <a:uFillTx/>
                        </a:rPr>
                        <a:t>Duis arcu tortor, suscipit eget</a:t>
                      </a:r>
                      <a:endParaRPr lang="en-US" sz="1600" noProof="0" dirty="0">
                        <a:solidFill>
                          <a:srgbClr val="66667E"/>
                        </a:solidFill>
                        <a:latin typeface="+mn-lt"/>
                        <a:ea typeface="Arial Unicode MS"/>
                      </a:endParaRPr>
                    </a:p>
                  </a:txBody>
                  <a:tcPr marL="0" marR="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4"/>
                  </a:ext>
                </a:extLst>
              </a:tr>
              <a:tr h="593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rgbClr val="66667E"/>
                          </a:solidFill>
                          <a:effectLst/>
                          <a:uLnTx/>
                          <a:uFillTx/>
                        </a:rPr>
                        <a:t>Cras ultricies mi eu</a:t>
                      </a:r>
                      <a:endParaRPr lang="en-US" sz="1600" noProof="0" dirty="0">
                        <a:solidFill>
                          <a:srgbClr val="66667E"/>
                        </a:solidFill>
                        <a:latin typeface="+mn-lt"/>
                        <a:ea typeface="Arial Unicode MS"/>
                      </a:endParaRPr>
                    </a:p>
                  </a:txBody>
                  <a:tcPr marL="0" marR="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2514599482"/>
                  </a:ext>
                </a:extLst>
              </a:tr>
              <a:tr h="593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rgbClr val="66667E"/>
                          </a:solidFill>
                          <a:effectLst/>
                          <a:uLnTx/>
                          <a:uFillTx/>
                        </a:rPr>
                        <a:t>Phasellus nec sem</a:t>
                      </a:r>
                      <a:endParaRPr lang="en-US" sz="1600" noProof="0" dirty="0">
                        <a:solidFill>
                          <a:srgbClr val="66667E"/>
                        </a:solidFill>
                        <a:latin typeface="+mn-lt"/>
                        <a:ea typeface="Arial Unicode MS"/>
                      </a:endParaRPr>
                    </a:p>
                  </a:txBody>
                  <a:tcPr marL="0" marR="0"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237210138"/>
                  </a:ext>
                </a:extLst>
              </a:tr>
            </a:tbl>
          </a:graphicData>
        </a:graphic>
      </p:graphicFrame>
      <p:graphicFrame>
        <p:nvGraphicFramePr>
          <p:cNvPr id="56" name="Objekt 55"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7" imgW="360" imgH="360" progId="">
                  <p:embed/>
                </p:oleObj>
              </mc:Choice>
              <mc:Fallback>
                <p:oleObj name="think-cell Folie" r:id="rId7" imgW="360" imgH="360" progId="">
                  <p:embed/>
                  <p:pic>
                    <p:nvPicPr>
                      <p:cNvPr id="56" name="Objekt 55"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el 4"/>
          <p:cNvSpPr>
            <a:spLocks noGrp="1"/>
          </p:cNvSpPr>
          <p:nvPr>
            <p:ph type="title"/>
          </p:nvPr>
        </p:nvSpPr>
        <p:spPr>
          <a:xfrm>
            <a:off x="410400" y="478800"/>
            <a:ext cx="9863997" cy="576000"/>
          </a:xfrm>
        </p:spPr>
        <p:txBody>
          <a:bodyPr/>
          <a:lstStyle/>
          <a:p>
            <a:r>
              <a:rPr lang="en-US" dirty="0"/>
              <a:t>Evaluation – percentage fill rating system</a:t>
            </a:r>
          </a:p>
        </p:txBody>
      </p:sp>
      <p:grpSp>
        <p:nvGrpSpPr>
          <p:cNvPr id="14" name="Group 13"/>
          <p:cNvGrpSpPr/>
          <p:nvPr/>
        </p:nvGrpSpPr>
        <p:grpSpPr>
          <a:xfrm>
            <a:off x="7592400" y="4383993"/>
            <a:ext cx="594000" cy="594001"/>
            <a:chOff x="8382540" y="1367691"/>
            <a:chExt cx="594309" cy="594310"/>
          </a:xfrm>
        </p:grpSpPr>
        <p:sp>
          <p:nvSpPr>
            <p:cNvPr id="158" name="Rectangle 111"/>
            <p:cNvSpPr>
              <a:spLocks noChangeAspect="1" noChangeArrowheads="1"/>
            </p:cNvSpPr>
            <p:nvPr/>
          </p:nvSpPr>
          <p:spPr bwMode="auto">
            <a:xfrm rot="16200000">
              <a:off x="8382540" y="1367691"/>
              <a:ext cx="594310" cy="594309"/>
            </a:xfrm>
            <a:prstGeom prst="rect">
              <a:avLst/>
            </a:prstGeom>
            <a:noFill/>
            <a:ln>
              <a:noFill/>
            </a:ln>
          </p:spPr>
          <p:txBody>
            <a:bodyPr vert="horz" wrap="square" lIns="91392" tIns="45696" rIns="91392" bIns="45696" numCol="1" anchor="t" anchorCtr="0" compatLnSpc="1">
              <a:prstTxWarp prst="textNoShape">
                <a:avLst/>
              </a:prstTxWarp>
            </a:bodyPr>
            <a:lstStyle/>
            <a:p>
              <a:endParaRPr lang="en-US" sz="1799" dirty="0"/>
            </a:p>
          </p:txBody>
        </p:sp>
        <p:sp>
          <p:nvSpPr>
            <p:cNvPr id="52" name="Oval 54"/>
            <p:cNvSpPr>
              <a:spLocks noChangeAspect="1" noChangeArrowheads="1"/>
            </p:cNvSpPr>
            <p:nvPr>
              <p:custDataLst>
                <p:tags r:id="rId5"/>
              </p:custDataLst>
            </p:nvPr>
          </p:nvSpPr>
          <p:spPr bwMode="auto">
            <a:xfrm>
              <a:off x="8535695" y="1520846"/>
              <a:ext cx="288000" cy="288000"/>
            </a:xfrm>
            <a:prstGeom prst="ellipse">
              <a:avLst/>
            </a:prstGeom>
            <a:noFill/>
            <a:ln w="9525">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99" dirty="0"/>
            </a:p>
          </p:txBody>
        </p:sp>
      </p:grpSp>
      <p:grpSp>
        <p:nvGrpSpPr>
          <p:cNvPr id="8" name="Group 7">
            <a:extLst>
              <a:ext uri="{FF2B5EF4-FFF2-40B4-BE49-F238E27FC236}">
                <a16:creationId xmlns:a16="http://schemas.microsoft.com/office/drawing/2014/main" id="{8583F413-24EF-43FE-884D-22FE3E686EC5}"/>
              </a:ext>
            </a:extLst>
          </p:cNvPr>
          <p:cNvGrpSpPr/>
          <p:nvPr/>
        </p:nvGrpSpPr>
        <p:grpSpPr>
          <a:xfrm>
            <a:off x="7592400" y="3790365"/>
            <a:ext cx="594000" cy="594000"/>
            <a:chOff x="8377185" y="3861983"/>
            <a:chExt cx="594000" cy="594000"/>
          </a:xfrm>
        </p:grpSpPr>
        <p:sp>
          <p:nvSpPr>
            <p:cNvPr id="148" name="Rectangle 191"/>
            <p:cNvSpPr>
              <a:spLocks noChangeAspect="1" noChangeArrowheads="1"/>
            </p:cNvSpPr>
            <p:nvPr/>
          </p:nvSpPr>
          <p:spPr bwMode="auto">
            <a:xfrm flipV="1">
              <a:off x="8377185" y="3861983"/>
              <a:ext cx="594000" cy="594000"/>
            </a:xfrm>
            <a:prstGeom prst="rect">
              <a:avLst/>
            </a:prstGeom>
            <a:noFill/>
            <a:ln>
              <a:noFill/>
            </a:ln>
          </p:spPr>
          <p:txBody>
            <a:bodyPr vert="horz" wrap="square" lIns="91392" tIns="45696" rIns="91392" bIns="45696" numCol="1" anchor="t" anchorCtr="0" compatLnSpc="1">
              <a:prstTxWarp prst="textNoShape">
                <a:avLst/>
              </a:prstTxWarp>
            </a:bodyPr>
            <a:lstStyle/>
            <a:p>
              <a:endParaRPr lang="en-US" sz="1799" dirty="0"/>
            </a:p>
          </p:txBody>
        </p:sp>
        <p:grpSp>
          <p:nvGrpSpPr>
            <p:cNvPr id="54" name="Group 53"/>
            <p:cNvGrpSpPr>
              <a:grpSpLocks noChangeAspect="1"/>
            </p:cNvGrpSpPr>
            <p:nvPr/>
          </p:nvGrpSpPr>
          <p:grpSpPr>
            <a:xfrm>
              <a:off x="8530260" y="4015058"/>
              <a:ext cx="287850" cy="287850"/>
              <a:chOff x="11042463" y="3942000"/>
              <a:chExt cx="303339" cy="303339"/>
            </a:xfrm>
          </p:grpSpPr>
          <p:sp>
            <p:nvSpPr>
              <p:cNvPr id="57" name="Oval 52"/>
              <p:cNvSpPr>
                <a:spLocks noChangeArrowheads="1"/>
              </p:cNvSpPr>
              <p:nvPr/>
            </p:nvSpPr>
            <p:spPr bwMode="auto">
              <a:xfrm>
                <a:off x="11042463" y="3942000"/>
                <a:ext cx="303339" cy="303339"/>
              </a:xfrm>
              <a:prstGeom prst="ellipse">
                <a:avLst/>
              </a:prstGeom>
              <a:noFill/>
              <a:ln w="9525">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99" dirty="0"/>
              </a:p>
            </p:txBody>
          </p:sp>
          <p:sp>
            <p:nvSpPr>
              <p:cNvPr id="58" name="Arc 53"/>
              <p:cNvSpPr>
                <a:spLocks/>
              </p:cNvSpPr>
              <p:nvPr/>
            </p:nvSpPr>
            <p:spPr bwMode="auto">
              <a:xfrm>
                <a:off x="11195240" y="3942000"/>
                <a:ext cx="150562" cy="151670"/>
              </a:xfrm>
              <a:custGeom>
                <a:avLst/>
                <a:gdLst>
                  <a:gd name="T0" fmla="*/ 0 w 21621"/>
                  <a:gd name="T1" fmla="*/ 0 h 21600"/>
                  <a:gd name="T2" fmla="*/ 68 w 21621"/>
                  <a:gd name="T3" fmla="*/ 68 h 21600"/>
                  <a:gd name="T4" fmla="*/ 0 w 21621"/>
                  <a:gd name="T5" fmla="*/ 68 h 21600"/>
                  <a:gd name="T6" fmla="*/ 0 60000 65536"/>
                  <a:gd name="T7" fmla="*/ 0 60000 65536"/>
                  <a:gd name="T8" fmla="*/ 0 60000 65536"/>
                </a:gdLst>
                <a:ahLst/>
                <a:cxnLst>
                  <a:cxn ang="T6">
                    <a:pos x="T0" y="T1"/>
                  </a:cxn>
                  <a:cxn ang="T7">
                    <a:pos x="T2" y="T3"/>
                  </a:cxn>
                  <a:cxn ang="T8">
                    <a:pos x="T4" y="T5"/>
                  </a:cxn>
                </a:cxnLst>
                <a:rect l="0" t="0" r="r" b="b"/>
                <a:pathLst>
                  <a:path w="21621" h="21600" fill="none" extrusionOk="0">
                    <a:moveTo>
                      <a:pt x="0" y="0"/>
                    </a:moveTo>
                    <a:cubicBezTo>
                      <a:pt x="7" y="0"/>
                      <a:pt x="14" y="-1"/>
                      <a:pt x="21" y="0"/>
                    </a:cubicBezTo>
                    <a:cubicBezTo>
                      <a:pt x="11942" y="0"/>
                      <a:pt x="21609" y="9657"/>
                      <a:pt x="21620" y="21579"/>
                    </a:cubicBezTo>
                  </a:path>
                  <a:path w="21621" h="21600" stroke="0" extrusionOk="0">
                    <a:moveTo>
                      <a:pt x="0" y="0"/>
                    </a:moveTo>
                    <a:cubicBezTo>
                      <a:pt x="7" y="0"/>
                      <a:pt x="14" y="-1"/>
                      <a:pt x="21" y="0"/>
                    </a:cubicBezTo>
                    <a:cubicBezTo>
                      <a:pt x="11942" y="0"/>
                      <a:pt x="21609" y="9657"/>
                      <a:pt x="21620" y="21579"/>
                    </a:cubicBezTo>
                    <a:lnTo>
                      <a:pt x="21" y="21600"/>
                    </a:lnTo>
                    <a:lnTo>
                      <a:pt x="0" y="0"/>
                    </a:lnTo>
                    <a:close/>
                  </a:path>
                </a:pathLst>
              </a:custGeom>
              <a:solidFill>
                <a:schemeClr val="accent1"/>
              </a:solidFill>
              <a:ln w="9525">
                <a:solidFill>
                  <a:schemeClr val="accent1"/>
                </a:solidFill>
                <a:round/>
                <a:headEnd/>
                <a:tailEnd/>
              </a:ln>
            </p:spPr>
            <p:txBody>
              <a:bodyPr/>
              <a:lstStyle/>
              <a:p>
                <a:endParaRPr lang="en-US" sz="1799" dirty="0"/>
              </a:p>
            </p:txBody>
          </p:sp>
        </p:grpSp>
      </p:grpSp>
      <p:grpSp>
        <p:nvGrpSpPr>
          <p:cNvPr id="3" name="Group 2">
            <a:extLst>
              <a:ext uri="{FF2B5EF4-FFF2-40B4-BE49-F238E27FC236}">
                <a16:creationId xmlns:a16="http://schemas.microsoft.com/office/drawing/2014/main" id="{57A64CCA-760F-4C34-8587-F275B71EE5A9}"/>
              </a:ext>
            </a:extLst>
          </p:cNvPr>
          <p:cNvGrpSpPr/>
          <p:nvPr/>
        </p:nvGrpSpPr>
        <p:grpSpPr>
          <a:xfrm>
            <a:off x="7592400" y="2009477"/>
            <a:ext cx="594000" cy="594001"/>
            <a:chOff x="8377190" y="1936874"/>
            <a:chExt cx="594000" cy="594001"/>
          </a:xfrm>
        </p:grpSpPr>
        <p:sp>
          <p:nvSpPr>
            <p:cNvPr id="141" name="Rectangle 111"/>
            <p:cNvSpPr>
              <a:spLocks noChangeAspect="1" noChangeArrowheads="1"/>
            </p:cNvSpPr>
            <p:nvPr/>
          </p:nvSpPr>
          <p:spPr bwMode="auto">
            <a:xfrm rot="16200000">
              <a:off x="8377189" y="1936875"/>
              <a:ext cx="594001" cy="594000"/>
            </a:xfrm>
            <a:prstGeom prst="rect">
              <a:avLst/>
            </a:prstGeom>
            <a:noFill/>
            <a:ln>
              <a:noFill/>
            </a:ln>
          </p:spPr>
          <p:txBody>
            <a:bodyPr vert="horz" wrap="square" lIns="91392" tIns="45696" rIns="91392" bIns="45696" numCol="1" anchor="t" anchorCtr="0" compatLnSpc="1">
              <a:prstTxWarp prst="textNoShape">
                <a:avLst/>
              </a:prstTxWarp>
            </a:bodyPr>
            <a:lstStyle/>
            <a:p>
              <a:endParaRPr lang="en-US" sz="1799" dirty="0"/>
            </a:p>
          </p:txBody>
        </p:sp>
        <p:grpSp>
          <p:nvGrpSpPr>
            <p:cNvPr id="59" name="Group 58"/>
            <p:cNvGrpSpPr>
              <a:grpSpLocks noChangeAspect="1"/>
            </p:cNvGrpSpPr>
            <p:nvPr/>
          </p:nvGrpSpPr>
          <p:grpSpPr>
            <a:xfrm>
              <a:off x="8526431" y="2089950"/>
              <a:ext cx="295516" cy="287850"/>
              <a:chOff x="11042463" y="2152800"/>
              <a:chExt cx="295670" cy="288000"/>
            </a:xfrm>
          </p:grpSpPr>
          <p:sp>
            <p:nvSpPr>
              <p:cNvPr id="60" name="Oval 58"/>
              <p:cNvSpPr>
                <a:spLocks noChangeArrowheads="1"/>
              </p:cNvSpPr>
              <p:nvPr/>
            </p:nvSpPr>
            <p:spPr bwMode="auto">
              <a:xfrm>
                <a:off x="11042463" y="2152800"/>
                <a:ext cx="288000" cy="288000"/>
              </a:xfrm>
              <a:prstGeom prst="ellipse">
                <a:avLst/>
              </a:prstGeom>
              <a:noFill/>
              <a:ln w="9525">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99" dirty="0"/>
              </a:p>
            </p:txBody>
          </p:sp>
          <p:sp>
            <p:nvSpPr>
              <p:cNvPr id="61" name="Arc 59"/>
              <p:cNvSpPr>
                <a:spLocks/>
              </p:cNvSpPr>
              <p:nvPr/>
            </p:nvSpPr>
            <p:spPr bwMode="auto">
              <a:xfrm>
                <a:off x="11194133" y="2152800"/>
                <a:ext cx="144000" cy="288000"/>
              </a:xfrm>
              <a:custGeom>
                <a:avLst/>
                <a:gdLst>
                  <a:gd name="T0" fmla="*/ 0 w 21621"/>
                  <a:gd name="T1" fmla="*/ 0 h 43200"/>
                  <a:gd name="T2" fmla="*/ 0 w 21621"/>
                  <a:gd name="T3" fmla="*/ 136 h 43200"/>
                  <a:gd name="T4" fmla="*/ 0 w 21621"/>
                  <a:gd name="T5" fmla="*/ 68 h 43200"/>
                  <a:gd name="T6" fmla="*/ 0 60000 65536"/>
                  <a:gd name="T7" fmla="*/ 0 60000 65536"/>
                  <a:gd name="T8" fmla="*/ 0 60000 65536"/>
                </a:gdLst>
                <a:ahLst/>
                <a:cxnLst>
                  <a:cxn ang="T6">
                    <a:pos x="T0" y="T1"/>
                  </a:cxn>
                  <a:cxn ang="T7">
                    <a:pos x="T2" y="T3"/>
                  </a:cxn>
                  <a:cxn ang="T8">
                    <a:pos x="T4" y="T5"/>
                  </a:cxn>
                </a:cxnLst>
                <a:rect l="0" t="0" r="r" b="b"/>
                <a:pathLst>
                  <a:path w="21621" h="43200" fill="none" extrusionOk="0">
                    <a:moveTo>
                      <a:pt x="0" y="0"/>
                    </a:moveTo>
                    <a:cubicBezTo>
                      <a:pt x="7" y="0"/>
                      <a:pt x="14" y="-1"/>
                      <a:pt x="21" y="0"/>
                    </a:cubicBezTo>
                    <a:cubicBezTo>
                      <a:pt x="11950" y="0"/>
                      <a:pt x="21621" y="9670"/>
                      <a:pt x="21621" y="21600"/>
                    </a:cubicBezTo>
                    <a:cubicBezTo>
                      <a:pt x="21621" y="33514"/>
                      <a:pt x="11973" y="43179"/>
                      <a:pt x="58" y="43199"/>
                    </a:cubicBezTo>
                  </a:path>
                  <a:path w="21621" h="43200" stroke="0" extrusionOk="0">
                    <a:moveTo>
                      <a:pt x="0" y="0"/>
                    </a:moveTo>
                    <a:cubicBezTo>
                      <a:pt x="7" y="0"/>
                      <a:pt x="14" y="-1"/>
                      <a:pt x="21" y="0"/>
                    </a:cubicBezTo>
                    <a:cubicBezTo>
                      <a:pt x="11950" y="0"/>
                      <a:pt x="21621" y="9670"/>
                      <a:pt x="21621" y="21600"/>
                    </a:cubicBezTo>
                    <a:cubicBezTo>
                      <a:pt x="21621" y="33514"/>
                      <a:pt x="11973" y="43179"/>
                      <a:pt x="58" y="43199"/>
                    </a:cubicBezTo>
                    <a:lnTo>
                      <a:pt x="21" y="21600"/>
                    </a:lnTo>
                    <a:lnTo>
                      <a:pt x="0" y="0"/>
                    </a:lnTo>
                    <a:close/>
                  </a:path>
                </a:pathLst>
              </a:custGeom>
              <a:solidFill>
                <a:schemeClr val="accent1"/>
              </a:solidFill>
              <a:ln w="9525">
                <a:solidFill>
                  <a:schemeClr val="accent1"/>
                </a:solidFill>
                <a:round/>
                <a:headEnd/>
                <a:tailEnd/>
              </a:ln>
            </p:spPr>
            <p:txBody>
              <a:bodyPr/>
              <a:lstStyle/>
              <a:p>
                <a:endParaRPr lang="en-US" sz="1799" dirty="0"/>
              </a:p>
            </p:txBody>
          </p:sp>
        </p:grpSp>
      </p:grpSp>
      <p:grpSp>
        <p:nvGrpSpPr>
          <p:cNvPr id="7" name="Group 6">
            <a:extLst>
              <a:ext uri="{FF2B5EF4-FFF2-40B4-BE49-F238E27FC236}">
                <a16:creationId xmlns:a16="http://schemas.microsoft.com/office/drawing/2014/main" id="{FC278B25-B3D2-4974-A1A3-C6202BAA8BE0}"/>
              </a:ext>
            </a:extLst>
          </p:cNvPr>
          <p:cNvGrpSpPr/>
          <p:nvPr/>
        </p:nvGrpSpPr>
        <p:grpSpPr>
          <a:xfrm>
            <a:off x="7592400" y="3196736"/>
            <a:ext cx="594001" cy="594000"/>
            <a:chOff x="8377190" y="3268689"/>
            <a:chExt cx="594001" cy="594000"/>
          </a:xfrm>
        </p:grpSpPr>
        <p:sp>
          <p:nvSpPr>
            <p:cNvPr id="144" name="Rectangle 116"/>
            <p:cNvSpPr>
              <a:spLocks noChangeAspect="1" noChangeArrowheads="1"/>
            </p:cNvSpPr>
            <p:nvPr/>
          </p:nvSpPr>
          <p:spPr bwMode="auto">
            <a:xfrm>
              <a:off x="8377190" y="3268689"/>
              <a:ext cx="594001" cy="594000"/>
            </a:xfrm>
            <a:prstGeom prst="rect">
              <a:avLst/>
            </a:prstGeom>
            <a:noFill/>
            <a:ln>
              <a:noFill/>
            </a:ln>
          </p:spPr>
          <p:txBody>
            <a:bodyPr vert="horz" wrap="square" lIns="91392" tIns="45696" rIns="91392" bIns="45696" numCol="1" anchor="t" anchorCtr="0" compatLnSpc="1">
              <a:prstTxWarp prst="textNoShape">
                <a:avLst/>
              </a:prstTxWarp>
            </a:bodyPr>
            <a:lstStyle/>
            <a:p>
              <a:endParaRPr lang="en-US" sz="1799" dirty="0"/>
            </a:p>
          </p:txBody>
        </p:sp>
        <p:grpSp>
          <p:nvGrpSpPr>
            <p:cNvPr id="62" name="Group 61"/>
            <p:cNvGrpSpPr>
              <a:grpSpLocks noChangeAspect="1"/>
            </p:cNvGrpSpPr>
            <p:nvPr/>
          </p:nvGrpSpPr>
          <p:grpSpPr>
            <a:xfrm>
              <a:off x="8530265" y="3421764"/>
              <a:ext cx="287850" cy="287850"/>
              <a:chOff x="11044645" y="3344400"/>
              <a:chExt cx="298974" cy="303339"/>
            </a:xfrm>
          </p:grpSpPr>
          <p:sp>
            <p:nvSpPr>
              <p:cNvPr id="63" name="Oval 61"/>
              <p:cNvSpPr>
                <a:spLocks noChangeArrowheads="1"/>
              </p:cNvSpPr>
              <p:nvPr/>
            </p:nvSpPr>
            <p:spPr bwMode="auto">
              <a:xfrm>
                <a:off x="11044645" y="3344400"/>
                <a:ext cx="298974" cy="303339"/>
              </a:xfrm>
              <a:prstGeom prst="ellipse">
                <a:avLst/>
              </a:prstGeom>
              <a:noFill/>
              <a:ln w="9525">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99" dirty="0"/>
              </a:p>
            </p:txBody>
          </p:sp>
          <p:sp>
            <p:nvSpPr>
              <p:cNvPr id="64" name="Arc 62"/>
              <p:cNvSpPr>
                <a:spLocks/>
              </p:cNvSpPr>
              <p:nvPr/>
            </p:nvSpPr>
            <p:spPr bwMode="auto">
              <a:xfrm>
                <a:off x="11046827" y="3344400"/>
                <a:ext cx="296792" cy="303339"/>
              </a:xfrm>
              <a:custGeom>
                <a:avLst/>
                <a:gdLst>
                  <a:gd name="T0" fmla="*/ 68 w 43200"/>
                  <a:gd name="T1" fmla="*/ 0 h 43200"/>
                  <a:gd name="T2" fmla="*/ 0 w 43200"/>
                  <a:gd name="T3" fmla="*/ 68 h 43200"/>
                  <a:gd name="T4" fmla="*/ 68 w 43200"/>
                  <a:gd name="T5" fmla="*/ 68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79" y="0"/>
                    </a:moveTo>
                    <a:cubicBezTo>
                      <a:pt x="21586" y="0"/>
                      <a:pt x="21593" y="-1"/>
                      <a:pt x="21600" y="0"/>
                    </a:cubicBez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79" y="0"/>
                    </a:moveTo>
                    <a:cubicBezTo>
                      <a:pt x="21586" y="0"/>
                      <a:pt x="21593" y="-1"/>
                      <a:pt x="21600" y="0"/>
                    </a:cubicBezTo>
                    <a:cubicBezTo>
                      <a:pt x="33529" y="0"/>
                      <a:pt x="43200" y="9670"/>
                      <a:pt x="43200" y="21600"/>
                    </a:cubicBezTo>
                    <a:cubicBezTo>
                      <a:pt x="43200" y="33529"/>
                      <a:pt x="33529" y="43200"/>
                      <a:pt x="21600" y="43200"/>
                    </a:cubicBezTo>
                    <a:cubicBezTo>
                      <a:pt x="9670" y="43200"/>
                      <a:pt x="0" y="33529"/>
                      <a:pt x="0" y="21600"/>
                    </a:cubicBezTo>
                    <a:lnTo>
                      <a:pt x="21600" y="21600"/>
                    </a:lnTo>
                    <a:lnTo>
                      <a:pt x="21579" y="0"/>
                    </a:lnTo>
                    <a:close/>
                  </a:path>
                </a:pathLst>
              </a:custGeom>
              <a:solidFill>
                <a:schemeClr val="accent1"/>
              </a:solidFill>
              <a:ln w="9525">
                <a:solidFill>
                  <a:schemeClr val="accent1"/>
                </a:solidFill>
                <a:round/>
                <a:headEnd/>
                <a:tailEnd/>
              </a:ln>
            </p:spPr>
            <p:txBody>
              <a:bodyPr/>
              <a:lstStyle/>
              <a:p>
                <a:endParaRPr lang="en-US" sz="1799" dirty="0"/>
              </a:p>
            </p:txBody>
          </p:sp>
        </p:grpSp>
      </p:grpSp>
      <p:grpSp>
        <p:nvGrpSpPr>
          <p:cNvPr id="4" name="Group 3">
            <a:extLst>
              <a:ext uri="{FF2B5EF4-FFF2-40B4-BE49-F238E27FC236}">
                <a16:creationId xmlns:a16="http://schemas.microsoft.com/office/drawing/2014/main" id="{0252B19F-87E1-4E83-9D38-0C43A1BAB7BF}"/>
              </a:ext>
            </a:extLst>
          </p:cNvPr>
          <p:cNvGrpSpPr/>
          <p:nvPr/>
        </p:nvGrpSpPr>
        <p:grpSpPr>
          <a:xfrm>
            <a:off x="7592400" y="2603107"/>
            <a:ext cx="594000" cy="594000"/>
            <a:chOff x="8377185" y="2674405"/>
            <a:chExt cx="594000" cy="594000"/>
          </a:xfrm>
        </p:grpSpPr>
        <p:sp>
          <p:nvSpPr>
            <p:cNvPr id="138" name="Rectangle 191"/>
            <p:cNvSpPr>
              <a:spLocks noChangeAspect="1" noChangeArrowheads="1"/>
            </p:cNvSpPr>
            <p:nvPr/>
          </p:nvSpPr>
          <p:spPr bwMode="auto">
            <a:xfrm>
              <a:off x="8377185" y="2674405"/>
              <a:ext cx="594000" cy="594000"/>
            </a:xfrm>
            <a:prstGeom prst="rect">
              <a:avLst/>
            </a:prstGeom>
            <a:noFill/>
            <a:ln>
              <a:noFill/>
            </a:ln>
          </p:spPr>
          <p:txBody>
            <a:bodyPr vert="horz" wrap="square" lIns="91392" tIns="45696" rIns="91392" bIns="45696" numCol="1" anchor="t" anchorCtr="0" compatLnSpc="1">
              <a:prstTxWarp prst="textNoShape">
                <a:avLst/>
              </a:prstTxWarp>
            </a:bodyPr>
            <a:lstStyle/>
            <a:p>
              <a:endParaRPr lang="en-US" sz="1799" dirty="0"/>
            </a:p>
          </p:txBody>
        </p:sp>
        <p:grpSp>
          <p:nvGrpSpPr>
            <p:cNvPr id="65" name="Group 64"/>
            <p:cNvGrpSpPr>
              <a:grpSpLocks noChangeAspect="1"/>
            </p:cNvGrpSpPr>
            <p:nvPr/>
          </p:nvGrpSpPr>
          <p:grpSpPr>
            <a:xfrm>
              <a:off x="8530260" y="2827480"/>
              <a:ext cx="287850" cy="287850"/>
              <a:chOff x="11042463" y="2750400"/>
              <a:chExt cx="303339" cy="303339"/>
            </a:xfrm>
          </p:grpSpPr>
          <p:sp>
            <p:nvSpPr>
              <p:cNvPr id="66" name="Oval 52"/>
              <p:cNvSpPr>
                <a:spLocks noChangeArrowheads="1"/>
              </p:cNvSpPr>
              <p:nvPr/>
            </p:nvSpPr>
            <p:spPr bwMode="auto">
              <a:xfrm>
                <a:off x="11042463" y="2750400"/>
                <a:ext cx="303339" cy="303339"/>
              </a:xfrm>
              <a:prstGeom prst="ellipse">
                <a:avLst/>
              </a:prstGeom>
              <a:noFill/>
              <a:ln w="9525">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99" dirty="0"/>
              </a:p>
            </p:txBody>
          </p:sp>
          <p:sp>
            <p:nvSpPr>
              <p:cNvPr id="67" name="Arc 53"/>
              <p:cNvSpPr>
                <a:spLocks/>
              </p:cNvSpPr>
              <p:nvPr/>
            </p:nvSpPr>
            <p:spPr bwMode="auto">
              <a:xfrm>
                <a:off x="11195240" y="2750400"/>
                <a:ext cx="150562" cy="151670"/>
              </a:xfrm>
              <a:custGeom>
                <a:avLst/>
                <a:gdLst>
                  <a:gd name="T0" fmla="*/ 0 w 21621"/>
                  <a:gd name="T1" fmla="*/ 0 h 21600"/>
                  <a:gd name="T2" fmla="*/ 68 w 21621"/>
                  <a:gd name="T3" fmla="*/ 68 h 21600"/>
                  <a:gd name="T4" fmla="*/ 0 w 21621"/>
                  <a:gd name="T5" fmla="*/ 68 h 21600"/>
                  <a:gd name="T6" fmla="*/ 0 60000 65536"/>
                  <a:gd name="T7" fmla="*/ 0 60000 65536"/>
                  <a:gd name="T8" fmla="*/ 0 60000 65536"/>
                </a:gdLst>
                <a:ahLst/>
                <a:cxnLst>
                  <a:cxn ang="T6">
                    <a:pos x="T0" y="T1"/>
                  </a:cxn>
                  <a:cxn ang="T7">
                    <a:pos x="T2" y="T3"/>
                  </a:cxn>
                  <a:cxn ang="T8">
                    <a:pos x="T4" y="T5"/>
                  </a:cxn>
                </a:cxnLst>
                <a:rect l="0" t="0" r="r" b="b"/>
                <a:pathLst>
                  <a:path w="21621" h="21600" fill="none" extrusionOk="0">
                    <a:moveTo>
                      <a:pt x="0" y="0"/>
                    </a:moveTo>
                    <a:cubicBezTo>
                      <a:pt x="7" y="0"/>
                      <a:pt x="14" y="-1"/>
                      <a:pt x="21" y="0"/>
                    </a:cubicBezTo>
                    <a:cubicBezTo>
                      <a:pt x="11942" y="0"/>
                      <a:pt x="21609" y="9657"/>
                      <a:pt x="21620" y="21579"/>
                    </a:cubicBezTo>
                  </a:path>
                  <a:path w="21621" h="21600" stroke="0" extrusionOk="0">
                    <a:moveTo>
                      <a:pt x="0" y="0"/>
                    </a:moveTo>
                    <a:cubicBezTo>
                      <a:pt x="7" y="0"/>
                      <a:pt x="14" y="-1"/>
                      <a:pt x="21" y="0"/>
                    </a:cubicBezTo>
                    <a:cubicBezTo>
                      <a:pt x="11942" y="0"/>
                      <a:pt x="21609" y="9657"/>
                      <a:pt x="21620" y="21579"/>
                    </a:cubicBezTo>
                    <a:lnTo>
                      <a:pt x="21" y="21600"/>
                    </a:lnTo>
                    <a:lnTo>
                      <a:pt x="0" y="0"/>
                    </a:lnTo>
                    <a:close/>
                  </a:path>
                </a:pathLst>
              </a:custGeom>
              <a:solidFill>
                <a:schemeClr val="accent1"/>
              </a:solidFill>
              <a:ln w="9525">
                <a:solidFill>
                  <a:schemeClr val="accent1"/>
                </a:solidFill>
                <a:round/>
                <a:headEnd/>
                <a:tailEnd/>
              </a:ln>
            </p:spPr>
            <p:txBody>
              <a:bodyPr/>
              <a:lstStyle/>
              <a:p>
                <a:endParaRPr lang="en-US" sz="1799" dirty="0"/>
              </a:p>
            </p:txBody>
          </p:sp>
        </p:grpSp>
      </p:grpSp>
      <p:grpSp>
        <p:nvGrpSpPr>
          <p:cNvPr id="100" name="Group 99"/>
          <p:cNvGrpSpPr/>
          <p:nvPr/>
        </p:nvGrpSpPr>
        <p:grpSpPr>
          <a:xfrm>
            <a:off x="7592400" y="1415848"/>
            <a:ext cx="594000" cy="594000"/>
            <a:chOff x="8382544" y="3888392"/>
            <a:chExt cx="594309" cy="594309"/>
          </a:xfrm>
        </p:grpSpPr>
        <p:sp>
          <p:nvSpPr>
            <p:cNvPr id="101" name="Rectangle 111"/>
            <p:cNvSpPr>
              <a:spLocks noChangeAspect="1" noChangeArrowheads="1"/>
            </p:cNvSpPr>
            <p:nvPr/>
          </p:nvSpPr>
          <p:spPr bwMode="auto">
            <a:xfrm flipV="1">
              <a:off x="8382544" y="3888392"/>
              <a:ext cx="594309" cy="594309"/>
            </a:xfrm>
            <a:prstGeom prst="rect">
              <a:avLst/>
            </a:prstGeom>
            <a:noFill/>
            <a:ln>
              <a:noFill/>
            </a:ln>
          </p:spPr>
          <p:txBody>
            <a:bodyPr vert="horz" wrap="square" lIns="91392" tIns="45696" rIns="91392" bIns="45696" numCol="1" anchor="t" anchorCtr="0" compatLnSpc="1">
              <a:prstTxWarp prst="textNoShape">
                <a:avLst/>
              </a:prstTxWarp>
            </a:bodyPr>
            <a:lstStyle/>
            <a:p>
              <a:endParaRPr lang="en-US" sz="1799" dirty="0"/>
            </a:p>
          </p:txBody>
        </p:sp>
        <p:sp>
          <p:nvSpPr>
            <p:cNvPr id="102" name="Oval 50"/>
            <p:cNvSpPr>
              <a:spLocks noChangeAspect="1" noChangeArrowheads="1"/>
            </p:cNvSpPr>
            <p:nvPr>
              <p:custDataLst>
                <p:tags r:id="rId4"/>
              </p:custDataLst>
            </p:nvPr>
          </p:nvSpPr>
          <p:spPr bwMode="auto">
            <a:xfrm>
              <a:off x="8535699" y="4041547"/>
              <a:ext cx="288000" cy="288000"/>
            </a:xfrm>
            <a:prstGeom prst="ellipse">
              <a:avLst/>
            </a:prstGeom>
            <a:solidFill>
              <a:schemeClr val="accent1"/>
            </a:solidFill>
            <a:ln w="9525">
              <a:solidFill>
                <a:schemeClr val="accent1"/>
              </a:solidFill>
              <a:round/>
              <a:headEnd/>
              <a:tailEnd/>
            </a:ln>
            <a:effectLst/>
          </p:spPr>
          <p:txBody>
            <a:bodyPr wrap="none" anchor="ctr"/>
            <a:lstStyle/>
            <a:p>
              <a:endParaRPr lang="en-US" sz="1799" dirty="0"/>
            </a:p>
          </p:txBody>
        </p:sp>
      </p:grpSp>
      <p:grpSp>
        <p:nvGrpSpPr>
          <p:cNvPr id="2" name="Group 1">
            <a:extLst>
              <a:ext uri="{FF2B5EF4-FFF2-40B4-BE49-F238E27FC236}">
                <a16:creationId xmlns:a16="http://schemas.microsoft.com/office/drawing/2014/main" id="{E9AD8122-F5A6-4269-BDD1-7822D30E6074}"/>
              </a:ext>
            </a:extLst>
          </p:cNvPr>
          <p:cNvGrpSpPr/>
          <p:nvPr/>
        </p:nvGrpSpPr>
        <p:grpSpPr>
          <a:xfrm>
            <a:off x="410400" y="5878800"/>
            <a:ext cx="9286327" cy="289442"/>
            <a:chOff x="624541" y="5657372"/>
            <a:chExt cx="9291164" cy="289593"/>
          </a:xfrm>
        </p:grpSpPr>
        <p:grpSp>
          <p:nvGrpSpPr>
            <p:cNvPr id="17" name="Group 16"/>
            <p:cNvGrpSpPr/>
            <p:nvPr/>
          </p:nvGrpSpPr>
          <p:grpSpPr>
            <a:xfrm>
              <a:off x="8595213" y="5657372"/>
              <a:ext cx="1320492" cy="288000"/>
              <a:chOff x="8307173" y="5682571"/>
              <a:chExt cx="1320492" cy="288000"/>
            </a:xfrm>
          </p:grpSpPr>
          <p:sp>
            <p:nvSpPr>
              <p:cNvPr id="132" name="Rectangle 131"/>
              <p:cNvSpPr/>
              <p:nvPr/>
            </p:nvSpPr>
            <p:spPr>
              <a:xfrm>
                <a:off x="8595172" y="5682571"/>
                <a:ext cx="1032493" cy="288000"/>
              </a:xfrm>
              <a:prstGeom prst="rect">
                <a:avLst/>
              </a:prstGeom>
            </p:spPr>
            <p:txBody>
              <a:bodyPr wrap="none" lIns="71963" tIns="0" rIns="0" bIns="0" anchor="ctr">
                <a:noAutofit/>
              </a:bodyPr>
              <a:lstStyle/>
              <a:p>
                <a:r>
                  <a:rPr lang="en-US" sz="1199" dirty="0">
                    <a:solidFill>
                      <a:srgbClr val="66667E"/>
                    </a:solidFill>
                  </a:rPr>
                  <a:t>Unsuccessful</a:t>
                </a:r>
              </a:p>
            </p:txBody>
          </p:sp>
          <p:grpSp>
            <p:nvGrpSpPr>
              <p:cNvPr id="103" name="Group 102"/>
              <p:cNvGrpSpPr/>
              <p:nvPr/>
            </p:nvGrpSpPr>
            <p:grpSpPr>
              <a:xfrm>
                <a:off x="8307173" y="5682571"/>
                <a:ext cx="288000" cy="288000"/>
                <a:chOff x="8382541" y="1511999"/>
                <a:chExt cx="450000" cy="450001"/>
              </a:xfrm>
            </p:grpSpPr>
            <p:sp>
              <p:nvSpPr>
                <p:cNvPr id="104" name="Rectangle 111"/>
                <p:cNvSpPr>
                  <a:spLocks noChangeArrowheads="1"/>
                </p:cNvSpPr>
                <p:nvPr/>
              </p:nvSpPr>
              <p:spPr bwMode="auto">
                <a:xfrm rot="16200000">
                  <a:off x="8382540" y="1512000"/>
                  <a:ext cx="450001" cy="450000"/>
                </a:xfrm>
                <a:prstGeom prst="rect">
                  <a:avLst/>
                </a:prstGeom>
                <a:noFill/>
                <a:ln>
                  <a:noFill/>
                </a:ln>
              </p:spPr>
              <p:txBody>
                <a:bodyPr vert="horz" wrap="square" lIns="91392" tIns="45696" rIns="91392" bIns="45696" numCol="1" anchor="t" anchorCtr="0" compatLnSpc="1">
                  <a:prstTxWarp prst="textNoShape">
                    <a:avLst/>
                  </a:prstTxWarp>
                </a:bodyPr>
                <a:lstStyle/>
                <a:p>
                  <a:endParaRPr lang="en-US" sz="1799" dirty="0"/>
                </a:p>
              </p:txBody>
            </p:sp>
            <p:sp>
              <p:nvSpPr>
                <p:cNvPr id="105" name="Oval 54"/>
                <p:cNvSpPr>
                  <a:spLocks noChangeAspect="1" noChangeArrowheads="1"/>
                </p:cNvSpPr>
                <p:nvPr>
                  <p:custDataLst>
                    <p:tags r:id="rId3"/>
                  </p:custDataLst>
                </p:nvPr>
              </p:nvSpPr>
              <p:spPr bwMode="auto">
                <a:xfrm>
                  <a:off x="8463540" y="1593000"/>
                  <a:ext cx="288000" cy="288000"/>
                </a:xfrm>
                <a:prstGeom prst="ellipse">
                  <a:avLst/>
                </a:prstGeom>
                <a:noFill/>
                <a:ln w="9525">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99" dirty="0"/>
                </a:p>
              </p:txBody>
            </p:sp>
          </p:grpSp>
        </p:grpSp>
        <p:grpSp>
          <p:nvGrpSpPr>
            <p:cNvPr id="15" name="Group 14"/>
            <p:cNvGrpSpPr/>
            <p:nvPr/>
          </p:nvGrpSpPr>
          <p:grpSpPr>
            <a:xfrm>
              <a:off x="4295313" y="5657376"/>
              <a:ext cx="1553219" cy="289589"/>
              <a:chOff x="4183998" y="5682575"/>
              <a:chExt cx="1553219" cy="289589"/>
            </a:xfrm>
          </p:grpSpPr>
          <p:sp>
            <p:nvSpPr>
              <p:cNvPr id="121" name="Rectangle 120"/>
              <p:cNvSpPr/>
              <p:nvPr/>
            </p:nvSpPr>
            <p:spPr>
              <a:xfrm>
                <a:off x="4477217" y="5684164"/>
                <a:ext cx="1260000" cy="288000"/>
              </a:xfrm>
              <a:prstGeom prst="rect">
                <a:avLst/>
              </a:prstGeom>
            </p:spPr>
            <p:txBody>
              <a:bodyPr wrap="none" lIns="71963" tIns="0" rIns="0" bIns="0" anchor="ctr">
                <a:noAutofit/>
              </a:bodyPr>
              <a:lstStyle/>
              <a:p>
                <a:r>
                  <a:rPr lang="en-US" sz="1199" dirty="0">
                    <a:solidFill>
                      <a:srgbClr val="66667E"/>
                    </a:solidFill>
                  </a:rPr>
                  <a:t>Partial successful</a:t>
                </a:r>
              </a:p>
            </p:txBody>
          </p:sp>
          <p:grpSp>
            <p:nvGrpSpPr>
              <p:cNvPr id="106" name="Group 105"/>
              <p:cNvGrpSpPr/>
              <p:nvPr/>
            </p:nvGrpSpPr>
            <p:grpSpPr>
              <a:xfrm>
                <a:off x="4183998" y="5682575"/>
                <a:ext cx="288000" cy="288001"/>
                <a:chOff x="8382542" y="1511999"/>
                <a:chExt cx="450000" cy="450001"/>
              </a:xfrm>
            </p:grpSpPr>
            <p:sp>
              <p:nvSpPr>
                <p:cNvPr id="107" name="Rectangle 111"/>
                <p:cNvSpPr>
                  <a:spLocks noChangeArrowheads="1"/>
                </p:cNvSpPr>
                <p:nvPr/>
              </p:nvSpPr>
              <p:spPr bwMode="auto">
                <a:xfrm rot="16200000">
                  <a:off x="8382541" y="1512000"/>
                  <a:ext cx="450001" cy="450000"/>
                </a:xfrm>
                <a:prstGeom prst="rect">
                  <a:avLst/>
                </a:prstGeom>
                <a:noFill/>
                <a:ln>
                  <a:noFill/>
                </a:ln>
              </p:spPr>
              <p:txBody>
                <a:bodyPr vert="horz" wrap="square" lIns="91392" tIns="45696" rIns="91392" bIns="45696" numCol="1" anchor="t" anchorCtr="0" compatLnSpc="1">
                  <a:prstTxWarp prst="textNoShape">
                    <a:avLst/>
                  </a:prstTxWarp>
                </a:bodyPr>
                <a:lstStyle/>
                <a:p>
                  <a:endParaRPr lang="en-US" sz="1799" dirty="0"/>
                </a:p>
              </p:txBody>
            </p:sp>
            <p:grpSp>
              <p:nvGrpSpPr>
                <p:cNvPr id="108" name="Group 107"/>
                <p:cNvGrpSpPr>
                  <a:grpSpLocks noChangeAspect="1"/>
                </p:cNvGrpSpPr>
                <p:nvPr/>
              </p:nvGrpSpPr>
              <p:grpSpPr>
                <a:xfrm>
                  <a:off x="8459706" y="1593000"/>
                  <a:ext cx="295670" cy="288000"/>
                  <a:chOff x="11042463" y="2152800"/>
                  <a:chExt cx="295670" cy="288000"/>
                </a:xfrm>
              </p:grpSpPr>
              <p:sp>
                <p:nvSpPr>
                  <p:cNvPr id="109" name="Oval 58"/>
                  <p:cNvSpPr>
                    <a:spLocks noChangeArrowheads="1"/>
                  </p:cNvSpPr>
                  <p:nvPr/>
                </p:nvSpPr>
                <p:spPr bwMode="auto">
                  <a:xfrm>
                    <a:off x="11042463" y="2152800"/>
                    <a:ext cx="288000" cy="288000"/>
                  </a:xfrm>
                  <a:prstGeom prst="ellipse">
                    <a:avLst/>
                  </a:prstGeom>
                  <a:noFill/>
                  <a:ln w="9525">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99" dirty="0"/>
                  </a:p>
                </p:txBody>
              </p:sp>
              <p:sp>
                <p:nvSpPr>
                  <p:cNvPr id="115" name="Arc 59"/>
                  <p:cNvSpPr>
                    <a:spLocks/>
                  </p:cNvSpPr>
                  <p:nvPr/>
                </p:nvSpPr>
                <p:spPr bwMode="auto">
                  <a:xfrm>
                    <a:off x="11194133" y="2152800"/>
                    <a:ext cx="144000" cy="288000"/>
                  </a:xfrm>
                  <a:custGeom>
                    <a:avLst/>
                    <a:gdLst>
                      <a:gd name="T0" fmla="*/ 0 w 21621"/>
                      <a:gd name="T1" fmla="*/ 0 h 43200"/>
                      <a:gd name="T2" fmla="*/ 0 w 21621"/>
                      <a:gd name="T3" fmla="*/ 136 h 43200"/>
                      <a:gd name="T4" fmla="*/ 0 w 21621"/>
                      <a:gd name="T5" fmla="*/ 68 h 43200"/>
                      <a:gd name="T6" fmla="*/ 0 60000 65536"/>
                      <a:gd name="T7" fmla="*/ 0 60000 65536"/>
                      <a:gd name="T8" fmla="*/ 0 60000 65536"/>
                    </a:gdLst>
                    <a:ahLst/>
                    <a:cxnLst>
                      <a:cxn ang="T6">
                        <a:pos x="T0" y="T1"/>
                      </a:cxn>
                      <a:cxn ang="T7">
                        <a:pos x="T2" y="T3"/>
                      </a:cxn>
                      <a:cxn ang="T8">
                        <a:pos x="T4" y="T5"/>
                      </a:cxn>
                    </a:cxnLst>
                    <a:rect l="0" t="0" r="r" b="b"/>
                    <a:pathLst>
                      <a:path w="21621" h="43200" fill="none" extrusionOk="0">
                        <a:moveTo>
                          <a:pt x="0" y="0"/>
                        </a:moveTo>
                        <a:cubicBezTo>
                          <a:pt x="7" y="0"/>
                          <a:pt x="14" y="-1"/>
                          <a:pt x="21" y="0"/>
                        </a:cubicBezTo>
                        <a:cubicBezTo>
                          <a:pt x="11950" y="0"/>
                          <a:pt x="21621" y="9670"/>
                          <a:pt x="21621" y="21600"/>
                        </a:cubicBezTo>
                        <a:cubicBezTo>
                          <a:pt x="21621" y="33514"/>
                          <a:pt x="11973" y="43179"/>
                          <a:pt x="58" y="43199"/>
                        </a:cubicBezTo>
                      </a:path>
                      <a:path w="21621" h="43200" stroke="0" extrusionOk="0">
                        <a:moveTo>
                          <a:pt x="0" y="0"/>
                        </a:moveTo>
                        <a:cubicBezTo>
                          <a:pt x="7" y="0"/>
                          <a:pt x="14" y="-1"/>
                          <a:pt x="21" y="0"/>
                        </a:cubicBezTo>
                        <a:cubicBezTo>
                          <a:pt x="11950" y="0"/>
                          <a:pt x="21621" y="9670"/>
                          <a:pt x="21621" y="21600"/>
                        </a:cubicBezTo>
                        <a:cubicBezTo>
                          <a:pt x="21621" y="33514"/>
                          <a:pt x="11973" y="43179"/>
                          <a:pt x="58" y="43199"/>
                        </a:cubicBezTo>
                        <a:lnTo>
                          <a:pt x="21" y="21600"/>
                        </a:lnTo>
                        <a:lnTo>
                          <a:pt x="0" y="0"/>
                        </a:lnTo>
                        <a:close/>
                      </a:path>
                    </a:pathLst>
                  </a:custGeom>
                  <a:solidFill>
                    <a:schemeClr val="accent1"/>
                  </a:solidFill>
                  <a:ln w="9525">
                    <a:solidFill>
                      <a:schemeClr val="accent1"/>
                    </a:solidFill>
                    <a:round/>
                    <a:headEnd/>
                    <a:tailEnd/>
                  </a:ln>
                </p:spPr>
                <p:txBody>
                  <a:bodyPr/>
                  <a:lstStyle/>
                  <a:p>
                    <a:endParaRPr lang="en-US" sz="1799" dirty="0"/>
                  </a:p>
                </p:txBody>
              </p:sp>
            </p:grpSp>
          </p:grpSp>
        </p:grpSp>
        <p:grpSp>
          <p:nvGrpSpPr>
            <p:cNvPr id="18" name="Group 17"/>
            <p:cNvGrpSpPr/>
            <p:nvPr/>
          </p:nvGrpSpPr>
          <p:grpSpPr>
            <a:xfrm>
              <a:off x="2287921" y="5657372"/>
              <a:ext cx="1518515" cy="289593"/>
              <a:chOff x="2214780" y="5682571"/>
              <a:chExt cx="1518515" cy="289593"/>
            </a:xfrm>
          </p:grpSpPr>
          <p:sp>
            <p:nvSpPr>
              <p:cNvPr id="110" name="Rectangle 109"/>
              <p:cNvSpPr/>
              <p:nvPr/>
            </p:nvSpPr>
            <p:spPr>
              <a:xfrm>
                <a:off x="2502882" y="5684164"/>
                <a:ext cx="1230413" cy="288000"/>
              </a:xfrm>
              <a:prstGeom prst="rect">
                <a:avLst/>
              </a:prstGeom>
            </p:spPr>
            <p:txBody>
              <a:bodyPr wrap="none" lIns="71963" tIns="0" rIns="0" bIns="0" anchor="ctr">
                <a:noAutofit/>
              </a:bodyPr>
              <a:lstStyle/>
              <a:p>
                <a:r>
                  <a:rPr lang="en-US" sz="1199" dirty="0">
                    <a:solidFill>
                      <a:srgbClr val="66667E"/>
                    </a:solidFill>
                  </a:rPr>
                  <a:t>Mostly successful</a:t>
                </a:r>
              </a:p>
            </p:txBody>
          </p:sp>
          <p:grpSp>
            <p:nvGrpSpPr>
              <p:cNvPr id="120" name="Group 119"/>
              <p:cNvGrpSpPr/>
              <p:nvPr/>
            </p:nvGrpSpPr>
            <p:grpSpPr>
              <a:xfrm>
                <a:off x="2214780" y="5682571"/>
                <a:ext cx="288000" cy="288000"/>
                <a:chOff x="8382541" y="2700197"/>
                <a:chExt cx="450000" cy="449999"/>
              </a:xfrm>
            </p:grpSpPr>
            <p:sp>
              <p:nvSpPr>
                <p:cNvPr id="125" name="Rectangle 116"/>
                <p:cNvSpPr>
                  <a:spLocks noChangeArrowheads="1"/>
                </p:cNvSpPr>
                <p:nvPr/>
              </p:nvSpPr>
              <p:spPr bwMode="auto">
                <a:xfrm>
                  <a:off x="8382541" y="2700197"/>
                  <a:ext cx="450000" cy="449999"/>
                </a:xfrm>
                <a:prstGeom prst="rect">
                  <a:avLst/>
                </a:prstGeom>
                <a:noFill/>
                <a:ln>
                  <a:noFill/>
                </a:ln>
              </p:spPr>
              <p:txBody>
                <a:bodyPr vert="horz" wrap="square" lIns="91392" tIns="45696" rIns="91392" bIns="45696" numCol="1" anchor="t" anchorCtr="0" compatLnSpc="1">
                  <a:prstTxWarp prst="textNoShape">
                    <a:avLst/>
                  </a:prstTxWarp>
                </a:bodyPr>
                <a:lstStyle/>
                <a:p>
                  <a:endParaRPr lang="en-US" sz="1799" dirty="0"/>
                </a:p>
              </p:txBody>
            </p:sp>
            <p:grpSp>
              <p:nvGrpSpPr>
                <p:cNvPr id="131" name="Group 130"/>
                <p:cNvGrpSpPr>
                  <a:grpSpLocks noChangeAspect="1"/>
                </p:cNvGrpSpPr>
                <p:nvPr/>
              </p:nvGrpSpPr>
              <p:grpSpPr>
                <a:xfrm>
                  <a:off x="8463541" y="2781196"/>
                  <a:ext cx="288000" cy="288000"/>
                  <a:chOff x="11044645" y="3344400"/>
                  <a:chExt cx="298974" cy="303339"/>
                </a:xfrm>
              </p:grpSpPr>
              <p:sp>
                <p:nvSpPr>
                  <p:cNvPr id="153" name="Oval 61"/>
                  <p:cNvSpPr>
                    <a:spLocks noChangeArrowheads="1"/>
                  </p:cNvSpPr>
                  <p:nvPr/>
                </p:nvSpPr>
                <p:spPr bwMode="auto">
                  <a:xfrm>
                    <a:off x="11044645" y="3344400"/>
                    <a:ext cx="298974" cy="303339"/>
                  </a:xfrm>
                  <a:prstGeom prst="ellipse">
                    <a:avLst/>
                  </a:prstGeom>
                  <a:noFill/>
                  <a:ln w="9525">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99" dirty="0"/>
                  </a:p>
                </p:txBody>
              </p:sp>
              <p:sp>
                <p:nvSpPr>
                  <p:cNvPr id="154" name="Arc 62"/>
                  <p:cNvSpPr>
                    <a:spLocks/>
                  </p:cNvSpPr>
                  <p:nvPr/>
                </p:nvSpPr>
                <p:spPr bwMode="auto">
                  <a:xfrm>
                    <a:off x="11046827" y="3344400"/>
                    <a:ext cx="296792" cy="303339"/>
                  </a:xfrm>
                  <a:custGeom>
                    <a:avLst/>
                    <a:gdLst>
                      <a:gd name="T0" fmla="*/ 68 w 43200"/>
                      <a:gd name="T1" fmla="*/ 0 h 43200"/>
                      <a:gd name="T2" fmla="*/ 0 w 43200"/>
                      <a:gd name="T3" fmla="*/ 68 h 43200"/>
                      <a:gd name="T4" fmla="*/ 68 w 43200"/>
                      <a:gd name="T5" fmla="*/ 68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79" y="0"/>
                        </a:moveTo>
                        <a:cubicBezTo>
                          <a:pt x="21586" y="0"/>
                          <a:pt x="21593" y="-1"/>
                          <a:pt x="21600" y="0"/>
                        </a:cubicBez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79" y="0"/>
                        </a:moveTo>
                        <a:cubicBezTo>
                          <a:pt x="21586" y="0"/>
                          <a:pt x="21593" y="-1"/>
                          <a:pt x="21600" y="0"/>
                        </a:cubicBezTo>
                        <a:cubicBezTo>
                          <a:pt x="33529" y="0"/>
                          <a:pt x="43200" y="9670"/>
                          <a:pt x="43200" y="21600"/>
                        </a:cubicBezTo>
                        <a:cubicBezTo>
                          <a:pt x="43200" y="33529"/>
                          <a:pt x="33529" y="43200"/>
                          <a:pt x="21600" y="43200"/>
                        </a:cubicBezTo>
                        <a:cubicBezTo>
                          <a:pt x="9670" y="43200"/>
                          <a:pt x="0" y="33529"/>
                          <a:pt x="0" y="21600"/>
                        </a:cubicBezTo>
                        <a:lnTo>
                          <a:pt x="21600" y="21600"/>
                        </a:lnTo>
                        <a:lnTo>
                          <a:pt x="21579" y="0"/>
                        </a:lnTo>
                        <a:close/>
                      </a:path>
                    </a:pathLst>
                  </a:custGeom>
                  <a:solidFill>
                    <a:schemeClr val="accent1"/>
                  </a:solidFill>
                  <a:ln w="9525">
                    <a:solidFill>
                      <a:schemeClr val="accent1"/>
                    </a:solidFill>
                    <a:round/>
                    <a:headEnd/>
                    <a:tailEnd/>
                  </a:ln>
                </p:spPr>
                <p:txBody>
                  <a:bodyPr/>
                  <a:lstStyle/>
                  <a:p>
                    <a:endParaRPr lang="en-US" sz="1799" dirty="0"/>
                  </a:p>
                </p:txBody>
              </p:sp>
            </p:grpSp>
          </p:grpSp>
        </p:grpSp>
        <p:grpSp>
          <p:nvGrpSpPr>
            <p:cNvPr id="19" name="Group 18"/>
            <p:cNvGrpSpPr/>
            <p:nvPr/>
          </p:nvGrpSpPr>
          <p:grpSpPr>
            <a:xfrm>
              <a:off x="624541" y="5657372"/>
              <a:ext cx="1174503" cy="288000"/>
              <a:chOff x="624541" y="5682571"/>
              <a:chExt cx="1174503" cy="288000"/>
            </a:xfrm>
          </p:grpSpPr>
          <p:sp>
            <p:nvSpPr>
              <p:cNvPr id="116" name="Rectangle 115"/>
              <p:cNvSpPr/>
              <p:nvPr/>
            </p:nvSpPr>
            <p:spPr>
              <a:xfrm>
                <a:off x="917296" y="5682571"/>
                <a:ext cx="881748" cy="288000"/>
              </a:xfrm>
              <a:prstGeom prst="rect">
                <a:avLst/>
              </a:prstGeom>
            </p:spPr>
            <p:txBody>
              <a:bodyPr wrap="none" lIns="71963" tIns="0" rIns="0" bIns="0" anchor="ctr">
                <a:noAutofit/>
              </a:bodyPr>
              <a:lstStyle/>
              <a:p>
                <a:r>
                  <a:rPr lang="en-US" sz="1199" dirty="0">
                    <a:solidFill>
                      <a:srgbClr val="66667E"/>
                    </a:solidFill>
                  </a:rPr>
                  <a:t>Successful</a:t>
                </a:r>
              </a:p>
            </p:txBody>
          </p:sp>
          <p:grpSp>
            <p:nvGrpSpPr>
              <p:cNvPr id="163" name="Group 162"/>
              <p:cNvGrpSpPr/>
              <p:nvPr/>
            </p:nvGrpSpPr>
            <p:grpSpPr>
              <a:xfrm>
                <a:off x="624541" y="5682571"/>
                <a:ext cx="288000" cy="288000"/>
                <a:chOff x="8382545" y="3888393"/>
                <a:chExt cx="450001" cy="450001"/>
              </a:xfrm>
            </p:grpSpPr>
            <p:sp>
              <p:nvSpPr>
                <p:cNvPr id="164" name="Rectangle 111"/>
                <p:cNvSpPr>
                  <a:spLocks noChangeArrowheads="1"/>
                </p:cNvSpPr>
                <p:nvPr/>
              </p:nvSpPr>
              <p:spPr bwMode="auto">
                <a:xfrm rot="5400000" flipV="1">
                  <a:off x="8382545" y="3888393"/>
                  <a:ext cx="450001" cy="450001"/>
                </a:xfrm>
                <a:prstGeom prst="rect">
                  <a:avLst/>
                </a:prstGeom>
                <a:noFill/>
                <a:ln>
                  <a:noFill/>
                </a:ln>
              </p:spPr>
              <p:txBody>
                <a:bodyPr vert="horz" wrap="square" lIns="91392" tIns="45696" rIns="91392" bIns="45696" numCol="1" anchor="t" anchorCtr="0" compatLnSpc="1">
                  <a:prstTxWarp prst="textNoShape">
                    <a:avLst/>
                  </a:prstTxWarp>
                </a:bodyPr>
                <a:lstStyle/>
                <a:p>
                  <a:endParaRPr lang="en-US" sz="1799" dirty="0"/>
                </a:p>
              </p:txBody>
            </p:sp>
            <p:sp>
              <p:nvSpPr>
                <p:cNvPr id="165" name="Oval 50"/>
                <p:cNvSpPr>
                  <a:spLocks noChangeAspect="1" noChangeArrowheads="1"/>
                </p:cNvSpPr>
                <p:nvPr>
                  <p:custDataLst>
                    <p:tags r:id="rId2"/>
                  </p:custDataLst>
                </p:nvPr>
              </p:nvSpPr>
              <p:spPr bwMode="auto">
                <a:xfrm>
                  <a:off x="8463545" y="3969393"/>
                  <a:ext cx="288000" cy="288000"/>
                </a:xfrm>
                <a:prstGeom prst="ellipse">
                  <a:avLst/>
                </a:prstGeom>
                <a:solidFill>
                  <a:schemeClr val="accent1"/>
                </a:solidFill>
                <a:ln w="9525">
                  <a:solidFill>
                    <a:schemeClr val="accent1"/>
                  </a:solidFill>
                  <a:round/>
                  <a:headEnd/>
                  <a:tailEnd/>
                </a:ln>
                <a:effectLst/>
              </p:spPr>
              <p:txBody>
                <a:bodyPr wrap="none" anchor="ctr"/>
                <a:lstStyle/>
                <a:p>
                  <a:endParaRPr lang="en-US" sz="1799" dirty="0"/>
                </a:p>
              </p:txBody>
            </p:sp>
          </p:grpSp>
        </p:grpSp>
        <p:grpSp>
          <p:nvGrpSpPr>
            <p:cNvPr id="16" name="Group 15"/>
            <p:cNvGrpSpPr/>
            <p:nvPr/>
          </p:nvGrpSpPr>
          <p:grpSpPr>
            <a:xfrm>
              <a:off x="6331794" y="5657372"/>
              <a:ext cx="1774544" cy="289593"/>
              <a:chOff x="6071410" y="5682571"/>
              <a:chExt cx="1774544" cy="289593"/>
            </a:xfrm>
          </p:grpSpPr>
          <p:sp>
            <p:nvSpPr>
              <p:cNvPr id="126" name="Rectangle 125"/>
              <p:cNvSpPr/>
              <p:nvPr/>
            </p:nvSpPr>
            <p:spPr>
              <a:xfrm>
                <a:off x="6359410" y="5684164"/>
                <a:ext cx="1486544" cy="288000"/>
              </a:xfrm>
              <a:prstGeom prst="rect">
                <a:avLst/>
              </a:prstGeom>
            </p:spPr>
            <p:txBody>
              <a:bodyPr wrap="none" lIns="71963" tIns="0" rIns="0" bIns="0" anchor="ctr">
                <a:noAutofit/>
              </a:bodyPr>
              <a:lstStyle/>
              <a:p>
                <a:r>
                  <a:rPr lang="en-US" sz="1199" dirty="0">
                    <a:solidFill>
                      <a:srgbClr val="66667E"/>
                    </a:solidFill>
                  </a:rPr>
                  <a:t>Mostly unsuccessful</a:t>
                </a:r>
              </a:p>
            </p:txBody>
          </p:sp>
          <p:grpSp>
            <p:nvGrpSpPr>
              <p:cNvPr id="166" name="Group 165"/>
              <p:cNvGrpSpPr/>
              <p:nvPr/>
            </p:nvGrpSpPr>
            <p:grpSpPr>
              <a:xfrm>
                <a:off x="6071410" y="5682571"/>
                <a:ext cx="288000" cy="288000"/>
                <a:chOff x="8381552" y="2105604"/>
                <a:chExt cx="450989" cy="450989"/>
              </a:xfrm>
            </p:grpSpPr>
            <p:sp>
              <p:nvSpPr>
                <p:cNvPr id="167" name="Rectangle 191"/>
                <p:cNvSpPr>
                  <a:spLocks noChangeArrowheads="1"/>
                </p:cNvSpPr>
                <p:nvPr/>
              </p:nvSpPr>
              <p:spPr bwMode="auto">
                <a:xfrm>
                  <a:off x="8381552" y="2105604"/>
                  <a:ext cx="450989" cy="450989"/>
                </a:xfrm>
                <a:prstGeom prst="rect">
                  <a:avLst/>
                </a:prstGeom>
                <a:noFill/>
                <a:ln>
                  <a:noFill/>
                </a:ln>
              </p:spPr>
              <p:txBody>
                <a:bodyPr vert="horz" wrap="square" lIns="91392" tIns="45696" rIns="91392" bIns="45696" numCol="1" anchor="t" anchorCtr="0" compatLnSpc="1">
                  <a:prstTxWarp prst="textNoShape">
                    <a:avLst/>
                  </a:prstTxWarp>
                </a:bodyPr>
                <a:lstStyle/>
                <a:p>
                  <a:endParaRPr lang="en-US" sz="1799" dirty="0"/>
                </a:p>
              </p:txBody>
            </p:sp>
            <p:grpSp>
              <p:nvGrpSpPr>
                <p:cNvPr id="168" name="Group 167"/>
                <p:cNvGrpSpPr>
                  <a:grpSpLocks noChangeAspect="1"/>
                </p:cNvGrpSpPr>
                <p:nvPr/>
              </p:nvGrpSpPr>
              <p:grpSpPr>
                <a:xfrm>
                  <a:off x="8463046" y="2187098"/>
                  <a:ext cx="288000" cy="288000"/>
                  <a:chOff x="11042463" y="2750400"/>
                  <a:chExt cx="303339" cy="303339"/>
                </a:xfrm>
              </p:grpSpPr>
              <p:sp>
                <p:nvSpPr>
                  <p:cNvPr id="169" name="Oval 52"/>
                  <p:cNvSpPr>
                    <a:spLocks noChangeArrowheads="1"/>
                  </p:cNvSpPr>
                  <p:nvPr/>
                </p:nvSpPr>
                <p:spPr bwMode="auto">
                  <a:xfrm>
                    <a:off x="11042463" y="2750400"/>
                    <a:ext cx="303339" cy="303339"/>
                  </a:xfrm>
                  <a:prstGeom prst="ellipse">
                    <a:avLst/>
                  </a:prstGeom>
                  <a:noFill/>
                  <a:ln w="9525">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99" dirty="0"/>
                  </a:p>
                </p:txBody>
              </p:sp>
              <p:sp>
                <p:nvSpPr>
                  <p:cNvPr id="170" name="Arc 53"/>
                  <p:cNvSpPr>
                    <a:spLocks/>
                  </p:cNvSpPr>
                  <p:nvPr/>
                </p:nvSpPr>
                <p:spPr bwMode="auto">
                  <a:xfrm>
                    <a:off x="11195240" y="2750400"/>
                    <a:ext cx="150562" cy="151670"/>
                  </a:xfrm>
                  <a:custGeom>
                    <a:avLst/>
                    <a:gdLst>
                      <a:gd name="T0" fmla="*/ 0 w 21621"/>
                      <a:gd name="T1" fmla="*/ 0 h 21600"/>
                      <a:gd name="T2" fmla="*/ 68 w 21621"/>
                      <a:gd name="T3" fmla="*/ 68 h 21600"/>
                      <a:gd name="T4" fmla="*/ 0 w 21621"/>
                      <a:gd name="T5" fmla="*/ 68 h 21600"/>
                      <a:gd name="T6" fmla="*/ 0 60000 65536"/>
                      <a:gd name="T7" fmla="*/ 0 60000 65536"/>
                      <a:gd name="T8" fmla="*/ 0 60000 65536"/>
                    </a:gdLst>
                    <a:ahLst/>
                    <a:cxnLst>
                      <a:cxn ang="T6">
                        <a:pos x="T0" y="T1"/>
                      </a:cxn>
                      <a:cxn ang="T7">
                        <a:pos x="T2" y="T3"/>
                      </a:cxn>
                      <a:cxn ang="T8">
                        <a:pos x="T4" y="T5"/>
                      </a:cxn>
                    </a:cxnLst>
                    <a:rect l="0" t="0" r="r" b="b"/>
                    <a:pathLst>
                      <a:path w="21621" h="21600" fill="none" extrusionOk="0">
                        <a:moveTo>
                          <a:pt x="0" y="0"/>
                        </a:moveTo>
                        <a:cubicBezTo>
                          <a:pt x="7" y="0"/>
                          <a:pt x="14" y="-1"/>
                          <a:pt x="21" y="0"/>
                        </a:cubicBezTo>
                        <a:cubicBezTo>
                          <a:pt x="11942" y="0"/>
                          <a:pt x="21609" y="9657"/>
                          <a:pt x="21620" y="21579"/>
                        </a:cubicBezTo>
                      </a:path>
                      <a:path w="21621" h="21600" stroke="0" extrusionOk="0">
                        <a:moveTo>
                          <a:pt x="0" y="0"/>
                        </a:moveTo>
                        <a:cubicBezTo>
                          <a:pt x="7" y="0"/>
                          <a:pt x="14" y="-1"/>
                          <a:pt x="21" y="0"/>
                        </a:cubicBezTo>
                        <a:cubicBezTo>
                          <a:pt x="11942" y="0"/>
                          <a:pt x="21609" y="9657"/>
                          <a:pt x="21620" y="21579"/>
                        </a:cubicBezTo>
                        <a:lnTo>
                          <a:pt x="21" y="21600"/>
                        </a:lnTo>
                        <a:lnTo>
                          <a:pt x="0" y="0"/>
                        </a:lnTo>
                        <a:close/>
                      </a:path>
                    </a:pathLst>
                  </a:custGeom>
                  <a:solidFill>
                    <a:schemeClr val="accent1"/>
                  </a:solidFill>
                  <a:ln w="9525">
                    <a:solidFill>
                      <a:schemeClr val="accent1"/>
                    </a:solidFill>
                    <a:round/>
                    <a:headEnd/>
                    <a:tailEnd/>
                  </a:ln>
                </p:spPr>
                <p:txBody>
                  <a:bodyPr/>
                  <a:lstStyle/>
                  <a:p>
                    <a:endParaRPr lang="en-US" sz="1799" dirty="0"/>
                  </a:p>
                </p:txBody>
              </p:sp>
            </p:grpSp>
          </p:grpSp>
        </p:grpSp>
      </p:grpSp>
      <p:sp>
        <p:nvSpPr>
          <p:cNvPr id="6" name="Footer Placeholder 5">
            <a:extLst>
              <a:ext uri="{FF2B5EF4-FFF2-40B4-BE49-F238E27FC236}">
                <a16:creationId xmlns:a16="http://schemas.microsoft.com/office/drawing/2014/main" id="{4B7F5F73-0932-4EFD-9061-A0592E9AEC44}"/>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9" name="Slide Number Placeholder 8">
            <a:extLst>
              <a:ext uri="{FF2B5EF4-FFF2-40B4-BE49-F238E27FC236}">
                <a16:creationId xmlns:a16="http://schemas.microsoft.com/office/drawing/2014/main" id="{1A6C9FC6-AEC2-4283-A8A5-2955F03E623B}"/>
              </a:ext>
            </a:extLst>
          </p:cNvPr>
          <p:cNvSpPr>
            <a:spLocks noGrp="1"/>
          </p:cNvSpPr>
          <p:nvPr>
            <p:ph type="sldNum" sz="quarter" idx="11"/>
          </p:nvPr>
        </p:nvSpPr>
        <p:spPr/>
        <p:txBody>
          <a:bodyPr/>
          <a:lstStyle/>
          <a:p>
            <a:r>
              <a:rPr lang="en-US" dirty="0"/>
              <a:t>Page </a:t>
            </a:r>
            <a:fld id="{15EBE321-CBB1-4E91-BD14-37C8D44326FB}" type="slidenum">
              <a:rPr lang="en-US" smtClean="0"/>
              <a:pPr/>
              <a:t>58</a:t>
            </a:fld>
            <a:endParaRPr lang="en-US" dirty="0"/>
          </a:p>
        </p:txBody>
      </p:sp>
    </p:spTree>
    <p:extLst>
      <p:ext uri="{BB962C8B-B14F-4D97-AF65-F5344CB8AC3E}">
        <p14:creationId xmlns:p14="http://schemas.microsoft.com/office/powerpoint/2010/main" val="399314609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Tabelle 54"/>
          <p:cNvGraphicFramePr>
            <a:graphicFrameLocks noGrp="1"/>
          </p:cNvGraphicFramePr>
          <p:nvPr>
            <p:extLst>
              <p:ext uri="{D42A27DB-BD31-4B8C-83A1-F6EECF244321}">
                <p14:modId xmlns:p14="http://schemas.microsoft.com/office/powerpoint/2010/main" val="637110080"/>
              </p:ext>
            </p:extLst>
          </p:nvPr>
        </p:nvGraphicFramePr>
        <p:xfrm>
          <a:off x="410400" y="1415848"/>
          <a:ext cx="7776000" cy="3562146"/>
        </p:xfrm>
        <a:graphic>
          <a:graphicData uri="http://schemas.openxmlformats.org/drawingml/2006/table">
            <a:tbl>
              <a:tblPr>
                <a:tableStyleId>{0E3FDE45-AF77-4B5C-9715-49D594BDF05E}</a:tableStyleId>
              </a:tblPr>
              <a:tblGrid>
                <a:gridCol w="7776000">
                  <a:extLst>
                    <a:ext uri="{9D8B030D-6E8A-4147-A177-3AD203B41FA5}">
                      <a16:colId xmlns:a16="http://schemas.microsoft.com/office/drawing/2014/main" val="20002"/>
                    </a:ext>
                  </a:extLst>
                </a:gridCol>
              </a:tblGrid>
              <a:tr h="593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rgbClr val="9999A9"/>
                          </a:solidFill>
                          <a:effectLst/>
                          <a:uLnTx/>
                          <a:uFillTx/>
                        </a:rPr>
                        <a:t>Duis arcu tortor, suscipit eget, imperdiet nec, imperdiet iaculis, ipsum</a:t>
                      </a:r>
                      <a:endParaRPr lang="en-US" sz="1600" noProof="0" dirty="0">
                        <a:solidFill>
                          <a:srgbClr val="9999A9"/>
                        </a:solidFill>
                        <a:latin typeface="+mn-lt"/>
                        <a:ea typeface="Arial Unicode MS"/>
                      </a:endParaRPr>
                    </a:p>
                  </a:txBody>
                  <a:tcPr marL="0" marR="0" marT="71963" marB="71963" anchor="ctr">
                    <a:lnB w="12700" cap="flat" cmpd="sng" algn="ctr">
                      <a:solidFill>
                        <a:srgbClr val="9999A9"/>
                      </a:solidFill>
                      <a:prstDash val="solid"/>
                      <a:round/>
                      <a:headEnd type="none" w="med" len="med"/>
                      <a:tailEnd type="none" w="med" len="med"/>
                    </a:lnB>
                  </a:tcPr>
                </a:tc>
                <a:extLst>
                  <a:ext uri="{0D108BD9-81ED-4DB2-BD59-A6C34878D82A}">
                    <a16:rowId xmlns:a16="http://schemas.microsoft.com/office/drawing/2014/main" val="10001"/>
                  </a:ext>
                </a:extLst>
              </a:tr>
              <a:tr h="593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rgbClr val="9999A9"/>
                          </a:solidFill>
                          <a:effectLst/>
                          <a:uLnTx/>
                          <a:uFillTx/>
                        </a:rPr>
                        <a:t>Phasellus nec sem</a:t>
                      </a:r>
                      <a:endParaRPr lang="en-US" sz="1600" noProof="0" dirty="0">
                        <a:solidFill>
                          <a:srgbClr val="9999A9"/>
                        </a:solidFill>
                        <a:latin typeface="+mn-lt"/>
                        <a:ea typeface="Arial Unicode MS"/>
                      </a:endParaRPr>
                    </a:p>
                  </a:txBody>
                  <a:tcPr marL="0" marR="0"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tcPr>
                </a:tc>
                <a:extLst>
                  <a:ext uri="{0D108BD9-81ED-4DB2-BD59-A6C34878D82A}">
                    <a16:rowId xmlns:a16="http://schemas.microsoft.com/office/drawing/2014/main" val="10002"/>
                  </a:ext>
                </a:extLst>
              </a:tr>
              <a:tr h="593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rgbClr val="9999A9"/>
                          </a:solidFill>
                          <a:effectLst/>
                          <a:uLnTx/>
                          <a:uFillTx/>
                        </a:rPr>
                        <a:t>At vero eos et accusam</a:t>
                      </a:r>
                      <a:endParaRPr lang="en-US" sz="1600" noProof="0" dirty="0">
                        <a:solidFill>
                          <a:srgbClr val="9999A9"/>
                        </a:solidFill>
                        <a:latin typeface="+mn-lt"/>
                        <a:ea typeface="Arial Unicode MS"/>
                      </a:endParaRPr>
                    </a:p>
                  </a:txBody>
                  <a:tcPr marL="0" marR="0"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tcPr>
                </a:tc>
                <a:extLst>
                  <a:ext uri="{0D108BD9-81ED-4DB2-BD59-A6C34878D82A}">
                    <a16:rowId xmlns:a16="http://schemas.microsoft.com/office/drawing/2014/main" val="10003"/>
                  </a:ext>
                </a:extLst>
              </a:tr>
              <a:tr h="593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s-ES" sz="1600" u="none" strike="noStrike" kern="1200" cap="none" spc="0" normalizeH="0" baseline="0" noProof="0" dirty="0">
                          <a:ln>
                            <a:noFill/>
                          </a:ln>
                          <a:solidFill>
                            <a:srgbClr val="9999A9"/>
                          </a:solidFill>
                          <a:effectLst/>
                          <a:uLnTx/>
                          <a:uFillTx/>
                        </a:rPr>
                        <a:t>Duis arcu tortor, suscipit eget</a:t>
                      </a:r>
                      <a:endParaRPr lang="en-US" sz="1600" noProof="0" dirty="0">
                        <a:solidFill>
                          <a:srgbClr val="9999A9"/>
                        </a:solidFill>
                        <a:latin typeface="+mn-lt"/>
                        <a:ea typeface="Arial Unicode MS"/>
                      </a:endParaRPr>
                    </a:p>
                  </a:txBody>
                  <a:tcPr marL="0" marR="0"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tcPr>
                </a:tc>
                <a:extLst>
                  <a:ext uri="{0D108BD9-81ED-4DB2-BD59-A6C34878D82A}">
                    <a16:rowId xmlns:a16="http://schemas.microsoft.com/office/drawing/2014/main" val="10004"/>
                  </a:ext>
                </a:extLst>
              </a:tr>
              <a:tr h="593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rgbClr val="9999A9"/>
                          </a:solidFill>
                          <a:effectLst/>
                          <a:uLnTx/>
                          <a:uFillTx/>
                        </a:rPr>
                        <a:t>Cras ultricies mi eu</a:t>
                      </a:r>
                      <a:endParaRPr lang="en-US" sz="1600" noProof="0" dirty="0">
                        <a:solidFill>
                          <a:srgbClr val="9999A9"/>
                        </a:solidFill>
                        <a:latin typeface="+mn-lt"/>
                        <a:ea typeface="Arial Unicode MS"/>
                      </a:endParaRPr>
                    </a:p>
                  </a:txBody>
                  <a:tcPr marL="0" marR="0"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tcPr>
                </a:tc>
                <a:extLst>
                  <a:ext uri="{0D108BD9-81ED-4DB2-BD59-A6C34878D82A}">
                    <a16:rowId xmlns:a16="http://schemas.microsoft.com/office/drawing/2014/main" val="2514599482"/>
                  </a:ext>
                </a:extLst>
              </a:tr>
              <a:tr h="593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rgbClr val="9999A9"/>
                          </a:solidFill>
                          <a:effectLst/>
                          <a:uLnTx/>
                          <a:uFillTx/>
                        </a:rPr>
                        <a:t>Phasellus nec sem</a:t>
                      </a:r>
                      <a:endParaRPr lang="en-US" sz="1600" noProof="0" dirty="0">
                        <a:solidFill>
                          <a:srgbClr val="9999A9"/>
                        </a:solidFill>
                        <a:latin typeface="+mn-lt"/>
                        <a:ea typeface="Arial Unicode MS"/>
                      </a:endParaRPr>
                    </a:p>
                  </a:txBody>
                  <a:tcPr marL="0" marR="0" marT="71963" marB="71963" anchor="ctr">
                    <a:lnT w="12700" cap="flat" cmpd="sng" algn="ctr">
                      <a:solidFill>
                        <a:srgbClr val="9999A9"/>
                      </a:solidFill>
                      <a:prstDash val="solid"/>
                      <a:round/>
                      <a:headEnd type="none" w="med" len="med"/>
                      <a:tailEnd type="none" w="med" len="med"/>
                    </a:lnT>
                    <a:lnB w="12700" cap="flat" cmpd="sng" algn="ctr">
                      <a:solidFill>
                        <a:srgbClr val="9999A9"/>
                      </a:solidFill>
                      <a:prstDash val="solid"/>
                      <a:round/>
                      <a:headEnd type="none" w="med" len="med"/>
                      <a:tailEnd type="none" w="med" len="med"/>
                    </a:lnB>
                  </a:tcPr>
                </a:tc>
                <a:extLst>
                  <a:ext uri="{0D108BD9-81ED-4DB2-BD59-A6C34878D82A}">
                    <a16:rowId xmlns:a16="http://schemas.microsoft.com/office/drawing/2014/main" val="1237210138"/>
                  </a:ext>
                </a:extLst>
              </a:tr>
            </a:tbl>
          </a:graphicData>
        </a:graphic>
      </p:graphicFrame>
      <p:graphicFrame>
        <p:nvGraphicFramePr>
          <p:cNvPr id="56" name="Objekt 55"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7" imgW="360" imgH="360" progId="">
                  <p:embed/>
                </p:oleObj>
              </mc:Choice>
              <mc:Fallback>
                <p:oleObj name="think-cell Folie" r:id="rId7" imgW="360" imgH="360" progId="">
                  <p:embed/>
                  <p:pic>
                    <p:nvPicPr>
                      <p:cNvPr id="56" name="Objekt 55"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el 4"/>
          <p:cNvSpPr>
            <a:spLocks noGrp="1"/>
          </p:cNvSpPr>
          <p:nvPr>
            <p:ph type="title"/>
          </p:nvPr>
        </p:nvSpPr>
        <p:spPr/>
        <p:txBody>
          <a:bodyPr/>
          <a:lstStyle/>
          <a:p>
            <a:r>
              <a:rPr lang="en-US" dirty="0"/>
              <a:t>Evaluation – percentage fill rating system</a:t>
            </a:r>
          </a:p>
        </p:txBody>
      </p:sp>
      <p:grpSp>
        <p:nvGrpSpPr>
          <p:cNvPr id="14" name="Group 13"/>
          <p:cNvGrpSpPr/>
          <p:nvPr/>
        </p:nvGrpSpPr>
        <p:grpSpPr>
          <a:xfrm>
            <a:off x="7592400" y="4383993"/>
            <a:ext cx="594000" cy="594001"/>
            <a:chOff x="8382540" y="1367691"/>
            <a:chExt cx="594309" cy="594310"/>
          </a:xfrm>
        </p:grpSpPr>
        <p:sp>
          <p:nvSpPr>
            <p:cNvPr id="158" name="Rectangle 111"/>
            <p:cNvSpPr>
              <a:spLocks noChangeAspect="1" noChangeArrowheads="1"/>
            </p:cNvSpPr>
            <p:nvPr/>
          </p:nvSpPr>
          <p:spPr bwMode="auto">
            <a:xfrm rot="16200000">
              <a:off x="8382540" y="1367691"/>
              <a:ext cx="594310" cy="594309"/>
            </a:xfrm>
            <a:prstGeom prst="rect">
              <a:avLst/>
            </a:prstGeom>
            <a:noFill/>
            <a:ln>
              <a:noFill/>
            </a:ln>
          </p:spPr>
          <p:txBody>
            <a:bodyPr vert="horz" wrap="square" lIns="91392" tIns="45696" rIns="91392" bIns="45696" numCol="1" anchor="t" anchorCtr="0" compatLnSpc="1">
              <a:prstTxWarp prst="textNoShape">
                <a:avLst/>
              </a:prstTxWarp>
            </a:bodyPr>
            <a:lstStyle/>
            <a:p>
              <a:endParaRPr lang="en-US" sz="1799" dirty="0"/>
            </a:p>
          </p:txBody>
        </p:sp>
        <p:sp>
          <p:nvSpPr>
            <p:cNvPr id="52" name="Oval 54"/>
            <p:cNvSpPr>
              <a:spLocks noChangeAspect="1" noChangeArrowheads="1"/>
            </p:cNvSpPr>
            <p:nvPr>
              <p:custDataLst>
                <p:tags r:id="rId5"/>
              </p:custDataLst>
            </p:nvPr>
          </p:nvSpPr>
          <p:spPr bwMode="auto">
            <a:xfrm>
              <a:off x="8535695" y="1520846"/>
              <a:ext cx="288000" cy="288000"/>
            </a:xfrm>
            <a:prstGeom prst="ellipse">
              <a:avLst/>
            </a:prstGeom>
            <a:noFill/>
            <a:ln w="9525">
              <a:solidFill>
                <a:schemeClr val="accent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99" dirty="0"/>
            </a:p>
          </p:txBody>
        </p:sp>
      </p:grpSp>
      <p:grpSp>
        <p:nvGrpSpPr>
          <p:cNvPr id="8" name="Group 7">
            <a:extLst>
              <a:ext uri="{FF2B5EF4-FFF2-40B4-BE49-F238E27FC236}">
                <a16:creationId xmlns:a16="http://schemas.microsoft.com/office/drawing/2014/main" id="{8583F413-24EF-43FE-884D-22FE3E686EC5}"/>
              </a:ext>
            </a:extLst>
          </p:cNvPr>
          <p:cNvGrpSpPr/>
          <p:nvPr/>
        </p:nvGrpSpPr>
        <p:grpSpPr>
          <a:xfrm>
            <a:off x="7592400" y="3790365"/>
            <a:ext cx="594000" cy="594000"/>
            <a:chOff x="8377185" y="3861983"/>
            <a:chExt cx="594000" cy="594000"/>
          </a:xfrm>
        </p:grpSpPr>
        <p:sp>
          <p:nvSpPr>
            <p:cNvPr id="148" name="Rectangle 191"/>
            <p:cNvSpPr>
              <a:spLocks noChangeAspect="1" noChangeArrowheads="1"/>
            </p:cNvSpPr>
            <p:nvPr/>
          </p:nvSpPr>
          <p:spPr bwMode="auto">
            <a:xfrm flipV="1">
              <a:off x="8377185" y="3861983"/>
              <a:ext cx="594000" cy="594000"/>
            </a:xfrm>
            <a:prstGeom prst="rect">
              <a:avLst/>
            </a:prstGeom>
            <a:noFill/>
            <a:ln>
              <a:noFill/>
            </a:ln>
          </p:spPr>
          <p:txBody>
            <a:bodyPr vert="horz" wrap="square" lIns="91392" tIns="45696" rIns="91392" bIns="45696" numCol="1" anchor="t" anchorCtr="0" compatLnSpc="1">
              <a:prstTxWarp prst="textNoShape">
                <a:avLst/>
              </a:prstTxWarp>
            </a:bodyPr>
            <a:lstStyle/>
            <a:p>
              <a:endParaRPr lang="en-US" sz="1799" dirty="0"/>
            </a:p>
          </p:txBody>
        </p:sp>
        <p:grpSp>
          <p:nvGrpSpPr>
            <p:cNvPr id="54" name="Group 53"/>
            <p:cNvGrpSpPr>
              <a:grpSpLocks noChangeAspect="1"/>
            </p:cNvGrpSpPr>
            <p:nvPr/>
          </p:nvGrpSpPr>
          <p:grpSpPr>
            <a:xfrm>
              <a:off x="8530260" y="4015058"/>
              <a:ext cx="287850" cy="287850"/>
              <a:chOff x="11042463" y="3942000"/>
              <a:chExt cx="303339" cy="303339"/>
            </a:xfrm>
          </p:grpSpPr>
          <p:sp>
            <p:nvSpPr>
              <p:cNvPr id="57" name="Oval 52"/>
              <p:cNvSpPr>
                <a:spLocks noChangeArrowheads="1"/>
              </p:cNvSpPr>
              <p:nvPr/>
            </p:nvSpPr>
            <p:spPr bwMode="auto">
              <a:xfrm>
                <a:off x="11042463" y="3942000"/>
                <a:ext cx="303339" cy="303339"/>
              </a:xfrm>
              <a:prstGeom prst="ellipse">
                <a:avLst/>
              </a:prstGeom>
              <a:noFill/>
              <a:ln w="9525">
                <a:solidFill>
                  <a:schemeClr val="accent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99" dirty="0"/>
              </a:p>
            </p:txBody>
          </p:sp>
          <p:sp>
            <p:nvSpPr>
              <p:cNvPr id="58" name="Arc 53"/>
              <p:cNvSpPr>
                <a:spLocks/>
              </p:cNvSpPr>
              <p:nvPr/>
            </p:nvSpPr>
            <p:spPr bwMode="auto">
              <a:xfrm>
                <a:off x="11195240" y="3942000"/>
                <a:ext cx="150562" cy="151670"/>
              </a:xfrm>
              <a:custGeom>
                <a:avLst/>
                <a:gdLst>
                  <a:gd name="T0" fmla="*/ 0 w 21621"/>
                  <a:gd name="T1" fmla="*/ 0 h 21600"/>
                  <a:gd name="T2" fmla="*/ 68 w 21621"/>
                  <a:gd name="T3" fmla="*/ 68 h 21600"/>
                  <a:gd name="T4" fmla="*/ 0 w 21621"/>
                  <a:gd name="T5" fmla="*/ 68 h 21600"/>
                  <a:gd name="T6" fmla="*/ 0 60000 65536"/>
                  <a:gd name="T7" fmla="*/ 0 60000 65536"/>
                  <a:gd name="T8" fmla="*/ 0 60000 65536"/>
                </a:gdLst>
                <a:ahLst/>
                <a:cxnLst>
                  <a:cxn ang="T6">
                    <a:pos x="T0" y="T1"/>
                  </a:cxn>
                  <a:cxn ang="T7">
                    <a:pos x="T2" y="T3"/>
                  </a:cxn>
                  <a:cxn ang="T8">
                    <a:pos x="T4" y="T5"/>
                  </a:cxn>
                </a:cxnLst>
                <a:rect l="0" t="0" r="r" b="b"/>
                <a:pathLst>
                  <a:path w="21621" h="21600" fill="none" extrusionOk="0">
                    <a:moveTo>
                      <a:pt x="0" y="0"/>
                    </a:moveTo>
                    <a:cubicBezTo>
                      <a:pt x="7" y="0"/>
                      <a:pt x="14" y="-1"/>
                      <a:pt x="21" y="0"/>
                    </a:cubicBezTo>
                    <a:cubicBezTo>
                      <a:pt x="11942" y="0"/>
                      <a:pt x="21609" y="9657"/>
                      <a:pt x="21620" y="21579"/>
                    </a:cubicBezTo>
                  </a:path>
                  <a:path w="21621" h="21600" stroke="0" extrusionOk="0">
                    <a:moveTo>
                      <a:pt x="0" y="0"/>
                    </a:moveTo>
                    <a:cubicBezTo>
                      <a:pt x="7" y="0"/>
                      <a:pt x="14" y="-1"/>
                      <a:pt x="21" y="0"/>
                    </a:cubicBezTo>
                    <a:cubicBezTo>
                      <a:pt x="11942" y="0"/>
                      <a:pt x="21609" y="9657"/>
                      <a:pt x="21620" y="21579"/>
                    </a:cubicBezTo>
                    <a:lnTo>
                      <a:pt x="21" y="21600"/>
                    </a:lnTo>
                    <a:lnTo>
                      <a:pt x="0" y="0"/>
                    </a:lnTo>
                    <a:close/>
                  </a:path>
                </a:pathLst>
              </a:custGeom>
              <a:solidFill>
                <a:schemeClr val="accent2"/>
              </a:solidFill>
              <a:ln w="9525">
                <a:solidFill>
                  <a:schemeClr val="accent2"/>
                </a:solidFill>
                <a:round/>
                <a:headEnd/>
                <a:tailEnd/>
              </a:ln>
            </p:spPr>
            <p:txBody>
              <a:bodyPr/>
              <a:lstStyle/>
              <a:p>
                <a:endParaRPr lang="en-US" sz="1799" dirty="0"/>
              </a:p>
            </p:txBody>
          </p:sp>
        </p:grpSp>
      </p:grpSp>
      <p:grpSp>
        <p:nvGrpSpPr>
          <p:cNvPr id="3" name="Group 2">
            <a:extLst>
              <a:ext uri="{FF2B5EF4-FFF2-40B4-BE49-F238E27FC236}">
                <a16:creationId xmlns:a16="http://schemas.microsoft.com/office/drawing/2014/main" id="{57A64CCA-760F-4C34-8587-F275B71EE5A9}"/>
              </a:ext>
            </a:extLst>
          </p:cNvPr>
          <p:cNvGrpSpPr/>
          <p:nvPr/>
        </p:nvGrpSpPr>
        <p:grpSpPr>
          <a:xfrm>
            <a:off x="7592400" y="2009477"/>
            <a:ext cx="594000" cy="594001"/>
            <a:chOff x="8377190" y="1936874"/>
            <a:chExt cx="594000" cy="594001"/>
          </a:xfrm>
        </p:grpSpPr>
        <p:sp>
          <p:nvSpPr>
            <p:cNvPr id="141" name="Rectangle 111"/>
            <p:cNvSpPr>
              <a:spLocks noChangeAspect="1" noChangeArrowheads="1"/>
            </p:cNvSpPr>
            <p:nvPr/>
          </p:nvSpPr>
          <p:spPr bwMode="auto">
            <a:xfrm rot="16200000">
              <a:off x="8377189" y="1936875"/>
              <a:ext cx="594001" cy="594000"/>
            </a:xfrm>
            <a:prstGeom prst="rect">
              <a:avLst/>
            </a:prstGeom>
            <a:noFill/>
            <a:ln>
              <a:noFill/>
            </a:ln>
          </p:spPr>
          <p:txBody>
            <a:bodyPr vert="horz" wrap="square" lIns="91392" tIns="45696" rIns="91392" bIns="45696" numCol="1" anchor="t" anchorCtr="0" compatLnSpc="1">
              <a:prstTxWarp prst="textNoShape">
                <a:avLst/>
              </a:prstTxWarp>
            </a:bodyPr>
            <a:lstStyle/>
            <a:p>
              <a:endParaRPr lang="en-US" sz="1799" dirty="0"/>
            </a:p>
          </p:txBody>
        </p:sp>
        <p:grpSp>
          <p:nvGrpSpPr>
            <p:cNvPr id="59" name="Group 58"/>
            <p:cNvGrpSpPr>
              <a:grpSpLocks noChangeAspect="1"/>
            </p:cNvGrpSpPr>
            <p:nvPr/>
          </p:nvGrpSpPr>
          <p:grpSpPr>
            <a:xfrm>
              <a:off x="8526431" y="2089950"/>
              <a:ext cx="295516" cy="287850"/>
              <a:chOff x="11042463" y="2152800"/>
              <a:chExt cx="295670" cy="288000"/>
            </a:xfrm>
          </p:grpSpPr>
          <p:sp>
            <p:nvSpPr>
              <p:cNvPr id="60" name="Oval 58"/>
              <p:cNvSpPr>
                <a:spLocks noChangeArrowheads="1"/>
              </p:cNvSpPr>
              <p:nvPr/>
            </p:nvSpPr>
            <p:spPr bwMode="auto">
              <a:xfrm>
                <a:off x="11042463" y="2152800"/>
                <a:ext cx="288000" cy="288000"/>
              </a:xfrm>
              <a:prstGeom prst="ellipse">
                <a:avLst/>
              </a:prstGeom>
              <a:noFill/>
              <a:ln w="9525">
                <a:solidFill>
                  <a:schemeClr val="accent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99" dirty="0"/>
              </a:p>
            </p:txBody>
          </p:sp>
          <p:sp>
            <p:nvSpPr>
              <p:cNvPr id="61" name="Arc 59"/>
              <p:cNvSpPr>
                <a:spLocks/>
              </p:cNvSpPr>
              <p:nvPr/>
            </p:nvSpPr>
            <p:spPr bwMode="auto">
              <a:xfrm>
                <a:off x="11194133" y="2152800"/>
                <a:ext cx="144000" cy="288000"/>
              </a:xfrm>
              <a:custGeom>
                <a:avLst/>
                <a:gdLst>
                  <a:gd name="T0" fmla="*/ 0 w 21621"/>
                  <a:gd name="T1" fmla="*/ 0 h 43200"/>
                  <a:gd name="T2" fmla="*/ 0 w 21621"/>
                  <a:gd name="T3" fmla="*/ 136 h 43200"/>
                  <a:gd name="T4" fmla="*/ 0 w 21621"/>
                  <a:gd name="T5" fmla="*/ 68 h 43200"/>
                  <a:gd name="T6" fmla="*/ 0 60000 65536"/>
                  <a:gd name="T7" fmla="*/ 0 60000 65536"/>
                  <a:gd name="T8" fmla="*/ 0 60000 65536"/>
                </a:gdLst>
                <a:ahLst/>
                <a:cxnLst>
                  <a:cxn ang="T6">
                    <a:pos x="T0" y="T1"/>
                  </a:cxn>
                  <a:cxn ang="T7">
                    <a:pos x="T2" y="T3"/>
                  </a:cxn>
                  <a:cxn ang="T8">
                    <a:pos x="T4" y="T5"/>
                  </a:cxn>
                </a:cxnLst>
                <a:rect l="0" t="0" r="r" b="b"/>
                <a:pathLst>
                  <a:path w="21621" h="43200" fill="none" extrusionOk="0">
                    <a:moveTo>
                      <a:pt x="0" y="0"/>
                    </a:moveTo>
                    <a:cubicBezTo>
                      <a:pt x="7" y="0"/>
                      <a:pt x="14" y="-1"/>
                      <a:pt x="21" y="0"/>
                    </a:cubicBezTo>
                    <a:cubicBezTo>
                      <a:pt x="11950" y="0"/>
                      <a:pt x="21621" y="9670"/>
                      <a:pt x="21621" y="21600"/>
                    </a:cubicBezTo>
                    <a:cubicBezTo>
                      <a:pt x="21621" y="33514"/>
                      <a:pt x="11973" y="43179"/>
                      <a:pt x="58" y="43199"/>
                    </a:cubicBezTo>
                  </a:path>
                  <a:path w="21621" h="43200" stroke="0" extrusionOk="0">
                    <a:moveTo>
                      <a:pt x="0" y="0"/>
                    </a:moveTo>
                    <a:cubicBezTo>
                      <a:pt x="7" y="0"/>
                      <a:pt x="14" y="-1"/>
                      <a:pt x="21" y="0"/>
                    </a:cubicBezTo>
                    <a:cubicBezTo>
                      <a:pt x="11950" y="0"/>
                      <a:pt x="21621" y="9670"/>
                      <a:pt x="21621" y="21600"/>
                    </a:cubicBezTo>
                    <a:cubicBezTo>
                      <a:pt x="21621" y="33514"/>
                      <a:pt x="11973" y="43179"/>
                      <a:pt x="58" y="43199"/>
                    </a:cubicBezTo>
                    <a:lnTo>
                      <a:pt x="21" y="21600"/>
                    </a:lnTo>
                    <a:lnTo>
                      <a:pt x="0" y="0"/>
                    </a:lnTo>
                    <a:close/>
                  </a:path>
                </a:pathLst>
              </a:custGeom>
              <a:solidFill>
                <a:schemeClr val="accent2"/>
              </a:solidFill>
              <a:ln w="9525">
                <a:solidFill>
                  <a:schemeClr val="accent2"/>
                </a:solidFill>
                <a:round/>
                <a:headEnd/>
                <a:tailEnd/>
              </a:ln>
            </p:spPr>
            <p:txBody>
              <a:bodyPr/>
              <a:lstStyle/>
              <a:p>
                <a:endParaRPr lang="en-US" sz="1799" dirty="0"/>
              </a:p>
            </p:txBody>
          </p:sp>
        </p:grpSp>
      </p:grpSp>
      <p:grpSp>
        <p:nvGrpSpPr>
          <p:cNvPr id="7" name="Group 6">
            <a:extLst>
              <a:ext uri="{FF2B5EF4-FFF2-40B4-BE49-F238E27FC236}">
                <a16:creationId xmlns:a16="http://schemas.microsoft.com/office/drawing/2014/main" id="{FC278B25-B3D2-4974-A1A3-C6202BAA8BE0}"/>
              </a:ext>
            </a:extLst>
          </p:cNvPr>
          <p:cNvGrpSpPr/>
          <p:nvPr/>
        </p:nvGrpSpPr>
        <p:grpSpPr>
          <a:xfrm>
            <a:off x="7592400" y="3196736"/>
            <a:ext cx="594001" cy="594000"/>
            <a:chOff x="8377190" y="3268689"/>
            <a:chExt cx="594001" cy="594000"/>
          </a:xfrm>
        </p:grpSpPr>
        <p:sp>
          <p:nvSpPr>
            <p:cNvPr id="144" name="Rectangle 116"/>
            <p:cNvSpPr>
              <a:spLocks noChangeAspect="1" noChangeArrowheads="1"/>
            </p:cNvSpPr>
            <p:nvPr/>
          </p:nvSpPr>
          <p:spPr bwMode="auto">
            <a:xfrm>
              <a:off x="8377190" y="3268689"/>
              <a:ext cx="594001" cy="594000"/>
            </a:xfrm>
            <a:prstGeom prst="rect">
              <a:avLst/>
            </a:prstGeom>
            <a:noFill/>
            <a:ln>
              <a:noFill/>
            </a:ln>
          </p:spPr>
          <p:txBody>
            <a:bodyPr vert="horz" wrap="square" lIns="91392" tIns="45696" rIns="91392" bIns="45696" numCol="1" anchor="t" anchorCtr="0" compatLnSpc="1">
              <a:prstTxWarp prst="textNoShape">
                <a:avLst/>
              </a:prstTxWarp>
            </a:bodyPr>
            <a:lstStyle/>
            <a:p>
              <a:endParaRPr lang="en-US" sz="1799" dirty="0"/>
            </a:p>
          </p:txBody>
        </p:sp>
        <p:grpSp>
          <p:nvGrpSpPr>
            <p:cNvPr id="62" name="Group 61"/>
            <p:cNvGrpSpPr>
              <a:grpSpLocks noChangeAspect="1"/>
            </p:cNvGrpSpPr>
            <p:nvPr/>
          </p:nvGrpSpPr>
          <p:grpSpPr>
            <a:xfrm>
              <a:off x="8530265" y="3421764"/>
              <a:ext cx="287850" cy="287850"/>
              <a:chOff x="11044645" y="3344400"/>
              <a:chExt cx="298974" cy="303339"/>
            </a:xfrm>
          </p:grpSpPr>
          <p:sp>
            <p:nvSpPr>
              <p:cNvPr id="63" name="Oval 61"/>
              <p:cNvSpPr>
                <a:spLocks noChangeArrowheads="1"/>
              </p:cNvSpPr>
              <p:nvPr/>
            </p:nvSpPr>
            <p:spPr bwMode="auto">
              <a:xfrm>
                <a:off x="11044645" y="3344400"/>
                <a:ext cx="298974" cy="303339"/>
              </a:xfrm>
              <a:prstGeom prst="ellipse">
                <a:avLst/>
              </a:prstGeom>
              <a:noFill/>
              <a:ln w="9525">
                <a:solidFill>
                  <a:schemeClr val="accent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99" dirty="0"/>
              </a:p>
            </p:txBody>
          </p:sp>
          <p:sp>
            <p:nvSpPr>
              <p:cNvPr id="64" name="Arc 62"/>
              <p:cNvSpPr>
                <a:spLocks/>
              </p:cNvSpPr>
              <p:nvPr/>
            </p:nvSpPr>
            <p:spPr bwMode="auto">
              <a:xfrm>
                <a:off x="11046827" y="3344400"/>
                <a:ext cx="296792" cy="303339"/>
              </a:xfrm>
              <a:custGeom>
                <a:avLst/>
                <a:gdLst>
                  <a:gd name="T0" fmla="*/ 68 w 43200"/>
                  <a:gd name="T1" fmla="*/ 0 h 43200"/>
                  <a:gd name="T2" fmla="*/ 0 w 43200"/>
                  <a:gd name="T3" fmla="*/ 68 h 43200"/>
                  <a:gd name="T4" fmla="*/ 68 w 43200"/>
                  <a:gd name="T5" fmla="*/ 68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79" y="0"/>
                    </a:moveTo>
                    <a:cubicBezTo>
                      <a:pt x="21586" y="0"/>
                      <a:pt x="21593" y="-1"/>
                      <a:pt x="21600" y="0"/>
                    </a:cubicBez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79" y="0"/>
                    </a:moveTo>
                    <a:cubicBezTo>
                      <a:pt x="21586" y="0"/>
                      <a:pt x="21593" y="-1"/>
                      <a:pt x="21600" y="0"/>
                    </a:cubicBezTo>
                    <a:cubicBezTo>
                      <a:pt x="33529" y="0"/>
                      <a:pt x="43200" y="9670"/>
                      <a:pt x="43200" y="21600"/>
                    </a:cubicBezTo>
                    <a:cubicBezTo>
                      <a:pt x="43200" y="33529"/>
                      <a:pt x="33529" y="43200"/>
                      <a:pt x="21600" y="43200"/>
                    </a:cubicBezTo>
                    <a:cubicBezTo>
                      <a:pt x="9670" y="43200"/>
                      <a:pt x="0" y="33529"/>
                      <a:pt x="0" y="21600"/>
                    </a:cubicBezTo>
                    <a:lnTo>
                      <a:pt x="21600" y="21600"/>
                    </a:lnTo>
                    <a:lnTo>
                      <a:pt x="21579" y="0"/>
                    </a:lnTo>
                    <a:close/>
                  </a:path>
                </a:pathLst>
              </a:custGeom>
              <a:solidFill>
                <a:schemeClr val="accent2"/>
              </a:solidFill>
              <a:ln w="9525">
                <a:solidFill>
                  <a:schemeClr val="accent2"/>
                </a:solidFill>
                <a:round/>
                <a:headEnd/>
                <a:tailEnd/>
              </a:ln>
            </p:spPr>
            <p:txBody>
              <a:bodyPr/>
              <a:lstStyle/>
              <a:p>
                <a:endParaRPr lang="en-US" sz="1799" dirty="0"/>
              </a:p>
            </p:txBody>
          </p:sp>
        </p:grpSp>
      </p:grpSp>
      <p:grpSp>
        <p:nvGrpSpPr>
          <p:cNvPr id="4" name="Group 3">
            <a:extLst>
              <a:ext uri="{FF2B5EF4-FFF2-40B4-BE49-F238E27FC236}">
                <a16:creationId xmlns:a16="http://schemas.microsoft.com/office/drawing/2014/main" id="{0252B19F-87E1-4E83-9D38-0C43A1BAB7BF}"/>
              </a:ext>
            </a:extLst>
          </p:cNvPr>
          <p:cNvGrpSpPr/>
          <p:nvPr/>
        </p:nvGrpSpPr>
        <p:grpSpPr>
          <a:xfrm>
            <a:off x="7592400" y="2603107"/>
            <a:ext cx="594000" cy="594000"/>
            <a:chOff x="8377185" y="2674405"/>
            <a:chExt cx="594000" cy="594000"/>
          </a:xfrm>
        </p:grpSpPr>
        <p:sp>
          <p:nvSpPr>
            <p:cNvPr id="138" name="Rectangle 191"/>
            <p:cNvSpPr>
              <a:spLocks noChangeAspect="1" noChangeArrowheads="1"/>
            </p:cNvSpPr>
            <p:nvPr/>
          </p:nvSpPr>
          <p:spPr bwMode="auto">
            <a:xfrm>
              <a:off x="8377185" y="2674405"/>
              <a:ext cx="594000" cy="594000"/>
            </a:xfrm>
            <a:prstGeom prst="rect">
              <a:avLst/>
            </a:prstGeom>
            <a:noFill/>
            <a:ln>
              <a:noFill/>
            </a:ln>
          </p:spPr>
          <p:txBody>
            <a:bodyPr vert="horz" wrap="square" lIns="91392" tIns="45696" rIns="91392" bIns="45696" numCol="1" anchor="t" anchorCtr="0" compatLnSpc="1">
              <a:prstTxWarp prst="textNoShape">
                <a:avLst/>
              </a:prstTxWarp>
            </a:bodyPr>
            <a:lstStyle/>
            <a:p>
              <a:endParaRPr lang="en-US" sz="1799" dirty="0"/>
            </a:p>
          </p:txBody>
        </p:sp>
        <p:grpSp>
          <p:nvGrpSpPr>
            <p:cNvPr id="65" name="Group 64"/>
            <p:cNvGrpSpPr>
              <a:grpSpLocks noChangeAspect="1"/>
            </p:cNvGrpSpPr>
            <p:nvPr/>
          </p:nvGrpSpPr>
          <p:grpSpPr>
            <a:xfrm>
              <a:off x="8530260" y="2827480"/>
              <a:ext cx="287850" cy="287850"/>
              <a:chOff x="11042463" y="2750400"/>
              <a:chExt cx="303339" cy="303339"/>
            </a:xfrm>
          </p:grpSpPr>
          <p:sp>
            <p:nvSpPr>
              <p:cNvPr id="66" name="Oval 52"/>
              <p:cNvSpPr>
                <a:spLocks noChangeArrowheads="1"/>
              </p:cNvSpPr>
              <p:nvPr/>
            </p:nvSpPr>
            <p:spPr bwMode="auto">
              <a:xfrm>
                <a:off x="11042463" y="2750400"/>
                <a:ext cx="303339" cy="303339"/>
              </a:xfrm>
              <a:prstGeom prst="ellipse">
                <a:avLst/>
              </a:prstGeom>
              <a:noFill/>
              <a:ln w="9525">
                <a:solidFill>
                  <a:schemeClr val="accent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99" dirty="0"/>
              </a:p>
            </p:txBody>
          </p:sp>
          <p:sp>
            <p:nvSpPr>
              <p:cNvPr id="67" name="Arc 53"/>
              <p:cNvSpPr>
                <a:spLocks/>
              </p:cNvSpPr>
              <p:nvPr/>
            </p:nvSpPr>
            <p:spPr bwMode="auto">
              <a:xfrm>
                <a:off x="11195240" y="2750400"/>
                <a:ext cx="150562" cy="151670"/>
              </a:xfrm>
              <a:custGeom>
                <a:avLst/>
                <a:gdLst>
                  <a:gd name="T0" fmla="*/ 0 w 21621"/>
                  <a:gd name="T1" fmla="*/ 0 h 21600"/>
                  <a:gd name="T2" fmla="*/ 68 w 21621"/>
                  <a:gd name="T3" fmla="*/ 68 h 21600"/>
                  <a:gd name="T4" fmla="*/ 0 w 21621"/>
                  <a:gd name="T5" fmla="*/ 68 h 21600"/>
                  <a:gd name="T6" fmla="*/ 0 60000 65536"/>
                  <a:gd name="T7" fmla="*/ 0 60000 65536"/>
                  <a:gd name="T8" fmla="*/ 0 60000 65536"/>
                </a:gdLst>
                <a:ahLst/>
                <a:cxnLst>
                  <a:cxn ang="T6">
                    <a:pos x="T0" y="T1"/>
                  </a:cxn>
                  <a:cxn ang="T7">
                    <a:pos x="T2" y="T3"/>
                  </a:cxn>
                  <a:cxn ang="T8">
                    <a:pos x="T4" y="T5"/>
                  </a:cxn>
                </a:cxnLst>
                <a:rect l="0" t="0" r="r" b="b"/>
                <a:pathLst>
                  <a:path w="21621" h="21600" fill="none" extrusionOk="0">
                    <a:moveTo>
                      <a:pt x="0" y="0"/>
                    </a:moveTo>
                    <a:cubicBezTo>
                      <a:pt x="7" y="0"/>
                      <a:pt x="14" y="-1"/>
                      <a:pt x="21" y="0"/>
                    </a:cubicBezTo>
                    <a:cubicBezTo>
                      <a:pt x="11942" y="0"/>
                      <a:pt x="21609" y="9657"/>
                      <a:pt x="21620" y="21579"/>
                    </a:cubicBezTo>
                  </a:path>
                  <a:path w="21621" h="21600" stroke="0" extrusionOk="0">
                    <a:moveTo>
                      <a:pt x="0" y="0"/>
                    </a:moveTo>
                    <a:cubicBezTo>
                      <a:pt x="7" y="0"/>
                      <a:pt x="14" y="-1"/>
                      <a:pt x="21" y="0"/>
                    </a:cubicBezTo>
                    <a:cubicBezTo>
                      <a:pt x="11942" y="0"/>
                      <a:pt x="21609" y="9657"/>
                      <a:pt x="21620" y="21579"/>
                    </a:cubicBezTo>
                    <a:lnTo>
                      <a:pt x="21" y="21600"/>
                    </a:lnTo>
                    <a:lnTo>
                      <a:pt x="0" y="0"/>
                    </a:lnTo>
                    <a:close/>
                  </a:path>
                </a:pathLst>
              </a:custGeom>
              <a:solidFill>
                <a:schemeClr val="accent2"/>
              </a:solidFill>
              <a:ln w="9525">
                <a:solidFill>
                  <a:schemeClr val="accent2"/>
                </a:solidFill>
                <a:round/>
                <a:headEnd/>
                <a:tailEnd/>
              </a:ln>
            </p:spPr>
            <p:txBody>
              <a:bodyPr/>
              <a:lstStyle/>
              <a:p>
                <a:endParaRPr lang="en-US" sz="1799" dirty="0"/>
              </a:p>
            </p:txBody>
          </p:sp>
        </p:grpSp>
      </p:grpSp>
      <p:grpSp>
        <p:nvGrpSpPr>
          <p:cNvPr id="100" name="Group 99"/>
          <p:cNvGrpSpPr/>
          <p:nvPr/>
        </p:nvGrpSpPr>
        <p:grpSpPr>
          <a:xfrm>
            <a:off x="7592400" y="1415848"/>
            <a:ext cx="594000" cy="594000"/>
            <a:chOff x="8382544" y="3888392"/>
            <a:chExt cx="594309" cy="594309"/>
          </a:xfrm>
        </p:grpSpPr>
        <p:sp>
          <p:nvSpPr>
            <p:cNvPr id="101" name="Rectangle 111"/>
            <p:cNvSpPr>
              <a:spLocks noChangeAspect="1" noChangeArrowheads="1"/>
            </p:cNvSpPr>
            <p:nvPr/>
          </p:nvSpPr>
          <p:spPr bwMode="auto">
            <a:xfrm flipV="1">
              <a:off x="8382544" y="3888392"/>
              <a:ext cx="594309" cy="594309"/>
            </a:xfrm>
            <a:prstGeom prst="rect">
              <a:avLst/>
            </a:prstGeom>
            <a:noFill/>
            <a:ln>
              <a:noFill/>
            </a:ln>
          </p:spPr>
          <p:txBody>
            <a:bodyPr vert="horz" wrap="square" lIns="91392" tIns="45696" rIns="91392" bIns="45696" numCol="1" anchor="t" anchorCtr="0" compatLnSpc="1">
              <a:prstTxWarp prst="textNoShape">
                <a:avLst/>
              </a:prstTxWarp>
            </a:bodyPr>
            <a:lstStyle/>
            <a:p>
              <a:endParaRPr lang="en-US" sz="1799" dirty="0"/>
            </a:p>
          </p:txBody>
        </p:sp>
        <p:sp>
          <p:nvSpPr>
            <p:cNvPr id="102" name="Oval 50"/>
            <p:cNvSpPr>
              <a:spLocks noChangeAspect="1" noChangeArrowheads="1"/>
            </p:cNvSpPr>
            <p:nvPr>
              <p:custDataLst>
                <p:tags r:id="rId4"/>
              </p:custDataLst>
            </p:nvPr>
          </p:nvSpPr>
          <p:spPr bwMode="auto">
            <a:xfrm>
              <a:off x="8535699" y="4041547"/>
              <a:ext cx="288000" cy="288000"/>
            </a:xfrm>
            <a:prstGeom prst="ellipse">
              <a:avLst/>
            </a:prstGeom>
            <a:solidFill>
              <a:schemeClr val="accent2"/>
            </a:solidFill>
            <a:ln w="9525">
              <a:solidFill>
                <a:schemeClr val="accent2"/>
              </a:solidFill>
              <a:round/>
              <a:headEnd/>
              <a:tailEnd/>
            </a:ln>
            <a:effectLst/>
          </p:spPr>
          <p:txBody>
            <a:bodyPr wrap="none" anchor="ctr"/>
            <a:lstStyle/>
            <a:p>
              <a:endParaRPr lang="en-US" sz="1799" dirty="0"/>
            </a:p>
          </p:txBody>
        </p:sp>
      </p:grpSp>
      <p:grpSp>
        <p:nvGrpSpPr>
          <p:cNvPr id="2" name="Group 1">
            <a:extLst>
              <a:ext uri="{FF2B5EF4-FFF2-40B4-BE49-F238E27FC236}">
                <a16:creationId xmlns:a16="http://schemas.microsoft.com/office/drawing/2014/main" id="{E9AD8122-F5A6-4269-BDD1-7822D30E6074}"/>
              </a:ext>
            </a:extLst>
          </p:cNvPr>
          <p:cNvGrpSpPr/>
          <p:nvPr/>
        </p:nvGrpSpPr>
        <p:grpSpPr>
          <a:xfrm>
            <a:off x="410400" y="5878800"/>
            <a:ext cx="9286327" cy="289442"/>
            <a:chOff x="624541" y="5657372"/>
            <a:chExt cx="9291164" cy="289593"/>
          </a:xfrm>
        </p:grpSpPr>
        <p:grpSp>
          <p:nvGrpSpPr>
            <p:cNvPr id="17" name="Group 16"/>
            <p:cNvGrpSpPr/>
            <p:nvPr/>
          </p:nvGrpSpPr>
          <p:grpSpPr>
            <a:xfrm>
              <a:off x="8595213" y="5657372"/>
              <a:ext cx="1320492" cy="288000"/>
              <a:chOff x="8307173" y="5682571"/>
              <a:chExt cx="1320492" cy="288000"/>
            </a:xfrm>
          </p:grpSpPr>
          <p:sp>
            <p:nvSpPr>
              <p:cNvPr id="132" name="Rectangle 131"/>
              <p:cNvSpPr/>
              <p:nvPr/>
            </p:nvSpPr>
            <p:spPr>
              <a:xfrm>
                <a:off x="8595172" y="5682571"/>
                <a:ext cx="1032493" cy="288000"/>
              </a:xfrm>
              <a:prstGeom prst="rect">
                <a:avLst/>
              </a:prstGeom>
            </p:spPr>
            <p:txBody>
              <a:bodyPr wrap="none" lIns="71963" tIns="0" rIns="0" bIns="0" anchor="ctr">
                <a:noAutofit/>
              </a:bodyPr>
              <a:lstStyle/>
              <a:p>
                <a:r>
                  <a:rPr lang="en-US" sz="1199" dirty="0">
                    <a:solidFill>
                      <a:srgbClr val="9999A9"/>
                    </a:solidFill>
                  </a:rPr>
                  <a:t>Unsuccessful</a:t>
                </a:r>
              </a:p>
            </p:txBody>
          </p:sp>
          <p:grpSp>
            <p:nvGrpSpPr>
              <p:cNvPr id="103" name="Group 102"/>
              <p:cNvGrpSpPr/>
              <p:nvPr/>
            </p:nvGrpSpPr>
            <p:grpSpPr>
              <a:xfrm>
                <a:off x="8307173" y="5682571"/>
                <a:ext cx="288000" cy="288000"/>
                <a:chOff x="8382541" y="1511999"/>
                <a:chExt cx="450000" cy="450001"/>
              </a:xfrm>
            </p:grpSpPr>
            <p:sp>
              <p:nvSpPr>
                <p:cNvPr id="104" name="Rectangle 111"/>
                <p:cNvSpPr>
                  <a:spLocks noChangeArrowheads="1"/>
                </p:cNvSpPr>
                <p:nvPr/>
              </p:nvSpPr>
              <p:spPr bwMode="auto">
                <a:xfrm rot="16200000">
                  <a:off x="8382540" y="1512000"/>
                  <a:ext cx="450001" cy="450000"/>
                </a:xfrm>
                <a:prstGeom prst="rect">
                  <a:avLst/>
                </a:prstGeom>
                <a:noFill/>
                <a:ln>
                  <a:noFill/>
                </a:ln>
              </p:spPr>
              <p:txBody>
                <a:bodyPr vert="horz" wrap="square" lIns="91392" tIns="45696" rIns="91392" bIns="45696" numCol="1" anchor="t" anchorCtr="0" compatLnSpc="1">
                  <a:prstTxWarp prst="textNoShape">
                    <a:avLst/>
                  </a:prstTxWarp>
                </a:bodyPr>
                <a:lstStyle/>
                <a:p>
                  <a:endParaRPr lang="en-US" sz="1799" dirty="0"/>
                </a:p>
              </p:txBody>
            </p:sp>
            <p:sp>
              <p:nvSpPr>
                <p:cNvPr id="105" name="Oval 54"/>
                <p:cNvSpPr>
                  <a:spLocks noChangeAspect="1" noChangeArrowheads="1"/>
                </p:cNvSpPr>
                <p:nvPr>
                  <p:custDataLst>
                    <p:tags r:id="rId3"/>
                  </p:custDataLst>
                </p:nvPr>
              </p:nvSpPr>
              <p:spPr bwMode="auto">
                <a:xfrm>
                  <a:off x="8463540" y="1593000"/>
                  <a:ext cx="288000" cy="288000"/>
                </a:xfrm>
                <a:prstGeom prst="ellipse">
                  <a:avLst/>
                </a:prstGeom>
                <a:noFill/>
                <a:ln w="9525">
                  <a:solidFill>
                    <a:schemeClr val="accent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99" dirty="0"/>
                </a:p>
              </p:txBody>
            </p:sp>
          </p:grpSp>
        </p:grpSp>
        <p:grpSp>
          <p:nvGrpSpPr>
            <p:cNvPr id="15" name="Group 14"/>
            <p:cNvGrpSpPr/>
            <p:nvPr/>
          </p:nvGrpSpPr>
          <p:grpSpPr>
            <a:xfrm>
              <a:off x="4295313" y="5657376"/>
              <a:ext cx="1553219" cy="289589"/>
              <a:chOff x="4183998" y="5682575"/>
              <a:chExt cx="1553219" cy="289589"/>
            </a:xfrm>
          </p:grpSpPr>
          <p:sp>
            <p:nvSpPr>
              <p:cNvPr id="121" name="Rectangle 120"/>
              <p:cNvSpPr/>
              <p:nvPr/>
            </p:nvSpPr>
            <p:spPr>
              <a:xfrm>
                <a:off x="4477217" y="5684164"/>
                <a:ext cx="1260000" cy="288000"/>
              </a:xfrm>
              <a:prstGeom prst="rect">
                <a:avLst/>
              </a:prstGeom>
            </p:spPr>
            <p:txBody>
              <a:bodyPr wrap="none" lIns="71963" tIns="0" rIns="0" bIns="0" anchor="ctr">
                <a:noAutofit/>
              </a:bodyPr>
              <a:lstStyle/>
              <a:p>
                <a:r>
                  <a:rPr lang="en-US" sz="1199" dirty="0">
                    <a:solidFill>
                      <a:srgbClr val="9999A9"/>
                    </a:solidFill>
                  </a:rPr>
                  <a:t>Partial successful</a:t>
                </a:r>
              </a:p>
            </p:txBody>
          </p:sp>
          <p:grpSp>
            <p:nvGrpSpPr>
              <p:cNvPr id="106" name="Group 105"/>
              <p:cNvGrpSpPr/>
              <p:nvPr/>
            </p:nvGrpSpPr>
            <p:grpSpPr>
              <a:xfrm>
                <a:off x="4183998" y="5682575"/>
                <a:ext cx="288000" cy="288001"/>
                <a:chOff x="8382542" y="1511999"/>
                <a:chExt cx="450000" cy="450001"/>
              </a:xfrm>
            </p:grpSpPr>
            <p:sp>
              <p:nvSpPr>
                <p:cNvPr id="107" name="Rectangle 111"/>
                <p:cNvSpPr>
                  <a:spLocks noChangeArrowheads="1"/>
                </p:cNvSpPr>
                <p:nvPr/>
              </p:nvSpPr>
              <p:spPr bwMode="auto">
                <a:xfrm rot="16200000">
                  <a:off x="8382541" y="1512000"/>
                  <a:ext cx="450001" cy="450000"/>
                </a:xfrm>
                <a:prstGeom prst="rect">
                  <a:avLst/>
                </a:prstGeom>
                <a:noFill/>
                <a:ln>
                  <a:noFill/>
                </a:ln>
              </p:spPr>
              <p:txBody>
                <a:bodyPr vert="horz" wrap="square" lIns="91392" tIns="45696" rIns="91392" bIns="45696" numCol="1" anchor="t" anchorCtr="0" compatLnSpc="1">
                  <a:prstTxWarp prst="textNoShape">
                    <a:avLst/>
                  </a:prstTxWarp>
                </a:bodyPr>
                <a:lstStyle/>
                <a:p>
                  <a:endParaRPr lang="en-US" sz="1799" dirty="0"/>
                </a:p>
              </p:txBody>
            </p:sp>
            <p:grpSp>
              <p:nvGrpSpPr>
                <p:cNvPr id="108" name="Group 107"/>
                <p:cNvGrpSpPr>
                  <a:grpSpLocks noChangeAspect="1"/>
                </p:cNvGrpSpPr>
                <p:nvPr/>
              </p:nvGrpSpPr>
              <p:grpSpPr>
                <a:xfrm>
                  <a:off x="8459706" y="1593000"/>
                  <a:ext cx="295670" cy="288000"/>
                  <a:chOff x="11042463" y="2152800"/>
                  <a:chExt cx="295670" cy="288000"/>
                </a:xfrm>
              </p:grpSpPr>
              <p:sp>
                <p:nvSpPr>
                  <p:cNvPr id="109" name="Oval 58"/>
                  <p:cNvSpPr>
                    <a:spLocks noChangeArrowheads="1"/>
                  </p:cNvSpPr>
                  <p:nvPr/>
                </p:nvSpPr>
                <p:spPr bwMode="auto">
                  <a:xfrm>
                    <a:off x="11042463" y="2152800"/>
                    <a:ext cx="288000" cy="288000"/>
                  </a:xfrm>
                  <a:prstGeom prst="ellipse">
                    <a:avLst/>
                  </a:prstGeom>
                  <a:noFill/>
                  <a:ln w="9525">
                    <a:solidFill>
                      <a:schemeClr val="accent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99" dirty="0"/>
                  </a:p>
                </p:txBody>
              </p:sp>
              <p:sp>
                <p:nvSpPr>
                  <p:cNvPr id="115" name="Arc 59"/>
                  <p:cNvSpPr>
                    <a:spLocks/>
                  </p:cNvSpPr>
                  <p:nvPr/>
                </p:nvSpPr>
                <p:spPr bwMode="auto">
                  <a:xfrm>
                    <a:off x="11194133" y="2152800"/>
                    <a:ext cx="144000" cy="288000"/>
                  </a:xfrm>
                  <a:custGeom>
                    <a:avLst/>
                    <a:gdLst>
                      <a:gd name="T0" fmla="*/ 0 w 21621"/>
                      <a:gd name="T1" fmla="*/ 0 h 43200"/>
                      <a:gd name="T2" fmla="*/ 0 w 21621"/>
                      <a:gd name="T3" fmla="*/ 136 h 43200"/>
                      <a:gd name="T4" fmla="*/ 0 w 21621"/>
                      <a:gd name="T5" fmla="*/ 68 h 43200"/>
                      <a:gd name="T6" fmla="*/ 0 60000 65536"/>
                      <a:gd name="T7" fmla="*/ 0 60000 65536"/>
                      <a:gd name="T8" fmla="*/ 0 60000 65536"/>
                    </a:gdLst>
                    <a:ahLst/>
                    <a:cxnLst>
                      <a:cxn ang="T6">
                        <a:pos x="T0" y="T1"/>
                      </a:cxn>
                      <a:cxn ang="T7">
                        <a:pos x="T2" y="T3"/>
                      </a:cxn>
                      <a:cxn ang="T8">
                        <a:pos x="T4" y="T5"/>
                      </a:cxn>
                    </a:cxnLst>
                    <a:rect l="0" t="0" r="r" b="b"/>
                    <a:pathLst>
                      <a:path w="21621" h="43200" fill="none" extrusionOk="0">
                        <a:moveTo>
                          <a:pt x="0" y="0"/>
                        </a:moveTo>
                        <a:cubicBezTo>
                          <a:pt x="7" y="0"/>
                          <a:pt x="14" y="-1"/>
                          <a:pt x="21" y="0"/>
                        </a:cubicBezTo>
                        <a:cubicBezTo>
                          <a:pt x="11950" y="0"/>
                          <a:pt x="21621" y="9670"/>
                          <a:pt x="21621" y="21600"/>
                        </a:cubicBezTo>
                        <a:cubicBezTo>
                          <a:pt x="21621" y="33514"/>
                          <a:pt x="11973" y="43179"/>
                          <a:pt x="58" y="43199"/>
                        </a:cubicBezTo>
                      </a:path>
                      <a:path w="21621" h="43200" stroke="0" extrusionOk="0">
                        <a:moveTo>
                          <a:pt x="0" y="0"/>
                        </a:moveTo>
                        <a:cubicBezTo>
                          <a:pt x="7" y="0"/>
                          <a:pt x="14" y="-1"/>
                          <a:pt x="21" y="0"/>
                        </a:cubicBezTo>
                        <a:cubicBezTo>
                          <a:pt x="11950" y="0"/>
                          <a:pt x="21621" y="9670"/>
                          <a:pt x="21621" y="21600"/>
                        </a:cubicBezTo>
                        <a:cubicBezTo>
                          <a:pt x="21621" y="33514"/>
                          <a:pt x="11973" y="43179"/>
                          <a:pt x="58" y="43199"/>
                        </a:cubicBezTo>
                        <a:lnTo>
                          <a:pt x="21" y="21600"/>
                        </a:lnTo>
                        <a:lnTo>
                          <a:pt x="0" y="0"/>
                        </a:lnTo>
                        <a:close/>
                      </a:path>
                    </a:pathLst>
                  </a:custGeom>
                  <a:solidFill>
                    <a:schemeClr val="accent2"/>
                  </a:solidFill>
                  <a:ln w="9525">
                    <a:solidFill>
                      <a:schemeClr val="accent2"/>
                    </a:solidFill>
                    <a:round/>
                    <a:headEnd/>
                    <a:tailEnd/>
                  </a:ln>
                </p:spPr>
                <p:txBody>
                  <a:bodyPr/>
                  <a:lstStyle/>
                  <a:p>
                    <a:endParaRPr lang="en-US" sz="1799" dirty="0"/>
                  </a:p>
                </p:txBody>
              </p:sp>
            </p:grpSp>
          </p:grpSp>
        </p:grpSp>
        <p:grpSp>
          <p:nvGrpSpPr>
            <p:cNvPr id="18" name="Group 17"/>
            <p:cNvGrpSpPr/>
            <p:nvPr/>
          </p:nvGrpSpPr>
          <p:grpSpPr>
            <a:xfrm>
              <a:off x="2287921" y="5657372"/>
              <a:ext cx="1518515" cy="289593"/>
              <a:chOff x="2214780" y="5682571"/>
              <a:chExt cx="1518515" cy="289593"/>
            </a:xfrm>
          </p:grpSpPr>
          <p:sp>
            <p:nvSpPr>
              <p:cNvPr id="110" name="Rectangle 109"/>
              <p:cNvSpPr/>
              <p:nvPr/>
            </p:nvSpPr>
            <p:spPr>
              <a:xfrm>
                <a:off x="2502882" y="5684164"/>
                <a:ext cx="1230413" cy="288000"/>
              </a:xfrm>
              <a:prstGeom prst="rect">
                <a:avLst/>
              </a:prstGeom>
            </p:spPr>
            <p:txBody>
              <a:bodyPr wrap="none" lIns="71963" tIns="0" rIns="0" bIns="0" anchor="ctr">
                <a:noAutofit/>
              </a:bodyPr>
              <a:lstStyle/>
              <a:p>
                <a:r>
                  <a:rPr lang="en-US" sz="1199" dirty="0">
                    <a:solidFill>
                      <a:srgbClr val="9999A9"/>
                    </a:solidFill>
                  </a:rPr>
                  <a:t>Mostly successful</a:t>
                </a:r>
              </a:p>
            </p:txBody>
          </p:sp>
          <p:grpSp>
            <p:nvGrpSpPr>
              <p:cNvPr id="120" name="Group 119"/>
              <p:cNvGrpSpPr/>
              <p:nvPr/>
            </p:nvGrpSpPr>
            <p:grpSpPr>
              <a:xfrm>
                <a:off x="2214780" y="5682571"/>
                <a:ext cx="288000" cy="288000"/>
                <a:chOff x="8382541" y="2700197"/>
                <a:chExt cx="450000" cy="449999"/>
              </a:xfrm>
            </p:grpSpPr>
            <p:sp>
              <p:nvSpPr>
                <p:cNvPr id="125" name="Rectangle 116"/>
                <p:cNvSpPr>
                  <a:spLocks noChangeArrowheads="1"/>
                </p:cNvSpPr>
                <p:nvPr/>
              </p:nvSpPr>
              <p:spPr bwMode="auto">
                <a:xfrm>
                  <a:off x="8382541" y="2700197"/>
                  <a:ext cx="450000" cy="449999"/>
                </a:xfrm>
                <a:prstGeom prst="rect">
                  <a:avLst/>
                </a:prstGeom>
                <a:noFill/>
                <a:ln>
                  <a:noFill/>
                </a:ln>
              </p:spPr>
              <p:txBody>
                <a:bodyPr vert="horz" wrap="square" lIns="91392" tIns="45696" rIns="91392" bIns="45696" numCol="1" anchor="t" anchorCtr="0" compatLnSpc="1">
                  <a:prstTxWarp prst="textNoShape">
                    <a:avLst/>
                  </a:prstTxWarp>
                </a:bodyPr>
                <a:lstStyle/>
                <a:p>
                  <a:endParaRPr lang="en-US" sz="1799" dirty="0"/>
                </a:p>
              </p:txBody>
            </p:sp>
            <p:grpSp>
              <p:nvGrpSpPr>
                <p:cNvPr id="131" name="Group 130"/>
                <p:cNvGrpSpPr>
                  <a:grpSpLocks noChangeAspect="1"/>
                </p:cNvGrpSpPr>
                <p:nvPr/>
              </p:nvGrpSpPr>
              <p:grpSpPr>
                <a:xfrm>
                  <a:off x="8463541" y="2781196"/>
                  <a:ext cx="288000" cy="288000"/>
                  <a:chOff x="11044645" y="3344400"/>
                  <a:chExt cx="298974" cy="303339"/>
                </a:xfrm>
              </p:grpSpPr>
              <p:sp>
                <p:nvSpPr>
                  <p:cNvPr id="153" name="Oval 61"/>
                  <p:cNvSpPr>
                    <a:spLocks noChangeArrowheads="1"/>
                  </p:cNvSpPr>
                  <p:nvPr/>
                </p:nvSpPr>
                <p:spPr bwMode="auto">
                  <a:xfrm>
                    <a:off x="11044645" y="3344400"/>
                    <a:ext cx="298974" cy="303339"/>
                  </a:xfrm>
                  <a:prstGeom prst="ellipse">
                    <a:avLst/>
                  </a:prstGeom>
                  <a:noFill/>
                  <a:ln w="9525">
                    <a:solidFill>
                      <a:schemeClr val="accent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99" dirty="0"/>
                  </a:p>
                </p:txBody>
              </p:sp>
              <p:sp>
                <p:nvSpPr>
                  <p:cNvPr id="154" name="Arc 62"/>
                  <p:cNvSpPr>
                    <a:spLocks/>
                  </p:cNvSpPr>
                  <p:nvPr/>
                </p:nvSpPr>
                <p:spPr bwMode="auto">
                  <a:xfrm>
                    <a:off x="11046827" y="3344400"/>
                    <a:ext cx="296792" cy="303339"/>
                  </a:xfrm>
                  <a:custGeom>
                    <a:avLst/>
                    <a:gdLst>
                      <a:gd name="T0" fmla="*/ 68 w 43200"/>
                      <a:gd name="T1" fmla="*/ 0 h 43200"/>
                      <a:gd name="T2" fmla="*/ 0 w 43200"/>
                      <a:gd name="T3" fmla="*/ 68 h 43200"/>
                      <a:gd name="T4" fmla="*/ 68 w 43200"/>
                      <a:gd name="T5" fmla="*/ 68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79" y="0"/>
                        </a:moveTo>
                        <a:cubicBezTo>
                          <a:pt x="21586" y="0"/>
                          <a:pt x="21593" y="-1"/>
                          <a:pt x="21600" y="0"/>
                        </a:cubicBez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79" y="0"/>
                        </a:moveTo>
                        <a:cubicBezTo>
                          <a:pt x="21586" y="0"/>
                          <a:pt x="21593" y="-1"/>
                          <a:pt x="21600" y="0"/>
                        </a:cubicBezTo>
                        <a:cubicBezTo>
                          <a:pt x="33529" y="0"/>
                          <a:pt x="43200" y="9670"/>
                          <a:pt x="43200" y="21600"/>
                        </a:cubicBezTo>
                        <a:cubicBezTo>
                          <a:pt x="43200" y="33529"/>
                          <a:pt x="33529" y="43200"/>
                          <a:pt x="21600" y="43200"/>
                        </a:cubicBezTo>
                        <a:cubicBezTo>
                          <a:pt x="9670" y="43200"/>
                          <a:pt x="0" y="33529"/>
                          <a:pt x="0" y="21600"/>
                        </a:cubicBezTo>
                        <a:lnTo>
                          <a:pt x="21600" y="21600"/>
                        </a:lnTo>
                        <a:lnTo>
                          <a:pt x="21579" y="0"/>
                        </a:lnTo>
                        <a:close/>
                      </a:path>
                    </a:pathLst>
                  </a:custGeom>
                  <a:solidFill>
                    <a:schemeClr val="accent2"/>
                  </a:solidFill>
                  <a:ln w="9525">
                    <a:solidFill>
                      <a:schemeClr val="accent2"/>
                    </a:solidFill>
                    <a:round/>
                    <a:headEnd/>
                    <a:tailEnd/>
                  </a:ln>
                </p:spPr>
                <p:txBody>
                  <a:bodyPr/>
                  <a:lstStyle/>
                  <a:p>
                    <a:endParaRPr lang="en-US" sz="1799" dirty="0"/>
                  </a:p>
                </p:txBody>
              </p:sp>
            </p:grpSp>
          </p:grpSp>
        </p:grpSp>
        <p:grpSp>
          <p:nvGrpSpPr>
            <p:cNvPr id="19" name="Group 18"/>
            <p:cNvGrpSpPr/>
            <p:nvPr/>
          </p:nvGrpSpPr>
          <p:grpSpPr>
            <a:xfrm>
              <a:off x="624541" y="5657372"/>
              <a:ext cx="1174503" cy="288000"/>
              <a:chOff x="624541" y="5682571"/>
              <a:chExt cx="1174503" cy="288000"/>
            </a:xfrm>
          </p:grpSpPr>
          <p:sp>
            <p:nvSpPr>
              <p:cNvPr id="116" name="Rectangle 115"/>
              <p:cNvSpPr/>
              <p:nvPr/>
            </p:nvSpPr>
            <p:spPr>
              <a:xfrm>
                <a:off x="917296" y="5682571"/>
                <a:ext cx="881748" cy="288000"/>
              </a:xfrm>
              <a:prstGeom prst="rect">
                <a:avLst/>
              </a:prstGeom>
            </p:spPr>
            <p:txBody>
              <a:bodyPr wrap="none" lIns="71963" tIns="0" rIns="0" bIns="0" anchor="ctr">
                <a:noAutofit/>
              </a:bodyPr>
              <a:lstStyle/>
              <a:p>
                <a:r>
                  <a:rPr lang="en-US" sz="1199" dirty="0">
                    <a:solidFill>
                      <a:srgbClr val="9999A9"/>
                    </a:solidFill>
                  </a:rPr>
                  <a:t>Successful</a:t>
                </a:r>
              </a:p>
            </p:txBody>
          </p:sp>
          <p:grpSp>
            <p:nvGrpSpPr>
              <p:cNvPr id="163" name="Group 162"/>
              <p:cNvGrpSpPr/>
              <p:nvPr/>
            </p:nvGrpSpPr>
            <p:grpSpPr>
              <a:xfrm>
                <a:off x="624541" y="5682571"/>
                <a:ext cx="288000" cy="288000"/>
                <a:chOff x="8382545" y="3888393"/>
                <a:chExt cx="450001" cy="450001"/>
              </a:xfrm>
            </p:grpSpPr>
            <p:sp>
              <p:nvSpPr>
                <p:cNvPr id="164" name="Rectangle 111"/>
                <p:cNvSpPr>
                  <a:spLocks noChangeArrowheads="1"/>
                </p:cNvSpPr>
                <p:nvPr/>
              </p:nvSpPr>
              <p:spPr bwMode="auto">
                <a:xfrm rot="5400000" flipV="1">
                  <a:off x="8382545" y="3888393"/>
                  <a:ext cx="450001" cy="450001"/>
                </a:xfrm>
                <a:prstGeom prst="rect">
                  <a:avLst/>
                </a:prstGeom>
                <a:noFill/>
                <a:ln>
                  <a:noFill/>
                </a:ln>
              </p:spPr>
              <p:txBody>
                <a:bodyPr vert="horz" wrap="square" lIns="91392" tIns="45696" rIns="91392" bIns="45696" numCol="1" anchor="t" anchorCtr="0" compatLnSpc="1">
                  <a:prstTxWarp prst="textNoShape">
                    <a:avLst/>
                  </a:prstTxWarp>
                </a:bodyPr>
                <a:lstStyle/>
                <a:p>
                  <a:endParaRPr lang="en-US" sz="1799" dirty="0"/>
                </a:p>
              </p:txBody>
            </p:sp>
            <p:sp>
              <p:nvSpPr>
                <p:cNvPr id="165" name="Oval 50"/>
                <p:cNvSpPr>
                  <a:spLocks noChangeAspect="1" noChangeArrowheads="1"/>
                </p:cNvSpPr>
                <p:nvPr>
                  <p:custDataLst>
                    <p:tags r:id="rId2"/>
                  </p:custDataLst>
                </p:nvPr>
              </p:nvSpPr>
              <p:spPr bwMode="auto">
                <a:xfrm>
                  <a:off x="8463545" y="3969393"/>
                  <a:ext cx="288000" cy="288000"/>
                </a:xfrm>
                <a:prstGeom prst="ellipse">
                  <a:avLst/>
                </a:prstGeom>
                <a:solidFill>
                  <a:schemeClr val="accent2"/>
                </a:solidFill>
                <a:ln w="9525">
                  <a:solidFill>
                    <a:schemeClr val="accent2"/>
                  </a:solidFill>
                  <a:round/>
                  <a:headEnd/>
                  <a:tailEnd/>
                </a:ln>
                <a:effectLst/>
              </p:spPr>
              <p:txBody>
                <a:bodyPr wrap="none" anchor="ctr"/>
                <a:lstStyle/>
                <a:p>
                  <a:endParaRPr lang="en-US" sz="1799" dirty="0"/>
                </a:p>
              </p:txBody>
            </p:sp>
          </p:grpSp>
        </p:grpSp>
        <p:grpSp>
          <p:nvGrpSpPr>
            <p:cNvPr id="16" name="Group 15"/>
            <p:cNvGrpSpPr/>
            <p:nvPr/>
          </p:nvGrpSpPr>
          <p:grpSpPr>
            <a:xfrm>
              <a:off x="6331794" y="5657372"/>
              <a:ext cx="1774544" cy="289593"/>
              <a:chOff x="6071410" y="5682571"/>
              <a:chExt cx="1774544" cy="289593"/>
            </a:xfrm>
          </p:grpSpPr>
          <p:sp>
            <p:nvSpPr>
              <p:cNvPr id="126" name="Rectangle 125"/>
              <p:cNvSpPr/>
              <p:nvPr/>
            </p:nvSpPr>
            <p:spPr>
              <a:xfrm>
                <a:off x="6359410" y="5684164"/>
                <a:ext cx="1486544" cy="288000"/>
              </a:xfrm>
              <a:prstGeom prst="rect">
                <a:avLst/>
              </a:prstGeom>
            </p:spPr>
            <p:txBody>
              <a:bodyPr wrap="none" lIns="71963" tIns="0" rIns="0" bIns="0" anchor="ctr">
                <a:noAutofit/>
              </a:bodyPr>
              <a:lstStyle/>
              <a:p>
                <a:r>
                  <a:rPr lang="en-US" sz="1199" dirty="0">
                    <a:solidFill>
                      <a:srgbClr val="9999A9"/>
                    </a:solidFill>
                  </a:rPr>
                  <a:t>Mostly unsuccessful</a:t>
                </a:r>
              </a:p>
            </p:txBody>
          </p:sp>
          <p:grpSp>
            <p:nvGrpSpPr>
              <p:cNvPr id="166" name="Group 165"/>
              <p:cNvGrpSpPr/>
              <p:nvPr/>
            </p:nvGrpSpPr>
            <p:grpSpPr>
              <a:xfrm>
                <a:off x="6071410" y="5682571"/>
                <a:ext cx="288000" cy="288000"/>
                <a:chOff x="8381552" y="2105604"/>
                <a:chExt cx="450989" cy="450989"/>
              </a:xfrm>
            </p:grpSpPr>
            <p:sp>
              <p:nvSpPr>
                <p:cNvPr id="167" name="Rectangle 191"/>
                <p:cNvSpPr>
                  <a:spLocks noChangeArrowheads="1"/>
                </p:cNvSpPr>
                <p:nvPr/>
              </p:nvSpPr>
              <p:spPr bwMode="auto">
                <a:xfrm>
                  <a:off x="8381552" y="2105604"/>
                  <a:ext cx="450989" cy="450989"/>
                </a:xfrm>
                <a:prstGeom prst="rect">
                  <a:avLst/>
                </a:prstGeom>
                <a:noFill/>
                <a:ln>
                  <a:noFill/>
                </a:ln>
              </p:spPr>
              <p:txBody>
                <a:bodyPr vert="horz" wrap="square" lIns="91392" tIns="45696" rIns="91392" bIns="45696" numCol="1" anchor="t" anchorCtr="0" compatLnSpc="1">
                  <a:prstTxWarp prst="textNoShape">
                    <a:avLst/>
                  </a:prstTxWarp>
                </a:bodyPr>
                <a:lstStyle/>
                <a:p>
                  <a:endParaRPr lang="en-US" sz="1799" dirty="0"/>
                </a:p>
              </p:txBody>
            </p:sp>
            <p:grpSp>
              <p:nvGrpSpPr>
                <p:cNvPr id="168" name="Group 167"/>
                <p:cNvGrpSpPr>
                  <a:grpSpLocks noChangeAspect="1"/>
                </p:cNvGrpSpPr>
                <p:nvPr/>
              </p:nvGrpSpPr>
              <p:grpSpPr>
                <a:xfrm>
                  <a:off x="8463046" y="2187098"/>
                  <a:ext cx="288000" cy="288000"/>
                  <a:chOff x="11042463" y="2750400"/>
                  <a:chExt cx="303339" cy="303339"/>
                </a:xfrm>
              </p:grpSpPr>
              <p:sp>
                <p:nvSpPr>
                  <p:cNvPr id="169" name="Oval 52"/>
                  <p:cNvSpPr>
                    <a:spLocks noChangeArrowheads="1"/>
                  </p:cNvSpPr>
                  <p:nvPr/>
                </p:nvSpPr>
                <p:spPr bwMode="auto">
                  <a:xfrm>
                    <a:off x="11042463" y="2750400"/>
                    <a:ext cx="303339" cy="303339"/>
                  </a:xfrm>
                  <a:prstGeom prst="ellipse">
                    <a:avLst/>
                  </a:prstGeom>
                  <a:noFill/>
                  <a:ln w="9525">
                    <a:solidFill>
                      <a:schemeClr val="accent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99" dirty="0"/>
                  </a:p>
                </p:txBody>
              </p:sp>
              <p:sp>
                <p:nvSpPr>
                  <p:cNvPr id="170" name="Arc 53"/>
                  <p:cNvSpPr>
                    <a:spLocks/>
                  </p:cNvSpPr>
                  <p:nvPr/>
                </p:nvSpPr>
                <p:spPr bwMode="auto">
                  <a:xfrm>
                    <a:off x="11195240" y="2750400"/>
                    <a:ext cx="150562" cy="151670"/>
                  </a:xfrm>
                  <a:custGeom>
                    <a:avLst/>
                    <a:gdLst>
                      <a:gd name="T0" fmla="*/ 0 w 21621"/>
                      <a:gd name="T1" fmla="*/ 0 h 21600"/>
                      <a:gd name="T2" fmla="*/ 68 w 21621"/>
                      <a:gd name="T3" fmla="*/ 68 h 21600"/>
                      <a:gd name="T4" fmla="*/ 0 w 21621"/>
                      <a:gd name="T5" fmla="*/ 68 h 21600"/>
                      <a:gd name="T6" fmla="*/ 0 60000 65536"/>
                      <a:gd name="T7" fmla="*/ 0 60000 65536"/>
                      <a:gd name="T8" fmla="*/ 0 60000 65536"/>
                    </a:gdLst>
                    <a:ahLst/>
                    <a:cxnLst>
                      <a:cxn ang="T6">
                        <a:pos x="T0" y="T1"/>
                      </a:cxn>
                      <a:cxn ang="T7">
                        <a:pos x="T2" y="T3"/>
                      </a:cxn>
                      <a:cxn ang="T8">
                        <a:pos x="T4" y="T5"/>
                      </a:cxn>
                    </a:cxnLst>
                    <a:rect l="0" t="0" r="r" b="b"/>
                    <a:pathLst>
                      <a:path w="21621" h="21600" fill="none" extrusionOk="0">
                        <a:moveTo>
                          <a:pt x="0" y="0"/>
                        </a:moveTo>
                        <a:cubicBezTo>
                          <a:pt x="7" y="0"/>
                          <a:pt x="14" y="-1"/>
                          <a:pt x="21" y="0"/>
                        </a:cubicBezTo>
                        <a:cubicBezTo>
                          <a:pt x="11942" y="0"/>
                          <a:pt x="21609" y="9657"/>
                          <a:pt x="21620" y="21579"/>
                        </a:cubicBezTo>
                      </a:path>
                      <a:path w="21621" h="21600" stroke="0" extrusionOk="0">
                        <a:moveTo>
                          <a:pt x="0" y="0"/>
                        </a:moveTo>
                        <a:cubicBezTo>
                          <a:pt x="7" y="0"/>
                          <a:pt x="14" y="-1"/>
                          <a:pt x="21" y="0"/>
                        </a:cubicBezTo>
                        <a:cubicBezTo>
                          <a:pt x="11942" y="0"/>
                          <a:pt x="21609" y="9657"/>
                          <a:pt x="21620" y="21579"/>
                        </a:cubicBezTo>
                        <a:lnTo>
                          <a:pt x="21" y="21600"/>
                        </a:lnTo>
                        <a:lnTo>
                          <a:pt x="0" y="0"/>
                        </a:lnTo>
                        <a:close/>
                      </a:path>
                    </a:pathLst>
                  </a:custGeom>
                  <a:solidFill>
                    <a:schemeClr val="accent2"/>
                  </a:solidFill>
                  <a:ln w="9525">
                    <a:solidFill>
                      <a:schemeClr val="accent2"/>
                    </a:solidFill>
                    <a:round/>
                    <a:headEnd/>
                    <a:tailEnd/>
                  </a:ln>
                </p:spPr>
                <p:txBody>
                  <a:bodyPr/>
                  <a:lstStyle/>
                  <a:p>
                    <a:endParaRPr lang="en-US" sz="1799" dirty="0"/>
                  </a:p>
                </p:txBody>
              </p:sp>
            </p:grpSp>
          </p:grpSp>
        </p:grpSp>
      </p:grpSp>
      <p:sp>
        <p:nvSpPr>
          <p:cNvPr id="6" name="Footer Placeholder 5">
            <a:extLst>
              <a:ext uri="{FF2B5EF4-FFF2-40B4-BE49-F238E27FC236}">
                <a16:creationId xmlns:a16="http://schemas.microsoft.com/office/drawing/2014/main" id="{94F69D75-E159-4D1A-84E3-2C9FFFEF2ED9}"/>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9" name="Slide Number Placeholder 8">
            <a:extLst>
              <a:ext uri="{FF2B5EF4-FFF2-40B4-BE49-F238E27FC236}">
                <a16:creationId xmlns:a16="http://schemas.microsoft.com/office/drawing/2014/main" id="{D66C8613-BB56-4435-AB5D-50B7FF2AC37C}"/>
              </a:ext>
            </a:extLst>
          </p:cNvPr>
          <p:cNvSpPr>
            <a:spLocks noGrp="1"/>
          </p:cNvSpPr>
          <p:nvPr>
            <p:ph type="sldNum" sz="quarter" idx="11"/>
          </p:nvPr>
        </p:nvSpPr>
        <p:spPr/>
        <p:txBody>
          <a:bodyPr/>
          <a:lstStyle/>
          <a:p>
            <a:r>
              <a:rPr lang="en-US" dirty="0"/>
              <a:t>Page </a:t>
            </a:r>
            <a:fld id="{15EBE321-CBB1-4E91-BD14-37C8D44326FB}" type="slidenum">
              <a:rPr lang="en-US" smtClean="0"/>
              <a:pPr/>
              <a:t>59</a:t>
            </a:fld>
            <a:endParaRPr lang="en-US" dirty="0"/>
          </a:p>
        </p:txBody>
      </p:sp>
    </p:spTree>
    <p:extLst>
      <p:ext uri="{BB962C8B-B14F-4D97-AF65-F5344CB8AC3E}">
        <p14:creationId xmlns:p14="http://schemas.microsoft.com/office/powerpoint/2010/main" val="1588958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elle 2"/>
          <p:cNvGraphicFramePr>
            <a:graphicFrameLocks noGrp="1"/>
          </p:cNvGraphicFramePr>
          <p:nvPr>
            <p:extLst>
              <p:ext uri="{D42A27DB-BD31-4B8C-83A1-F6EECF244321}">
                <p14:modId xmlns:p14="http://schemas.microsoft.com/office/powerpoint/2010/main" val="1727784725"/>
              </p:ext>
            </p:extLst>
          </p:nvPr>
        </p:nvGraphicFramePr>
        <p:xfrm>
          <a:off x="411163" y="1415849"/>
          <a:ext cx="11374585" cy="4697747"/>
        </p:xfrm>
        <a:graphic>
          <a:graphicData uri="http://schemas.openxmlformats.org/drawingml/2006/table">
            <a:tbl>
              <a:tblPr firstRow="1">
                <a:tableStyleId>{0E3FDE45-AF77-4B5C-9715-49D594BDF05E}</a:tableStyleId>
              </a:tblPr>
              <a:tblGrid>
                <a:gridCol w="1583410">
                  <a:extLst>
                    <a:ext uri="{9D8B030D-6E8A-4147-A177-3AD203B41FA5}">
                      <a16:colId xmlns:a16="http://schemas.microsoft.com/office/drawing/2014/main" val="20000"/>
                    </a:ext>
                  </a:extLst>
                </a:gridCol>
                <a:gridCol w="2159175">
                  <a:extLst>
                    <a:ext uri="{9D8B030D-6E8A-4147-A177-3AD203B41FA5}">
                      <a16:colId xmlns:a16="http://schemas.microsoft.com/office/drawing/2014/main" val="20001"/>
                    </a:ext>
                  </a:extLst>
                </a:gridCol>
                <a:gridCol w="7632000">
                  <a:extLst>
                    <a:ext uri="{9D8B030D-6E8A-4147-A177-3AD203B41FA5}">
                      <a16:colId xmlns:a16="http://schemas.microsoft.com/office/drawing/2014/main" val="20002"/>
                    </a:ext>
                  </a:extLst>
                </a:gridCol>
              </a:tblGrid>
              <a:tr h="485747">
                <a:tc>
                  <a:txBody>
                    <a:bodyPr/>
                    <a:lstStyle/>
                    <a:p>
                      <a:r>
                        <a:rPr lang="en-US" sz="1800" noProof="0" dirty="0">
                          <a:solidFill>
                            <a:srgbClr val="9999A9"/>
                          </a:solidFill>
                        </a:rPr>
                        <a:t>Lorem</a:t>
                      </a:r>
                    </a:p>
                  </a:txBody>
                  <a:tcPr marL="0" marR="143925" marT="71963" marB="71963" anchor="ctr">
                    <a:lnB w="28575" cap="flat" cmpd="sng" algn="ctr">
                      <a:solidFill>
                        <a:srgbClr val="9999A9"/>
                      </a:solidFill>
                      <a:prstDash val="solid"/>
                      <a:round/>
                      <a:headEnd type="none" w="med" len="med"/>
                      <a:tailEnd type="none" w="med" len="med"/>
                    </a:lnB>
                  </a:tcPr>
                </a:tc>
                <a:tc>
                  <a:txBody>
                    <a:bodyPr/>
                    <a:lstStyle/>
                    <a:p>
                      <a:r>
                        <a:rPr lang="en-US" sz="1800" noProof="0" dirty="0">
                          <a:solidFill>
                            <a:srgbClr val="9999A9"/>
                          </a:solidFill>
                        </a:rPr>
                        <a:t>Ipsum</a:t>
                      </a:r>
                    </a:p>
                  </a:txBody>
                  <a:tcPr marL="143925" marR="143925" marT="71963" marB="71963" anchor="ctr">
                    <a:lnB w="28575" cap="flat" cmpd="sng" algn="ctr">
                      <a:solidFill>
                        <a:srgbClr val="9999A9"/>
                      </a:solidFill>
                      <a:prstDash val="solid"/>
                      <a:round/>
                      <a:headEnd type="none" w="med" len="med"/>
                      <a:tailEnd type="none" w="med" len="med"/>
                    </a:lnB>
                  </a:tcPr>
                </a:tc>
                <a:tc>
                  <a:txBody>
                    <a:bodyPr/>
                    <a:lstStyle/>
                    <a:p>
                      <a:r>
                        <a:rPr lang="en-US" sz="1800" noProof="0" dirty="0">
                          <a:solidFill>
                            <a:srgbClr val="9999A9"/>
                          </a:solidFill>
                        </a:rPr>
                        <a:t>Dolore esta conses</a:t>
                      </a:r>
                    </a:p>
                  </a:txBody>
                  <a:tcPr marL="143925" marR="143925" marT="71963" marB="71963" anchor="ctr">
                    <a:lnB w="28575" cap="flat" cmpd="sng" algn="ctr">
                      <a:solidFill>
                        <a:srgbClr val="9999A9"/>
                      </a:solidFill>
                      <a:prstDash val="solid"/>
                      <a:round/>
                      <a:headEnd type="none" w="med" len="med"/>
                      <a:tailEnd type="none" w="med" len="med"/>
                    </a:lnB>
                  </a:tcPr>
                </a:tc>
                <a:extLst>
                  <a:ext uri="{0D108BD9-81ED-4DB2-BD59-A6C34878D82A}">
                    <a16:rowId xmlns:a16="http://schemas.microsoft.com/office/drawing/2014/main" val="10000"/>
                  </a:ext>
                </a:extLst>
              </a:tr>
              <a:tr h="1404000">
                <a:tc>
                  <a:txBody>
                    <a:bodyPr/>
                    <a:lstStyle/>
                    <a:p>
                      <a:r>
                        <a:rPr lang="en-US" sz="1600" noProof="0" dirty="0">
                          <a:solidFill>
                            <a:srgbClr val="9999A9"/>
                          </a:solidFill>
                        </a:rPr>
                        <a:t>At vero eos et accusam</a:t>
                      </a:r>
                    </a:p>
                  </a:txBody>
                  <a:tcPr marL="0" marR="71963" marT="71963" marB="71963">
                    <a:lnT w="28575" cap="flat" cmpd="sng" algn="ctr">
                      <a:solidFill>
                        <a:srgbClr val="9999A9"/>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180000" indent="-180000">
                        <a:spcBef>
                          <a:spcPts val="300"/>
                        </a:spcBef>
                        <a:spcAft>
                          <a:spcPts val="0"/>
                        </a:spcAft>
                        <a:buClrTx/>
                        <a:buSzPct val="100000"/>
                        <a:buFont typeface="Arial" panose="020B0604020202020204" pitchFamily="34" charset="0"/>
                        <a:buChar char="•"/>
                      </a:pPr>
                      <a:r>
                        <a:rPr lang="en-US" sz="1200" noProof="0" dirty="0">
                          <a:solidFill>
                            <a:srgbClr val="9999A9"/>
                          </a:solidFill>
                        </a:rPr>
                        <a:t>At vero eos et accusam</a:t>
                      </a:r>
                    </a:p>
                    <a:p>
                      <a:pPr marL="180000" indent="-180000">
                        <a:spcBef>
                          <a:spcPts val="300"/>
                        </a:spcBef>
                        <a:spcAft>
                          <a:spcPts val="0"/>
                        </a:spcAft>
                        <a:buClrTx/>
                        <a:buSzPct val="100000"/>
                        <a:buFont typeface="Arial" panose="020B0604020202020204" pitchFamily="34" charset="0"/>
                        <a:buChar char="•"/>
                      </a:pPr>
                      <a:r>
                        <a:rPr lang="en-US" sz="1200" noProof="0" dirty="0">
                          <a:solidFill>
                            <a:srgbClr val="9999A9"/>
                          </a:solidFill>
                        </a:rPr>
                        <a:t>Duis arcu tortor</a:t>
                      </a:r>
                    </a:p>
                    <a:p>
                      <a:pPr marL="180000" marR="0" lvl="0" indent="-180000" algn="l" defTabSz="914400" rtl="0" eaLnBrk="1" fontAlgn="auto" latinLnBrk="0" hangingPunct="1">
                        <a:lnSpc>
                          <a:spcPct val="100000"/>
                        </a:lnSpc>
                        <a:spcBef>
                          <a:spcPts val="300"/>
                        </a:spcBef>
                        <a:spcAft>
                          <a:spcPts val="0"/>
                        </a:spcAft>
                        <a:buClrTx/>
                        <a:buSzPct val="100000"/>
                        <a:buFont typeface="Arial" panose="020B0604020202020204" pitchFamily="34" charset="0"/>
                        <a:buChar char="•"/>
                        <a:tabLst/>
                        <a:defRPr/>
                      </a:pPr>
                      <a:r>
                        <a:rPr lang="en-US" sz="1200" noProof="0" dirty="0">
                          <a:solidFill>
                            <a:srgbClr val="9999A9"/>
                          </a:solidFill>
                        </a:rPr>
                        <a:t>At vero eos et accusam</a:t>
                      </a:r>
                    </a:p>
                  </a:txBody>
                  <a:tcPr marL="143925" marR="71963" marT="71963" marB="71963">
                    <a:lnT w="28575" cap="flat" cmpd="sng" algn="ctr">
                      <a:solidFill>
                        <a:srgbClr val="9999A9"/>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endParaRPr lang="en-US" sz="1800" noProof="0" dirty="0">
                        <a:solidFill>
                          <a:srgbClr val="9999A9"/>
                        </a:solidFill>
                      </a:endParaRPr>
                    </a:p>
                  </a:txBody>
                  <a:tcPr marL="71963" marR="71963" marT="71963" marB="71963">
                    <a:lnT w="28575" cap="flat" cmpd="sng" algn="ctr">
                      <a:solidFill>
                        <a:srgbClr val="9999A9"/>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1"/>
                  </a:ext>
                </a:extLst>
              </a:tr>
              <a:tr h="1404000">
                <a:tc>
                  <a:txBody>
                    <a:bodyPr/>
                    <a:lstStyle/>
                    <a:p>
                      <a:r>
                        <a:rPr lang="en-US" sz="1600" noProof="0" dirty="0">
                          <a:solidFill>
                            <a:srgbClr val="9999A9"/>
                          </a:solidFill>
                        </a:rPr>
                        <a:t>Lorem ipsum dolor</a:t>
                      </a:r>
                    </a:p>
                  </a:txBody>
                  <a:tcPr marL="0"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180000" indent="-180000" algn="l" defTabSz="914400" rtl="0" eaLnBrk="1" latinLnBrk="0" hangingPunct="1">
                        <a:spcBef>
                          <a:spcPts val="300"/>
                        </a:spcBef>
                        <a:spcAft>
                          <a:spcPts val="0"/>
                        </a:spcAft>
                        <a:buClrTx/>
                        <a:buSzPct val="100000"/>
                        <a:buFont typeface="Arial" panose="020B0604020202020204" pitchFamily="34" charset="0"/>
                        <a:buChar char="•"/>
                      </a:pPr>
                      <a:r>
                        <a:rPr lang="en-US" sz="1200" kern="1200" noProof="0" dirty="0">
                          <a:solidFill>
                            <a:srgbClr val="9999A9"/>
                          </a:solidFill>
                          <a:latin typeface="+mn-lt"/>
                          <a:ea typeface="+mn-ea"/>
                          <a:cs typeface="+mn-cs"/>
                        </a:rPr>
                        <a:t>Consetetur sadipscing elitr</a:t>
                      </a:r>
                    </a:p>
                    <a:p>
                      <a:pPr marL="180000" marR="0" lvl="0" indent="-180000" algn="l" defTabSz="914400" rtl="0" eaLnBrk="1" fontAlgn="auto" latinLnBrk="0" hangingPunct="1">
                        <a:lnSpc>
                          <a:spcPct val="100000"/>
                        </a:lnSpc>
                        <a:spcBef>
                          <a:spcPts val="300"/>
                        </a:spcBef>
                        <a:spcAft>
                          <a:spcPts val="0"/>
                        </a:spcAft>
                        <a:buClrTx/>
                        <a:buSzPct val="100000"/>
                        <a:buFont typeface="Arial" panose="020B0604020202020204" pitchFamily="34" charset="0"/>
                        <a:buChar char="•"/>
                        <a:tabLst/>
                        <a:defRPr/>
                      </a:pPr>
                      <a:r>
                        <a:rPr lang="en-US" sz="1200" kern="1200" noProof="0" dirty="0">
                          <a:solidFill>
                            <a:srgbClr val="9999A9"/>
                          </a:solidFill>
                          <a:latin typeface="+mn-lt"/>
                          <a:ea typeface="+mn-ea"/>
                          <a:cs typeface="+mn-cs"/>
                        </a:rPr>
                        <a:t>Lorem dolor</a:t>
                      </a:r>
                    </a:p>
                    <a:p>
                      <a:pPr marL="180000" marR="0" lvl="0" indent="-180000" algn="l" defTabSz="914400" rtl="0" eaLnBrk="1" fontAlgn="auto" latinLnBrk="0" hangingPunct="1">
                        <a:lnSpc>
                          <a:spcPct val="100000"/>
                        </a:lnSpc>
                        <a:spcBef>
                          <a:spcPts val="300"/>
                        </a:spcBef>
                        <a:spcAft>
                          <a:spcPts val="0"/>
                        </a:spcAft>
                        <a:buClrTx/>
                        <a:buSzPct val="100000"/>
                        <a:buFont typeface="Arial" panose="020B0604020202020204" pitchFamily="34" charset="0"/>
                        <a:buChar char="•"/>
                        <a:tabLst/>
                        <a:defRPr/>
                      </a:pPr>
                      <a:r>
                        <a:rPr lang="en-US" sz="1200" kern="1200" noProof="0" dirty="0">
                          <a:solidFill>
                            <a:srgbClr val="9999A9"/>
                          </a:solidFill>
                          <a:latin typeface="+mn-lt"/>
                          <a:ea typeface="+mn-ea"/>
                          <a:cs typeface="+mn-cs"/>
                        </a:rPr>
                        <a:t>Esta conses</a:t>
                      </a:r>
                    </a:p>
                  </a:txBody>
                  <a:tcPr marL="143925"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endParaRPr lang="en-US" sz="1800" noProof="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2"/>
                  </a:ext>
                </a:extLst>
              </a:tr>
              <a:tr h="1404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noProof="0" dirty="0">
                          <a:solidFill>
                            <a:srgbClr val="9999A9"/>
                          </a:solidFill>
                        </a:rPr>
                        <a:t>At vero eos et accusam</a:t>
                      </a:r>
                      <a:endParaRPr lang="en-US" sz="1400" noProof="0" dirty="0">
                        <a:solidFill>
                          <a:srgbClr val="9999A9"/>
                        </a:solidFill>
                      </a:endParaRPr>
                    </a:p>
                  </a:txBody>
                  <a:tcPr marL="0"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180000" indent="-180000" algn="l" defTabSz="914400" rtl="0" eaLnBrk="1" latinLnBrk="0" hangingPunct="1">
                        <a:spcBef>
                          <a:spcPts val="300"/>
                        </a:spcBef>
                        <a:spcAft>
                          <a:spcPts val="0"/>
                        </a:spcAft>
                        <a:buClrTx/>
                        <a:buSzPct val="100000"/>
                        <a:buFont typeface="Arial" panose="020B0604020202020204" pitchFamily="34" charset="0"/>
                        <a:buChar char="•"/>
                      </a:pPr>
                      <a:r>
                        <a:rPr lang="en-US" sz="1200" noProof="0" dirty="0">
                          <a:solidFill>
                            <a:srgbClr val="9999A9"/>
                          </a:solidFill>
                        </a:rPr>
                        <a:t>Esta </a:t>
                      </a:r>
                      <a:r>
                        <a:rPr lang="en-US" sz="1200" kern="1200" noProof="0" dirty="0">
                          <a:solidFill>
                            <a:srgbClr val="9999A9"/>
                          </a:solidFill>
                          <a:latin typeface="+mn-lt"/>
                          <a:ea typeface="+mn-ea"/>
                          <a:cs typeface="+mn-cs"/>
                        </a:rPr>
                        <a:t>conses dolores quo</a:t>
                      </a:r>
                    </a:p>
                    <a:p>
                      <a:pPr marL="180000" indent="-180000" algn="l" defTabSz="914400" rtl="0" eaLnBrk="1" latinLnBrk="0" hangingPunct="1">
                        <a:spcBef>
                          <a:spcPts val="300"/>
                        </a:spcBef>
                        <a:spcAft>
                          <a:spcPts val="0"/>
                        </a:spcAft>
                        <a:buClrTx/>
                        <a:buSzPct val="100000"/>
                        <a:buFont typeface="Arial" panose="020B0604020202020204" pitchFamily="34" charset="0"/>
                        <a:buChar char="•"/>
                      </a:pPr>
                      <a:r>
                        <a:rPr lang="en-US" sz="1200" kern="1200" noProof="0" dirty="0">
                          <a:solidFill>
                            <a:srgbClr val="9999A9"/>
                          </a:solidFill>
                          <a:latin typeface="+mn-lt"/>
                          <a:ea typeface="+mn-ea"/>
                          <a:cs typeface="+mn-cs"/>
                        </a:rPr>
                        <a:t>Consetetur elitr</a:t>
                      </a:r>
                    </a:p>
                    <a:p>
                      <a:pPr marL="180000" indent="-180000" algn="l" defTabSz="914400" rtl="0" eaLnBrk="1" latinLnBrk="0" hangingPunct="1">
                        <a:spcBef>
                          <a:spcPts val="300"/>
                        </a:spcBef>
                        <a:spcAft>
                          <a:spcPts val="0"/>
                        </a:spcAft>
                        <a:buClrTx/>
                        <a:buSzPct val="100000"/>
                        <a:buFont typeface="Arial" panose="020B0604020202020204" pitchFamily="34" charset="0"/>
                        <a:buChar char="•"/>
                      </a:pPr>
                      <a:r>
                        <a:rPr lang="en-US" sz="1200" kern="1200" noProof="0" dirty="0">
                          <a:solidFill>
                            <a:srgbClr val="9999A9"/>
                          </a:solidFill>
                          <a:latin typeface="+mn-lt"/>
                          <a:ea typeface="+mn-ea"/>
                          <a:cs typeface="+mn-cs"/>
                        </a:rPr>
                        <a:t>Dolor con</a:t>
                      </a:r>
                    </a:p>
                  </a:txBody>
                  <a:tcPr marL="143925"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endParaRPr lang="en-US" sz="1800" noProof="0" dirty="0">
                        <a:solidFill>
                          <a:srgbClr val="9999A9"/>
                        </a:solidFill>
                      </a:endParaRPr>
                    </a:p>
                  </a:txBody>
                  <a:tcPr marL="71963" marR="71963" marT="71963" marB="71963">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2" name="Titel 1"/>
          <p:cNvSpPr>
            <a:spLocks noGrp="1"/>
          </p:cNvSpPr>
          <p:nvPr>
            <p:ph type="title"/>
          </p:nvPr>
        </p:nvSpPr>
        <p:spPr/>
        <p:txBody>
          <a:bodyPr/>
          <a:lstStyle/>
          <a:p>
            <a:r>
              <a:rPr lang="en-US" dirty="0"/>
              <a:t>Contents</a:t>
            </a:r>
          </a:p>
        </p:txBody>
      </p:sp>
      <p:sp>
        <p:nvSpPr>
          <p:cNvPr id="6" name="Footer Placeholder 5">
            <a:extLst>
              <a:ext uri="{FF2B5EF4-FFF2-40B4-BE49-F238E27FC236}">
                <a16:creationId xmlns:a16="http://schemas.microsoft.com/office/drawing/2014/main" id="{8AF93908-246B-481E-B597-DC73B69DAB9E}"/>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7" name="Slide Number Placeholder 6">
            <a:extLst>
              <a:ext uri="{FF2B5EF4-FFF2-40B4-BE49-F238E27FC236}">
                <a16:creationId xmlns:a16="http://schemas.microsoft.com/office/drawing/2014/main" id="{32CCD9A3-8653-4D9F-A712-2FEC5A722D4D}"/>
              </a:ext>
            </a:extLst>
          </p:cNvPr>
          <p:cNvSpPr>
            <a:spLocks noGrp="1"/>
          </p:cNvSpPr>
          <p:nvPr>
            <p:ph type="sldNum" sz="quarter" idx="11"/>
          </p:nvPr>
        </p:nvSpPr>
        <p:spPr/>
        <p:txBody>
          <a:bodyPr/>
          <a:lstStyle/>
          <a:p>
            <a:r>
              <a:rPr lang="en-US" dirty="0"/>
              <a:t>Page </a:t>
            </a:r>
            <a:fld id="{15EBE321-CBB1-4E91-BD14-37C8D44326FB}" type="slidenum">
              <a:rPr lang="en-US" smtClean="0"/>
              <a:pPr/>
              <a:t>6</a:t>
            </a:fld>
            <a:endParaRPr lang="en-US" dirty="0"/>
          </a:p>
        </p:txBody>
      </p:sp>
      <p:grpSp>
        <p:nvGrpSpPr>
          <p:cNvPr id="5" name="Group 4">
            <a:extLst>
              <a:ext uri="{FF2B5EF4-FFF2-40B4-BE49-F238E27FC236}">
                <a16:creationId xmlns:a16="http://schemas.microsoft.com/office/drawing/2014/main" id="{08B27A70-AD7C-41B4-99FE-6FACDA334F2D}"/>
              </a:ext>
            </a:extLst>
          </p:cNvPr>
          <p:cNvGrpSpPr/>
          <p:nvPr/>
        </p:nvGrpSpPr>
        <p:grpSpPr>
          <a:xfrm>
            <a:off x="4298400" y="2026800"/>
            <a:ext cx="1584000" cy="864501"/>
            <a:chOff x="4280400" y="2009538"/>
            <a:chExt cx="1512000" cy="864501"/>
          </a:xfrm>
        </p:grpSpPr>
        <p:sp>
          <p:nvSpPr>
            <p:cNvPr id="38" name="Rectangle 37"/>
            <p:cNvSpPr/>
            <p:nvPr/>
          </p:nvSpPr>
          <p:spPr bwMode="auto">
            <a:xfrm>
              <a:off x="4280400" y="2009538"/>
              <a:ext cx="1512000" cy="864000"/>
            </a:xfrm>
            <a:prstGeom prst="rect">
              <a:avLst/>
            </a:prstGeom>
            <a:solidFill>
              <a:srgbClr val="E5E5E9"/>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grpSp>
          <p:nvGrpSpPr>
            <p:cNvPr id="4" name="Group 3">
              <a:extLst>
                <a:ext uri="{FF2B5EF4-FFF2-40B4-BE49-F238E27FC236}">
                  <a16:creationId xmlns:a16="http://schemas.microsoft.com/office/drawing/2014/main" id="{8E9830DD-B619-4EB6-8BDB-94AADC3C93F7}"/>
                </a:ext>
              </a:extLst>
            </p:cNvPr>
            <p:cNvGrpSpPr/>
            <p:nvPr/>
          </p:nvGrpSpPr>
          <p:grpSpPr>
            <a:xfrm>
              <a:off x="4280400" y="2009538"/>
              <a:ext cx="1511191" cy="864501"/>
              <a:chOff x="4280400" y="2009538"/>
              <a:chExt cx="1511191" cy="864501"/>
            </a:xfrm>
          </p:grpSpPr>
          <p:cxnSp>
            <p:nvCxnSpPr>
              <p:cNvPr id="39" name="Straight Connector 38"/>
              <p:cNvCxnSpPr/>
              <p:nvPr/>
            </p:nvCxnSpPr>
            <p:spPr bwMode="auto">
              <a:xfrm>
                <a:off x="4280400" y="2010039"/>
                <a:ext cx="1511191" cy="864000"/>
              </a:xfrm>
              <a:prstGeom prst="line">
                <a:avLst/>
              </a:prstGeom>
              <a:solidFill>
                <a:schemeClr val="tx2"/>
              </a:solidFill>
              <a:ln w="12700" cap="flat" cmpd="sng" algn="ctr">
                <a:solidFill>
                  <a:srgbClr val="9999A9"/>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Straight Connector 39"/>
              <p:cNvCxnSpPr/>
              <p:nvPr/>
            </p:nvCxnSpPr>
            <p:spPr bwMode="auto">
              <a:xfrm flipH="1">
                <a:off x="4280400" y="2009538"/>
                <a:ext cx="1511191" cy="864000"/>
              </a:xfrm>
              <a:prstGeom prst="line">
                <a:avLst/>
              </a:prstGeom>
              <a:solidFill>
                <a:schemeClr val="tx2"/>
              </a:solidFill>
              <a:ln w="12700" cap="flat" cmpd="sng" algn="ctr">
                <a:solidFill>
                  <a:srgbClr val="9999A9"/>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sp>
        <p:nvSpPr>
          <p:cNvPr id="54" name="Textfeld 18"/>
          <p:cNvSpPr txBox="1"/>
          <p:nvPr/>
        </p:nvSpPr>
        <p:spPr>
          <a:xfrm>
            <a:off x="411826" y="2487496"/>
            <a:ext cx="1582749" cy="808363"/>
          </a:xfrm>
          <a:prstGeom prst="rect">
            <a:avLst/>
          </a:prstGeom>
          <a:noFill/>
        </p:spPr>
        <p:txBody>
          <a:bodyPr wrap="square" lIns="0" tIns="0" rIns="0" bIns="35981" rtlCol="0" anchor="b" anchorCtr="0">
            <a:noAutofit/>
          </a:bodyPr>
          <a:lstStyle/>
          <a:p>
            <a:pPr>
              <a:lnSpc>
                <a:spcPct val="50000"/>
              </a:lnSpc>
            </a:pPr>
            <a:r>
              <a:rPr lang="en-US" sz="5997" b="1" dirty="0">
                <a:solidFill>
                  <a:srgbClr val="00FFB9"/>
                </a:solidFill>
              </a:rPr>
              <a:t>1</a:t>
            </a:r>
          </a:p>
        </p:txBody>
      </p:sp>
      <p:sp>
        <p:nvSpPr>
          <p:cNvPr id="100" name="Textfeld 18"/>
          <p:cNvSpPr txBox="1"/>
          <p:nvPr/>
        </p:nvSpPr>
        <p:spPr>
          <a:xfrm>
            <a:off x="411826" y="3877148"/>
            <a:ext cx="1510776" cy="808363"/>
          </a:xfrm>
          <a:prstGeom prst="rect">
            <a:avLst/>
          </a:prstGeom>
          <a:noFill/>
        </p:spPr>
        <p:txBody>
          <a:bodyPr wrap="square" lIns="0" tIns="0" rIns="0" bIns="35981" rtlCol="0" anchor="b" anchorCtr="0">
            <a:noAutofit/>
          </a:bodyPr>
          <a:lstStyle/>
          <a:p>
            <a:pPr>
              <a:lnSpc>
                <a:spcPct val="50000"/>
              </a:lnSpc>
            </a:pPr>
            <a:r>
              <a:rPr lang="en-US" sz="5997" b="1" dirty="0">
                <a:solidFill>
                  <a:srgbClr val="00FFB9"/>
                </a:solidFill>
              </a:rPr>
              <a:t>2</a:t>
            </a:r>
          </a:p>
        </p:txBody>
      </p:sp>
      <p:sp>
        <p:nvSpPr>
          <p:cNvPr id="109" name="Textfeld 18"/>
          <p:cNvSpPr txBox="1"/>
          <p:nvPr/>
        </p:nvSpPr>
        <p:spPr>
          <a:xfrm>
            <a:off x="411826" y="5266800"/>
            <a:ext cx="1510776" cy="808363"/>
          </a:xfrm>
          <a:prstGeom prst="rect">
            <a:avLst/>
          </a:prstGeom>
          <a:noFill/>
        </p:spPr>
        <p:txBody>
          <a:bodyPr wrap="square" lIns="0" tIns="0" rIns="0" bIns="35981" rtlCol="0" anchor="b" anchorCtr="0">
            <a:noAutofit/>
          </a:bodyPr>
          <a:lstStyle/>
          <a:p>
            <a:pPr>
              <a:lnSpc>
                <a:spcPct val="50000"/>
              </a:lnSpc>
            </a:pPr>
            <a:r>
              <a:rPr lang="en-US" sz="5997" b="1" dirty="0">
                <a:solidFill>
                  <a:srgbClr val="00FFB9"/>
                </a:solidFill>
              </a:rPr>
              <a:t>3</a:t>
            </a:r>
          </a:p>
        </p:txBody>
      </p:sp>
      <p:grpSp>
        <p:nvGrpSpPr>
          <p:cNvPr id="64" name="Group 63">
            <a:extLst>
              <a:ext uri="{FF2B5EF4-FFF2-40B4-BE49-F238E27FC236}">
                <a16:creationId xmlns:a16="http://schemas.microsoft.com/office/drawing/2014/main" id="{FF3DE264-ED67-43A6-B2C2-0A0AC7B9BF71}"/>
              </a:ext>
            </a:extLst>
          </p:cNvPr>
          <p:cNvGrpSpPr/>
          <p:nvPr/>
        </p:nvGrpSpPr>
        <p:grpSpPr>
          <a:xfrm>
            <a:off x="6026400" y="2026800"/>
            <a:ext cx="1584000" cy="864501"/>
            <a:chOff x="4280400" y="2009538"/>
            <a:chExt cx="1512000" cy="864501"/>
          </a:xfrm>
        </p:grpSpPr>
        <p:sp>
          <p:nvSpPr>
            <p:cNvPr id="65" name="Rectangle 64">
              <a:extLst>
                <a:ext uri="{FF2B5EF4-FFF2-40B4-BE49-F238E27FC236}">
                  <a16:creationId xmlns:a16="http://schemas.microsoft.com/office/drawing/2014/main" id="{153C10D5-D3D0-429E-99A8-33AA9FFE79C4}"/>
                </a:ext>
              </a:extLst>
            </p:cNvPr>
            <p:cNvSpPr/>
            <p:nvPr/>
          </p:nvSpPr>
          <p:spPr bwMode="auto">
            <a:xfrm>
              <a:off x="4280400" y="2009538"/>
              <a:ext cx="1512000" cy="864000"/>
            </a:xfrm>
            <a:prstGeom prst="rect">
              <a:avLst/>
            </a:prstGeom>
            <a:solidFill>
              <a:srgbClr val="E5E5E9"/>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grpSp>
          <p:nvGrpSpPr>
            <p:cNvPr id="66" name="Group 65">
              <a:extLst>
                <a:ext uri="{FF2B5EF4-FFF2-40B4-BE49-F238E27FC236}">
                  <a16:creationId xmlns:a16="http://schemas.microsoft.com/office/drawing/2014/main" id="{C3298B14-644C-431C-AC44-18B65B4430D8}"/>
                </a:ext>
              </a:extLst>
            </p:cNvPr>
            <p:cNvGrpSpPr/>
            <p:nvPr/>
          </p:nvGrpSpPr>
          <p:grpSpPr>
            <a:xfrm>
              <a:off x="4280400" y="2009538"/>
              <a:ext cx="1511191" cy="864501"/>
              <a:chOff x="4280400" y="2009538"/>
              <a:chExt cx="1511191" cy="864501"/>
            </a:xfrm>
          </p:grpSpPr>
          <p:cxnSp>
            <p:nvCxnSpPr>
              <p:cNvPr id="67" name="Straight Connector 66">
                <a:extLst>
                  <a:ext uri="{FF2B5EF4-FFF2-40B4-BE49-F238E27FC236}">
                    <a16:creationId xmlns:a16="http://schemas.microsoft.com/office/drawing/2014/main" id="{7C5FAD39-555C-4F98-9043-D2131475478F}"/>
                  </a:ext>
                </a:extLst>
              </p:cNvPr>
              <p:cNvCxnSpPr/>
              <p:nvPr/>
            </p:nvCxnSpPr>
            <p:spPr bwMode="auto">
              <a:xfrm>
                <a:off x="4280400" y="2010039"/>
                <a:ext cx="1511191" cy="864000"/>
              </a:xfrm>
              <a:prstGeom prst="line">
                <a:avLst/>
              </a:prstGeom>
              <a:solidFill>
                <a:schemeClr val="tx2"/>
              </a:solidFill>
              <a:ln w="12700" cap="flat" cmpd="sng" algn="ctr">
                <a:solidFill>
                  <a:srgbClr val="9999A9"/>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Straight Connector 67">
                <a:extLst>
                  <a:ext uri="{FF2B5EF4-FFF2-40B4-BE49-F238E27FC236}">
                    <a16:creationId xmlns:a16="http://schemas.microsoft.com/office/drawing/2014/main" id="{10D595F4-BB43-402F-A735-C8EC9C449D24}"/>
                  </a:ext>
                </a:extLst>
              </p:cNvPr>
              <p:cNvCxnSpPr/>
              <p:nvPr/>
            </p:nvCxnSpPr>
            <p:spPr bwMode="auto">
              <a:xfrm flipH="1">
                <a:off x="4280400" y="2009538"/>
                <a:ext cx="1511191" cy="864000"/>
              </a:xfrm>
              <a:prstGeom prst="line">
                <a:avLst/>
              </a:prstGeom>
              <a:solidFill>
                <a:schemeClr val="tx2"/>
              </a:solidFill>
              <a:ln w="12700" cap="flat" cmpd="sng" algn="ctr">
                <a:solidFill>
                  <a:srgbClr val="9999A9"/>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grpSp>
        <p:nvGrpSpPr>
          <p:cNvPr id="69" name="Group 68">
            <a:extLst>
              <a:ext uri="{FF2B5EF4-FFF2-40B4-BE49-F238E27FC236}">
                <a16:creationId xmlns:a16="http://schemas.microsoft.com/office/drawing/2014/main" id="{275ECCFF-268E-4D13-B17D-E10425863F48}"/>
              </a:ext>
            </a:extLst>
          </p:cNvPr>
          <p:cNvGrpSpPr/>
          <p:nvPr/>
        </p:nvGrpSpPr>
        <p:grpSpPr>
          <a:xfrm>
            <a:off x="7754400" y="2026800"/>
            <a:ext cx="1584000" cy="864501"/>
            <a:chOff x="4280400" y="2009538"/>
            <a:chExt cx="1512000" cy="864501"/>
          </a:xfrm>
        </p:grpSpPr>
        <p:sp>
          <p:nvSpPr>
            <p:cNvPr id="70" name="Rectangle 69">
              <a:extLst>
                <a:ext uri="{FF2B5EF4-FFF2-40B4-BE49-F238E27FC236}">
                  <a16:creationId xmlns:a16="http://schemas.microsoft.com/office/drawing/2014/main" id="{5D50872C-1AF2-411D-A610-11C243350D90}"/>
                </a:ext>
              </a:extLst>
            </p:cNvPr>
            <p:cNvSpPr/>
            <p:nvPr/>
          </p:nvSpPr>
          <p:spPr bwMode="auto">
            <a:xfrm>
              <a:off x="4280400" y="2009538"/>
              <a:ext cx="1512000" cy="864000"/>
            </a:xfrm>
            <a:prstGeom prst="rect">
              <a:avLst/>
            </a:prstGeom>
            <a:solidFill>
              <a:srgbClr val="E5E5E9"/>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grpSp>
          <p:nvGrpSpPr>
            <p:cNvPr id="71" name="Group 70">
              <a:extLst>
                <a:ext uri="{FF2B5EF4-FFF2-40B4-BE49-F238E27FC236}">
                  <a16:creationId xmlns:a16="http://schemas.microsoft.com/office/drawing/2014/main" id="{44825012-DA7B-4074-8922-B5C3BF62281F}"/>
                </a:ext>
              </a:extLst>
            </p:cNvPr>
            <p:cNvGrpSpPr/>
            <p:nvPr/>
          </p:nvGrpSpPr>
          <p:grpSpPr>
            <a:xfrm>
              <a:off x="4280400" y="2009538"/>
              <a:ext cx="1511191" cy="864501"/>
              <a:chOff x="4280400" y="2009538"/>
              <a:chExt cx="1511191" cy="864501"/>
            </a:xfrm>
          </p:grpSpPr>
          <p:cxnSp>
            <p:nvCxnSpPr>
              <p:cNvPr id="72" name="Straight Connector 71">
                <a:extLst>
                  <a:ext uri="{FF2B5EF4-FFF2-40B4-BE49-F238E27FC236}">
                    <a16:creationId xmlns:a16="http://schemas.microsoft.com/office/drawing/2014/main" id="{DDCF8D48-54E1-43FE-BE4A-F58446ECA004}"/>
                  </a:ext>
                </a:extLst>
              </p:cNvPr>
              <p:cNvCxnSpPr/>
              <p:nvPr/>
            </p:nvCxnSpPr>
            <p:spPr bwMode="auto">
              <a:xfrm>
                <a:off x="4280400" y="2010039"/>
                <a:ext cx="1511191" cy="864000"/>
              </a:xfrm>
              <a:prstGeom prst="line">
                <a:avLst/>
              </a:prstGeom>
              <a:solidFill>
                <a:schemeClr val="tx2"/>
              </a:solidFill>
              <a:ln w="12700" cap="flat" cmpd="sng" algn="ctr">
                <a:solidFill>
                  <a:srgbClr val="9999A9"/>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Straight Connector 72">
                <a:extLst>
                  <a:ext uri="{FF2B5EF4-FFF2-40B4-BE49-F238E27FC236}">
                    <a16:creationId xmlns:a16="http://schemas.microsoft.com/office/drawing/2014/main" id="{D8C1474F-9AA1-416A-94AD-18EA9E2C6675}"/>
                  </a:ext>
                </a:extLst>
              </p:cNvPr>
              <p:cNvCxnSpPr/>
              <p:nvPr/>
            </p:nvCxnSpPr>
            <p:spPr bwMode="auto">
              <a:xfrm flipH="1">
                <a:off x="4280400" y="2009538"/>
                <a:ext cx="1511191" cy="864000"/>
              </a:xfrm>
              <a:prstGeom prst="line">
                <a:avLst/>
              </a:prstGeom>
              <a:solidFill>
                <a:schemeClr val="tx2"/>
              </a:solidFill>
              <a:ln w="12700" cap="flat" cmpd="sng" algn="ctr">
                <a:solidFill>
                  <a:srgbClr val="9999A9"/>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grpSp>
        <p:nvGrpSpPr>
          <p:cNvPr id="74" name="Group 73">
            <a:extLst>
              <a:ext uri="{FF2B5EF4-FFF2-40B4-BE49-F238E27FC236}">
                <a16:creationId xmlns:a16="http://schemas.microsoft.com/office/drawing/2014/main" id="{1184B372-5C50-418D-BA83-0E3D3A71CC2F}"/>
              </a:ext>
            </a:extLst>
          </p:cNvPr>
          <p:cNvGrpSpPr/>
          <p:nvPr/>
        </p:nvGrpSpPr>
        <p:grpSpPr>
          <a:xfrm>
            <a:off x="4298400" y="3412800"/>
            <a:ext cx="1584000" cy="864501"/>
            <a:chOff x="4280400" y="2009538"/>
            <a:chExt cx="1512000" cy="864501"/>
          </a:xfrm>
        </p:grpSpPr>
        <p:sp>
          <p:nvSpPr>
            <p:cNvPr id="75" name="Rectangle 74">
              <a:extLst>
                <a:ext uri="{FF2B5EF4-FFF2-40B4-BE49-F238E27FC236}">
                  <a16:creationId xmlns:a16="http://schemas.microsoft.com/office/drawing/2014/main" id="{39BE6FF6-EAAF-4124-BF25-94535E55EE05}"/>
                </a:ext>
              </a:extLst>
            </p:cNvPr>
            <p:cNvSpPr/>
            <p:nvPr/>
          </p:nvSpPr>
          <p:spPr bwMode="auto">
            <a:xfrm>
              <a:off x="4280400" y="2009538"/>
              <a:ext cx="1512000" cy="864000"/>
            </a:xfrm>
            <a:prstGeom prst="rect">
              <a:avLst/>
            </a:prstGeom>
            <a:solidFill>
              <a:srgbClr val="E5E5E9"/>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grpSp>
          <p:nvGrpSpPr>
            <p:cNvPr id="88" name="Group 87">
              <a:extLst>
                <a:ext uri="{FF2B5EF4-FFF2-40B4-BE49-F238E27FC236}">
                  <a16:creationId xmlns:a16="http://schemas.microsoft.com/office/drawing/2014/main" id="{4D6934D9-7218-45DE-B6B6-1277C9EA9A03}"/>
                </a:ext>
              </a:extLst>
            </p:cNvPr>
            <p:cNvGrpSpPr/>
            <p:nvPr/>
          </p:nvGrpSpPr>
          <p:grpSpPr>
            <a:xfrm>
              <a:off x="4280400" y="2009538"/>
              <a:ext cx="1511191" cy="864501"/>
              <a:chOff x="4280400" y="2009538"/>
              <a:chExt cx="1511191" cy="864501"/>
            </a:xfrm>
          </p:grpSpPr>
          <p:cxnSp>
            <p:nvCxnSpPr>
              <p:cNvPr id="89" name="Straight Connector 88">
                <a:extLst>
                  <a:ext uri="{FF2B5EF4-FFF2-40B4-BE49-F238E27FC236}">
                    <a16:creationId xmlns:a16="http://schemas.microsoft.com/office/drawing/2014/main" id="{1877882D-C3C1-48D6-95D5-6421AF1F1E82}"/>
                  </a:ext>
                </a:extLst>
              </p:cNvPr>
              <p:cNvCxnSpPr/>
              <p:nvPr/>
            </p:nvCxnSpPr>
            <p:spPr bwMode="auto">
              <a:xfrm>
                <a:off x="4280400" y="2010039"/>
                <a:ext cx="1511191" cy="864000"/>
              </a:xfrm>
              <a:prstGeom prst="line">
                <a:avLst/>
              </a:prstGeom>
              <a:solidFill>
                <a:schemeClr val="tx2"/>
              </a:solidFill>
              <a:ln w="12700" cap="flat" cmpd="sng" algn="ctr">
                <a:solidFill>
                  <a:srgbClr val="9999A9"/>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Straight Connector 89">
                <a:extLst>
                  <a:ext uri="{FF2B5EF4-FFF2-40B4-BE49-F238E27FC236}">
                    <a16:creationId xmlns:a16="http://schemas.microsoft.com/office/drawing/2014/main" id="{B6C161EA-7987-49D4-8E3F-CB55C1967948}"/>
                  </a:ext>
                </a:extLst>
              </p:cNvPr>
              <p:cNvCxnSpPr/>
              <p:nvPr/>
            </p:nvCxnSpPr>
            <p:spPr bwMode="auto">
              <a:xfrm flipH="1">
                <a:off x="4280400" y="2009538"/>
                <a:ext cx="1511191" cy="864000"/>
              </a:xfrm>
              <a:prstGeom prst="line">
                <a:avLst/>
              </a:prstGeom>
              <a:solidFill>
                <a:schemeClr val="tx2"/>
              </a:solidFill>
              <a:ln w="12700" cap="flat" cmpd="sng" algn="ctr">
                <a:solidFill>
                  <a:srgbClr val="9999A9"/>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grpSp>
        <p:nvGrpSpPr>
          <p:cNvPr id="91" name="Group 90">
            <a:extLst>
              <a:ext uri="{FF2B5EF4-FFF2-40B4-BE49-F238E27FC236}">
                <a16:creationId xmlns:a16="http://schemas.microsoft.com/office/drawing/2014/main" id="{0C011321-9E1B-4BD8-82E1-16833AEC0495}"/>
              </a:ext>
            </a:extLst>
          </p:cNvPr>
          <p:cNvGrpSpPr/>
          <p:nvPr/>
        </p:nvGrpSpPr>
        <p:grpSpPr>
          <a:xfrm>
            <a:off x="6026400" y="3412800"/>
            <a:ext cx="1584000" cy="864501"/>
            <a:chOff x="4280400" y="2009538"/>
            <a:chExt cx="1512000" cy="864501"/>
          </a:xfrm>
        </p:grpSpPr>
        <p:sp>
          <p:nvSpPr>
            <p:cNvPr id="92" name="Rectangle 91">
              <a:extLst>
                <a:ext uri="{FF2B5EF4-FFF2-40B4-BE49-F238E27FC236}">
                  <a16:creationId xmlns:a16="http://schemas.microsoft.com/office/drawing/2014/main" id="{F32F38E2-D307-4361-915A-8DCE0C893D57}"/>
                </a:ext>
              </a:extLst>
            </p:cNvPr>
            <p:cNvSpPr/>
            <p:nvPr/>
          </p:nvSpPr>
          <p:spPr bwMode="auto">
            <a:xfrm>
              <a:off x="4280400" y="2009538"/>
              <a:ext cx="1512000" cy="864000"/>
            </a:xfrm>
            <a:prstGeom prst="rect">
              <a:avLst/>
            </a:prstGeom>
            <a:solidFill>
              <a:srgbClr val="E5E5E9"/>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grpSp>
          <p:nvGrpSpPr>
            <p:cNvPr id="93" name="Group 92">
              <a:extLst>
                <a:ext uri="{FF2B5EF4-FFF2-40B4-BE49-F238E27FC236}">
                  <a16:creationId xmlns:a16="http://schemas.microsoft.com/office/drawing/2014/main" id="{8A518D2E-1262-49F2-8FA2-A23D90630166}"/>
                </a:ext>
              </a:extLst>
            </p:cNvPr>
            <p:cNvGrpSpPr/>
            <p:nvPr/>
          </p:nvGrpSpPr>
          <p:grpSpPr>
            <a:xfrm>
              <a:off x="4280400" y="2009538"/>
              <a:ext cx="1511191" cy="864501"/>
              <a:chOff x="4280400" y="2009538"/>
              <a:chExt cx="1511191" cy="864501"/>
            </a:xfrm>
          </p:grpSpPr>
          <p:cxnSp>
            <p:nvCxnSpPr>
              <p:cNvPr id="94" name="Straight Connector 93">
                <a:extLst>
                  <a:ext uri="{FF2B5EF4-FFF2-40B4-BE49-F238E27FC236}">
                    <a16:creationId xmlns:a16="http://schemas.microsoft.com/office/drawing/2014/main" id="{E521C43E-30D5-440A-BB18-E17208AEDCEC}"/>
                  </a:ext>
                </a:extLst>
              </p:cNvPr>
              <p:cNvCxnSpPr/>
              <p:nvPr/>
            </p:nvCxnSpPr>
            <p:spPr bwMode="auto">
              <a:xfrm>
                <a:off x="4280400" y="2010039"/>
                <a:ext cx="1511191" cy="864000"/>
              </a:xfrm>
              <a:prstGeom prst="line">
                <a:avLst/>
              </a:prstGeom>
              <a:solidFill>
                <a:schemeClr val="tx2"/>
              </a:solidFill>
              <a:ln w="12700" cap="flat" cmpd="sng" algn="ctr">
                <a:solidFill>
                  <a:srgbClr val="9999A9"/>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Straight Connector 94">
                <a:extLst>
                  <a:ext uri="{FF2B5EF4-FFF2-40B4-BE49-F238E27FC236}">
                    <a16:creationId xmlns:a16="http://schemas.microsoft.com/office/drawing/2014/main" id="{EA17660C-1A24-4FE0-AB5F-C09980DD7BC8}"/>
                  </a:ext>
                </a:extLst>
              </p:cNvPr>
              <p:cNvCxnSpPr/>
              <p:nvPr/>
            </p:nvCxnSpPr>
            <p:spPr bwMode="auto">
              <a:xfrm flipH="1">
                <a:off x="4280400" y="2009538"/>
                <a:ext cx="1511191" cy="864000"/>
              </a:xfrm>
              <a:prstGeom prst="line">
                <a:avLst/>
              </a:prstGeom>
              <a:solidFill>
                <a:schemeClr val="tx2"/>
              </a:solidFill>
              <a:ln w="12700" cap="flat" cmpd="sng" algn="ctr">
                <a:solidFill>
                  <a:srgbClr val="9999A9"/>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grpSp>
        <p:nvGrpSpPr>
          <p:cNvPr id="96" name="Group 95">
            <a:extLst>
              <a:ext uri="{FF2B5EF4-FFF2-40B4-BE49-F238E27FC236}">
                <a16:creationId xmlns:a16="http://schemas.microsoft.com/office/drawing/2014/main" id="{16C8559E-5788-4CE4-8AAB-64DD73DA8051}"/>
              </a:ext>
            </a:extLst>
          </p:cNvPr>
          <p:cNvGrpSpPr/>
          <p:nvPr/>
        </p:nvGrpSpPr>
        <p:grpSpPr>
          <a:xfrm>
            <a:off x="7754400" y="3412800"/>
            <a:ext cx="1584000" cy="864501"/>
            <a:chOff x="4280400" y="2009538"/>
            <a:chExt cx="1512000" cy="864501"/>
          </a:xfrm>
        </p:grpSpPr>
        <p:sp>
          <p:nvSpPr>
            <p:cNvPr id="97" name="Rectangle 96">
              <a:extLst>
                <a:ext uri="{FF2B5EF4-FFF2-40B4-BE49-F238E27FC236}">
                  <a16:creationId xmlns:a16="http://schemas.microsoft.com/office/drawing/2014/main" id="{526091E8-7281-425F-9DBD-CBBB62CD4AAD}"/>
                </a:ext>
              </a:extLst>
            </p:cNvPr>
            <p:cNvSpPr/>
            <p:nvPr/>
          </p:nvSpPr>
          <p:spPr bwMode="auto">
            <a:xfrm>
              <a:off x="4280400" y="2009538"/>
              <a:ext cx="1512000" cy="864000"/>
            </a:xfrm>
            <a:prstGeom prst="rect">
              <a:avLst/>
            </a:prstGeom>
            <a:solidFill>
              <a:srgbClr val="E5E5E9"/>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grpSp>
          <p:nvGrpSpPr>
            <p:cNvPr id="98" name="Group 97">
              <a:extLst>
                <a:ext uri="{FF2B5EF4-FFF2-40B4-BE49-F238E27FC236}">
                  <a16:creationId xmlns:a16="http://schemas.microsoft.com/office/drawing/2014/main" id="{D8160329-C07A-44FF-9DEF-866762547B88}"/>
                </a:ext>
              </a:extLst>
            </p:cNvPr>
            <p:cNvGrpSpPr/>
            <p:nvPr/>
          </p:nvGrpSpPr>
          <p:grpSpPr>
            <a:xfrm>
              <a:off x="4280400" y="2009538"/>
              <a:ext cx="1511191" cy="864501"/>
              <a:chOff x="4280400" y="2009538"/>
              <a:chExt cx="1511191" cy="864501"/>
            </a:xfrm>
          </p:grpSpPr>
          <p:cxnSp>
            <p:nvCxnSpPr>
              <p:cNvPr id="99" name="Straight Connector 98">
                <a:extLst>
                  <a:ext uri="{FF2B5EF4-FFF2-40B4-BE49-F238E27FC236}">
                    <a16:creationId xmlns:a16="http://schemas.microsoft.com/office/drawing/2014/main" id="{9288DBFF-4DB3-4303-B428-F16114039A40}"/>
                  </a:ext>
                </a:extLst>
              </p:cNvPr>
              <p:cNvCxnSpPr/>
              <p:nvPr/>
            </p:nvCxnSpPr>
            <p:spPr bwMode="auto">
              <a:xfrm>
                <a:off x="4280400" y="2010039"/>
                <a:ext cx="1511191" cy="864000"/>
              </a:xfrm>
              <a:prstGeom prst="line">
                <a:avLst/>
              </a:prstGeom>
              <a:solidFill>
                <a:schemeClr val="tx2"/>
              </a:solidFill>
              <a:ln w="12700" cap="flat" cmpd="sng" algn="ctr">
                <a:solidFill>
                  <a:srgbClr val="9999A9"/>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Straight Connector 103">
                <a:extLst>
                  <a:ext uri="{FF2B5EF4-FFF2-40B4-BE49-F238E27FC236}">
                    <a16:creationId xmlns:a16="http://schemas.microsoft.com/office/drawing/2014/main" id="{77C87E0E-88A8-4C54-BAD9-766D0AE3BA1E}"/>
                  </a:ext>
                </a:extLst>
              </p:cNvPr>
              <p:cNvCxnSpPr/>
              <p:nvPr/>
            </p:nvCxnSpPr>
            <p:spPr bwMode="auto">
              <a:xfrm flipH="1">
                <a:off x="4280400" y="2009538"/>
                <a:ext cx="1511191" cy="864000"/>
              </a:xfrm>
              <a:prstGeom prst="line">
                <a:avLst/>
              </a:prstGeom>
              <a:solidFill>
                <a:schemeClr val="tx2"/>
              </a:solidFill>
              <a:ln w="12700" cap="flat" cmpd="sng" algn="ctr">
                <a:solidFill>
                  <a:srgbClr val="9999A9"/>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grpSp>
        <p:nvGrpSpPr>
          <p:cNvPr id="132" name="Group 131">
            <a:extLst>
              <a:ext uri="{FF2B5EF4-FFF2-40B4-BE49-F238E27FC236}">
                <a16:creationId xmlns:a16="http://schemas.microsoft.com/office/drawing/2014/main" id="{D82037AF-D07C-4CE9-81BB-74ED1B004A9F}"/>
              </a:ext>
            </a:extLst>
          </p:cNvPr>
          <p:cNvGrpSpPr/>
          <p:nvPr/>
        </p:nvGrpSpPr>
        <p:grpSpPr>
          <a:xfrm>
            <a:off x="9482400" y="3412800"/>
            <a:ext cx="1584000" cy="864501"/>
            <a:chOff x="4280400" y="2009538"/>
            <a:chExt cx="1512000" cy="864501"/>
          </a:xfrm>
        </p:grpSpPr>
        <p:sp>
          <p:nvSpPr>
            <p:cNvPr id="133" name="Rectangle 132">
              <a:extLst>
                <a:ext uri="{FF2B5EF4-FFF2-40B4-BE49-F238E27FC236}">
                  <a16:creationId xmlns:a16="http://schemas.microsoft.com/office/drawing/2014/main" id="{33F7D842-591B-4EDF-A40D-E8D9885BD9FA}"/>
                </a:ext>
              </a:extLst>
            </p:cNvPr>
            <p:cNvSpPr/>
            <p:nvPr/>
          </p:nvSpPr>
          <p:spPr bwMode="auto">
            <a:xfrm>
              <a:off x="4280400" y="2009538"/>
              <a:ext cx="1512000" cy="864000"/>
            </a:xfrm>
            <a:prstGeom prst="rect">
              <a:avLst/>
            </a:prstGeom>
            <a:solidFill>
              <a:srgbClr val="E5E5E9"/>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grpSp>
          <p:nvGrpSpPr>
            <p:cNvPr id="134" name="Group 133">
              <a:extLst>
                <a:ext uri="{FF2B5EF4-FFF2-40B4-BE49-F238E27FC236}">
                  <a16:creationId xmlns:a16="http://schemas.microsoft.com/office/drawing/2014/main" id="{12F52E66-62C2-4E60-8749-B2F7D040D345}"/>
                </a:ext>
              </a:extLst>
            </p:cNvPr>
            <p:cNvGrpSpPr/>
            <p:nvPr/>
          </p:nvGrpSpPr>
          <p:grpSpPr>
            <a:xfrm>
              <a:off x="4280400" y="2009538"/>
              <a:ext cx="1511191" cy="864501"/>
              <a:chOff x="4280400" y="2009538"/>
              <a:chExt cx="1511191" cy="864501"/>
            </a:xfrm>
          </p:grpSpPr>
          <p:cxnSp>
            <p:nvCxnSpPr>
              <p:cNvPr id="135" name="Straight Connector 134">
                <a:extLst>
                  <a:ext uri="{FF2B5EF4-FFF2-40B4-BE49-F238E27FC236}">
                    <a16:creationId xmlns:a16="http://schemas.microsoft.com/office/drawing/2014/main" id="{7CCB2057-9FC6-4B22-B276-EE156EED7345}"/>
                  </a:ext>
                </a:extLst>
              </p:cNvPr>
              <p:cNvCxnSpPr/>
              <p:nvPr/>
            </p:nvCxnSpPr>
            <p:spPr bwMode="auto">
              <a:xfrm>
                <a:off x="4280400" y="2010039"/>
                <a:ext cx="1511191" cy="864000"/>
              </a:xfrm>
              <a:prstGeom prst="line">
                <a:avLst/>
              </a:prstGeom>
              <a:solidFill>
                <a:schemeClr val="tx2"/>
              </a:solidFill>
              <a:ln w="12700" cap="flat" cmpd="sng" algn="ctr">
                <a:solidFill>
                  <a:srgbClr val="9999A9"/>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6" name="Straight Connector 135">
                <a:extLst>
                  <a:ext uri="{FF2B5EF4-FFF2-40B4-BE49-F238E27FC236}">
                    <a16:creationId xmlns:a16="http://schemas.microsoft.com/office/drawing/2014/main" id="{D5F1038D-F6AB-4435-8846-2508A769FC01}"/>
                  </a:ext>
                </a:extLst>
              </p:cNvPr>
              <p:cNvCxnSpPr/>
              <p:nvPr/>
            </p:nvCxnSpPr>
            <p:spPr bwMode="auto">
              <a:xfrm flipH="1">
                <a:off x="4280400" y="2009538"/>
                <a:ext cx="1511191" cy="864000"/>
              </a:xfrm>
              <a:prstGeom prst="line">
                <a:avLst/>
              </a:prstGeom>
              <a:solidFill>
                <a:schemeClr val="tx2"/>
              </a:solidFill>
              <a:ln w="12700" cap="flat" cmpd="sng" algn="ctr">
                <a:solidFill>
                  <a:srgbClr val="9999A9"/>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grpSp>
        <p:nvGrpSpPr>
          <p:cNvPr id="137" name="Group 136">
            <a:extLst>
              <a:ext uri="{FF2B5EF4-FFF2-40B4-BE49-F238E27FC236}">
                <a16:creationId xmlns:a16="http://schemas.microsoft.com/office/drawing/2014/main" id="{FD486EA1-45F0-4AEC-8726-B75235A3DE5B}"/>
              </a:ext>
            </a:extLst>
          </p:cNvPr>
          <p:cNvGrpSpPr/>
          <p:nvPr/>
        </p:nvGrpSpPr>
        <p:grpSpPr>
          <a:xfrm>
            <a:off x="4298400" y="4798800"/>
            <a:ext cx="1584000" cy="864501"/>
            <a:chOff x="4280400" y="2009538"/>
            <a:chExt cx="1512000" cy="864501"/>
          </a:xfrm>
        </p:grpSpPr>
        <p:sp>
          <p:nvSpPr>
            <p:cNvPr id="138" name="Rectangle 137">
              <a:extLst>
                <a:ext uri="{FF2B5EF4-FFF2-40B4-BE49-F238E27FC236}">
                  <a16:creationId xmlns:a16="http://schemas.microsoft.com/office/drawing/2014/main" id="{490D8183-5861-46F0-AD0C-8D342EA42419}"/>
                </a:ext>
              </a:extLst>
            </p:cNvPr>
            <p:cNvSpPr/>
            <p:nvPr/>
          </p:nvSpPr>
          <p:spPr bwMode="auto">
            <a:xfrm>
              <a:off x="4280400" y="2009538"/>
              <a:ext cx="1512000" cy="864000"/>
            </a:xfrm>
            <a:prstGeom prst="rect">
              <a:avLst/>
            </a:prstGeom>
            <a:solidFill>
              <a:srgbClr val="E5E5E9"/>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grpSp>
          <p:nvGrpSpPr>
            <p:cNvPr id="139" name="Group 138">
              <a:extLst>
                <a:ext uri="{FF2B5EF4-FFF2-40B4-BE49-F238E27FC236}">
                  <a16:creationId xmlns:a16="http://schemas.microsoft.com/office/drawing/2014/main" id="{A61EBF93-2EB4-4451-8DEE-0919D5C31F2D}"/>
                </a:ext>
              </a:extLst>
            </p:cNvPr>
            <p:cNvGrpSpPr/>
            <p:nvPr/>
          </p:nvGrpSpPr>
          <p:grpSpPr>
            <a:xfrm>
              <a:off x="4280400" y="2009538"/>
              <a:ext cx="1511191" cy="864501"/>
              <a:chOff x="4280400" y="2009538"/>
              <a:chExt cx="1511191" cy="864501"/>
            </a:xfrm>
          </p:grpSpPr>
          <p:cxnSp>
            <p:nvCxnSpPr>
              <p:cNvPr id="140" name="Straight Connector 139">
                <a:extLst>
                  <a:ext uri="{FF2B5EF4-FFF2-40B4-BE49-F238E27FC236}">
                    <a16:creationId xmlns:a16="http://schemas.microsoft.com/office/drawing/2014/main" id="{EA0EFF4D-A2E9-4C01-BCAD-88BF27B8C607}"/>
                  </a:ext>
                </a:extLst>
              </p:cNvPr>
              <p:cNvCxnSpPr/>
              <p:nvPr/>
            </p:nvCxnSpPr>
            <p:spPr bwMode="auto">
              <a:xfrm>
                <a:off x="4280400" y="2010039"/>
                <a:ext cx="1511191" cy="864000"/>
              </a:xfrm>
              <a:prstGeom prst="line">
                <a:avLst/>
              </a:prstGeom>
              <a:solidFill>
                <a:schemeClr val="tx2"/>
              </a:solidFill>
              <a:ln w="12700" cap="flat" cmpd="sng" algn="ctr">
                <a:solidFill>
                  <a:srgbClr val="9999A9"/>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1" name="Straight Connector 140">
                <a:extLst>
                  <a:ext uri="{FF2B5EF4-FFF2-40B4-BE49-F238E27FC236}">
                    <a16:creationId xmlns:a16="http://schemas.microsoft.com/office/drawing/2014/main" id="{7390731E-B274-4778-B7FB-953B6D95D31A}"/>
                  </a:ext>
                </a:extLst>
              </p:cNvPr>
              <p:cNvCxnSpPr/>
              <p:nvPr/>
            </p:nvCxnSpPr>
            <p:spPr bwMode="auto">
              <a:xfrm flipH="1">
                <a:off x="4280400" y="2009538"/>
                <a:ext cx="1511191" cy="864000"/>
              </a:xfrm>
              <a:prstGeom prst="line">
                <a:avLst/>
              </a:prstGeom>
              <a:solidFill>
                <a:schemeClr val="tx2"/>
              </a:solidFill>
              <a:ln w="12700" cap="flat" cmpd="sng" algn="ctr">
                <a:solidFill>
                  <a:srgbClr val="9999A9"/>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grpSp>
        <p:nvGrpSpPr>
          <p:cNvPr id="142" name="Group 141">
            <a:extLst>
              <a:ext uri="{FF2B5EF4-FFF2-40B4-BE49-F238E27FC236}">
                <a16:creationId xmlns:a16="http://schemas.microsoft.com/office/drawing/2014/main" id="{AA7C032D-11FB-44AD-8CB0-996F0B6156C3}"/>
              </a:ext>
            </a:extLst>
          </p:cNvPr>
          <p:cNvGrpSpPr/>
          <p:nvPr/>
        </p:nvGrpSpPr>
        <p:grpSpPr>
          <a:xfrm>
            <a:off x="6026400" y="4798800"/>
            <a:ext cx="1584000" cy="864501"/>
            <a:chOff x="4280400" y="2009538"/>
            <a:chExt cx="1512000" cy="864501"/>
          </a:xfrm>
        </p:grpSpPr>
        <p:sp>
          <p:nvSpPr>
            <p:cNvPr id="143" name="Rectangle 142">
              <a:extLst>
                <a:ext uri="{FF2B5EF4-FFF2-40B4-BE49-F238E27FC236}">
                  <a16:creationId xmlns:a16="http://schemas.microsoft.com/office/drawing/2014/main" id="{CDFCCDF5-20E5-4264-8688-4070DE2DF507}"/>
                </a:ext>
              </a:extLst>
            </p:cNvPr>
            <p:cNvSpPr/>
            <p:nvPr/>
          </p:nvSpPr>
          <p:spPr bwMode="auto">
            <a:xfrm>
              <a:off x="4280400" y="2009538"/>
              <a:ext cx="1512000" cy="864000"/>
            </a:xfrm>
            <a:prstGeom prst="rect">
              <a:avLst/>
            </a:prstGeom>
            <a:solidFill>
              <a:srgbClr val="E5E5E9"/>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grpSp>
          <p:nvGrpSpPr>
            <p:cNvPr id="144" name="Group 143">
              <a:extLst>
                <a:ext uri="{FF2B5EF4-FFF2-40B4-BE49-F238E27FC236}">
                  <a16:creationId xmlns:a16="http://schemas.microsoft.com/office/drawing/2014/main" id="{525CB491-5934-4F17-8006-A187AA3CA2A1}"/>
                </a:ext>
              </a:extLst>
            </p:cNvPr>
            <p:cNvGrpSpPr/>
            <p:nvPr/>
          </p:nvGrpSpPr>
          <p:grpSpPr>
            <a:xfrm>
              <a:off x="4280400" y="2009538"/>
              <a:ext cx="1511191" cy="864501"/>
              <a:chOff x="4280400" y="2009538"/>
              <a:chExt cx="1511191" cy="864501"/>
            </a:xfrm>
          </p:grpSpPr>
          <p:cxnSp>
            <p:nvCxnSpPr>
              <p:cNvPr id="145" name="Straight Connector 144">
                <a:extLst>
                  <a:ext uri="{FF2B5EF4-FFF2-40B4-BE49-F238E27FC236}">
                    <a16:creationId xmlns:a16="http://schemas.microsoft.com/office/drawing/2014/main" id="{5B3BF146-1825-49BF-90AA-3B452EB664EE}"/>
                  </a:ext>
                </a:extLst>
              </p:cNvPr>
              <p:cNvCxnSpPr/>
              <p:nvPr/>
            </p:nvCxnSpPr>
            <p:spPr bwMode="auto">
              <a:xfrm>
                <a:off x="4280400" y="2010039"/>
                <a:ext cx="1511191" cy="864000"/>
              </a:xfrm>
              <a:prstGeom prst="line">
                <a:avLst/>
              </a:prstGeom>
              <a:solidFill>
                <a:schemeClr val="tx2"/>
              </a:solidFill>
              <a:ln w="12700" cap="flat" cmpd="sng" algn="ctr">
                <a:solidFill>
                  <a:srgbClr val="9999A9"/>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6" name="Straight Connector 145">
                <a:extLst>
                  <a:ext uri="{FF2B5EF4-FFF2-40B4-BE49-F238E27FC236}">
                    <a16:creationId xmlns:a16="http://schemas.microsoft.com/office/drawing/2014/main" id="{7CDAC773-F9AC-4E27-8CCA-2E1A5D935120}"/>
                  </a:ext>
                </a:extLst>
              </p:cNvPr>
              <p:cNvCxnSpPr/>
              <p:nvPr/>
            </p:nvCxnSpPr>
            <p:spPr bwMode="auto">
              <a:xfrm flipH="1">
                <a:off x="4280400" y="2009538"/>
                <a:ext cx="1511191" cy="864000"/>
              </a:xfrm>
              <a:prstGeom prst="line">
                <a:avLst/>
              </a:prstGeom>
              <a:solidFill>
                <a:schemeClr val="tx2"/>
              </a:solidFill>
              <a:ln w="12700" cap="flat" cmpd="sng" algn="ctr">
                <a:solidFill>
                  <a:srgbClr val="9999A9"/>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grpSp>
        <p:nvGrpSpPr>
          <p:cNvPr id="147" name="Group 146">
            <a:extLst>
              <a:ext uri="{FF2B5EF4-FFF2-40B4-BE49-F238E27FC236}">
                <a16:creationId xmlns:a16="http://schemas.microsoft.com/office/drawing/2014/main" id="{2448855F-0F2D-4B75-A20D-EE11331783F2}"/>
              </a:ext>
            </a:extLst>
          </p:cNvPr>
          <p:cNvGrpSpPr/>
          <p:nvPr/>
        </p:nvGrpSpPr>
        <p:grpSpPr>
          <a:xfrm>
            <a:off x="7754400" y="4798800"/>
            <a:ext cx="1584000" cy="864501"/>
            <a:chOff x="4280400" y="2009538"/>
            <a:chExt cx="1512000" cy="864501"/>
          </a:xfrm>
        </p:grpSpPr>
        <p:sp>
          <p:nvSpPr>
            <p:cNvPr id="148" name="Rectangle 147">
              <a:extLst>
                <a:ext uri="{FF2B5EF4-FFF2-40B4-BE49-F238E27FC236}">
                  <a16:creationId xmlns:a16="http://schemas.microsoft.com/office/drawing/2014/main" id="{AC51A6BB-1961-4BBB-8107-149ADC0BBE01}"/>
                </a:ext>
              </a:extLst>
            </p:cNvPr>
            <p:cNvSpPr/>
            <p:nvPr/>
          </p:nvSpPr>
          <p:spPr bwMode="auto">
            <a:xfrm>
              <a:off x="4280400" y="2009538"/>
              <a:ext cx="1512000" cy="864000"/>
            </a:xfrm>
            <a:prstGeom prst="rect">
              <a:avLst/>
            </a:prstGeom>
            <a:solidFill>
              <a:srgbClr val="E5E5E9"/>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grpSp>
          <p:nvGrpSpPr>
            <p:cNvPr id="149" name="Group 148">
              <a:extLst>
                <a:ext uri="{FF2B5EF4-FFF2-40B4-BE49-F238E27FC236}">
                  <a16:creationId xmlns:a16="http://schemas.microsoft.com/office/drawing/2014/main" id="{76B9C5D9-3B41-4FD2-BCBA-E5FE2D9C631C}"/>
                </a:ext>
              </a:extLst>
            </p:cNvPr>
            <p:cNvGrpSpPr/>
            <p:nvPr/>
          </p:nvGrpSpPr>
          <p:grpSpPr>
            <a:xfrm>
              <a:off x="4280400" y="2009538"/>
              <a:ext cx="1511191" cy="864501"/>
              <a:chOff x="4280400" y="2009538"/>
              <a:chExt cx="1511191" cy="864501"/>
            </a:xfrm>
          </p:grpSpPr>
          <p:cxnSp>
            <p:nvCxnSpPr>
              <p:cNvPr id="150" name="Straight Connector 149">
                <a:extLst>
                  <a:ext uri="{FF2B5EF4-FFF2-40B4-BE49-F238E27FC236}">
                    <a16:creationId xmlns:a16="http://schemas.microsoft.com/office/drawing/2014/main" id="{30DDD57B-29E1-42EB-BCDA-3DB369DF5F9B}"/>
                  </a:ext>
                </a:extLst>
              </p:cNvPr>
              <p:cNvCxnSpPr/>
              <p:nvPr/>
            </p:nvCxnSpPr>
            <p:spPr bwMode="auto">
              <a:xfrm>
                <a:off x="4280400" y="2010039"/>
                <a:ext cx="1511191" cy="864000"/>
              </a:xfrm>
              <a:prstGeom prst="line">
                <a:avLst/>
              </a:prstGeom>
              <a:solidFill>
                <a:schemeClr val="tx2"/>
              </a:solidFill>
              <a:ln w="12700" cap="flat" cmpd="sng" algn="ctr">
                <a:solidFill>
                  <a:srgbClr val="9999A9"/>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1" name="Straight Connector 150">
                <a:extLst>
                  <a:ext uri="{FF2B5EF4-FFF2-40B4-BE49-F238E27FC236}">
                    <a16:creationId xmlns:a16="http://schemas.microsoft.com/office/drawing/2014/main" id="{D2AB1B6A-C521-4216-8718-BA388FB8190D}"/>
                  </a:ext>
                </a:extLst>
              </p:cNvPr>
              <p:cNvCxnSpPr/>
              <p:nvPr/>
            </p:nvCxnSpPr>
            <p:spPr bwMode="auto">
              <a:xfrm flipH="1">
                <a:off x="4280400" y="2009538"/>
                <a:ext cx="1511191" cy="864000"/>
              </a:xfrm>
              <a:prstGeom prst="line">
                <a:avLst/>
              </a:prstGeom>
              <a:solidFill>
                <a:schemeClr val="tx2"/>
              </a:solidFill>
              <a:ln w="12700" cap="flat" cmpd="sng" algn="ctr">
                <a:solidFill>
                  <a:srgbClr val="9999A9"/>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spTree>
    <p:extLst>
      <p:ext uri="{BB962C8B-B14F-4D97-AF65-F5344CB8AC3E}">
        <p14:creationId xmlns:p14="http://schemas.microsoft.com/office/powerpoint/2010/main" val="161012424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imeline – chronological sequence</a:t>
            </a:r>
          </a:p>
        </p:txBody>
      </p:sp>
      <p:sp>
        <p:nvSpPr>
          <p:cNvPr id="238" name="Richtungspfeil 237">
            <a:extLst>
              <a:ext uri="{FF2B5EF4-FFF2-40B4-BE49-F238E27FC236}">
                <a16:creationId xmlns:a16="http://schemas.microsoft.com/office/drawing/2014/main" id="{538DCE9F-8333-CC4E-B82E-AF53B49E0670}"/>
              </a:ext>
            </a:extLst>
          </p:cNvPr>
          <p:cNvSpPr/>
          <p:nvPr/>
        </p:nvSpPr>
        <p:spPr bwMode="gray">
          <a:xfrm>
            <a:off x="410400" y="3214911"/>
            <a:ext cx="11376787" cy="359813"/>
          </a:xfrm>
          <a:prstGeom prst="chevron">
            <a:avLst>
              <a:gd name="adj" fmla="val 40651"/>
            </a:avLst>
          </a:prstGeom>
          <a:solidFill>
            <a:schemeClr val="accent1"/>
          </a:solidFill>
          <a:ln w="38100">
            <a:noFill/>
            <a:miter lim="800000"/>
          </a:ln>
          <a:effectLst/>
        </p:spPr>
        <p:txBody>
          <a:bodyPr wrap="square" lIns="71963" tIns="71963" rIns="71963" bIns="71963" numCol="1" spcCol="72000" rtlCol="0" anchor="ctr" anchorCtr="0">
            <a:noAutofit/>
          </a:bodyPr>
          <a:lstStyle/>
          <a:p>
            <a:pPr algn="ctr"/>
            <a:endParaRPr lang="en-US" sz="1999" b="1" dirty="0">
              <a:solidFill>
                <a:schemeClr val="bg1"/>
              </a:solidFill>
              <a:ea typeface="Arial Unicode MS"/>
            </a:endParaRPr>
          </a:p>
        </p:txBody>
      </p:sp>
      <p:sp>
        <p:nvSpPr>
          <p:cNvPr id="7" name="Rectangle 93"/>
          <p:cNvSpPr>
            <a:spLocks noChangeArrowheads="1"/>
          </p:cNvSpPr>
          <p:nvPr/>
        </p:nvSpPr>
        <p:spPr bwMode="gray">
          <a:xfrm>
            <a:off x="3095534" y="3214911"/>
            <a:ext cx="1187382" cy="359813"/>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12700"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43925" tIns="0" rIns="143925" bIns="0" anchor="ctr" anchorCtr="0">
            <a:noAutofit/>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pPr>
            <a:r>
              <a:rPr lang="en-US" sz="1799" b="1" dirty="0">
                <a:solidFill>
                  <a:schemeClr val="bg1"/>
                </a:solidFill>
                <a:latin typeface="+mn-lt"/>
              </a:rPr>
              <a:t>2022</a:t>
            </a:r>
          </a:p>
        </p:txBody>
      </p:sp>
      <p:sp>
        <p:nvSpPr>
          <p:cNvPr id="9" name="Rectangle 93"/>
          <p:cNvSpPr>
            <a:spLocks noChangeArrowheads="1"/>
          </p:cNvSpPr>
          <p:nvPr/>
        </p:nvSpPr>
        <p:spPr bwMode="gray">
          <a:xfrm>
            <a:off x="6220999" y="3214911"/>
            <a:ext cx="1187382" cy="359813"/>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12700"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43925" tIns="0" rIns="143925" bIns="0" anchor="ctr" anchorCtr="0">
            <a:noAutofit/>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pPr>
            <a:r>
              <a:rPr lang="en-US" sz="1799" b="1" dirty="0">
                <a:solidFill>
                  <a:schemeClr val="bg1"/>
                </a:solidFill>
                <a:latin typeface="+mn-lt"/>
              </a:rPr>
              <a:t>2023</a:t>
            </a:r>
            <a:endParaRPr lang="en-US" sz="1799" dirty="0">
              <a:solidFill>
                <a:schemeClr val="bg1"/>
              </a:solidFill>
              <a:latin typeface="+mn-lt"/>
            </a:endParaRPr>
          </a:p>
        </p:txBody>
      </p:sp>
      <p:sp>
        <p:nvSpPr>
          <p:cNvPr id="12" name="Rectangle 95"/>
          <p:cNvSpPr>
            <a:spLocks noChangeArrowheads="1"/>
          </p:cNvSpPr>
          <p:nvPr/>
        </p:nvSpPr>
        <p:spPr bwMode="gray">
          <a:xfrm>
            <a:off x="10089145" y="3214911"/>
            <a:ext cx="1187382" cy="359813"/>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12700"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3925" tIns="0" rIns="143925" bIns="0" anchor="ctr" anchorCtr="0">
            <a:noAutofit/>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pPr>
            <a:r>
              <a:rPr lang="en-US" sz="1799" b="1" dirty="0">
                <a:solidFill>
                  <a:schemeClr val="bg1"/>
                </a:solidFill>
                <a:latin typeface="+mn-lt"/>
              </a:rPr>
              <a:t>2024</a:t>
            </a:r>
            <a:endParaRPr lang="en-US" sz="1799" dirty="0">
              <a:solidFill>
                <a:schemeClr val="bg1"/>
              </a:solidFill>
              <a:latin typeface="+mn-lt"/>
            </a:endParaRPr>
          </a:p>
        </p:txBody>
      </p:sp>
      <p:grpSp>
        <p:nvGrpSpPr>
          <p:cNvPr id="19" name="Group 18"/>
          <p:cNvGrpSpPr/>
          <p:nvPr/>
        </p:nvGrpSpPr>
        <p:grpSpPr>
          <a:xfrm>
            <a:off x="1718728" y="1775661"/>
            <a:ext cx="1538196" cy="1539958"/>
            <a:chOff x="1241755" y="1800000"/>
            <a:chExt cx="1538997" cy="1540760"/>
          </a:xfrm>
        </p:grpSpPr>
        <p:grpSp>
          <p:nvGrpSpPr>
            <p:cNvPr id="3" name="Group 2"/>
            <p:cNvGrpSpPr/>
            <p:nvPr/>
          </p:nvGrpSpPr>
          <p:grpSpPr>
            <a:xfrm>
              <a:off x="1241755" y="1800049"/>
              <a:ext cx="198000" cy="1540711"/>
              <a:chOff x="1241755" y="1800049"/>
              <a:chExt cx="198000" cy="1540711"/>
            </a:xfrm>
          </p:grpSpPr>
          <p:sp>
            <p:nvSpPr>
              <p:cNvPr id="27" name="Ellipse 26"/>
              <p:cNvSpPr>
                <a:spLocks noChangeAspect="1"/>
              </p:cNvSpPr>
              <p:nvPr/>
            </p:nvSpPr>
            <p:spPr bwMode="gray">
              <a:xfrm>
                <a:off x="1241755" y="3142760"/>
                <a:ext cx="198000" cy="198000"/>
              </a:xfrm>
              <a:prstGeom prst="ellipse">
                <a:avLst/>
              </a:prstGeom>
              <a:solidFill>
                <a:schemeClr val="bg1"/>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spcBef>
                    <a:spcPts val="0"/>
                  </a:spcBef>
                  <a:spcAft>
                    <a:spcPts val="0"/>
                  </a:spcAft>
                </a:pPr>
                <a:endParaRPr lang="en-US" sz="1599" dirty="0">
                  <a:solidFill>
                    <a:srgbClr val="66667E"/>
                  </a:solidFill>
                  <a:latin typeface="+mn-lt"/>
                </a:endParaRPr>
              </a:p>
            </p:txBody>
          </p:sp>
          <p:sp>
            <p:nvSpPr>
              <p:cNvPr id="67" name="Line 87"/>
              <p:cNvSpPr>
                <a:spLocks noChangeShapeType="1"/>
              </p:cNvSpPr>
              <p:nvPr/>
            </p:nvSpPr>
            <p:spPr bwMode="gray">
              <a:xfrm flipV="1">
                <a:off x="1340755" y="1800049"/>
                <a:ext cx="0" cy="1439949"/>
              </a:xfrm>
              <a:prstGeom prst="line">
                <a:avLst/>
              </a:prstGeom>
              <a:noFill/>
              <a:ln w="12700" cap="flat">
                <a:solidFill>
                  <a:srgbClr val="66667E"/>
                </a:solidFill>
                <a:miter lim="800000"/>
                <a:headEnd type="oval" w="lg" len="lg"/>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spcAft>
                    <a:spcPts val="0"/>
                  </a:spcAft>
                </a:pPr>
                <a:endParaRPr lang="en-US" sz="1799" dirty="0">
                  <a:solidFill>
                    <a:srgbClr val="66667E"/>
                  </a:solidFill>
                  <a:latin typeface="+mn-lt"/>
                </a:endParaRPr>
              </a:p>
            </p:txBody>
          </p:sp>
        </p:grpSp>
        <p:sp>
          <p:nvSpPr>
            <p:cNvPr id="154" name="Rechteck 28">
              <a:extLst>
                <a:ext uri="{FF2B5EF4-FFF2-40B4-BE49-F238E27FC236}">
                  <a16:creationId xmlns:a16="http://schemas.microsoft.com/office/drawing/2014/main" id="{1A9A9952-8106-5B4E-B9C7-1960ED09A7DA}"/>
                </a:ext>
              </a:extLst>
            </p:cNvPr>
            <p:cNvSpPr/>
            <p:nvPr/>
          </p:nvSpPr>
          <p:spPr bwMode="gray">
            <a:xfrm>
              <a:off x="1340752" y="1800000"/>
              <a:ext cx="1440000" cy="756000"/>
            </a:xfrm>
            <a:prstGeom prst="rect">
              <a:avLst/>
            </a:prstGeom>
            <a:noFill/>
            <a:ln w="19050">
              <a:noFill/>
              <a:miter lim="800000"/>
            </a:ln>
            <a:effectLst/>
          </p:spPr>
          <p:txBody>
            <a:bodyPr wrap="square" lIns="143925" tIns="71963" rIns="0" bIns="0" numCol="1" spcCol="72000" rtlCol="0" anchor="t" anchorCtr="0">
              <a:noAutofit/>
            </a:bodyPr>
            <a:lstStyle/>
            <a:p>
              <a:pPr>
                <a:defRPr/>
              </a:pPr>
              <a:r>
                <a:rPr lang="en-US" altLang="de-DE" sz="1599" b="1" dirty="0">
                  <a:solidFill>
                    <a:schemeClr val="accent1"/>
                  </a:solidFill>
                  <a:ea typeface="Arial Unicode MS"/>
                </a:rPr>
                <a:t>Lorem</a:t>
              </a:r>
            </a:p>
            <a:p>
              <a:pPr marL="0" lvl="1">
                <a:spcBef>
                  <a:spcPts val="300"/>
                </a:spcBef>
                <a:buClr>
                  <a:srgbClr val="3C464B"/>
                </a:buClr>
                <a:defRPr/>
              </a:pPr>
              <a:r>
                <a:rPr lang="en-US" altLang="de-DE" sz="1199" dirty="0">
                  <a:solidFill>
                    <a:srgbClr val="66667E"/>
                  </a:solidFill>
                  <a:ea typeface="Arial Unicode MS"/>
                  <a:cs typeface="Arial" pitchFamily="34" charset="0"/>
                </a:rPr>
                <a:t>Cras ultricies </a:t>
              </a:r>
              <a:br>
                <a:rPr lang="en-US" altLang="de-DE" sz="1199" dirty="0">
                  <a:solidFill>
                    <a:srgbClr val="66667E"/>
                  </a:solidFill>
                  <a:ea typeface="Arial Unicode MS"/>
                  <a:cs typeface="Arial" pitchFamily="34" charset="0"/>
                </a:rPr>
              </a:br>
              <a:r>
                <a:rPr lang="en-US" altLang="de-DE" sz="1199" dirty="0">
                  <a:solidFill>
                    <a:srgbClr val="66667E"/>
                  </a:solidFill>
                  <a:ea typeface="Arial Unicode MS"/>
                  <a:cs typeface="Arial" pitchFamily="34" charset="0"/>
                </a:rPr>
                <a:t>mi eu</a:t>
              </a:r>
            </a:p>
          </p:txBody>
        </p:sp>
      </p:grpSp>
      <p:grpSp>
        <p:nvGrpSpPr>
          <p:cNvPr id="11" name="Group 10"/>
          <p:cNvGrpSpPr/>
          <p:nvPr/>
        </p:nvGrpSpPr>
        <p:grpSpPr>
          <a:xfrm>
            <a:off x="805980" y="3470379"/>
            <a:ext cx="1538199" cy="1327708"/>
            <a:chOff x="806400" y="3856230"/>
            <a:chExt cx="1539000" cy="1328400"/>
          </a:xfrm>
        </p:grpSpPr>
        <p:sp>
          <p:nvSpPr>
            <p:cNvPr id="161" name="Rechteck 28">
              <a:extLst>
                <a:ext uri="{FF2B5EF4-FFF2-40B4-BE49-F238E27FC236}">
                  <a16:creationId xmlns:a16="http://schemas.microsoft.com/office/drawing/2014/main" id="{F9E8C198-C74A-4343-A698-857ADDF76A3B}"/>
                </a:ext>
              </a:extLst>
            </p:cNvPr>
            <p:cNvSpPr/>
            <p:nvPr/>
          </p:nvSpPr>
          <p:spPr bwMode="gray">
            <a:xfrm>
              <a:off x="905400" y="4385205"/>
              <a:ext cx="1440000" cy="799425"/>
            </a:xfrm>
            <a:prstGeom prst="rect">
              <a:avLst/>
            </a:prstGeom>
            <a:noFill/>
            <a:ln w="19050">
              <a:noFill/>
              <a:miter lim="800000"/>
            </a:ln>
            <a:effectLst/>
          </p:spPr>
          <p:txBody>
            <a:bodyPr wrap="square" lIns="143925" tIns="72000" rIns="0" bIns="71963" numCol="1" spcCol="72000" rtlCol="0" anchor="b" anchorCtr="0">
              <a:spAutoFit/>
            </a:bodyPr>
            <a:lstStyle/>
            <a:p>
              <a:pPr>
                <a:defRPr/>
              </a:pPr>
              <a:r>
                <a:rPr lang="en-US" altLang="de-DE" sz="1599" b="1" dirty="0">
                  <a:solidFill>
                    <a:schemeClr val="accent1"/>
                  </a:solidFill>
                  <a:ea typeface="Arial Unicode MS"/>
                </a:rPr>
                <a:t>Coseque</a:t>
              </a:r>
            </a:p>
            <a:p>
              <a:pPr marL="0" lvl="1">
                <a:spcBef>
                  <a:spcPts val="300"/>
                </a:spcBef>
                <a:buClr>
                  <a:srgbClr val="3C464B"/>
                </a:buClr>
                <a:defRPr/>
              </a:pPr>
              <a:r>
                <a:rPr lang="en-US" altLang="de-DE" sz="1199" dirty="0">
                  <a:solidFill>
                    <a:srgbClr val="66667E"/>
                  </a:solidFill>
                  <a:ea typeface="Arial Unicode MS"/>
                  <a:cs typeface="Arial" pitchFamily="34" charset="0"/>
                </a:rPr>
                <a:t>At vero eos et accusam</a:t>
              </a:r>
            </a:p>
          </p:txBody>
        </p:sp>
        <p:grpSp>
          <p:nvGrpSpPr>
            <p:cNvPr id="20" name="Gruppieren 19">
              <a:extLst>
                <a:ext uri="{FF2B5EF4-FFF2-40B4-BE49-F238E27FC236}">
                  <a16:creationId xmlns:a16="http://schemas.microsoft.com/office/drawing/2014/main" id="{D7F48A4A-8844-6E4F-AE8B-94775BE48541}"/>
                </a:ext>
              </a:extLst>
            </p:cNvPr>
            <p:cNvGrpSpPr/>
            <p:nvPr/>
          </p:nvGrpSpPr>
          <p:grpSpPr>
            <a:xfrm>
              <a:off x="806400" y="3856230"/>
              <a:ext cx="198000" cy="1327770"/>
              <a:chOff x="806400" y="3678430"/>
              <a:chExt cx="198000" cy="1327770"/>
            </a:xfrm>
          </p:grpSpPr>
          <p:sp>
            <p:nvSpPr>
              <p:cNvPr id="164" name="Ellipse 26">
                <a:extLst>
                  <a:ext uri="{FF2B5EF4-FFF2-40B4-BE49-F238E27FC236}">
                    <a16:creationId xmlns:a16="http://schemas.microsoft.com/office/drawing/2014/main" id="{B31F6662-5EDE-AB47-8093-BE33FFBA5677}"/>
                  </a:ext>
                </a:extLst>
              </p:cNvPr>
              <p:cNvSpPr>
                <a:spLocks noChangeAspect="1"/>
              </p:cNvSpPr>
              <p:nvPr/>
            </p:nvSpPr>
            <p:spPr bwMode="gray">
              <a:xfrm>
                <a:off x="806400" y="3678430"/>
                <a:ext cx="198000" cy="198000"/>
              </a:xfrm>
              <a:prstGeom prst="ellipse">
                <a:avLst/>
              </a:prstGeom>
              <a:solidFill>
                <a:schemeClr val="bg1"/>
              </a:solidFill>
              <a:ln w="12700" cap="flat" cmpd="sng" algn="ctr">
                <a:noFill/>
                <a:prstDash val="solid"/>
                <a:round/>
                <a:headEnd type="none" w="med" len="med"/>
                <a:tailEnd type="none" w="med" len="med"/>
              </a:ln>
              <a:effectLst/>
            </p:spPr>
            <p:txBody>
              <a:bodyPr vert="horz" wrap="none" lIns="89953" tIns="46776" rIns="89953" bIns="46776"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spcBef>
                    <a:spcPts val="0"/>
                  </a:spcBef>
                  <a:spcAft>
                    <a:spcPts val="0"/>
                  </a:spcAft>
                </a:pPr>
                <a:endParaRPr lang="en-US" sz="1599" dirty="0">
                  <a:solidFill>
                    <a:srgbClr val="66667E"/>
                  </a:solidFill>
                  <a:latin typeface="+mn-lt"/>
                </a:endParaRPr>
              </a:p>
            </p:txBody>
          </p:sp>
          <p:sp>
            <p:nvSpPr>
              <p:cNvPr id="163" name="Line 87">
                <a:extLst>
                  <a:ext uri="{FF2B5EF4-FFF2-40B4-BE49-F238E27FC236}">
                    <a16:creationId xmlns:a16="http://schemas.microsoft.com/office/drawing/2014/main" id="{7B0AF506-607C-9449-A772-A582112D1727}"/>
                  </a:ext>
                </a:extLst>
              </p:cNvPr>
              <p:cNvSpPr>
                <a:spLocks noChangeShapeType="1"/>
              </p:cNvSpPr>
              <p:nvPr/>
            </p:nvSpPr>
            <p:spPr bwMode="gray">
              <a:xfrm flipV="1">
                <a:off x="905400" y="3782200"/>
                <a:ext cx="0" cy="1224000"/>
              </a:xfrm>
              <a:prstGeom prst="line">
                <a:avLst/>
              </a:prstGeom>
              <a:noFill/>
              <a:ln w="12700" cap="flat">
                <a:solidFill>
                  <a:srgbClr val="66667E"/>
                </a:solidFill>
                <a:miter lim="800000"/>
                <a:headEnd type="none" w="lg" len="lg"/>
                <a:tailEnd type="oval"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9953" tIns="46776" rIns="89953" bIns="46776"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spcAft>
                    <a:spcPts val="0"/>
                  </a:spcAft>
                </a:pPr>
                <a:endParaRPr lang="en-US" sz="1799" dirty="0">
                  <a:solidFill>
                    <a:srgbClr val="66667E"/>
                  </a:solidFill>
                  <a:latin typeface="+mn-lt"/>
                </a:endParaRPr>
              </a:p>
            </p:txBody>
          </p:sp>
        </p:grpSp>
      </p:grpSp>
      <p:grpSp>
        <p:nvGrpSpPr>
          <p:cNvPr id="18" name="Group 17"/>
          <p:cNvGrpSpPr/>
          <p:nvPr/>
        </p:nvGrpSpPr>
        <p:grpSpPr>
          <a:xfrm>
            <a:off x="3832071" y="1775661"/>
            <a:ext cx="1538196" cy="1539958"/>
            <a:chOff x="2992514" y="1800000"/>
            <a:chExt cx="1538997" cy="1540760"/>
          </a:xfrm>
        </p:grpSpPr>
        <p:grpSp>
          <p:nvGrpSpPr>
            <p:cNvPr id="78" name="Group 77"/>
            <p:cNvGrpSpPr/>
            <p:nvPr/>
          </p:nvGrpSpPr>
          <p:grpSpPr>
            <a:xfrm>
              <a:off x="2992514" y="1800049"/>
              <a:ext cx="198000" cy="1540711"/>
              <a:chOff x="1241755" y="1800049"/>
              <a:chExt cx="198000" cy="1540711"/>
            </a:xfrm>
          </p:grpSpPr>
          <p:sp>
            <p:nvSpPr>
              <p:cNvPr id="80" name="Ellipse 26"/>
              <p:cNvSpPr>
                <a:spLocks noChangeAspect="1"/>
              </p:cNvSpPr>
              <p:nvPr/>
            </p:nvSpPr>
            <p:spPr bwMode="gray">
              <a:xfrm>
                <a:off x="1241755" y="3142760"/>
                <a:ext cx="198000" cy="198000"/>
              </a:xfrm>
              <a:prstGeom prst="ellipse">
                <a:avLst/>
              </a:prstGeom>
              <a:solidFill>
                <a:schemeClr val="bg1"/>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spcBef>
                    <a:spcPts val="0"/>
                  </a:spcBef>
                  <a:spcAft>
                    <a:spcPts val="0"/>
                  </a:spcAft>
                </a:pPr>
                <a:endParaRPr lang="en-US" sz="1599" dirty="0">
                  <a:solidFill>
                    <a:srgbClr val="66667E"/>
                  </a:solidFill>
                  <a:latin typeface="+mn-lt"/>
                </a:endParaRPr>
              </a:p>
            </p:txBody>
          </p:sp>
          <p:sp>
            <p:nvSpPr>
              <p:cNvPr id="81" name="Line 87"/>
              <p:cNvSpPr>
                <a:spLocks noChangeShapeType="1"/>
              </p:cNvSpPr>
              <p:nvPr/>
            </p:nvSpPr>
            <p:spPr bwMode="gray">
              <a:xfrm flipV="1">
                <a:off x="1340755" y="1800049"/>
                <a:ext cx="0" cy="1439949"/>
              </a:xfrm>
              <a:prstGeom prst="line">
                <a:avLst/>
              </a:prstGeom>
              <a:noFill/>
              <a:ln w="12700" cap="flat">
                <a:solidFill>
                  <a:srgbClr val="66667E"/>
                </a:solidFill>
                <a:miter lim="800000"/>
                <a:headEnd type="oval" w="lg" len="lg"/>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spcAft>
                    <a:spcPts val="0"/>
                  </a:spcAft>
                </a:pPr>
                <a:endParaRPr lang="en-US" sz="1799" dirty="0">
                  <a:solidFill>
                    <a:srgbClr val="66667E"/>
                  </a:solidFill>
                  <a:latin typeface="+mn-lt"/>
                </a:endParaRPr>
              </a:p>
            </p:txBody>
          </p:sp>
        </p:grpSp>
        <p:sp>
          <p:nvSpPr>
            <p:cNvPr id="79" name="Rechteck 28">
              <a:extLst>
                <a:ext uri="{FF2B5EF4-FFF2-40B4-BE49-F238E27FC236}">
                  <a16:creationId xmlns:a16="http://schemas.microsoft.com/office/drawing/2014/main" id="{1A9A9952-8106-5B4E-B9C7-1960ED09A7DA}"/>
                </a:ext>
              </a:extLst>
            </p:cNvPr>
            <p:cNvSpPr/>
            <p:nvPr/>
          </p:nvSpPr>
          <p:spPr bwMode="gray">
            <a:xfrm>
              <a:off x="3091511" y="1800000"/>
              <a:ext cx="1440000" cy="799425"/>
            </a:xfrm>
            <a:prstGeom prst="rect">
              <a:avLst/>
            </a:prstGeom>
            <a:noFill/>
            <a:ln w="19050">
              <a:noFill/>
              <a:miter lim="800000"/>
            </a:ln>
            <a:effectLst/>
          </p:spPr>
          <p:txBody>
            <a:bodyPr wrap="square" lIns="143925" tIns="71963" rIns="0" bIns="72000" numCol="1" spcCol="72000" rtlCol="0" anchor="t" anchorCtr="0">
              <a:spAutoFit/>
            </a:bodyPr>
            <a:lstStyle/>
            <a:p>
              <a:pPr>
                <a:defRPr/>
              </a:pPr>
              <a:r>
                <a:rPr lang="en-US" altLang="de-DE" sz="1599" b="1" dirty="0">
                  <a:solidFill>
                    <a:schemeClr val="accent1"/>
                  </a:solidFill>
                  <a:ea typeface="Arial Unicode MS"/>
                </a:rPr>
                <a:t>Dolore</a:t>
              </a:r>
            </a:p>
            <a:p>
              <a:pPr marL="0" lvl="1">
                <a:spcBef>
                  <a:spcPts val="300"/>
                </a:spcBef>
                <a:buClr>
                  <a:srgbClr val="3C464B"/>
                </a:buClr>
                <a:defRPr/>
              </a:pPr>
              <a:r>
                <a:rPr lang="en-US" altLang="de-DE" sz="1199" dirty="0">
                  <a:solidFill>
                    <a:srgbClr val="66667E"/>
                  </a:solidFill>
                  <a:ea typeface="Arial Unicode MS"/>
                  <a:cs typeface="Arial" pitchFamily="34" charset="0"/>
                </a:rPr>
                <a:t>At vero eos et accusam</a:t>
              </a:r>
            </a:p>
          </p:txBody>
        </p:sp>
      </p:grpSp>
      <p:grpSp>
        <p:nvGrpSpPr>
          <p:cNvPr id="17" name="Group 16"/>
          <p:cNvGrpSpPr/>
          <p:nvPr/>
        </p:nvGrpSpPr>
        <p:grpSpPr>
          <a:xfrm>
            <a:off x="5945413" y="1775661"/>
            <a:ext cx="1538196" cy="1539958"/>
            <a:chOff x="4743273" y="1800000"/>
            <a:chExt cx="1538997" cy="1540760"/>
          </a:xfrm>
        </p:grpSpPr>
        <p:grpSp>
          <p:nvGrpSpPr>
            <p:cNvPr id="83" name="Group 82"/>
            <p:cNvGrpSpPr/>
            <p:nvPr/>
          </p:nvGrpSpPr>
          <p:grpSpPr>
            <a:xfrm>
              <a:off x="4743273" y="1800049"/>
              <a:ext cx="198000" cy="1540711"/>
              <a:chOff x="1241755" y="1800049"/>
              <a:chExt cx="198000" cy="1540711"/>
            </a:xfrm>
          </p:grpSpPr>
          <p:sp>
            <p:nvSpPr>
              <p:cNvPr id="85" name="Ellipse 26"/>
              <p:cNvSpPr>
                <a:spLocks noChangeAspect="1"/>
              </p:cNvSpPr>
              <p:nvPr/>
            </p:nvSpPr>
            <p:spPr bwMode="gray">
              <a:xfrm>
                <a:off x="1241755" y="3142760"/>
                <a:ext cx="198000" cy="198000"/>
              </a:xfrm>
              <a:prstGeom prst="ellipse">
                <a:avLst/>
              </a:prstGeom>
              <a:solidFill>
                <a:schemeClr val="bg1"/>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spcBef>
                    <a:spcPts val="0"/>
                  </a:spcBef>
                  <a:spcAft>
                    <a:spcPts val="0"/>
                  </a:spcAft>
                </a:pPr>
                <a:endParaRPr lang="en-US" sz="1599" dirty="0">
                  <a:solidFill>
                    <a:srgbClr val="66667E"/>
                  </a:solidFill>
                  <a:latin typeface="+mn-lt"/>
                </a:endParaRPr>
              </a:p>
            </p:txBody>
          </p:sp>
          <p:sp>
            <p:nvSpPr>
              <p:cNvPr id="86" name="Line 87"/>
              <p:cNvSpPr>
                <a:spLocks noChangeShapeType="1"/>
              </p:cNvSpPr>
              <p:nvPr/>
            </p:nvSpPr>
            <p:spPr bwMode="gray">
              <a:xfrm flipV="1">
                <a:off x="1340755" y="1800049"/>
                <a:ext cx="0" cy="1439949"/>
              </a:xfrm>
              <a:prstGeom prst="line">
                <a:avLst/>
              </a:prstGeom>
              <a:noFill/>
              <a:ln w="12700" cap="flat">
                <a:solidFill>
                  <a:srgbClr val="66667E"/>
                </a:solidFill>
                <a:miter lim="800000"/>
                <a:headEnd type="oval" w="lg" len="lg"/>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spcAft>
                    <a:spcPts val="0"/>
                  </a:spcAft>
                </a:pPr>
                <a:endParaRPr lang="en-US" sz="1799" dirty="0">
                  <a:solidFill>
                    <a:srgbClr val="66667E"/>
                  </a:solidFill>
                  <a:latin typeface="+mn-lt"/>
                </a:endParaRPr>
              </a:p>
            </p:txBody>
          </p:sp>
        </p:grpSp>
        <p:sp>
          <p:nvSpPr>
            <p:cNvPr id="84" name="Rechteck 28">
              <a:extLst>
                <a:ext uri="{FF2B5EF4-FFF2-40B4-BE49-F238E27FC236}">
                  <a16:creationId xmlns:a16="http://schemas.microsoft.com/office/drawing/2014/main" id="{1A9A9952-8106-5B4E-B9C7-1960ED09A7DA}"/>
                </a:ext>
              </a:extLst>
            </p:cNvPr>
            <p:cNvSpPr/>
            <p:nvPr/>
          </p:nvSpPr>
          <p:spPr bwMode="gray">
            <a:xfrm>
              <a:off x="4842270" y="1800000"/>
              <a:ext cx="1440000" cy="799425"/>
            </a:xfrm>
            <a:prstGeom prst="rect">
              <a:avLst/>
            </a:prstGeom>
            <a:noFill/>
            <a:ln w="19050">
              <a:noFill/>
              <a:miter lim="800000"/>
            </a:ln>
            <a:effectLst/>
          </p:spPr>
          <p:txBody>
            <a:bodyPr wrap="square" lIns="143925" tIns="71963" rIns="0" bIns="72000" numCol="1" spcCol="72000" rtlCol="0" anchor="t" anchorCtr="0">
              <a:spAutoFit/>
            </a:bodyPr>
            <a:lstStyle/>
            <a:p>
              <a:pPr>
                <a:defRPr/>
              </a:pPr>
              <a:r>
                <a:rPr lang="en-US" altLang="de-DE" sz="1599" b="1" dirty="0">
                  <a:solidFill>
                    <a:schemeClr val="accent1"/>
                  </a:solidFill>
                  <a:ea typeface="Arial Unicode MS"/>
                </a:rPr>
                <a:t>Rarumit</a:t>
              </a:r>
            </a:p>
            <a:p>
              <a:pPr marL="0" lvl="1">
                <a:spcBef>
                  <a:spcPts val="300"/>
                </a:spcBef>
                <a:buClr>
                  <a:srgbClr val="3C464B"/>
                </a:buClr>
                <a:defRPr/>
              </a:pPr>
              <a:r>
                <a:rPr lang="en-US" altLang="de-DE" sz="1199" dirty="0">
                  <a:solidFill>
                    <a:srgbClr val="66667E"/>
                  </a:solidFill>
                  <a:ea typeface="Arial Unicode MS"/>
                  <a:cs typeface="Arial" pitchFamily="34" charset="0"/>
                </a:rPr>
                <a:t>Duis arcu tortor, suscipit eget</a:t>
              </a:r>
            </a:p>
          </p:txBody>
        </p:sp>
      </p:grpSp>
      <p:grpSp>
        <p:nvGrpSpPr>
          <p:cNvPr id="13" name="Group 12"/>
          <p:cNvGrpSpPr/>
          <p:nvPr/>
        </p:nvGrpSpPr>
        <p:grpSpPr>
          <a:xfrm>
            <a:off x="8058755" y="1775661"/>
            <a:ext cx="1538196" cy="1539958"/>
            <a:chOff x="8244791" y="1800000"/>
            <a:chExt cx="1538997" cy="1540760"/>
          </a:xfrm>
        </p:grpSpPr>
        <p:grpSp>
          <p:nvGrpSpPr>
            <p:cNvPr id="93" name="Group 92"/>
            <p:cNvGrpSpPr/>
            <p:nvPr/>
          </p:nvGrpSpPr>
          <p:grpSpPr>
            <a:xfrm>
              <a:off x="8244791" y="1800049"/>
              <a:ext cx="198000" cy="1540711"/>
              <a:chOff x="1241755" y="1800049"/>
              <a:chExt cx="198000" cy="1540711"/>
            </a:xfrm>
          </p:grpSpPr>
          <p:sp>
            <p:nvSpPr>
              <p:cNvPr id="95" name="Ellipse 26"/>
              <p:cNvSpPr>
                <a:spLocks noChangeAspect="1"/>
              </p:cNvSpPr>
              <p:nvPr/>
            </p:nvSpPr>
            <p:spPr bwMode="gray">
              <a:xfrm>
                <a:off x="1241755" y="3142760"/>
                <a:ext cx="198000" cy="198000"/>
              </a:xfrm>
              <a:prstGeom prst="ellipse">
                <a:avLst/>
              </a:prstGeom>
              <a:solidFill>
                <a:schemeClr val="bg1"/>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spcBef>
                    <a:spcPts val="0"/>
                  </a:spcBef>
                  <a:spcAft>
                    <a:spcPts val="0"/>
                  </a:spcAft>
                </a:pPr>
                <a:endParaRPr lang="en-US" sz="1599" dirty="0">
                  <a:solidFill>
                    <a:srgbClr val="66667E"/>
                  </a:solidFill>
                  <a:latin typeface="+mn-lt"/>
                </a:endParaRPr>
              </a:p>
            </p:txBody>
          </p:sp>
          <p:sp>
            <p:nvSpPr>
              <p:cNvPr id="96" name="Line 87"/>
              <p:cNvSpPr>
                <a:spLocks noChangeShapeType="1"/>
              </p:cNvSpPr>
              <p:nvPr/>
            </p:nvSpPr>
            <p:spPr bwMode="gray">
              <a:xfrm flipV="1">
                <a:off x="1340755" y="1800049"/>
                <a:ext cx="0" cy="1439949"/>
              </a:xfrm>
              <a:prstGeom prst="line">
                <a:avLst/>
              </a:prstGeom>
              <a:noFill/>
              <a:ln w="12700" cap="flat">
                <a:solidFill>
                  <a:srgbClr val="66667E"/>
                </a:solidFill>
                <a:miter lim="800000"/>
                <a:headEnd type="oval" w="lg" len="lg"/>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spcAft>
                    <a:spcPts val="0"/>
                  </a:spcAft>
                </a:pPr>
                <a:endParaRPr lang="en-US" sz="1799" dirty="0">
                  <a:solidFill>
                    <a:srgbClr val="66667E"/>
                  </a:solidFill>
                  <a:latin typeface="+mn-lt"/>
                </a:endParaRPr>
              </a:p>
            </p:txBody>
          </p:sp>
        </p:grpSp>
        <p:sp>
          <p:nvSpPr>
            <p:cNvPr id="94" name="Rechteck 28">
              <a:extLst>
                <a:ext uri="{FF2B5EF4-FFF2-40B4-BE49-F238E27FC236}">
                  <a16:creationId xmlns:a16="http://schemas.microsoft.com/office/drawing/2014/main" id="{1A9A9952-8106-5B4E-B9C7-1960ED09A7DA}"/>
                </a:ext>
              </a:extLst>
            </p:cNvPr>
            <p:cNvSpPr/>
            <p:nvPr/>
          </p:nvSpPr>
          <p:spPr bwMode="gray">
            <a:xfrm>
              <a:off x="8343788" y="1800000"/>
              <a:ext cx="1440000" cy="861013"/>
            </a:xfrm>
            <a:prstGeom prst="rect">
              <a:avLst/>
            </a:prstGeom>
            <a:noFill/>
            <a:ln w="19050">
              <a:noFill/>
              <a:miter lim="800000"/>
            </a:ln>
            <a:effectLst/>
          </p:spPr>
          <p:txBody>
            <a:bodyPr wrap="square" lIns="143925" tIns="71963" rIns="0" bIns="72000" numCol="1" spcCol="72000" rtlCol="0" anchor="t" anchorCtr="0">
              <a:spAutoFit/>
            </a:bodyPr>
            <a:lstStyle/>
            <a:p>
              <a:pPr>
                <a:defRPr/>
              </a:pPr>
              <a:r>
                <a:rPr lang="en-US" altLang="de-DE" sz="1599" b="1" dirty="0">
                  <a:solidFill>
                    <a:schemeClr val="accent1"/>
                  </a:solidFill>
                  <a:ea typeface="Arial Unicode MS"/>
                </a:rPr>
                <a:t>At vero eos et accusam</a:t>
              </a:r>
            </a:p>
            <a:p>
              <a:pPr marL="0" lvl="1">
                <a:spcBef>
                  <a:spcPts val="300"/>
                </a:spcBef>
                <a:buClr>
                  <a:srgbClr val="3C464B"/>
                </a:buClr>
                <a:defRPr/>
              </a:pPr>
              <a:r>
                <a:rPr lang="en-US" altLang="de-DE" sz="1199" dirty="0">
                  <a:solidFill>
                    <a:srgbClr val="66667E"/>
                  </a:solidFill>
                  <a:ea typeface="Arial Unicode MS"/>
                  <a:cs typeface="Arial" pitchFamily="34" charset="0"/>
                </a:rPr>
                <a:t>Phasellus nec sem</a:t>
              </a:r>
            </a:p>
          </p:txBody>
        </p:sp>
      </p:grpSp>
      <p:grpSp>
        <p:nvGrpSpPr>
          <p:cNvPr id="104" name="Group 103"/>
          <p:cNvGrpSpPr/>
          <p:nvPr/>
        </p:nvGrpSpPr>
        <p:grpSpPr>
          <a:xfrm>
            <a:off x="2919322" y="3470379"/>
            <a:ext cx="1538199" cy="1327708"/>
            <a:chOff x="806400" y="3856230"/>
            <a:chExt cx="1539000" cy="1328400"/>
          </a:xfrm>
        </p:grpSpPr>
        <p:sp>
          <p:nvSpPr>
            <p:cNvPr id="105" name="Rechteck 28">
              <a:extLst>
                <a:ext uri="{FF2B5EF4-FFF2-40B4-BE49-F238E27FC236}">
                  <a16:creationId xmlns:a16="http://schemas.microsoft.com/office/drawing/2014/main" id="{F9E8C198-C74A-4343-A698-857ADDF76A3B}"/>
                </a:ext>
              </a:extLst>
            </p:cNvPr>
            <p:cNvSpPr/>
            <p:nvPr/>
          </p:nvSpPr>
          <p:spPr bwMode="gray">
            <a:xfrm>
              <a:off x="905400" y="4385205"/>
              <a:ext cx="1440000" cy="799425"/>
            </a:xfrm>
            <a:prstGeom prst="rect">
              <a:avLst/>
            </a:prstGeom>
            <a:noFill/>
            <a:ln w="19050">
              <a:noFill/>
              <a:miter lim="800000"/>
            </a:ln>
            <a:effectLst/>
          </p:spPr>
          <p:txBody>
            <a:bodyPr wrap="square" lIns="143925" tIns="72000" rIns="0" bIns="71963" numCol="1" spcCol="72000" rtlCol="0" anchor="b" anchorCtr="0">
              <a:spAutoFit/>
            </a:bodyPr>
            <a:lstStyle/>
            <a:p>
              <a:pPr>
                <a:defRPr/>
              </a:pPr>
              <a:r>
                <a:rPr lang="en-US" altLang="de-DE" sz="1599" b="1" dirty="0">
                  <a:solidFill>
                    <a:schemeClr val="accent1"/>
                  </a:solidFill>
                  <a:ea typeface="Arial Unicode MS"/>
                </a:rPr>
                <a:t>Accusam</a:t>
              </a:r>
            </a:p>
            <a:p>
              <a:pPr marL="0" lvl="1">
                <a:spcBef>
                  <a:spcPts val="300"/>
                </a:spcBef>
                <a:buClr>
                  <a:srgbClr val="3C464B"/>
                </a:buClr>
                <a:defRPr/>
              </a:pPr>
              <a:r>
                <a:rPr lang="en-US" altLang="de-DE" sz="1199" dirty="0">
                  <a:solidFill>
                    <a:srgbClr val="66667E"/>
                  </a:solidFill>
                  <a:ea typeface="Arial Unicode MS"/>
                  <a:cs typeface="Arial" pitchFamily="34" charset="0"/>
                </a:rPr>
                <a:t>Cras ultricies </a:t>
              </a:r>
              <a:br>
                <a:rPr lang="en-US" altLang="de-DE" sz="1199" dirty="0">
                  <a:solidFill>
                    <a:srgbClr val="66667E"/>
                  </a:solidFill>
                  <a:ea typeface="Arial Unicode MS"/>
                  <a:cs typeface="Arial" pitchFamily="34" charset="0"/>
                </a:rPr>
              </a:br>
              <a:r>
                <a:rPr lang="en-US" altLang="de-DE" sz="1199" dirty="0">
                  <a:solidFill>
                    <a:srgbClr val="66667E"/>
                  </a:solidFill>
                  <a:ea typeface="Arial Unicode MS"/>
                  <a:cs typeface="Arial" pitchFamily="34" charset="0"/>
                </a:rPr>
                <a:t>mi eu</a:t>
              </a:r>
            </a:p>
          </p:txBody>
        </p:sp>
        <p:grpSp>
          <p:nvGrpSpPr>
            <p:cNvPr id="106" name="Gruppieren 19">
              <a:extLst>
                <a:ext uri="{FF2B5EF4-FFF2-40B4-BE49-F238E27FC236}">
                  <a16:creationId xmlns:a16="http://schemas.microsoft.com/office/drawing/2014/main" id="{D7F48A4A-8844-6E4F-AE8B-94775BE48541}"/>
                </a:ext>
              </a:extLst>
            </p:cNvPr>
            <p:cNvGrpSpPr/>
            <p:nvPr/>
          </p:nvGrpSpPr>
          <p:grpSpPr>
            <a:xfrm>
              <a:off x="806400" y="3856230"/>
              <a:ext cx="198000" cy="1327770"/>
              <a:chOff x="806400" y="3678430"/>
              <a:chExt cx="198000" cy="1327770"/>
            </a:xfrm>
          </p:grpSpPr>
          <p:sp>
            <p:nvSpPr>
              <p:cNvPr id="107" name="Ellipse 26">
                <a:extLst>
                  <a:ext uri="{FF2B5EF4-FFF2-40B4-BE49-F238E27FC236}">
                    <a16:creationId xmlns:a16="http://schemas.microsoft.com/office/drawing/2014/main" id="{B31F6662-5EDE-AB47-8093-BE33FFBA5677}"/>
                  </a:ext>
                </a:extLst>
              </p:cNvPr>
              <p:cNvSpPr>
                <a:spLocks noChangeAspect="1"/>
              </p:cNvSpPr>
              <p:nvPr/>
            </p:nvSpPr>
            <p:spPr bwMode="gray">
              <a:xfrm>
                <a:off x="806400" y="3678430"/>
                <a:ext cx="198000" cy="198000"/>
              </a:xfrm>
              <a:prstGeom prst="ellipse">
                <a:avLst/>
              </a:prstGeom>
              <a:solidFill>
                <a:schemeClr val="bg1"/>
              </a:solidFill>
              <a:ln w="12700" cap="flat" cmpd="sng" algn="ctr">
                <a:noFill/>
                <a:prstDash val="solid"/>
                <a:round/>
                <a:headEnd type="none" w="med" len="med"/>
                <a:tailEnd type="none" w="med" len="med"/>
              </a:ln>
              <a:effectLst/>
            </p:spPr>
            <p:txBody>
              <a:bodyPr vert="horz" wrap="none" lIns="89953" tIns="46776" rIns="89953" bIns="46776"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spcBef>
                    <a:spcPts val="0"/>
                  </a:spcBef>
                  <a:spcAft>
                    <a:spcPts val="0"/>
                  </a:spcAft>
                </a:pPr>
                <a:endParaRPr lang="en-US" sz="1599" dirty="0">
                  <a:solidFill>
                    <a:srgbClr val="66667E"/>
                  </a:solidFill>
                  <a:latin typeface="+mn-lt"/>
                </a:endParaRPr>
              </a:p>
            </p:txBody>
          </p:sp>
          <p:sp>
            <p:nvSpPr>
              <p:cNvPr id="108" name="Line 87">
                <a:extLst>
                  <a:ext uri="{FF2B5EF4-FFF2-40B4-BE49-F238E27FC236}">
                    <a16:creationId xmlns:a16="http://schemas.microsoft.com/office/drawing/2014/main" id="{7B0AF506-607C-9449-A772-A582112D1727}"/>
                  </a:ext>
                </a:extLst>
              </p:cNvPr>
              <p:cNvSpPr>
                <a:spLocks noChangeShapeType="1"/>
              </p:cNvSpPr>
              <p:nvPr/>
            </p:nvSpPr>
            <p:spPr bwMode="gray">
              <a:xfrm flipV="1">
                <a:off x="905400" y="3782200"/>
                <a:ext cx="0" cy="1224000"/>
              </a:xfrm>
              <a:prstGeom prst="line">
                <a:avLst/>
              </a:prstGeom>
              <a:noFill/>
              <a:ln w="12700" cap="flat">
                <a:solidFill>
                  <a:srgbClr val="66667E"/>
                </a:solidFill>
                <a:miter lim="800000"/>
                <a:headEnd type="none" w="lg" len="lg"/>
                <a:tailEnd type="oval"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9953" tIns="46776" rIns="89953" bIns="46776"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spcAft>
                    <a:spcPts val="0"/>
                  </a:spcAft>
                </a:pPr>
                <a:endParaRPr lang="en-US" sz="1799" dirty="0">
                  <a:solidFill>
                    <a:srgbClr val="66667E"/>
                  </a:solidFill>
                  <a:latin typeface="+mn-lt"/>
                </a:endParaRPr>
              </a:p>
            </p:txBody>
          </p:sp>
        </p:grpSp>
      </p:grpSp>
      <p:grpSp>
        <p:nvGrpSpPr>
          <p:cNvPr id="109" name="Group 108"/>
          <p:cNvGrpSpPr/>
          <p:nvPr/>
        </p:nvGrpSpPr>
        <p:grpSpPr>
          <a:xfrm>
            <a:off x="5032665" y="3470379"/>
            <a:ext cx="1538199" cy="1327708"/>
            <a:chOff x="806400" y="3856230"/>
            <a:chExt cx="1539000" cy="1328400"/>
          </a:xfrm>
        </p:grpSpPr>
        <p:sp>
          <p:nvSpPr>
            <p:cNvPr id="110" name="Rechteck 28">
              <a:extLst>
                <a:ext uri="{FF2B5EF4-FFF2-40B4-BE49-F238E27FC236}">
                  <a16:creationId xmlns:a16="http://schemas.microsoft.com/office/drawing/2014/main" id="{F9E8C198-C74A-4343-A698-857ADDF76A3B}"/>
                </a:ext>
              </a:extLst>
            </p:cNvPr>
            <p:cNvSpPr/>
            <p:nvPr/>
          </p:nvSpPr>
          <p:spPr bwMode="gray">
            <a:xfrm>
              <a:off x="905400" y="4385205"/>
              <a:ext cx="1440000" cy="799425"/>
            </a:xfrm>
            <a:prstGeom prst="rect">
              <a:avLst/>
            </a:prstGeom>
            <a:noFill/>
            <a:ln w="19050">
              <a:noFill/>
              <a:miter lim="800000"/>
            </a:ln>
            <a:effectLst/>
          </p:spPr>
          <p:txBody>
            <a:bodyPr wrap="square" lIns="143925" tIns="72000" rIns="0" bIns="71963" numCol="1" spcCol="72000" rtlCol="0" anchor="b" anchorCtr="0">
              <a:spAutoFit/>
            </a:bodyPr>
            <a:lstStyle/>
            <a:p>
              <a:pPr>
                <a:defRPr/>
              </a:pPr>
              <a:r>
                <a:rPr lang="en-US" altLang="de-DE" sz="1599" b="1" dirty="0">
                  <a:solidFill>
                    <a:schemeClr val="accent1"/>
                  </a:solidFill>
                  <a:ea typeface="Arial Unicode MS"/>
                </a:rPr>
                <a:t>Lorem</a:t>
              </a:r>
            </a:p>
            <a:p>
              <a:pPr marL="0" lvl="1">
                <a:spcBef>
                  <a:spcPts val="300"/>
                </a:spcBef>
                <a:buClr>
                  <a:srgbClr val="3C464B"/>
                </a:buClr>
                <a:defRPr/>
              </a:pPr>
              <a:r>
                <a:rPr lang="en-US" altLang="de-DE" sz="1199" dirty="0">
                  <a:solidFill>
                    <a:srgbClr val="66667E"/>
                  </a:solidFill>
                  <a:ea typeface="Arial Unicode MS"/>
                  <a:cs typeface="Arial" pitchFamily="34" charset="0"/>
                </a:rPr>
                <a:t>At vero eos et accusam</a:t>
              </a:r>
            </a:p>
          </p:txBody>
        </p:sp>
        <p:grpSp>
          <p:nvGrpSpPr>
            <p:cNvPr id="111" name="Gruppieren 19">
              <a:extLst>
                <a:ext uri="{FF2B5EF4-FFF2-40B4-BE49-F238E27FC236}">
                  <a16:creationId xmlns:a16="http://schemas.microsoft.com/office/drawing/2014/main" id="{D7F48A4A-8844-6E4F-AE8B-94775BE48541}"/>
                </a:ext>
              </a:extLst>
            </p:cNvPr>
            <p:cNvGrpSpPr/>
            <p:nvPr/>
          </p:nvGrpSpPr>
          <p:grpSpPr>
            <a:xfrm>
              <a:off x="806400" y="3856230"/>
              <a:ext cx="198000" cy="1327770"/>
              <a:chOff x="806400" y="3678430"/>
              <a:chExt cx="198000" cy="1327770"/>
            </a:xfrm>
          </p:grpSpPr>
          <p:sp>
            <p:nvSpPr>
              <p:cNvPr id="112" name="Ellipse 26">
                <a:extLst>
                  <a:ext uri="{FF2B5EF4-FFF2-40B4-BE49-F238E27FC236}">
                    <a16:creationId xmlns:a16="http://schemas.microsoft.com/office/drawing/2014/main" id="{B31F6662-5EDE-AB47-8093-BE33FFBA5677}"/>
                  </a:ext>
                </a:extLst>
              </p:cNvPr>
              <p:cNvSpPr>
                <a:spLocks noChangeAspect="1"/>
              </p:cNvSpPr>
              <p:nvPr/>
            </p:nvSpPr>
            <p:spPr bwMode="gray">
              <a:xfrm>
                <a:off x="806400" y="3678430"/>
                <a:ext cx="198000" cy="198000"/>
              </a:xfrm>
              <a:prstGeom prst="ellipse">
                <a:avLst/>
              </a:prstGeom>
              <a:solidFill>
                <a:schemeClr val="bg1"/>
              </a:solidFill>
              <a:ln w="12700" cap="flat" cmpd="sng" algn="ctr">
                <a:noFill/>
                <a:prstDash val="solid"/>
                <a:round/>
                <a:headEnd type="none" w="med" len="med"/>
                <a:tailEnd type="none" w="med" len="med"/>
              </a:ln>
              <a:effectLst/>
            </p:spPr>
            <p:txBody>
              <a:bodyPr vert="horz" wrap="none" lIns="89953" tIns="46776" rIns="89953" bIns="46776"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spcBef>
                    <a:spcPts val="0"/>
                  </a:spcBef>
                  <a:spcAft>
                    <a:spcPts val="0"/>
                  </a:spcAft>
                </a:pPr>
                <a:endParaRPr lang="en-US" sz="1599" dirty="0">
                  <a:solidFill>
                    <a:srgbClr val="66667E"/>
                  </a:solidFill>
                  <a:latin typeface="+mn-lt"/>
                </a:endParaRPr>
              </a:p>
            </p:txBody>
          </p:sp>
          <p:sp>
            <p:nvSpPr>
              <p:cNvPr id="113" name="Line 87">
                <a:extLst>
                  <a:ext uri="{FF2B5EF4-FFF2-40B4-BE49-F238E27FC236}">
                    <a16:creationId xmlns:a16="http://schemas.microsoft.com/office/drawing/2014/main" id="{7B0AF506-607C-9449-A772-A582112D1727}"/>
                  </a:ext>
                </a:extLst>
              </p:cNvPr>
              <p:cNvSpPr>
                <a:spLocks noChangeShapeType="1"/>
              </p:cNvSpPr>
              <p:nvPr/>
            </p:nvSpPr>
            <p:spPr bwMode="gray">
              <a:xfrm flipV="1">
                <a:off x="905400" y="3782200"/>
                <a:ext cx="0" cy="1224000"/>
              </a:xfrm>
              <a:prstGeom prst="line">
                <a:avLst/>
              </a:prstGeom>
              <a:noFill/>
              <a:ln w="12700" cap="flat">
                <a:solidFill>
                  <a:srgbClr val="66667E"/>
                </a:solidFill>
                <a:miter lim="800000"/>
                <a:headEnd type="none" w="lg" len="lg"/>
                <a:tailEnd type="oval"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9953" tIns="46776" rIns="89953" bIns="46776"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spcAft>
                    <a:spcPts val="0"/>
                  </a:spcAft>
                </a:pPr>
                <a:endParaRPr lang="en-US" sz="1799" dirty="0">
                  <a:solidFill>
                    <a:srgbClr val="66667E"/>
                  </a:solidFill>
                  <a:latin typeface="+mn-lt"/>
                </a:endParaRPr>
              </a:p>
            </p:txBody>
          </p:sp>
        </p:grpSp>
      </p:grpSp>
      <p:grpSp>
        <p:nvGrpSpPr>
          <p:cNvPr id="114" name="Group 113"/>
          <p:cNvGrpSpPr/>
          <p:nvPr/>
        </p:nvGrpSpPr>
        <p:grpSpPr>
          <a:xfrm>
            <a:off x="7146007" y="3470379"/>
            <a:ext cx="1538199" cy="1327708"/>
            <a:chOff x="806400" y="3856230"/>
            <a:chExt cx="1539000" cy="1328400"/>
          </a:xfrm>
        </p:grpSpPr>
        <p:sp>
          <p:nvSpPr>
            <p:cNvPr id="115" name="Rechteck 28">
              <a:extLst>
                <a:ext uri="{FF2B5EF4-FFF2-40B4-BE49-F238E27FC236}">
                  <a16:creationId xmlns:a16="http://schemas.microsoft.com/office/drawing/2014/main" id="{F9E8C198-C74A-4343-A698-857ADDF76A3B}"/>
                </a:ext>
              </a:extLst>
            </p:cNvPr>
            <p:cNvSpPr/>
            <p:nvPr/>
          </p:nvSpPr>
          <p:spPr bwMode="gray">
            <a:xfrm>
              <a:off x="905400" y="4385205"/>
              <a:ext cx="1440000" cy="799425"/>
            </a:xfrm>
            <a:prstGeom prst="rect">
              <a:avLst/>
            </a:prstGeom>
            <a:noFill/>
            <a:ln w="19050">
              <a:noFill/>
              <a:miter lim="800000"/>
            </a:ln>
            <a:effectLst/>
          </p:spPr>
          <p:txBody>
            <a:bodyPr wrap="square" lIns="143925" tIns="72000" rIns="0" bIns="71963" numCol="1" spcCol="72000" rtlCol="0" anchor="b" anchorCtr="0">
              <a:spAutoFit/>
            </a:bodyPr>
            <a:lstStyle/>
            <a:p>
              <a:pPr>
                <a:defRPr/>
              </a:pPr>
              <a:r>
                <a:rPr lang="en-US" altLang="de-DE" sz="1599" b="1" dirty="0">
                  <a:solidFill>
                    <a:schemeClr val="accent1"/>
                  </a:solidFill>
                  <a:ea typeface="Arial Unicode MS"/>
                </a:rPr>
                <a:t>Dolore</a:t>
              </a:r>
            </a:p>
            <a:p>
              <a:pPr marL="0" lvl="1">
                <a:spcBef>
                  <a:spcPts val="300"/>
                </a:spcBef>
                <a:buClr>
                  <a:srgbClr val="3C464B"/>
                </a:buClr>
                <a:defRPr/>
              </a:pPr>
              <a:r>
                <a:rPr lang="en-US" altLang="de-DE" sz="1199" dirty="0">
                  <a:solidFill>
                    <a:srgbClr val="66667E"/>
                  </a:solidFill>
                  <a:ea typeface="Arial Unicode MS"/>
                  <a:cs typeface="Arial" pitchFamily="34" charset="0"/>
                </a:rPr>
                <a:t>Cras ultricies </a:t>
              </a:r>
              <a:br>
                <a:rPr lang="en-US" altLang="de-DE" sz="1199" dirty="0">
                  <a:solidFill>
                    <a:srgbClr val="66667E"/>
                  </a:solidFill>
                  <a:ea typeface="Arial Unicode MS"/>
                  <a:cs typeface="Arial" pitchFamily="34" charset="0"/>
                </a:rPr>
              </a:br>
              <a:r>
                <a:rPr lang="en-US" altLang="de-DE" sz="1199" dirty="0">
                  <a:solidFill>
                    <a:srgbClr val="66667E"/>
                  </a:solidFill>
                  <a:ea typeface="Arial Unicode MS"/>
                  <a:cs typeface="Arial" pitchFamily="34" charset="0"/>
                </a:rPr>
                <a:t>mi eu</a:t>
              </a:r>
            </a:p>
          </p:txBody>
        </p:sp>
        <p:grpSp>
          <p:nvGrpSpPr>
            <p:cNvPr id="116" name="Gruppieren 19">
              <a:extLst>
                <a:ext uri="{FF2B5EF4-FFF2-40B4-BE49-F238E27FC236}">
                  <a16:creationId xmlns:a16="http://schemas.microsoft.com/office/drawing/2014/main" id="{D7F48A4A-8844-6E4F-AE8B-94775BE48541}"/>
                </a:ext>
              </a:extLst>
            </p:cNvPr>
            <p:cNvGrpSpPr/>
            <p:nvPr/>
          </p:nvGrpSpPr>
          <p:grpSpPr>
            <a:xfrm>
              <a:off x="806400" y="3856230"/>
              <a:ext cx="198000" cy="1327770"/>
              <a:chOff x="806400" y="3678430"/>
              <a:chExt cx="198000" cy="1327770"/>
            </a:xfrm>
          </p:grpSpPr>
          <p:sp>
            <p:nvSpPr>
              <p:cNvPr id="117" name="Ellipse 26">
                <a:extLst>
                  <a:ext uri="{FF2B5EF4-FFF2-40B4-BE49-F238E27FC236}">
                    <a16:creationId xmlns:a16="http://schemas.microsoft.com/office/drawing/2014/main" id="{B31F6662-5EDE-AB47-8093-BE33FFBA5677}"/>
                  </a:ext>
                </a:extLst>
              </p:cNvPr>
              <p:cNvSpPr>
                <a:spLocks noChangeAspect="1"/>
              </p:cNvSpPr>
              <p:nvPr/>
            </p:nvSpPr>
            <p:spPr bwMode="gray">
              <a:xfrm>
                <a:off x="806400" y="3678430"/>
                <a:ext cx="198000" cy="198000"/>
              </a:xfrm>
              <a:prstGeom prst="ellipse">
                <a:avLst/>
              </a:prstGeom>
              <a:solidFill>
                <a:schemeClr val="bg1"/>
              </a:solidFill>
              <a:ln w="12700" cap="flat" cmpd="sng" algn="ctr">
                <a:noFill/>
                <a:prstDash val="solid"/>
                <a:round/>
                <a:headEnd type="none" w="med" len="med"/>
                <a:tailEnd type="none" w="med" len="med"/>
              </a:ln>
              <a:effectLst/>
            </p:spPr>
            <p:txBody>
              <a:bodyPr vert="horz" wrap="none" lIns="89953" tIns="46776" rIns="89953" bIns="46776"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spcBef>
                    <a:spcPts val="0"/>
                  </a:spcBef>
                  <a:spcAft>
                    <a:spcPts val="0"/>
                  </a:spcAft>
                </a:pPr>
                <a:endParaRPr lang="en-US" sz="1599" dirty="0">
                  <a:solidFill>
                    <a:srgbClr val="66667E"/>
                  </a:solidFill>
                  <a:latin typeface="+mn-lt"/>
                </a:endParaRPr>
              </a:p>
            </p:txBody>
          </p:sp>
          <p:sp>
            <p:nvSpPr>
              <p:cNvPr id="118" name="Line 87">
                <a:extLst>
                  <a:ext uri="{FF2B5EF4-FFF2-40B4-BE49-F238E27FC236}">
                    <a16:creationId xmlns:a16="http://schemas.microsoft.com/office/drawing/2014/main" id="{7B0AF506-607C-9449-A772-A582112D1727}"/>
                  </a:ext>
                </a:extLst>
              </p:cNvPr>
              <p:cNvSpPr>
                <a:spLocks noChangeShapeType="1"/>
              </p:cNvSpPr>
              <p:nvPr/>
            </p:nvSpPr>
            <p:spPr bwMode="gray">
              <a:xfrm flipV="1">
                <a:off x="905400" y="3782200"/>
                <a:ext cx="0" cy="1224000"/>
              </a:xfrm>
              <a:prstGeom prst="line">
                <a:avLst/>
              </a:prstGeom>
              <a:noFill/>
              <a:ln w="12700" cap="flat">
                <a:solidFill>
                  <a:srgbClr val="66667E"/>
                </a:solidFill>
                <a:miter lim="800000"/>
                <a:headEnd type="none" w="lg" len="lg"/>
                <a:tailEnd type="oval"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9953" tIns="46776" rIns="89953" bIns="46776"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spcAft>
                    <a:spcPts val="0"/>
                  </a:spcAft>
                </a:pPr>
                <a:endParaRPr lang="en-US" sz="1799" dirty="0">
                  <a:solidFill>
                    <a:srgbClr val="66667E"/>
                  </a:solidFill>
                  <a:latin typeface="+mn-lt"/>
                </a:endParaRPr>
              </a:p>
            </p:txBody>
          </p:sp>
        </p:grpSp>
      </p:grpSp>
      <p:grpSp>
        <p:nvGrpSpPr>
          <p:cNvPr id="119" name="Group 118"/>
          <p:cNvGrpSpPr/>
          <p:nvPr/>
        </p:nvGrpSpPr>
        <p:grpSpPr>
          <a:xfrm>
            <a:off x="9259347" y="3470379"/>
            <a:ext cx="1538199" cy="1327708"/>
            <a:chOff x="806400" y="3856230"/>
            <a:chExt cx="1539000" cy="1328400"/>
          </a:xfrm>
        </p:grpSpPr>
        <p:sp>
          <p:nvSpPr>
            <p:cNvPr id="120" name="Rechteck 28">
              <a:extLst>
                <a:ext uri="{FF2B5EF4-FFF2-40B4-BE49-F238E27FC236}">
                  <a16:creationId xmlns:a16="http://schemas.microsoft.com/office/drawing/2014/main" id="{F9E8C198-C74A-4343-A698-857ADDF76A3B}"/>
                </a:ext>
              </a:extLst>
            </p:cNvPr>
            <p:cNvSpPr/>
            <p:nvPr/>
          </p:nvSpPr>
          <p:spPr bwMode="gray">
            <a:xfrm>
              <a:off x="905400" y="4323616"/>
              <a:ext cx="1440000" cy="861014"/>
            </a:xfrm>
            <a:prstGeom prst="rect">
              <a:avLst/>
            </a:prstGeom>
            <a:noFill/>
            <a:ln w="19050">
              <a:noFill/>
              <a:miter lim="800000"/>
            </a:ln>
            <a:effectLst/>
          </p:spPr>
          <p:txBody>
            <a:bodyPr wrap="square" lIns="143925" tIns="72000" rIns="0" bIns="71963" numCol="1" spcCol="72000" rtlCol="0" anchor="b" anchorCtr="0">
              <a:spAutoFit/>
            </a:bodyPr>
            <a:lstStyle/>
            <a:p>
              <a:pPr>
                <a:defRPr/>
              </a:pPr>
              <a:r>
                <a:rPr lang="en-US" altLang="de-DE" sz="1599" b="1" dirty="0">
                  <a:solidFill>
                    <a:schemeClr val="accent1"/>
                  </a:solidFill>
                  <a:ea typeface="Arial Unicode MS"/>
                </a:rPr>
                <a:t>Cras rest ultricies</a:t>
              </a:r>
            </a:p>
            <a:p>
              <a:pPr marL="0" lvl="1">
                <a:spcBef>
                  <a:spcPts val="300"/>
                </a:spcBef>
                <a:buClr>
                  <a:srgbClr val="3C464B"/>
                </a:buClr>
                <a:defRPr/>
              </a:pPr>
              <a:r>
                <a:rPr lang="en-US" altLang="de-DE" sz="1199" dirty="0">
                  <a:solidFill>
                    <a:srgbClr val="66667E"/>
                  </a:solidFill>
                  <a:ea typeface="Arial Unicode MS"/>
                  <a:cs typeface="Arial" pitchFamily="34" charset="0"/>
                </a:rPr>
                <a:t>Duis arcu</a:t>
              </a:r>
            </a:p>
          </p:txBody>
        </p:sp>
        <p:grpSp>
          <p:nvGrpSpPr>
            <p:cNvPr id="121" name="Gruppieren 19">
              <a:extLst>
                <a:ext uri="{FF2B5EF4-FFF2-40B4-BE49-F238E27FC236}">
                  <a16:creationId xmlns:a16="http://schemas.microsoft.com/office/drawing/2014/main" id="{D7F48A4A-8844-6E4F-AE8B-94775BE48541}"/>
                </a:ext>
              </a:extLst>
            </p:cNvPr>
            <p:cNvGrpSpPr/>
            <p:nvPr/>
          </p:nvGrpSpPr>
          <p:grpSpPr>
            <a:xfrm>
              <a:off x="806400" y="3856230"/>
              <a:ext cx="198000" cy="1327770"/>
              <a:chOff x="806400" y="3678430"/>
              <a:chExt cx="198000" cy="1327770"/>
            </a:xfrm>
          </p:grpSpPr>
          <p:sp>
            <p:nvSpPr>
              <p:cNvPr id="122" name="Ellipse 26">
                <a:extLst>
                  <a:ext uri="{FF2B5EF4-FFF2-40B4-BE49-F238E27FC236}">
                    <a16:creationId xmlns:a16="http://schemas.microsoft.com/office/drawing/2014/main" id="{B31F6662-5EDE-AB47-8093-BE33FFBA5677}"/>
                  </a:ext>
                </a:extLst>
              </p:cNvPr>
              <p:cNvSpPr>
                <a:spLocks noChangeAspect="1"/>
              </p:cNvSpPr>
              <p:nvPr/>
            </p:nvSpPr>
            <p:spPr bwMode="gray">
              <a:xfrm>
                <a:off x="806400" y="3678430"/>
                <a:ext cx="198000" cy="198000"/>
              </a:xfrm>
              <a:prstGeom prst="ellipse">
                <a:avLst/>
              </a:prstGeom>
              <a:solidFill>
                <a:schemeClr val="bg1"/>
              </a:solidFill>
              <a:ln w="12700" cap="flat" cmpd="sng" algn="ctr">
                <a:noFill/>
                <a:prstDash val="solid"/>
                <a:round/>
                <a:headEnd type="none" w="med" len="med"/>
                <a:tailEnd type="none" w="med" len="med"/>
              </a:ln>
              <a:effectLst/>
            </p:spPr>
            <p:txBody>
              <a:bodyPr vert="horz" wrap="none" lIns="89953" tIns="46776" rIns="89953" bIns="46776"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spcBef>
                    <a:spcPts val="0"/>
                  </a:spcBef>
                  <a:spcAft>
                    <a:spcPts val="0"/>
                  </a:spcAft>
                </a:pPr>
                <a:endParaRPr lang="en-US" sz="1599" dirty="0">
                  <a:solidFill>
                    <a:srgbClr val="66667E"/>
                  </a:solidFill>
                  <a:latin typeface="+mn-lt"/>
                </a:endParaRPr>
              </a:p>
            </p:txBody>
          </p:sp>
          <p:sp>
            <p:nvSpPr>
              <p:cNvPr id="123" name="Line 87">
                <a:extLst>
                  <a:ext uri="{FF2B5EF4-FFF2-40B4-BE49-F238E27FC236}">
                    <a16:creationId xmlns:a16="http://schemas.microsoft.com/office/drawing/2014/main" id="{7B0AF506-607C-9449-A772-A582112D1727}"/>
                  </a:ext>
                </a:extLst>
              </p:cNvPr>
              <p:cNvSpPr>
                <a:spLocks noChangeShapeType="1"/>
              </p:cNvSpPr>
              <p:nvPr/>
            </p:nvSpPr>
            <p:spPr bwMode="gray">
              <a:xfrm flipV="1">
                <a:off x="905400" y="3782200"/>
                <a:ext cx="0" cy="1224000"/>
              </a:xfrm>
              <a:prstGeom prst="line">
                <a:avLst/>
              </a:prstGeom>
              <a:noFill/>
              <a:ln w="12700" cap="flat">
                <a:solidFill>
                  <a:srgbClr val="66667E"/>
                </a:solidFill>
                <a:miter lim="800000"/>
                <a:headEnd type="none" w="lg" len="lg"/>
                <a:tailEnd type="oval"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9953" tIns="46776" rIns="89953" bIns="46776"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spcAft>
                    <a:spcPts val="0"/>
                  </a:spcAft>
                </a:pPr>
                <a:endParaRPr lang="en-US" sz="1799" dirty="0">
                  <a:solidFill>
                    <a:srgbClr val="66667E"/>
                  </a:solidFill>
                  <a:latin typeface="+mn-lt"/>
                </a:endParaRPr>
              </a:p>
            </p:txBody>
          </p:sp>
        </p:grpSp>
      </p:grpSp>
      <p:sp>
        <p:nvSpPr>
          <p:cNvPr id="4" name="Footer Placeholder 3">
            <a:extLst>
              <a:ext uri="{FF2B5EF4-FFF2-40B4-BE49-F238E27FC236}">
                <a16:creationId xmlns:a16="http://schemas.microsoft.com/office/drawing/2014/main" id="{B099C32C-3FE7-45C8-9E11-6BEC27792CAC}"/>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5" name="Slide Number Placeholder 4">
            <a:extLst>
              <a:ext uri="{FF2B5EF4-FFF2-40B4-BE49-F238E27FC236}">
                <a16:creationId xmlns:a16="http://schemas.microsoft.com/office/drawing/2014/main" id="{18807CB7-9675-4D7B-9197-27F9C3914E74}"/>
              </a:ext>
            </a:extLst>
          </p:cNvPr>
          <p:cNvSpPr>
            <a:spLocks noGrp="1"/>
          </p:cNvSpPr>
          <p:nvPr>
            <p:ph type="sldNum" sz="quarter" idx="11"/>
          </p:nvPr>
        </p:nvSpPr>
        <p:spPr/>
        <p:txBody>
          <a:bodyPr/>
          <a:lstStyle/>
          <a:p>
            <a:r>
              <a:rPr lang="en-US" dirty="0"/>
              <a:t>Page </a:t>
            </a:r>
            <a:fld id="{15EBE321-CBB1-4E91-BD14-37C8D44326FB}" type="slidenum">
              <a:rPr lang="en-US" smtClean="0"/>
              <a:pPr/>
              <a:t>60</a:t>
            </a:fld>
            <a:endParaRPr lang="en-US" dirty="0"/>
          </a:p>
        </p:txBody>
      </p:sp>
    </p:spTree>
    <p:extLst>
      <p:ext uri="{BB962C8B-B14F-4D97-AF65-F5344CB8AC3E}">
        <p14:creationId xmlns:p14="http://schemas.microsoft.com/office/powerpoint/2010/main" val="317830027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imeline – chronological sequence</a:t>
            </a:r>
          </a:p>
        </p:txBody>
      </p:sp>
      <p:sp>
        <p:nvSpPr>
          <p:cNvPr id="238" name="Richtungspfeil 237">
            <a:extLst>
              <a:ext uri="{FF2B5EF4-FFF2-40B4-BE49-F238E27FC236}">
                <a16:creationId xmlns:a16="http://schemas.microsoft.com/office/drawing/2014/main" id="{538DCE9F-8333-CC4E-B82E-AF53B49E0670}"/>
              </a:ext>
            </a:extLst>
          </p:cNvPr>
          <p:cNvSpPr/>
          <p:nvPr/>
        </p:nvSpPr>
        <p:spPr bwMode="gray">
          <a:xfrm>
            <a:off x="410400" y="3214911"/>
            <a:ext cx="11376787" cy="359813"/>
          </a:xfrm>
          <a:prstGeom prst="chevron">
            <a:avLst>
              <a:gd name="adj" fmla="val 40651"/>
            </a:avLst>
          </a:prstGeom>
          <a:solidFill>
            <a:srgbClr val="00646E"/>
          </a:solidFill>
          <a:ln w="38100">
            <a:noFill/>
            <a:miter lim="800000"/>
          </a:ln>
          <a:effectLst/>
        </p:spPr>
        <p:txBody>
          <a:bodyPr wrap="square" lIns="71963" tIns="71963" rIns="71963" bIns="71963" numCol="1" spcCol="72000" rtlCol="0" anchor="ctr" anchorCtr="0">
            <a:noAutofit/>
          </a:bodyPr>
          <a:lstStyle/>
          <a:p>
            <a:pPr algn="ctr"/>
            <a:endParaRPr lang="en-US" sz="1999" b="1" dirty="0">
              <a:solidFill>
                <a:schemeClr val="bg1"/>
              </a:solidFill>
              <a:ea typeface="Arial Unicode MS"/>
            </a:endParaRPr>
          </a:p>
        </p:txBody>
      </p:sp>
      <p:sp>
        <p:nvSpPr>
          <p:cNvPr id="7" name="Rectangle 93"/>
          <p:cNvSpPr>
            <a:spLocks noChangeArrowheads="1"/>
          </p:cNvSpPr>
          <p:nvPr/>
        </p:nvSpPr>
        <p:spPr bwMode="gray">
          <a:xfrm>
            <a:off x="3095534" y="3214911"/>
            <a:ext cx="1187382" cy="359813"/>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12700"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43925" tIns="0" rIns="143925" bIns="0" anchor="ctr" anchorCtr="0">
            <a:noAutofit/>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pPr>
            <a:r>
              <a:rPr lang="en-US" sz="1799" b="1" dirty="0">
                <a:latin typeface="+mn-lt"/>
              </a:rPr>
              <a:t>2022</a:t>
            </a:r>
          </a:p>
        </p:txBody>
      </p:sp>
      <p:sp>
        <p:nvSpPr>
          <p:cNvPr id="9" name="Rectangle 93"/>
          <p:cNvSpPr>
            <a:spLocks noChangeArrowheads="1"/>
          </p:cNvSpPr>
          <p:nvPr/>
        </p:nvSpPr>
        <p:spPr bwMode="gray">
          <a:xfrm>
            <a:off x="6220999" y="3214911"/>
            <a:ext cx="1187382" cy="359813"/>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12700"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43925" tIns="0" rIns="143925" bIns="0" anchor="ctr" anchorCtr="0">
            <a:noAutofit/>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pPr>
            <a:r>
              <a:rPr lang="en-US" sz="1799" b="1" dirty="0">
                <a:latin typeface="+mn-lt"/>
              </a:rPr>
              <a:t>2023</a:t>
            </a:r>
            <a:endParaRPr lang="en-US" sz="1799" dirty="0">
              <a:latin typeface="+mn-lt"/>
            </a:endParaRPr>
          </a:p>
        </p:txBody>
      </p:sp>
      <p:sp>
        <p:nvSpPr>
          <p:cNvPr id="12" name="Rectangle 95"/>
          <p:cNvSpPr>
            <a:spLocks noChangeArrowheads="1"/>
          </p:cNvSpPr>
          <p:nvPr/>
        </p:nvSpPr>
        <p:spPr bwMode="gray">
          <a:xfrm>
            <a:off x="10089145" y="3214911"/>
            <a:ext cx="1187382" cy="359813"/>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12700"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3925" tIns="0" rIns="143925" bIns="0" anchor="ctr" anchorCtr="0">
            <a:noAutofit/>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pPr>
            <a:r>
              <a:rPr lang="en-US" sz="1799" b="1" dirty="0">
                <a:latin typeface="+mn-lt"/>
              </a:rPr>
              <a:t>2024</a:t>
            </a:r>
            <a:endParaRPr lang="en-US" sz="1799" dirty="0">
              <a:latin typeface="+mn-lt"/>
            </a:endParaRPr>
          </a:p>
        </p:txBody>
      </p:sp>
      <p:grpSp>
        <p:nvGrpSpPr>
          <p:cNvPr id="19" name="Group 18"/>
          <p:cNvGrpSpPr/>
          <p:nvPr/>
        </p:nvGrpSpPr>
        <p:grpSpPr>
          <a:xfrm>
            <a:off x="1718728" y="1775661"/>
            <a:ext cx="1538196" cy="1539958"/>
            <a:chOff x="1241755" y="1800000"/>
            <a:chExt cx="1538997" cy="1540760"/>
          </a:xfrm>
        </p:grpSpPr>
        <p:grpSp>
          <p:nvGrpSpPr>
            <p:cNvPr id="3" name="Group 2"/>
            <p:cNvGrpSpPr/>
            <p:nvPr/>
          </p:nvGrpSpPr>
          <p:grpSpPr>
            <a:xfrm>
              <a:off x="1241755" y="1800049"/>
              <a:ext cx="198000" cy="1540711"/>
              <a:chOff x="1241755" y="1800049"/>
              <a:chExt cx="198000" cy="1540711"/>
            </a:xfrm>
          </p:grpSpPr>
          <p:sp>
            <p:nvSpPr>
              <p:cNvPr id="27" name="Ellipse 26"/>
              <p:cNvSpPr>
                <a:spLocks noChangeAspect="1"/>
              </p:cNvSpPr>
              <p:nvPr/>
            </p:nvSpPr>
            <p:spPr bwMode="gray">
              <a:xfrm>
                <a:off x="1241755" y="3142760"/>
                <a:ext cx="198000" cy="198000"/>
              </a:xfrm>
              <a:prstGeom prst="ellipse">
                <a:avLst/>
              </a:prstGeom>
              <a:solidFill>
                <a:schemeClr val="bg2"/>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spcBef>
                    <a:spcPts val="0"/>
                  </a:spcBef>
                  <a:spcAft>
                    <a:spcPts val="0"/>
                  </a:spcAft>
                </a:pPr>
                <a:endParaRPr lang="en-US" sz="1599" dirty="0">
                  <a:solidFill>
                    <a:srgbClr val="9999A9"/>
                  </a:solidFill>
                  <a:latin typeface="+mn-lt"/>
                </a:endParaRPr>
              </a:p>
            </p:txBody>
          </p:sp>
          <p:sp>
            <p:nvSpPr>
              <p:cNvPr id="67" name="Line 87"/>
              <p:cNvSpPr>
                <a:spLocks noChangeShapeType="1"/>
              </p:cNvSpPr>
              <p:nvPr/>
            </p:nvSpPr>
            <p:spPr bwMode="gray">
              <a:xfrm flipV="1">
                <a:off x="1340755" y="1800049"/>
                <a:ext cx="0" cy="1439949"/>
              </a:xfrm>
              <a:prstGeom prst="line">
                <a:avLst/>
              </a:prstGeom>
              <a:noFill/>
              <a:ln w="12700" cap="flat">
                <a:solidFill>
                  <a:srgbClr val="9999A9"/>
                </a:solidFill>
                <a:miter lim="800000"/>
                <a:headEnd type="oval" w="lg" len="lg"/>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spcAft>
                    <a:spcPts val="0"/>
                  </a:spcAft>
                </a:pPr>
                <a:endParaRPr lang="en-US" sz="1799" dirty="0">
                  <a:solidFill>
                    <a:srgbClr val="9999A9"/>
                  </a:solidFill>
                  <a:latin typeface="+mn-lt"/>
                </a:endParaRPr>
              </a:p>
            </p:txBody>
          </p:sp>
        </p:grpSp>
        <p:sp>
          <p:nvSpPr>
            <p:cNvPr id="154" name="Rechteck 28">
              <a:extLst>
                <a:ext uri="{FF2B5EF4-FFF2-40B4-BE49-F238E27FC236}">
                  <a16:creationId xmlns:a16="http://schemas.microsoft.com/office/drawing/2014/main" id="{1A9A9952-8106-5B4E-B9C7-1960ED09A7DA}"/>
                </a:ext>
              </a:extLst>
            </p:cNvPr>
            <p:cNvSpPr/>
            <p:nvPr/>
          </p:nvSpPr>
          <p:spPr bwMode="gray">
            <a:xfrm>
              <a:off x="1340752" y="1800000"/>
              <a:ext cx="1440000" cy="756000"/>
            </a:xfrm>
            <a:prstGeom prst="rect">
              <a:avLst/>
            </a:prstGeom>
            <a:noFill/>
            <a:ln w="19050">
              <a:noFill/>
              <a:miter lim="800000"/>
            </a:ln>
            <a:effectLst/>
          </p:spPr>
          <p:txBody>
            <a:bodyPr wrap="square" lIns="143925" tIns="71963" rIns="0" bIns="0" numCol="1" spcCol="72000" rtlCol="0" anchor="t" anchorCtr="0">
              <a:noAutofit/>
            </a:bodyPr>
            <a:lstStyle/>
            <a:p>
              <a:pPr>
                <a:defRPr/>
              </a:pPr>
              <a:r>
                <a:rPr lang="en-US" altLang="de-DE" sz="1599" b="1" dirty="0">
                  <a:solidFill>
                    <a:srgbClr val="00FFB9"/>
                  </a:solidFill>
                  <a:ea typeface="Arial Unicode MS"/>
                </a:rPr>
                <a:t>Lorem</a:t>
              </a:r>
            </a:p>
            <a:p>
              <a:pPr marL="0" lvl="1">
                <a:spcBef>
                  <a:spcPts val="300"/>
                </a:spcBef>
                <a:buClr>
                  <a:srgbClr val="3C464B"/>
                </a:buClr>
                <a:defRPr/>
              </a:pPr>
              <a:r>
                <a:rPr lang="en-US" altLang="de-DE" sz="1199" dirty="0">
                  <a:solidFill>
                    <a:srgbClr val="9999A9"/>
                  </a:solidFill>
                  <a:ea typeface="Arial Unicode MS"/>
                  <a:cs typeface="Arial" pitchFamily="34" charset="0"/>
                </a:rPr>
                <a:t>Cras ultricies </a:t>
              </a:r>
              <a:br>
                <a:rPr lang="en-US" altLang="de-DE" sz="1199" dirty="0">
                  <a:solidFill>
                    <a:srgbClr val="9999A9"/>
                  </a:solidFill>
                  <a:ea typeface="Arial Unicode MS"/>
                  <a:cs typeface="Arial" pitchFamily="34" charset="0"/>
                </a:rPr>
              </a:br>
              <a:r>
                <a:rPr lang="en-US" altLang="de-DE" sz="1199" dirty="0">
                  <a:solidFill>
                    <a:srgbClr val="9999A9"/>
                  </a:solidFill>
                  <a:ea typeface="Arial Unicode MS"/>
                  <a:cs typeface="Arial" pitchFamily="34" charset="0"/>
                </a:rPr>
                <a:t>mi eu</a:t>
              </a:r>
            </a:p>
          </p:txBody>
        </p:sp>
      </p:grpSp>
      <p:grpSp>
        <p:nvGrpSpPr>
          <p:cNvPr id="11" name="Group 10"/>
          <p:cNvGrpSpPr/>
          <p:nvPr/>
        </p:nvGrpSpPr>
        <p:grpSpPr>
          <a:xfrm>
            <a:off x="808361" y="3475139"/>
            <a:ext cx="1535818" cy="1322946"/>
            <a:chOff x="808782" y="3860994"/>
            <a:chExt cx="1536618" cy="1323636"/>
          </a:xfrm>
        </p:grpSpPr>
        <p:sp>
          <p:nvSpPr>
            <p:cNvPr id="161" name="Rechteck 28">
              <a:extLst>
                <a:ext uri="{FF2B5EF4-FFF2-40B4-BE49-F238E27FC236}">
                  <a16:creationId xmlns:a16="http://schemas.microsoft.com/office/drawing/2014/main" id="{F9E8C198-C74A-4343-A698-857ADDF76A3B}"/>
                </a:ext>
              </a:extLst>
            </p:cNvPr>
            <p:cNvSpPr/>
            <p:nvPr/>
          </p:nvSpPr>
          <p:spPr bwMode="gray">
            <a:xfrm>
              <a:off x="905400" y="4385205"/>
              <a:ext cx="1440000" cy="799425"/>
            </a:xfrm>
            <a:prstGeom prst="rect">
              <a:avLst/>
            </a:prstGeom>
            <a:noFill/>
            <a:ln w="19050">
              <a:noFill/>
              <a:miter lim="800000"/>
            </a:ln>
            <a:effectLst/>
          </p:spPr>
          <p:txBody>
            <a:bodyPr wrap="square" lIns="143925" tIns="72000" rIns="0" bIns="71963" numCol="1" spcCol="72000" rtlCol="0" anchor="b" anchorCtr="0">
              <a:spAutoFit/>
            </a:bodyPr>
            <a:lstStyle/>
            <a:p>
              <a:pPr>
                <a:defRPr/>
              </a:pPr>
              <a:r>
                <a:rPr lang="en-US" altLang="de-DE" sz="1599" b="1" dirty="0">
                  <a:solidFill>
                    <a:srgbClr val="00FFB9"/>
                  </a:solidFill>
                  <a:ea typeface="Arial Unicode MS"/>
                </a:rPr>
                <a:t>Coseque</a:t>
              </a:r>
            </a:p>
            <a:p>
              <a:pPr marL="0" lvl="1">
                <a:spcBef>
                  <a:spcPts val="300"/>
                </a:spcBef>
                <a:buClr>
                  <a:srgbClr val="3C464B"/>
                </a:buClr>
                <a:defRPr/>
              </a:pPr>
              <a:r>
                <a:rPr lang="en-US" altLang="de-DE" sz="1199" dirty="0">
                  <a:solidFill>
                    <a:srgbClr val="9999A9"/>
                  </a:solidFill>
                  <a:ea typeface="Arial Unicode MS"/>
                  <a:cs typeface="Arial" pitchFamily="34" charset="0"/>
                </a:rPr>
                <a:t>At vero eos et accusam</a:t>
              </a:r>
            </a:p>
          </p:txBody>
        </p:sp>
        <p:grpSp>
          <p:nvGrpSpPr>
            <p:cNvPr id="20" name="Gruppieren 19">
              <a:extLst>
                <a:ext uri="{FF2B5EF4-FFF2-40B4-BE49-F238E27FC236}">
                  <a16:creationId xmlns:a16="http://schemas.microsoft.com/office/drawing/2014/main" id="{D7F48A4A-8844-6E4F-AE8B-94775BE48541}"/>
                </a:ext>
              </a:extLst>
            </p:cNvPr>
            <p:cNvGrpSpPr/>
            <p:nvPr/>
          </p:nvGrpSpPr>
          <p:grpSpPr>
            <a:xfrm>
              <a:off x="808782" y="3860994"/>
              <a:ext cx="198000" cy="1323006"/>
              <a:chOff x="808782" y="3683194"/>
              <a:chExt cx="198000" cy="1323006"/>
            </a:xfrm>
          </p:grpSpPr>
          <p:sp>
            <p:nvSpPr>
              <p:cNvPr id="164" name="Ellipse 26">
                <a:extLst>
                  <a:ext uri="{FF2B5EF4-FFF2-40B4-BE49-F238E27FC236}">
                    <a16:creationId xmlns:a16="http://schemas.microsoft.com/office/drawing/2014/main" id="{B31F6662-5EDE-AB47-8093-BE33FFBA5677}"/>
                  </a:ext>
                </a:extLst>
              </p:cNvPr>
              <p:cNvSpPr>
                <a:spLocks noChangeAspect="1"/>
              </p:cNvSpPr>
              <p:nvPr/>
            </p:nvSpPr>
            <p:spPr bwMode="gray">
              <a:xfrm>
                <a:off x="808782" y="3683194"/>
                <a:ext cx="198000" cy="198000"/>
              </a:xfrm>
              <a:prstGeom prst="ellipse">
                <a:avLst/>
              </a:prstGeom>
              <a:solidFill>
                <a:schemeClr val="bg2"/>
              </a:solidFill>
              <a:ln w="12700" cap="flat" cmpd="sng" algn="ctr">
                <a:noFill/>
                <a:prstDash val="solid"/>
                <a:round/>
                <a:headEnd type="none" w="med" len="med"/>
                <a:tailEnd type="none" w="med" len="med"/>
              </a:ln>
              <a:effectLst/>
            </p:spPr>
            <p:txBody>
              <a:bodyPr vert="horz" wrap="none" lIns="89953" tIns="46776" rIns="89953" bIns="46776"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spcBef>
                    <a:spcPts val="0"/>
                  </a:spcBef>
                  <a:spcAft>
                    <a:spcPts val="0"/>
                  </a:spcAft>
                </a:pPr>
                <a:endParaRPr lang="en-US" sz="1599" dirty="0">
                  <a:solidFill>
                    <a:srgbClr val="9999A9"/>
                  </a:solidFill>
                  <a:latin typeface="+mn-lt"/>
                </a:endParaRPr>
              </a:p>
            </p:txBody>
          </p:sp>
          <p:sp>
            <p:nvSpPr>
              <p:cNvPr id="163" name="Line 87">
                <a:extLst>
                  <a:ext uri="{FF2B5EF4-FFF2-40B4-BE49-F238E27FC236}">
                    <a16:creationId xmlns:a16="http://schemas.microsoft.com/office/drawing/2014/main" id="{7B0AF506-607C-9449-A772-A582112D1727}"/>
                  </a:ext>
                </a:extLst>
              </p:cNvPr>
              <p:cNvSpPr>
                <a:spLocks noChangeShapeType="1"/>
              </p:cNvSpPr>
              <p:nvPr/>
            </p:nvSpPr>
            <p:spPr bwMode="gray">
              <a:xfrm flipV="1">
                <a:off x="905400" y="3782200"/>
                <a:ext cx="0" cy="1224000"/>
              </a:xfrm>
              <a:prstGeom prst="line">
                <a:avLst/>
              </a:prstGeom>
              <a:noFill/>
              <a:ln w="12700" cap="flat">
                <a:solidFill>
                  <a:srgbClr val="9999A9"/>
                </a:solidFill>
                <a:miter lim="800000"/>
                <a:headEnd type="none" w="lg" len="lg"/>
                <a:tailEnd type="oval"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9953" tIns="46776" rIns="89953" bIns="46776"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spcAft>
                    <a:spcPts val="0"/>
                  </a:spcAft>
                </a:pPr>
                <a:endParaRPr lang="en-US" sz="1799" dirty="0">
                  <a:solidFill>
                    <a:srgbClr val="9999A9"/>
                  </a:solidFill>
                  <a:latin typeface="+mn-lt"/>
                </a:endParaRPr>
              </a:p>
            </p:txBody>
          </p:sp>
        </p:grpSp>
      </p:grpSp>
      <p:grpSp>
        <p:nvGrpSpPr>
          <p:cNvPr id="18" name="Group 17"/>
          <p:cNvGrpSpPr/>
          <p:nvPr/>
        </p:nvGrpSpPr>
        <p:grpSpPr>
          <a:xfrm>
            <a:off x="3832071" y="1775661"/>
            <a:ext cx="1538196" cy="1539958"/>
            <a:chOff x="2992514" y="1800000"/>
            <a:chExt cx="1538997" cy="1540760"/>
          </a:xfrm>
        </p:grpSpPr>
        <p:grpSp>
          <p:nvGrpSpPr>
            <p:cNvPr id="78" name="Group 77"/>
            <p:cNvGrpSpPr/>
            <p:nvPr/>
          </p:nvGrpSpPr>
          <p:grpSpPr>
            <a:xfrm>
              <a:off x="2992514" y="1800049"/>
              <a:ext cx="198000" cy="1540711"/>
              <a:chOff x="1241755" y="1800049"/>
              <a:chExt cx="198000" cy="1540711"/>
            </a:xfrm>
          </p:grpSpPr>
          <p:sp>
            <p:nvSpPr>
              <p:cNvPr id="80" name="Ellipse 26"/>
              <p:cNvSpPr>
                <a:spLocks noChangeAspect="1"/>
              </p:cNvSpPr>
              <p:nvPr/>
            </p:nvSpPr>
            <p:spPr bwMode="gray">
              <a:xfrm>
                <a:off x="1241755" y="3142760"/>
                <a:ext cx="198000" cy="198000"/>
              </a:xfrm>
              <a:prstGeom prst="ellipse">
                <a:avLst/>
              </a:prstGeom>
              <a:solidFill>
                <a:schemeClr val="bg2"/>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spcBef>
                    <a:spcPts val="0"/>
                  </a:spcBef>
                  <a:spcAft>
                    <a:spcPts val="0"/>
                  </a:spcAft>
                </a:pPr>
                <a:endParaRPr lang="en-US" sz="1599" dirty="0">
                  <a:solidFill>
                    <a:srgbClr val="9999A9"/>
                  </a:solidFill>
                  <a:latin typeface="+mn-lt"/>
                </a:endParaRPr>
              </a:p>
            </p:txBody>
          </p:sp>
          <p:sp>
            <p:nvSpPr>
              <p:cNvPr id="81" name="Line 87"/>
              <p:cNvSpPr>
                <a:spLocks noChangeShapeType="1"/>
              </p:cNvSpPr>
              <p:nvPr/>
            </p:nvSpPr>
            <p:spPr bwMode="gray">
              <a:xfrm flipV="1">
                <a:off x="1340755" y="1800049"/>
                <a:ext cx="0" cy="1439949"/>
              </a:xfrm>
              <a:prstGeom prst="line">
                <a:avLst/>
              </a:prstGeom>
              <a:noFill/>
              <a:ln w="12700" cap="flat">
                <a:solidFill>
                  <a:srgbClr val="9999A9"/>
                </a:solidFill>
                <a:miter lim="800000"/>
                <a:headEnd type="oval" w="lg" len="lg"/>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spcAft>
                    <a:spcPts val="0"/>
                  </a:spcAft>
                </a:pPr>
                <a:endParaRPr lang="en-US" sz="1799" dirty="0">
                  <a:solidFill>
                    <a:srgbClr val="9999A9"/>
                  </a:solidFill>
                  <a:latin typeface="+mn-lt"/>
                </a:endParaRPr>
              </a:p>
            </p:txBody>
          </p:sp>
        </p:grpSp>
        <p:sp>
          <p:nvSpPr>
            <p:cNvPr id="79" name="Rechteck 28">
              <a:extLst>
                <a:ext uri="{FF2B5EF4-FFF2-40B4-BE49-F238E27FC236}">
                  <a16:creationId xmlns:a16="http://schemas.microsoft.com/office/drawing/2014/main" id="{1A9A9952-8106-5B4E-B9C7-1960ED09A7DA}"/>
                </a:ext>
              </a:extLst>
            </p:cNvPr>
            <p:cNvSpPr/>
            <p:nvPr/>
          </p:nvSpPr>
          <p:spPr bwMode="gray">
            <a:xfrm>
              <a:off x="3091511" y="1800000"/>
              <a:ext cx="1440000" cy="799425"/>
            </a:xfrm>
            <a:prstGeom prst="rect">
              <a:avLst/>
            </a:prstGeom>
            <a:noFill/>
            <a:ln w="19050">
              <a:noFill/>
              <a:miter lim="800000"/>
            </a:ln>
            <a:effectLst/>
          </p:spPr>
          <p:txBody>
            <a:bodyPr wrap="square" lIns="143925" tIns="71963" rIns="0" bIns="72000" numCol="1" spcCol="72000" rtlCol="0" anchor="t" anchorCtr="0">
              <a:spAutoFit/>
            </a:bodyPr>
            <a:lstStyle/>
            <a:p>
              <a:pPr>
                <a:defRPr/>
              </a:pPr>
              <a:r>
                <a:rPr lang="en-US" altLang="de-DE" sz="1599" b="1" dirty="0">
                  <a:solidFill>
                    <a:srgbClr val="00FFB9"/>
                  </a:solidFill>
                  <a:ea typeface="Arial Unicode MS"/>
                </a:rPr>
                <a:t>Dolore</a:t>
              </a:r>
            </a:p>
            <a:p>
              <a:pPr marL="0" lvl="1">
                <a:spcBef>
                  <a:spcPts val="300"/>
                </a:spcBef>
                <a:buClr>
                  <a:srgbClr val="3C464B"/>
                </a:buClr>
                <a:defRPr/>
              </a:pPr>
              <a:r>
                <a:rPr lang="en-US" altLang="de-DE" sz="1199" dirty="0">
                  <a:solidFill>
                    <a:srgbClr val="9999A9"/>
                  </a:solidFill>
                  <a:ea typeface="Arial Unicode MS"/>
                  <a:cs typeface="Arial" pitchFamily="34" charset="0"/>
                </a:rPr>
                <a:t>At vero eos et accusam</a:t>
              </a:r>
            </a:p>
          </p:txBody>
        </p:sp>
      </p:grpSp>
      <p:grpSp>
        <p:nvGrpSpPr>
          <p:cNvPr id="17" name="Group 16"/>
          <p:cNvGrpSpPr/>
          <p:nvPr/>
        </p:nvGrpSpPr>
        <p:grpSpPr>
          <a:xfrm>
            <a:off x="5945413" y="1775661"/>
            <a:ext cx="1538196" cy="1539958"/>
            <a:chOff x="4743273" y="1800000"/>
            <a:chExt cx="1538997" cy="1540760"/>
          </a:xfrm>
        </p:grpSpPr>
        <p:grpSp>
          <p:nvGrpSpPr>
            <p:cNvPr id="83" name="Group 82"/>
            <p:cNvGrpSpPr/>
            <p:nvPr/>
          </p:nvGrpSpPr>
          <p:grpSpPr>
            <a:xfrm>
              <a:off x="4743273" y="1800049"/>
              <a:ext cx="198000" cy="1540711"/>
              <a:chOff x="1241755" y="1800049"/>
              <a:chExt cx="198000" cy="1540711"/>
            </a:xfrm>
          </p:grpSpPr>
          <p:sp>
            <p:nvSpPr>
              <p:cNvPr id="85" name="Ellipse 26"/>
              <p:cNvSpPr>
                <a:spLocks noChangeAspect="1"/>
              </p:cNvSpPr>
              <p:nvPr/>
            </p:nvSpPr>
            <p:spPr bwMode="gray">
              <a:xfrm>
                <a:off x="1241755" y="3142760"/>
                <a:ext cx="198000" cy="198000"/>
              </a:xfrm>
              <a:prstGeom prst="ellipse">
                <a:avLst/>
              </a:prstGeom>
              <a:solidFill>
                <a:schemeClr val="bg2"/>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spcBef>
                    <a:spcPts val="0"/>
                  </a:spcBef>
                  <a:spcAft>
                    <a:spcPts val="0"/>
                  </a:spcAft>
                </a:pPr>
                <a:endParaRPr lang="en-US" sz="1599" dirty="0">
                  <a:solidFill>
                    <a:srgbClr val="9999A9"/>
                  </a:solidFill>
                  <a:latin typeface="+mn-lt"/>
                </a:endParaRPr>
              </a:p>
            </p:txBody>
          </p:sp>
          <p:sp>
            <p:nvSpPr>
              <p:cNvPr id="86" name="Line 87"/>
              <p:cNvSpPr>
                <a:spLocks noChangeShapeType="1"/>
              </p:cNvSpPr>
              <p:nvPr/>
            </p:nvSpPr>
            <p:spPr bwMode="gray">
              <a:xfrm flipV="1">
                <a:off x="1340755" y="1800049"/>
                <a:ext cx="0" cy="1439949"/>
              </a:xfrm>
              <a:prstGeom prst="line">
                <a:avLst/>
              </a:prstGeom>
              <a:noFill/>
              <a:ln w="12700" cap="flat">
                <a:solidFill>
                  <a:srgbClr val="9999A9"/>
                </a:solidFill>
                <a:miter lim="800000"/>
                <a:headEnd type="oval" w="lg" len="lg"/>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spcAft>
                    <a:spcPts val="0"/>
                  </a:spcAft>
                </a:pPr>
                <a:endParaRPr lang="en-US" sz="1799" dirty="0">
                  <a:solidFill>
                    <a:srgbClr val="9999A9"/>
                  </a:solidFill>
                  <a:latin typeface="+mn-lt"/>
                </a:endParaRPr>
              </a:p>
            </p:txBody>
          </p:sp>
        </p:grpSp>
        <p:sp>
          <p:nvSpPr>
            <p:cNvPr id="84" name="Rechteck 28">
              <a:extLst>
                <a:ext uri="{FF2B5EF4-FFF2-40B4-BE49-F238E27FC236}">
                  <a16:creationId xmlns:a16="http://schemas.microsoft.com/office/drawing/2014/main" id="{1A9A9952-8106-5B4E-B9C7-1960ED09A7DA}"/>
                </a:ext>
              </a:extLst>
            </p:cNvPr>
            <p:cNvSpPr/>
            <p:nvPr/>
          </p:nvSpPr>
          <p:spPr bwMode="gray">
            <a:xfrm>
              <a:off x="4842270" y="1800000"/>
              <a:ext cx="1440000" cy="799425"/>
            </a:xfrm>
            <a:prstGeom prst="rect">
              <a:avLst/>
            </a:prstGeom>
            <a:noFill/>
            <a:ln w="19050">
              <a:noFill/>
              <a:miter lim="800000"/>
            </a:ln>
            <a:effectLst/>
          </p:spPr>
          <p:txBody>
            <a:bodyPr wrap="square" lIns="143925" tIns="71963" rIns="0" bIns="72000" numCol="1" spcCol="72000" rtlCol="0" anchor="t" anchorCtr="0">
              <a:spAutoFit/>
            </a:bodyPr>
            <a:lstStyle/>
            <a:p>
              <a:pPr>
                <a:defRPr/>
              </a:pPr>
              <a:r>
                <a:rPr lang="en-US" altLang="de-DE" sz="1599" b="1" dirty="0">
                  <a:solidFill>
                    <a:srgbClr val="00FFB9"/>
                  </a:solidFill>
                  <a:ea typeface="Arial Unicode MS"/>
                </a:rPr>
                <a:t>Rarumit</a:t>
              </a:r>
            </a:p>
            <a:p>
              <a:pPr marL="0" lvl="1">
                <a:spcBef>
                  <a:spcPts val="300"/>
                </a:spcBef>
                <a:buClr>
                  <a:srgbClr val="3C464B"/>
                </a:buClr>
                <a:defRPr/>
              </a:pPr>
              <a:r>
                <a:rPr lang="en-US" altLang="de-DE" sz="1199" dirty="0">
                  <a:solidFill>
                    <a:srgbClr val="9999A9"/>
                  </a:solidFill>
                  <a:ea typeface="Arial Unicode MS"/>
                  <a:cs typeface="Arial" pitchFamily="34" charset="0"/>
                </a:rPr>
                <a:t>Duis arcu tortor, suscipit eget</a:t>
              </a:r>
            </a:p>
          </p:txBody>
        </p:sp>
      </p:grpSp>
      <p:grpSp>
        <p:nvGrpSpPr>
          <p:cNvPr id="13" name="Group 12"/>
          <p:cNvGrpSpPr/>
          <p:nvPr/>
        </p:nvGrpSpPr>
        <p:grpSpPr>
          <a:xfrm>
            <a:off x="8058755" y="1775661"/>
            <a:ext cx="1538196" cy="1539958"/>
            <a:chOff x="8244791" y="1800000"/>
            <a:chExt cx="1538997" cy="1540760"/>
          </a:xfrm>
        </p:grpSpPr>
        <p:grpSp>
          <p:nvGrpSpPr>
            <p:cNvPr id="93" name="Group 92"/>
            <p:cNvGrpSpPr/>
            <p:nvPr/>
          </p:nvGrpSpPr>
          <p:grpSpPr>
            <a:xfrm>
              <a:off x="8244791" y="1800049"/>
              <a:ext cx="198000" cy="1540711"/>
              <a:chOff x="1241755" y="1800049"/>
              <a:chExt cx="198000" cy="1540711"/>
            </a:xfrm>
          </p:grpSpPr>
          <p:sp>
            <p:nvSpPr>
              <p:cNvPr id="95" name="Ellipse 26"/>
              <p:cNvSpPr>
                <a:spLocks noChangeAspect="1"/>
              </p:cNvSpPr>
              <p:nvPr/>
            </p:nvSpPr>
            <p:spPr bwMode="gray">
              <a:xfrm>
                <a:off x="1241755" y="3142760"/>
                <a:ext cx="198000" cy="198000"/>
              </a:xfrm>
              <a:prstGeom prst="ellipse">
                <a:avLst/>
              </a:prstGeom>
              <a:solidFill>
                <a:schemeClr val="bg2"/>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spcBef>
                    <a:spcPts val="0"/>
                  </a:spcBef>
                  <a:spcAft>
                    <a:spcPts val="0"/>
                  </a:spcAft>
                </a:pPr>
                <a:endParaRPr lang="en-US" sz="1599" dirty="0">
                  <a:solidFill>
                    <a:srgbClr val="9999A9"/>
                  </a:solidFill>
                  <a:latin typeface="+mn-lt"/>
                </a:endParaRPr>
              </a:p>
            </p:txBody>
          </p:sp>
          <p:sp>
            <p:nvSpPr>
              <p:cNvPr id="96" name="Line 87"/>
              <p:cNvSpPr>
                <a:spLocks noChangeShapeType="1"/>
              </p:cNvSpPr>
              <p:nvPr/>
            </p:nvSpPr>
            <p:spPr bwMode="gray">
              <a:xfrm flipV="1">
                <a:off x="1340755" y="1800049"/>
                <a:ext cx="0" cy="1439949"/>
              </a:xfrm>
              <a:prstGeom prst="line">
                <a:avLst/>
              </a:prstGeom>
              <a:noFill/>
              <a:ln w="12700" cap="flat">
                <a:solidFill>
                  <a:srgbClr val="9999A9"/>
                </a:solidFill>
                <a:miter lim="800000"/>
                <a:headEnd type="oval" w="lg" len="lg"/>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spcAft>
                    <a:spcPts val="0"/>
                  </a:spcAft>
                </a:pPr>
                <a:endParaRPr lang="en-US" sz="1799" dirty="0">
                  <a:solidFill>
                    <a:srgbClr val="9999A9"/>
                  </a:solidFill>
                  <a:latin typeface="+mn-lt"/>
                </a:endParaRPr>
              </a:p>
            </p:txBody>
          </p:sp>
        </p:grpSp>
        <p:sp>
          <p:nvSpPr>
            <p:cNvPr id="94" name="Rechteck 28">
              <a:extLst>
                <a:ext uri="{FF2B5EF4-FFF2-40B4-BE49-F238E27FC236}">
                  <a16:creationId xmlns:a16="http://schemas.microsoft.com/office/drawing/2014/main" id="{1A9A9952-8106-5B4E-B9C7-1960ED09A7DA}"/>
                </a:ext>
              </a:extLst>
            </p:cNvPr>
            <p:cNvSpPr/>
            <p:nvPr/>
          </p:nvSpPr>
          <p:spPr bwMode="gray">
            <a:xfrm>
              <a:off x="8343788" y="1800000"/>
              <a:ext cx="1440000" cy="861013"/>
            </a:xfrm>
            <a:prstGeom prst="rect">
              <a:avLst/>
            </a:prstGeom>
            <a:noFill/>
            <a:ln w="19050">
              <a:noFill/>
              <a:miter lim="800000"/>
            </a:ln>
            <a:effectLst/>
          </p:spPr>
          <p:txBody>
            <a:bodyPr wrap="square" lIns="143925" tIns="71963" rIns="0" bIns="72000" numCol="1" spcCol="72000" rtlCol="0" anchor="t" anchorCtr="0">
              <a:spAutoFit/>
            </a:bodyPr>
            <a:lstStyle/>
            <a:p>
              <a:pPr>
                <a:defRPr/>
              </a:pPr>
              <a:r>
                <a:rPr lang="en-US" altLang="de-DE" sz="1599" b="1" dirty="0">
                  <a:solidFill>
                    <a:srgbClr val="00FFB9"/>
                  </a:solidFill>
                  <a:ea typeface="Arial Unicode MS"/>
                </a:rPr>
                <a:t>At vero eos et accusam</a:t>
              </a:r>
            </a:p>
            <a:p>
              <a:pPr marL="0" lvl="1">
                <a:spcBef>
                  <a:spcPts val="300"/>
                </a:spcBef>
                <a:buClr>
                  <a:srgbClr val="3C464B"/>
                </a:buClr>
                <a:defRPr/>
              </a:pPr>
              <a:r>
                <a:rPr lang="en-US" altLang="de-DE" sz="1199" dirty="0">
                  <a:solidFill>
                    <a:srgbClr val="9999A9"/>
                  </a:solidFill>
                  <a:ea typeface="Arial Unicode MS"/>
                  <a:cs typeface="Arial" pitchFamily="34" charset="0"/>
                </a:rPr>
                <a:t>Phasellus nec sem</a:t>
              </a:r>
            </a:p>
          </p:txBody>
        </p:sp>
      </p:grpSp>
      <p:grpSp>
        <p:nvGrpSpPr>
          <p:cNvPr id="104" name="Group 103"/>
          <p:cNvGrpSpPr/>
          <p:nvPr/>
        </p:nvGrpSpPr>
        <p:grpSpPr>
          <a:xfrm>
            <a:off x="2919322" y="3470379"/>
            <a:ext cx="1538199" cy="1327708"/>
            <a:chOff x="806400" y="3856230"/>
            <a:chExt cx="1539000" cy="1328400"/>
          </a:xfrm>
        </p:grpSpPr>
        <p:sp>
          <p:nvSpPr>
            <p:cNvPr id="105" name="Rechteck 28">
              <a:extLst>
                <a:ext uri="{FF2B5EF4-FFF2-40B4-BE49-F238E27FC236}">
                  <a16:creationId xmlns:a16="http://schemas.microsoft.com/office/drawing/2014/main" id="{F9E8C198-C74A-4343-A698-857ADDF76A3B}"/>
                </a:ext>
              </a:extLst>
            </p:cNvPr>
            <p:cNvSpPr/>
            <p:nvPr/>
          </p:nvSpPr>
          <p:spPr bwMode="gray">
            <a:xfrm>
              <a:off x="905400" y="4385205"/>
              <a:ext cx="1440000" cy="799425"/>
            </a:xfrm>
            <a:prstGeom prst="rect">
              <a:avLst/>
            </a:prstGeom>
            <a:noFill/>
            <a:ln w="19050">
              <a:noFill/>
              <a:miter lim="800000"/>
            </a:ln>
            <a:effectLst/>
          </p:spPr>
          <p:txBody>
            <a:bodyPr wrap="square" lIns="143925" tIns="72000" rIns="0" bIns="71963" numCol="1" spcCol="72000" rtlCol="0" anchor="b" anchorCtr="0">
              <a:spAutoFit/>
            </a:bodyPr>
            <a:lstStyle/>
            <a:p>
              <a:pPr>
                <a:defRPr/>
              </a:pPr>
              <a:r>
                <a:rPr lang="en-US" altLang="de-DE" sz="1599" b="1" dirty="0">
                  <a:solidFill>
                    <a:srgbClr val="00FFB9"/>
                  </a:solidFill>
                  <a:ea typeface="Arial Unicode MS"/>
                </a:rPr>
                <a:t>Accusam</a:t>
              </a:r>
            </a:p>
            <a:p>
              <a:pPr marL="0" lvl="1">
                <a:spcBef>
                  <a:spcPts val="300"/>
                </a:spcBef>
                <a:buClr>
                  <a:srgbClr val="3C464B"/>
                </a:buClr>
                <a:defRPr/>
              </a:pPr>
              <a:r>
                <a:rPr lang="en-US" altLang="de-DE" sz="1199" dirty="0">
                  <a:solidFill>
                    <a:srgbClr val="9999A9"/>
                  </a:solidFill>
                  <a:ea typeface="Arial Unicode MS"/>
                  <a:cs typeface="Arial" pitchFamily="34" charset="0"/>
                </a:rPr>
                <a:t>Cras ultricies </a:t>
              </a:r>
              <a:br>
                <a:rPr lang="en-US" altLang="de-DE" sz="1199" dirty="0">
                  <a:solidFill>
                    <a:srgbClr val="9999A9"/>
                  </a:solidFill>
                  <a:ea typeface="Arial Unicode MS"/>
                  <a:cs typeface="Arial" pitchFamily="34" charset="0"/>
                </a:rPr>
              </a:br>
              <a:r>
                <a:rPr lang="en-US" altLang="de-DE" sz="1199" dirty="0">
                  <a:solidFill>
                    <a:srgbClr val="9999A9"/>
                  </a:solidFill>
                  <a:ea typeface="Arial Unicode MS"/>
                  <a:cs typeface="Arial" pitchFamily="34" charset="0"/>
                </a:rPr>
                <a:t>mi eu</a:t>
              </a:r>
            </a:p>
          </p:txBody>
        </p:sp>
        <p:grpSp>
          <p:nvGrpSpPr>
            <p:cNvPr id="106" name="Gruppieren 19">
              <a:extLst>
                <a:ext uri="{FF2B5EF4-FFF2-40B4-BE49-F238E27FC236}">
                  <a16:creationId xmlns:a16="http://schemas.microsoft.com/office/drawing/2014/main" id="{D7F48A4A-8844-6E4F-AE8B-94775BE48541}"/>
                </a:ext>
              </a:extLst>
            </p:cNvPr>
            <p:cNvGrpSpPr/>
            <p:nvPr/>
          </p:nvGrpSpPr>
          <p:grpSpPr>
            <a:xfrm>
              <a:off x="806400" y="3856230"/>
              <a:ext cx="198000" cy="1327770"/>
              <a:chOff x="806400" y="3678430"/>
              <a:chExt cx="198000" cy="1327770"/>
            </a:xfrm>
          </p:grpSpPr>
          <p:sp>
            <p:nvSpPr>
              <p:cNvPr id="107" name="Ellipse 26">
                <a:extLst>
                  <a:ext uri="{FF2B5EF4-FFF2-40B4-BE49-F238E27FC236}">
                    <a16:creationId xmlns:a16="http://schemas.microsoft.com/office/drawing/2014/main" id="{B31F6662-5EDE-AB47-8093-BE33FFBA5677}"/>
                  </a:ext>
                </a:extLst>
              </p:cNvPr>
              <p:cNvSpPr>
                <a:spLocks noChangeAspect="1"/>
              </p:cNvSpPr>
              <p:nvPr/>
            </p:nvSpPr>
            <p:spPr bwMode="gray">
              <a:xfrm>
                <a:off x="806400" y="3678430"/>
                <a:ext cx="198000" cy="198000"/>
              </a:xfrm>
              <a:prstGeom prst="ellipse">
                <a:avLst/>
              </a:prstGeom>
              <a:solidFill>
                <a:schemeClr val="bg2"/>
              </a:solidFill>
              <a:ln w="12700" cap="flat" cmpd="sng" algn="ctr">
                <a:noFill/>
                <a:prstDash val="solid"/>
                <a:round/>
                <a:headEnd type="none" w="med" len="med"/>
                <a:tailEnd type="none" w="med" len="med"/>
              </a:ln>
              <a:effectLst/>
            </p:spPr>
            <p:txBody>
              <a:bodyPr vert="horz" wrap="none" lIns="89953" tIns="46776" rIns="89953" bIns="46776"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spcBef>
                    <a:spcPts val="0"/>
                  </a:spcBef>
                  <a:spcAft>
                    <a:spcPts val="0"/>
                  </a:spcAft>
                </a:pPr>
                <a:endParaRPr lang="en-US" sz="1599" dirty="0">
                  <a:solidFill>
                    <a:srgbClr val="9999A9"/>
                  </a:solidFill>
                  <a:latin typeface="+mn-lt"/>
                </a:endParaRPr>
              </a:p>
            </p:txBody>
          </p:sp>
          <p:sp>
            <p:nvSpPr>
              <p:cNvPr id="108" name="Line 87">
                <a:extLst>
                  <a:ext uri="{FF2B5EF4-FFF2-40B4-BE49-F238E27FC236}">
                    <a16:creationId xmlns:a16="http://schemas.microsoft.com/office/drawing/2014/main" id="{7B0AF506-607C-9449-A772-A582112D1727}"/>
                  </a:ext>
                </a:extLst>
              </p:cNvPr>
              <p:cNvSpPr>
                <a:spLocks noChangeShapeType="1"/>
              </p:cNvSpPr>
              <p:nvPr/>
            </p:nvSpPr>
            <p:spPr bwMode="gray">
              <a:xfrm flipV="1">
                <a:off x="905400" y="3782200"/>
                <a:ext cx="0" cy="1224000"/>
              </a:xfrm>
              <a:prstGeom prst="line">
                <a:avLst/>
              </a:prstGeom>
              <a:noFill/>
              <a:ln w="12700" cap="flat">
                <a:solidFill>
                  <a:srgbClr val="9999A9"/>
                </a:solidFill>
                <a:miter lim="800000"/>
                <a:headEnd type="none" w="lg" len="lg"/>
                <a:tailEnd type="oval"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9953" tIns="46776" rIns="89953" bIns="46776"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spcAft>
                    <a:spcPts val="0"/>
                  </a:spcAft>
                </a:pPr>
                <a:endParaRPr lang="en-US" sz="1799" dirty="0">
                  <a:solidFill>
                    <a:srgbClr val="9999A9"/>
                  </a:solidFill>
                  <a:latin typeface="+mn-lt"/>
                </a:endParaRPr>
              </a:p>
            </p:txBody>
          </p:sp>
        </p:grpSp>
      </p:grpSp>
      <p:grpSp>
        <p:nvGrpSpPr>
          <p:cNvPr id="109" name="Group 108"/>
          <p:cNvGrpSpPr/>
          <p:nvPr/>
        </p:nvGrpSpPr>
        <p:grpSpPr>
          <a:xfrm>
            <a:off x="5032665" y="3470379"/>
            <a:ext cx="1538199" cy="1327708"/>
            <a:chOff x="806400" y="3856230"/>
            <a:chExt cx="1539000" cy="1328400"/>
          </a:xfrm>
        </p:grpSpPr>
        <p:sp>
          <p:nvSpPr>
            <p:cNvPr id="110" name="Rechteck 28">
              <a:extLst>
                <a:ext uri="{FF2B5EF4-FFF2-40B4-BE49-F238E27FC236}">
                  <a16:creationId xmlns:a16="http://schemas.microsoft.com/office/drawing/2014/main" id="{F9E8C198-C74A-4343-A698-857ADDF76A3B}"/>
                </a:ext>
              </a:extLst>
            </p:cNvPr>
            <p:cNvSpPr/>
            <p:nvPr/>
          </p:nvSpPr>
          <p:spPr bwMode="gray">
            <a:xfrm>
              <a:off x="905400" y="4385205"/>
              <a:ext cx="1440000" cy="799425"/>
            </a:xfrm>
            <a:prstGeom prst="rect">
              <a:avLst/>
            </a:prstGeom>
            <a:noFill/>
            <a:ln w="19050">
              <a:noFill/>
              <a:miter lim="800000"/>
            </a:ln>
            <a:effectLst/>
          </p:spPr>
          <p:txBody>
            <a:bodyPr wrap="square" lIns="143925" tIns="72000" rIns="0" bIns="71963" numCol="1" spcCol="72000" rtlCol="0" anchor="b" anchorCtr="0">
              <a:spAutoFit/>
            </a:bodyPr>
            <a:lstStyle/>
            <a:p>
              <a:pPr>
                <a:defRPr/>
              </a:pPr>
              <a:r>
                <a:rPr lang="en-US" altLang="de-DE" sz="1599" b="1" dirty="0">
                  <a:solidFill>
                    <a:srgbClr val="00FFB9"/>
                  </a:solidFill>
                  <a:ea typeface="Arial Unicode MS"/>
                </a:rPr>
                <a:t>Lorem</a:t>
              </a:r>
            </a:p>
            <a:p>
              <a:pPr marL="0" lvl="1">
                <a:spcBef>
                  <a:spcPts val="300"/>
                </a:spcBef>
                <a:buClr>
                  <a:srgbClr val="3C464B"/>
                </a:buClr>
                <a:defRPr/>
              </a:pPr>
              <a:r>
                <a:rPr lang="en-US" altLang="de-DE" sz="1199" dirty="0">
                  <a:solidFill>
                    <a:srgbClr val="9999A9"/>
                  </a:solidFill>
                  <a:ea typeface="Arial Unicode MS"/>
                  <a:cs typeface="Arial" pitchFamily="34" charset="0"/>
                </a:rPr>
                <a:t>At vero eos et accusam</a:t>
              </a:r>
            </a:p>
          </p:txBody>
        </p:sp>
        <p:grpSp>
          <p:nvGrpSpPr>
            <p:cNvPr id="111" name="Gruppieren 19">
              <a:extLst>
                <a:ext uri="{FF2B5EF4-FFF2-40B4-BE49-F238E27FC236}">
                  <a16:creationId xmlns:a16="http://schemas.microsoft.com/office/drawing/2014/main" id="{D7F48A4A-8844-6E4F-AE8B-94775BE48541}"/>
                </a:ext>
              </a:extLst>
            </p:cNvPr>
            <p:cNvGrpSpPr/>
            <p:nvPr/>
          </p:nvGrpSpPr>
          <p:grpSpPr>
            <a:xfrm>
              <a:off x="806400" y="3856230"/>
              <a:ext cx="198000" cy="1327770"/>
              <a:chOff x="806400" y="3678430"/>
              <a:chExt cx="198000" cy="1327770"/>
            </a:xfrm>
          </p:grpSpPr>
          <p:sp>
            <p:nvSpPr>
              <p:cNvPr id="112" name="Ellipse 26">
                <a:extLst>
                  <a:ext uri="{FF2B5EF4-FFF2-40B4-BE49-F238E27FC236}">
                    <a16:creationId xmlns:a16="http://schemas.microsoft.com/office/drawing/2014/main" id="{B31F6662-5EDE-AB47-8093-BE33FFBA5677}"/>
                  </a:ext>
                </a:extLst>
              </p:cNvPr>
              <p:cNvSpPr>
                <a:spLocks noChangeAspect="1"/>
              </p:cNvSpPr>
              <p:nvPr/>
            </p:nvSpPr>
            <p:spPr bwMode="gray">
              <a:xfrm>
                <a:off x="806400" y="3678430"/>
                <a:ext cx="198000" cy="198000"/>
              </a:xfrm>
              <a:prstGeom prst="ellipse">
                <a:avLst/>
              </a:prstGeom>
              <a:solidFill>
                <a:schemeClr val="bg2"/>
              </a:solidFill>
              <a:ln w="12700" cap="flat" cmpd="sng" algn="ctr">
                <a:noFill/>
                <a:prstDash val="solid"/>
                <a:round/>
                <a:headEnd type="none" w="med" len="med"/>
                <a:tailEnd type="none" w="med" len="med"/>
              </a:ln>
              <a:effectLst/>
            </p:spPr>
            <p:txBody>
              <a:bodyPr vert="horz" wrap="none" lIns="89953" tIns="46776" rIns="89953" bIns="46776"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spcBef>
                    <a:spcPts val="0"/>
                  </a:spcBef>
                  <a:spcAft>
                    <a:spcPts val="0"/>
                  </a:spcAft>
                </a:pPr>
                <a:endParaRPr lang="en-US" sz="1599" dirty="0">
                  <a:solidFill>
                    <a:srgbClr val="9999A9"/>
                  </a:solidFill>
                  <a:latin typeface="+mn-lt"/>
                </a:endParaRPr>
              </a:p>
            </p:txBody>
          </p:sp>
          <p:sp>
            <p:nvSpPr>
              <p:cNvPr id="113" name="Line 87">
                <a:extLst>
                  <a:ext uri="{FF2B5EF4-FFF2-40B4-BE49-F238E27FC236}">
                    <a16:creationId xmlns:a16="http://schemas.microsoft.com/office/drawing/2014/main" id="{7B0AF506-607C-9449-A772-A582112D1727}"/>
                  </a:ext>
                </a:extLst>
              </p:cNvPr>
              <p:cNvSpPr>
                <a:spLocks noChangeShapeType="1"/>
              </p:cNvSpPr>
              <p:nvPr/>
            </p:nvSpPr>
            <p:spPr bwMode="gray">
              <a:xfrm flipV="1">
                <a:off x="905400" y="3782200"/>
                <a:ext cx="0" cy="1224000"/>
              </a:xfrm>
              <a:prstGeom prst="line">
                <a:avLst/>
              </a:prstGeom>
              <a:noFill/>
              <a:ln w="12700" cap="flat">
                <a:solidFill>
                  <a:srgbClr val="9999A9"/>
                </a:solidFill>
                <a:miter lim="800000"/>
                <a:headEnd type="none" w="lg" len="lg"/>
                <a:tailEnd type="oval"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9953" tIns="46776" rIns="89953" bIns="46776"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spcAft>
                    <a:spcPts val="0"/>
                  </a:spcAft>
                </a:pPr>
                <a:endParaRPr lang="en-US" sz="1799" dirty="0">
                  <a:solidFill>
                    <a:srgbClr val="9999A9"/>
                  </a:solidFill>
                  <a:latin typeface="+mn-lt"/>
                </a:endParaRPr>
              </a:p>
            </p:txBody>
          </p:sp>
        </p:grpSp>
      </p:grpSp>
      <p:grpSp>
        <p:nvGrpSpPr>
          <p:cNvPr id="114" name="Group 113"/>
          <p:cNvGrpSpPr/>
          <p:nvPr/>
        </p:nvGrpSpPr>
        <p:grpSpPr>
          <a:xfrm>
            <a:off x="7146007" y="3470379"/>
            <a:ext cx="1538199" cy="1327708"/>
            <a:chOff x="806400" y="3856230"/>
            <a:chExt cx="1539000" cy="1328400"/>
          </a:xfrm>
        </p:grpSpPr>
        <p:sp>
          <p:nvSpPr>
            <p:cNvPr id="115" name="Rechteck 28">
              <a:extLst>
                <a:ext uri="{FF2B5EF4-FFF2-40B4-BE49-F238E27FC236}">
                  <a16:creationId xmlns:a16="http://schemas.microsoft.com/office/drawing/2014/main" id="{F9E8C198-C74A-4343-A698-857ADDF76A3B}"/>
                </a:ext>
              </a:extLst>
            </p:cNvPr>
            <p:cNvSpPr/>
            <p:nvPr/>
          </p:nvSpPr>
          <p:spPr bwMode="gray">
            <a:xfrm>
              <a:off x="905400" y="4385205"/>
              <a:ext cx="1440000" cy="799425"/>
            </a:xfrm>
            <a:prstGeom prst="rect">
              <a:avLst/>
            </a:prstGeom>
            <a:noFill/>
            <a:ln w="19050">
              <a:noFill/>
              <a:miter lim="800000"/>
            </a:ln>
            <a:effectLst/>
          </p:spPr>
          <p:txBody>
            <a:bodyPr wrap="square" lIns="143925" tIns="72000" rIns="0" bIns="71963" numCol="1" spcCol="72000" rtlCol="0" anchor="b" anchorCtr="0">
              <a:spAutoFit/>
            </a:bodyPr>
            <a:lstStyle/>
            <a:p>
              <a:pPr>
                <a:defRPr/>
              </a:pPr>
              <a:r>
                <a:rPr lang="en-US" altLang="de-DE" sz="1599" b="1" dirty="0">
                  <a:solidFill>
                    <a:srgbClr val="00FFB9"/>
                  </a:solidFill>
                  <a:ea typeface="Arial Unicode MS"/>
                </a:rPr>
                <a:t>Dolore</a:t>
              </a:r>
            </a:p>
            <a:p>
              <a:pPr marL="0" lvl="1">
                <a:spcBef>
                  <a:spcPts val="300"/>
                </a:spcBef>
                <a:buClr>
                  <a:srgbClr val="3C464B"/>
                </a:buClr>
                <a:defRPr/>
              </a:pPr>
              <a:r>
                <a:rPr lang="en-US" altLang="de-DE" sz="1199" dirty="0">
                  <a:solidFill>
                    <a:srgbClr val="9999A9"/>
                  </a:solidFill>
                  <a:ea typeface="Arial Unicode MS"/>
                  <a:cs typeface="Arial" pitchFamily="34" charset="0"/>
                </a:rPr>
                <a:t>Cras ultricies </a:t>
              </a:r>
              <a:br>
                <a:rPr lang="en-US" altLang="de-DE" sz="1199" dirty="0">
                  <a:solidFill>
                    <a:srgbClr val="9999A9"/>
                  </a:solidFill>
                  <a:ea typeface="Arial Unicode MS"/>
                  <a:cs typeface="Arial" pitchFamily="34" charset="0"/>
                </a:rPr>
              </a:br>
              <a:r>
                <a:rPr lang="en-US" altLang="de-DE" sz="1199" dirty="0">
                  <a:solidFill>
                    <a:srgbClr val="9999A9"/>
                  </a:solidFill>
                  <a:ea typeface="Arial Unicode MS"/>
                  <a:cs typeface="Arial" pitchFamily="34" charset="0"/>
                </a:rPr>
                <a:t>mi eu</a:t>
              </a:r>
            </a:p>
          </p:txBody>
        </p:sp>
        <p:grpSp>
          <p:nvGrpSpPr>
            <p:cNvPr id="116" name="Gruppieren 19">
              <a:extLst>
                <a:ext uri="{FF2B5EF4-FFF2-40B4-BE49-F238E27FC236}">
                  <a16:creationId xmlns:a16="http://schemas.microsoft.com/office/drawing/2014/main" id="{D7F48A4A-8844-6E4F-AE8B-94775BE48541}"/>
                </a:ext>
              </a:extLst>
            </p:cNvPr>
            <p:cNvGrpSpPr/>
            <p:nvPr/>
          </p:nvGrpSpPr>
          <p:grpSpPr>
            <a:xfrm>
              <a:off x="806400" y="3856230"/>
              <a:ext cx="198000" cy="1327770"/>
              <a:chOff x="806400" y="3678430"/>
              <a:chExt cx="198000" cy="1327770"/>
            </a:xfrm>
          </p:grpSpPr>
          <p:sp>
            <p:nvSpPr>
              <p:cNvPr id="117" name="Ellipse 26">
                <a:extLst>
                  <a:ext uri="{FF2B5EF4-FFF2-40B4-BE49-F238E27FC236}">
                    <a16:creationId xmlns:a16="http://schemas.microsoft.com/office/drawing/2014/main" id="{B31F6662-5EDE-AB47-8093-BE33FFBA5677}"/>
                  </a:ext>
                </a:extLst>
              </p:cNvPr>
              <p:cNvSpPr>
                <a:spLocks noChangeAspect="1"/>
              </p:cNvSpPr>
              <p:nvPr/>
            </p:nvSpPr>
            <p:spPr bwMode="gray">
              <a:xfrm>
                <a:off x="806400" y="3678430"/>
                <a:ext cx="198000" cy="198000"/>
              </a:xfrm>
              <a:prstGeom prst="ellipse">
                <a:avLst/>
              </a:prstGeom>
              <a:solidFill>
                <a:schemeClr val="bg2"/>
              </a:solidFill>
              <a:ln w="12700" cap="flat" cmpd="sng" algn="ctr">
                <a:noFill/>
                <a:prstDash val="solid"/>
                <a:round/>
                <a:headEnd type="none" w="med" len="med"/>
                <a:tailEnd type="none" w="med" len="med"/>
              </a:ln>
              <a:effectLst/>
            </p:spPr>
            <p:txBody>
              <a:bodyPr vert="horz" wrap="none" lIns="89953" tIns="46776" rIns="89953" bIns="46776"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spcBef>
                    <a:spcPts val="0"/>
                  </a:spcBef>
                  <a:spcAft>
                    <a:spcPts val="0"/>
                  </a:spcAft>
                </a:pPr>
                <a:endParaRPr lang="en-US" sz="1599" dirty="0">
                  <a:solidFill>
                    <a:srgbClr val="9999A9"/>
                  </a:solidFill>
                  <a:latin typeface="+mn-lt"/>
                </a:endParaRPr>
              </a:p>
            </p:txBody>
          </p:sp>
          <p:sp>
            <p:nvSpPr>
              <p:cNvPr id="118" name="Line 87">
                <a:extLst>
                  <a:ext uri="{FF2B5EF4-FFF2-40B4-BE49-F238E27FC236}">
                    <a16:creationId xmlns:a16="http://schemas.microsoft.com/office/drawing/2014/main" id="{7B0AF506-607C-9449-A772-A582112D1727}"/>
                  </a:ext>
                </a:extLst>
              </p:cNvPr>
              <p:cNvSpPr>
                <a:spLocks noChangeShapeType="1"/>
              </p:cNvSpPr>
              <p:nvPr/>
            </p:nvSpPr>
            <p:spPr bwMode="gray">
              <a:xfrm flipV="1">
                <a:off x="905400" y="3782200"/>
                <a:ext cx="0" cy="1224000"/>
              </a:xfrm>
              <a:prstGeom prst="line">
                <a:avLst/>
              </a:prstGeom>
              <a:noFill/>
              <a:ln w="12700" cap="flat">
                <a:solidFill>
                  <a:srgbClr val="9999A9"/>
                </a:solidFill>
                <a:miter lim="800000"/>
                <a:headEnd type="none" w="lg" len="lg"/>
                <a:tailEnd type="oval"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9953" tIns="46776" rIns="89953" bIns="46776"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spcAft>
                    <a:spcPts val="0"/>
                  </a:spcAft>
                </a:pPr>
                <a:endParaRPr lang="en-US" sz="1799" dirty="0">
                  <a:solidFill>
                    <a:srgbClr val="9999A9"/>
                  </a:solidFill>
                  <a:latin typeface="+mn-lt"/>
                </a:endParaRPr>
              </a:p>
            </p:txBody>
          </p:sp>
        </p:grpSp>
      </p:grpSp>
      <p:grpSp>
        <p:nvGrpSpPr>
          <p:cNvPr id="119" name="Group 118"/>
          <p:cNvGrpSpPr/>
          <p:nvPr/>
        </p:nvGrpSpPr>
        <p:grpSpPr>
          <a:xfrm>
            <a:off x="9259347" y="3470379"/>
            <a:ext cx="1538199" cy="1327708"/>
            <a:chOff x="806400" y="3856230"/>
            <a:chExt cx="1539000" cy="1328400"/>
          </a:xfrm>
        </p:grpSpPr>
        <p:sp>
          <p:nvSpPr>
            <p:cNvPr id="120" name="Rechteck 28">
              <a:extLst>
                <a:ext uri="{FF2B5EF4-FFF2-40B4-BE49-F238E27FC236}">
                  <a16:creationId xmlns:a16="http://schemas.microsoft.com/office/drawing/2014/main" id="{F9E8C198-C74A-4343-A698-857ADDF76A3B}"/>
                </a:ext>
              </a:extLst>
            </p:cNvPr>
            <p:cNvSpPr/>
            <p:nvPr/>
          </p:nvSpPr>
          <p:spPr bwMode="gray">
            <a:xfrm>
              <a:off x="905400" y="4323616"/>
              <a:ext cx="1440000" cy="861014"/>
            </a:xfrm>
            <a:prstGeom prst="rect">
              <a:avLst/>
            </a:prstGeom>
            <a:noFill/>
            <a:ln w="19050">
              <a:noFill/>
              <a:miter lim="800000"/>
            </a:ln>
            <a:effectLst/>
          </p:spPr>
          <p:txBody>
            <a:bodyPr wrap="square" lIns="143925" tIns="72000" rIns="0" bIns="71963" numCol="1" spcCol="72000" rtlCol="0" anchor="b" anchorCtr="0">
              <a:spAutoFit/>
            </a:bodyPr>
            <a:lstStyle/>
            <a:p>
              <a:pPr>
                <a:defRPr/>
              </a:pPr>
              <a:r>
                <a:rPr lang="en-US" altLang="de-DE" sz="1599" b="1" dirty="0">
                  <a:solidFill>
                    <a:srgbClr val="00FFB9"/>
                  </a:solidFill>
                  <a:ea typeface="Arial Unicode MS"/>
                </a:rPr>
                <a:t>Cras rest ultricies</a:t>
              </a:r>
            </a:p>
            <a:p>
              <a:pPr marL="0" lvl="1">
                <a:spcBef>
                  <a:spcPts val="300"/>
                </a:spcBef>
                <a:buClr>
                  <a:srgbClr val="3C464B"/>
                </a:buClr>
                <a:defRPr/>
              </a:pPr>
              <a:r>
                <a:rPr lang="en-US" altLang="de-DE" sz="1199" dirty="0">
                  <a:solidFill>
                    <a:srgbClr val="9999A9"/>
                  </a:solidFill>
                  <a:ea typeface="Arial Unicode MS"/>
                  <a:cs typeface="Arial" pitchFamily="34" charset="0"/>
                </a:rPr>
                <a:t>Duis arcu</a:t>
              </a:r>
            </a:p>
          </p:txBody>
        </p:sp>
        <p:grpSp>
          <p:nvGrpSpPr>
            <p:cNvPr id="121" name="Gruppieren 19">
              <a:extLst>
                <a:ext uri="{FF2B5EF4-FFF2-40B4-BE49-F238E27FC236}">
                  <a16:creationId xmlns:a16="http://schemas.microsoft.com/office/drawing/2014/main" id="{D7F48A4A-8844-6E4F-AE8B-94775BE48541}"/>
                </a:ext>
              </a:extLst>
            </p:cNvPr>
            <p:cNvGrpSpPr/>
            <p:nvPr/>
          </p:nvGrpSpPr>
          <p:grpSpPr>
            <a:xfrm>
              <a:off x="806400" y="3856230"/>
              <a:ext cx="198000" cy="1327770"/>
              <a:chOff x="806400" y="3678430"/>
              <a:chExt cx="198000" cy="1327770"/>
            </a:xfrm>
          </p:grpSpPr>
          <p:sp>
            <p:nvSpPr>
              <p:cNvPr id="122" name="Ellipse 26">
                <a:extLst>
                  <a:ext uri="{FF2B5EF4-FFF2-40B4-BE49-F238E27FC236}">
                    <a16:creationId xmlns:a16="http://schemas.microsoft.com/office/drawing/2014/main" id="{B31F6662-5EDE-AB47-8093-BE33FFBA5677}"/>
                  </a:ext>
                </a:extLst>
              </p:cNvPr>
              <p:cNvSpPr>
                <a:spLocks noChangeAspect="1"/>
              </p:cNvSpPr>
              <p:nvPr/>
            </p:nvSpPr>
            <p:spPr bwMode="gray">
              <a:xfrm>
                <a:off x="806400" y="3678430"/>
                <a:ext cx="198000" cy="198000"/>
              </a:xfrm>
              <a:prstGeom prst="ellipse">
                <a:avLst/>
              </a:prstGeom>
              <a:solidFill>
                <a:schemeClr val="bg2"/>
              </a:solidFill>
              <a:ln w="12700" cap="flat" cmpd="sng" algn="ctr">
                <a:noFill/>
                <a:prstDash val="solid"/>
                <a:round/>
                <a:headEnd type="none" w="med" len="med"/>
                <a:tailEnd type="none" w="med" len="med"/>
              </a:ln>
              <a:effectLst/>
            </p:spPr>
            <p:txBody>
              <a:bodyPr vert="horz" wrap="none" lIns="89953" tIns="46776" rIns="89953" bIns="46776"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spcBef>
                    <a:spcPts val="0"/>
                  </a:spcBef>
                  <a:spcAft>
                    <a:spcPts val="0"/>
                  </a:spcAft>
                </a:pPr>
                <a:endParaRPr lang="en-US" sz="1599" dirty="0">
                  <a:solidFill>
                    <a:srgbClr val="9999A9"/>
                  </a:solidFill>
                  <a:latin typeface="+mn-lt"/>
                </a:endParaRPr>
              </a:p>
            </p:txBody>
          </p:sp>
          <p:sp>
            <p:nvSpPr>
              <p:cNvPr id="123" name="Line 87">
                <a:extLst>
                  <a:ext uri="{FF2B5EF4-FFF2-40B4-BE49-F238E27FC236}">
                    <a16:creationId xmlns:a16="http://schemas.microsoft.com/office/drawing/2014/main" id="{7B0AF506-607C-9449-A772-A582112D1727}"/>
                  </a:ext>
                </a:extLst>
              </p:cNvPr>
              <p:cNvSpPr>
                <a:spLocks noChangeShapeType="1"/>
              </p:cNvSpPr>
              <p:nvPr/>
            </p:nvSpPr>
            <p:spPr bwMode="gray">
              <a:xfrm flipV="1">
                <a:off x="905400" y="3782200"/>
                <a:ext cx="0" cy="1224000"/>
              </a:xfrm>
              <a:prstGeom prst="line">
                <a:avLst/>
              </a:prstGeom>
              <a:noFill/>
              <a:ln w="12700" cap="flat">
                <a:solidFill>
                  <a:srgbClr val="9999A9"/>
                </a:solidFill>
                <a:miter lim="800000"/>
                <a:headEnd type="none" w="lg" len="lg"/>
                <a:tailEnd type="oval"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9953" tIns="46776" rIns="89953" bIns="46776"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spcAft>
                    <a:spcPts val="0"/>
                  </a:spcAft>
                </a:pPr>
                <a:endParaRPr lang="en-US" sz="1799" dirty="0">
                  <a:solidFill>
                    <a:srgbClr val="9999A9"/>
                  </a:solidFill>
                  <a:latin typeface="+mn-lt"/>
                </a:endParaRPr>
              </a:p>
            </p:txBody>
          </p:sp>
        </p:grpSp>
      </p:grpSp>
      <p:sp>
        <p:nvSpPr>
          <p:cNvPr id="4" name="Footer Placeholder 3">
            <a:extLst>
              <a:ext uri="{FF2B5EF4-FFF2-40B4-BE49-F238E27FC236}">
                <a16:creationId xmlns:a16="http://schemas.microsoft.com/office/drawing/2014/main" id="{042ED26B-3AD1-4597-B3C5-A6731B9792FA}"/>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5" name="Slide Number Placeholder 4">
            <a:extLst>
              <a:ext uri="{FF2B5EF4-FFF2-40B4-BE49-F238E27FC236}">
                <a16:creationId xmlns:a16="http://schemas.microsoft.com/office/drawing/2014/main" id="{2E7C3259-7650-4B94-8D96-16B57DC8A04F}"/>
              </a:ext>
            </a:extLst>
          </p:cNvPr>
          <p:cNvSpPr>
            <a:spLocks noGrp="1"/>
          </p:cNvSpPr>
          <p:nvPr>
            <p:ph type="sldNum" sz="quarter" idx="11"/>
          </p:nvPr>
        </p:nvSpPr>
        <p:spPr/>
        <p:txBody>
          <a:bodyPr/>
          <a:lstStyle/>
          <a:p>
            <a:r>
              <a:rPr lang="en-US" dirty="0"/>
              <a:t>Page </a:t>
            </a:r>
            <a:fld id="{15EBE321-CBB1-4E91-BD14-37C8D44326FB}" type="slidenum">
              <a:rPr lang="en-US" smtClean="0"/>
              <a:pPr/>
              <a:t>61</a:t>
            </a:fld>
            <a:endParaRPr lang="en-US" dirty="0"/>
          </a:p>
        </p:txBody>
      </p:sp>
    </p:spTree>
    <p:extLst>
      <p:ext uri="{BB962C8B-B14F-4D97-AF65-F5344CB8AC3E}">
        <p14:creationId xmlns:p14="http://schemas.microsoft.com/office/powerpoint/2010/main" val="325584530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dirty="0"/>
              <a:t>Timeline – content-related sequence</a:t>
            </a:r>
          </a:p>
        </p:txBody>
      </p:sp>
      <p:sp>
        <p:nvSpPr>
          <p:cNvPr id="238" name="Richtungspfeil 237">
            <a:extLst>
              <a:ext uri="{FF2B5EF4-FFF2-40B4-BE49-F238E27FC236}">
                <a16:creationId xmlns:a16="http://schemas.microsoft.com/office/drawing/2014/main" id="{538DCE9F-8333-CC4E-B82E-AF53B49E0670}"/>
              </a:ext>
            </a:extLst>
          </p:cNvPr>
          <p:cNvSpPr/>
          <p:nvPr/>
        </p:nvSpPr>
        <p:spPr bwMode="gray">
          <a:xfrm>
            <a:off x="411164" y="3214912"/>
            <a:ext cx="11376020" cy="719625"/>
          </a:xfrm>
          <a:prstGeom prst="homePlate">
            <a:avLst>
              <a:gd name="adj" fmla="val 31376"/>
            </a:avLst>
          </a:prstGeom>
          <a:solidFill>
            <a:schemeClr val="accent1"/>
          </a:solidFill>
          <a:ln w="38100">
            <a:noFill/>
            <a:miter lim="800000"/>
          </a:ln>
          <a:effectLst/>
        </p:spPr>
        <p:txBody>
          <a:bodyPr wrap="square" lIns="71963" tIns="71963" rIns="71963" bIns="71963" numCol="1" spcCol="72000" rtlCol="0" anchor="ctr" anchorCtr="0">
            <a:noAutofit/>
          </a:bodyPr>
          <a:lstStyle/>
          <a:p>
            <a:pPr algn="ctr"/>
            <a:endParaRPr lang="en-US" sz="1999" b="1" dirty="0">
              <a:solidFill>
                <a:schemeClr val="bg1"/>
              </a:solidFill>
              <a:ea typeface="Arial Unicode MS"/>
            </a:endParaRPr>
          </a:p>
        </p:txBody>
      </p:sp>
      <p:sp>
        <p:nvSpPr>
          <p:cNvPr id="6" name="Rectangle 93"/>
          <p:cNvSpPr>
            <a:spLocks noChangeArrowheads="1"/>
          </p:cNvSpPr>
          <p:nvPr/>
        </p:nvSpPr>
        <p:spPr bwMode="gray">
          <a:xfrm>
            <a:off x="1347131" y="3214912"/>
            <a:ext cx="1187382" cy="719625"/>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12700"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43925" tIns="71963" rIns="143925" bIns="71963" anchor="ctr">
            <a:noAutofit/>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pPr>
            <a:r>
              <a:rPr lang="en-US" sz="1599" b="1" dirty="0">
                <a:solidFill>
                  <a:schemeClr val="bg1"/>
                </a:solidFill>
                <a:latin typeface="+mn-lt"/>
              </a:rPr>
              <a:t>Lorem</a:t>
            </a:r>
            <a:endParaRPr lang="en-US" sz="1599" dirty="0">
              <a:solidFill>
                <a:schemeClr val="bg1"/>
              </a:solidFill>
              <a:latin typeface="+mn-lt"/>
            </a:endParaRPr>
          </a:p>
        </p:txBody>
      </p:sp>
      <p:sp>
        <p:nvSpPr>
          <p:cNvPr id="7" name="Rectangle 93"/>
          <p:cNvSpPr>
            <a:spLocks noChangeArrowheads="1"/>
          </p:cNvSpPr>
          <p:nvPr/>
        </p:nvSpPr>
        <p:spPr bwMode="gray">
          <a:xfrm>
            <a:off x="3095534" y="3214912"/>
            <a:ext cx="1187382" cy="719625"/>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12700"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43925" tIns="71963" rIns="143925" bIns="71963" anchor="ctr">
            <a:noAutofit/>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pPr>
            <a:r>
              <a:rPr lang="en-US" sz="1599" b="1" dirty="0">
                <a:solidFill>
                  <a:schemeClr val="bg1"/>
                </a:solidFill>
                <a:latin typeface="+mn-lt"/>
              </a:rPr>
              <a:t>Dolore</a:t>
            </a:r>
          </a:p>
        </p:txBody>
      </p:sp>
      <p:sp>
        <p:nvSpPr>
          <p:cNvPr id="8" name="Rectangle 93"/>
          <p:cNvSpPr>
            <a:spLocks noChangeArrowheads="1"/>
          </p:cNvSpPr>
          <p:nvPr/>
        </p:nvSpPr>
        <p:spPr bwMode="gray">
          <a:xfrm>
            <a:off x="8340741" y="3214912"/>
            <a:ext cx="1187382" cy="719625"/>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12700"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43925" tIns="71963" rIns="143925" bIns="71963" anchor="ctr">
            <a:noAutofit/>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pPr>
            <a:r>
              <a:rPr lang="en-US" sz="1599" b="1" dirty="0">
                <a:solidFill>
                  <a:schemeClr val="bg1"/>
                </a:solidFill>
                <a:latin typeface="+mn-lt"/>
              </a:rPr>
              <a:t>Dequera</a:t>
            </a:r>
            <a:endParaRPr lang="en-US" sz="1599" dirty="0">
              <a:solidFill>
                <a:schemeClr val="bg1"/>
              </a:solidFill>
              <a:latin typeface="+mn-lt"/>
            </a:endParaRPr>
          </a:p>
        </p:txBody>
      </p:sp>
      <p:sp>
        <p:nvSpPr>
          <p:cNvPr id="9" name="Rectangle 93"/>
          <p:cNvSpPr>
            <a:spLocks noChangeArrowheads="1"/>
          </p:cNvSpPr>
          <p:nvPr/>
        </p:nvSpPr>
        <p:spPr bwMode="gray">
          <a:xfrm>
            <a:off x="6592338" y="3214912"/>
            <a:ext cx="1187382" cy="719625"/>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12700"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43925" tIns="71963" rIns="143925" bIns="71963" anchor="ctr">
            <a:noAutofit/>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pPr>
            <a:r>
              <a:rPr lang="en-US" sz="1599" b="1" dirty="0">
                <a:solidFill>
                  <a:schemeClr val="bg1"/>
                </a:solidFill>
                <a:latin typeface="+mn-lt"/>
              </a:rPr>
              <a:t>Respeta</a:t>
            </a:r>
            <a:endParaRPr lang="en-US" sz="1599" dirty="0">
              <a:solidFill>
                <a:schemeClr val="bg1"/>
              </a:solidFill>
              <a:latin typeface="+mn-lt"/>
            </a:endParaRPr>
          </a:p>
        </p:txBody>
      </p:sp>
      <p:sp>
        <p:nvSpPr>
          <p:cNvPr id="12" name="Rectangle 95"/>
          <p:cNvSpPr>
            <a:spLocks noChangeArrowheads="1"/>
          </p:cNvSpPr>
          <p:nvPr/>
        </p:nvSpPr>
        <p:spPr bwMode="gray">
          <a:xfrm>
            <a:off x="10089145" y="3214912"/>
            <a:ext cx="1187382" cy="719625"/>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12700"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43925" tIns="71963" rIns="143925" bIns="71963" anchor="ctr">
            <a:noAutofit/>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pPr>
            <a:r>
              <a:rPr lang="en-US" sz="1599" b="1" dirty="0">
                <a:solidFill>
                  <a:schemeClr val="bg1"/>
                </a:solidFill>
                <a:latin typeface="+mn-lt"/>
              </a:rPr>
              <a:t>Ultricies</a:t>
            </a:r>
            <a:endParaRPr lang="en-US" sz="1599" dirty="0">
              <a:solidFill>
                <a:schemeClr val="bg1"/>
              </a:solidFill>
              <a:latin typeface="+mn-lt"/>
            </a:endParaRPr>
          </a:p>
        </p:txBody>
      </p:sp>
      <p:sp>
        <p:nvSpPr>
          <p:cNvPr id="15" name="Rectangle 93"/>
          <p:cNvSpPr>
            <a:spLocks noChangeArrowheads="1"/>
          </p:cNvSpPr>
          <p:nvPr/>
        </p:nvSpPr>
        <p:spPr bwMode="gray">
          <a:xfrm>
            <a:off x="4843936" y="3214912"/>
            <a:ext cx="1187382" cy="719625"/>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12700"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43925" tIns="71963" rIns="143925" bIns="71963" anchor="ctr">
            <a:noAutofit/>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pPr>
            <a:r>
              <a:rPr lang="en-US" sz="1599" b="1" dirty="0">
                <a:solidFill>
                  <a:schemeClr val="bg1"/>
                </a:solidFill>
                <a:latin typeface="+mn-lt"/>
              </a:rPr>
              <a:t>Vero eos</a:t>
            </a:r>
            <a:endParaRPr lang="en-US" sz="1599" dirty="0">
              <a:solidFill>
                <a:schemeClr val="bg1"/>
              </a:solidFill>
              <a:latin typeface="+mn-lt"/>
            </a:endParaRPr>
          </a:p>
        </p:txBody>
      </p:sp>
      <p:grpSp>
        <p:nvGrpSpPr>
          <p:cNvPr id="19" name="Group 18"/>
          <p:cNvGrpSpPr/>
          <p:nvPr/>
        </p:nvGrpSpPr>
        <p:grpSpPr>
          <a:xfrm>
            <a:off x="1241109" y="1775661"/>
            <a:ext cx="1502215" cy="1539958"/>
            <a:chOff x="1241755" y="1800000"/>
            <a:chExt cx="1502997" cy="1540760"/>
          </a:xfrm>
        </p:grpSpPr>
        <p:grpSp>
          <p:nvGrpSpPr>
            <p:cNvPr id="3" name="Group 2"/>
            <p:cNvGrpSpPr/>
            <p:nvPr/>
          </p:nvGrpSpPr>
          <p:grpSpPr>
            <a:xfrm>
              <a:off x="1241755" y="1800049"/>
              <a:ext cx="198000" cy="1540711"/>
              <a:chOff x="1241755" y="1800049"/>
              <a:chExt cx="198000" cy="1540711"/>
            </a:xfrm>
          </p:grpSpPr>
          <p:sp>
            <p:nvSpPr>
              <p:cNvPr id="27" name="Ellipse 26"/>
              <p:cNvSpPr>
                <a:spLocks noChangeAspect="1"/>
              </p:cNvSpPr>
              <p:nvPr/>
            </p:nvSpPr>
            <p:spPr bwMode="gray">
              <a:xfrm>
                <a:off x="1241755" y="3142760"/>
                <a:ext cx="198000" cy="198000"/>
              </a:xfrm>
              <a:prstGeom prst="ellipse">
                <a:avLst/>
              </a:prstGeom>
              <a:solidFill>
                <a:schemeClr val="bg1"/>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endParaRPr lang="en-US" sz="1599" dirty="0">
                  <a:solidFill>
                    <a:srgbClr val="66667E"/>
                  </a:solidFill>
                  <a:latin typeface="+mn-lt"/>
                </a:endParaRPr>
              </a:p>
            </p:txBody>
          </p:sp>
          <p:sp>
            <p:nvSpPr>
              <p:cNvPr id="67" name="Line 87"/>
              <p:cNvSpPr>
                <a:spLocks noChangeShapeType="1"/>
              </p:cNvSpPr>
              <p:nvPr/>
            </p:nvSpPr>
            <p:spPr bwMode="gray">
              <a:xfrm flipV="1">
                <a:off x="1340755" y="1800049"/>
                <a:ext cx="0" cy="1439949"/>
              </a:xfrm>
              <a:prstGeom prst="line">
                <a:avLst/>
              </a:prstGeom>
              <a:noFill/>
              <a:ln w="12700" cap="flat">
                <a:solidFill>
                  <a:srgbClr val="66667E"/>
                </a:solidFill>
                <a:miter lim="800000"/>
                <a:headEnd type="oval" w="lg" len="lg"/>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endParaRPr lang="en-US" sz="1799" dirty="0">
                  <a:solidFill>
                    <a:srgbClr val="66667E"/>
                  </a:solidFill>
                  <a:latin typeface="+mn-lt"/>
                </a:endParaRPr>
              </a:p>
            </p:txBody>
          </p:sp>
        </p:grpSp>
        <p:sp>
          <p:nvSpPr>
            <p:cNvPr id="154" name="Rechteck 28">
              <a:extLst>
                <a:ext uri="{FF2B5EF4-FFF2-40B4-BE49-F238E27FC236}">
                  <a16:creationId xmlns:a16="http://schemas.microsoft.com/office/drawing/2014/main" id="{1A9A9952-8106-5B4E-B9C7-1960ED09A7DA}"/>
                </a:ext>
              </a:extLst>
            </p:cNvPr>
            <p:cNvSpPr/>
            <p:nvPr/>
          </p:nvSpPr>
          <p:spPr bwMode="gray">
            <a:xfrm>
              <a:off x="1340752" y="1800000"/>
              <a:ext cx="1404000" cy="830219"/>
            </a:xfrm>
            <a:prstGeom prst="rect">
              <a:avLst/>
            </a:prstGeom>
            <a:noFill/>
            <a:ln w="19050">
              <a:noFill/>
              <a:miter lim="800000"/>
            </a:ln>
            <a:effectLst/>
          </p:spPr>
          <p:txBody>
            <a:bodyPr wrap="square" lIns="143925" tIns="71963" rIns="0" bIns="72000" numCol="1" spcCol="72000" rtlCol="0" anchor="t" anchorCtr="0">
              <a:spAutoFit/>
            </a:bodyPr>
            <a:lstStyle/>
            <a:p>
              <a:pPr>
                <a:defRPr/>
              </a:pPr>
              <a:r>
                <a:rPr lang="en-US" altLang="de-DE" sz="1399" b="1" dirty="0">
                  <a:solidFill>
                    <a:schemeClr val="accent1"/>
                  </a:solidFill>
                  <a:ea typeface="Arial Unicode MS"/>
                </a:rPr>
                <a:t>Lorem</a:t>
              </a:r>
            </a:p>
            <a:p>
              <a:pPr marL="0" lvl="1">
                <a:spcBef>
                  <a:spcPts val="300"/>
                </a:spcBef>
                <a:buClr>
                  <a:srgbClr val="3C464B"/>
                </a:buClr>
                <a:defRPr/>
              </a:pPr>
              <a:r>
                <a:rPr lang="en-US" altLang="de-DE" sz="1399" dirty="0">
                  <a:solidFill>
                    <a:srgbClr val="66667E"/>
                  </a:solidFill>
                  <a:ea typeface="Arial Unicode MS"/>
                  <a:cs typeface="Arial" pitchFamily="34" charset="0"/>
                </a:rPr>
                <a:t>Cras ultra ciesmi eu</a:t>
              </a:r>
            </a:p>
          </p:txBody>
        </p:sp>
      </p:grpSp>
      <p:grpSp>
        <p:nvGrpSpPr>
          <p:cNvPr id="11" name="Group 10"/>
          <p:cNvGrpSpPr/>
          <p:nvPr/>
        </p:nvGrpSpPr>
        <p:grpSpPr>
          <a:xfrm>
            <a:off x="805980" y="3837387"/>
            <a:ext cx="1034461" cy="1320512"/>
            <a:chOff x="806400" y="3862800"/>
            <a:chExt cx="1035000" cy="1321200"/>
          </a:xfrm>
        </p:grpSpPr>
        <p:sp>
          <p:nvSpPr>
            <p:cNvPr id="161" name="Rechteck 28">
              <a:extLst>
                <a:ext uri="{FF2B5EF4-FFF2-40B4-BE49-F238E27FC236}">
                  <a16:creationId xmlns:a16="http://schemas.microsoft.com/office/drawing/2014/main" id="{F9E8C198-C74A-4343-A698-857ADDF76A3B}"/>
                </a:ext>
              </a:extLst>
            </p:cNvPr>
            <p:cNvSpPr/>
            <p:nvPr/>
          </p:nvSpPr>
          <p:spPr bwMode="gray">
            <a:xfrm>
              <a:off x="905400" y="4353781"/>
              <a:ext cx="936000" cy="830219"/>
            </a:xfrm>
            <a:prstGeom prst="rect">
              <a:avLst/>
            </a:prstGeom>
            <a:noFill/>
            <a:ln w="19050">
              <a:noFill/>
              <a:miter lim="800000"/>
            </a:ln>
            <a:effectLst/>
          </p:spPr>
          <p:txBody>
            <a:bodyPr wrap="square" lIns="143925" tIns="72000" rIns="0" bIns="71963" numCol="1" spcCol="72000" rtlCol="0" anchor="b" anchorCtr="0">
              <a:spAutoFit/>
            </a:bodyPr>
            <a:lstStyle/>
            <a:p>
              <a:pPr>
                <a:defRPr/>
              </a:pPr>
              <a:r>
                <a:rPr lang="en-US" altLang="de-DE" sz="1399" b="1" dirty="0">
                  <a:solidFill>
                    <a:schemeClr val="accent1"/>
                  </a:solidFill>
                  <a:ea typeface="Arial Unicode MS"/>
                </a:rPr>
                <a:t>Dolore</a:t>
              </a:r>
            </a:p>
            <a:p>
              <a:pPr marL="0" lvl="1">
                <a:spcBef>
                  <a:spcPts val="300"/>
                </a:spcBef>
                <a:buClr>
                  <a:srgbClr val="3C464B"/>
                </a:buClr>
                <a:defRPr/>
              </a:pPr>
              <a:r>
                <a:rPr lang="en-US" altLang="de-DE" sz="1399" dirty="0">
                  <a:solidFill>
                    <a:srgbClr val="66667E"/>
                  </a:solidFill>
                  <a:ea typeface="Arial Unicode MS"/>
                  <a:cs typeface="Arial" pitchFamily="34" charset="0"/>
                </a:rPr>
                <a:t>Ultricies mi senz</a:t>
              </a:r>
            </a:p>
          </p:txBody>
        </p:sp>
        <p:grpSp>
          <p:nvGrpSpPr>
            <p:cNvPr id="20" name="Gruppieren 19">
              <a:extLst>
                <a:ext uri="{FF2B5EF4-FFF2-40B4-BE49-F238E27FC236}">
                  <a16:creationId xmlns:a16="http://schemas.microsoft.com/office/drawing/2014/main" id="{D7F48A4A-8844-6E4F-AE8B-94775BE48541}"/>
                </a:ext>
              </a:extLst>
            </p:cNvPr>
            <p:cNvGrpSpPr/>
            <p:nvPr/>
          </p:nvGrpSpPr>
          <p:grpSpPr>
            <a:xfrm>
              <a:off x="806400" y="3862800"/>
              <a:ext cx="198000" cy="1321200"/>
              <a:chOff x="806400" y="3685000"/>
              <a:chExt cx="198000" cy="1321200"/>
            </a:xfrm>
          </p:grpSpPr>
          <p:sp>
            <p:nvSpPr>
              <p:cNvPr id="164" name="Ellipse 26">
                <a:extLst>
                  <a:ext uri="{FF2B5EF4-FFF2-40B4-BE49-F238E27FC236}">
                    <a16:creationId xmlns:a16="http://schemas.microsoft.com/office/drawing/2014/main" id="{B31F6662-5EDE-AB47-8093-BE33FFBA5677}"/>
                  </a:ext>
                </a:extLst>
              </p:cNvPr>
              <p:cNvSpPr>
                <a:spLocks noChangeAspect="1"/>
              </p:cNvSpPr>
              <p:nvPr/>
            </p:nvSpPr>
            <p:spPr bwMode="gray">
              <a:xfrm>
                <a:off x="806400" y="3685000"/>
                <a:ext cx="198000" cy="198000"/>
              </a:xfrm>
              <a:prstGeom prst="ellipse">
                <a:avLst/>
              </a:prstGeom>
              <a:solidFill>
                <a:schemeClr val="bg1"/>
              </a:solidFill>
              <a:ln w="12700" cap="flat" cmpd="sng" algn="ctr">
                <a:noFill/>
                <a:prstDash val="solid"/>
                <a:round/>
                <a:headEnd type="none" w="med" len="med"/>
                <a:tailEnd type="none" w="med" len="med"/>
              </a:ln>
              <a:effectLst/>
            </p:spPr>
            <p:txBody>
              <a:bodyPr vert="horz" wrap="none" lIns="89953" tIns="46776" rIns="89953" bIns="46776"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endParaRPr lang="en-US" sz="1599" dirty="0">
                  <a:solidFill>
                    <a:srgbClr val="66667E"/>
                  </a:solidFill>
                  <a:latin typeface="+mn-lt"/>
                </a:endParaRPr>
              </a:p>
            </p:txBody>
          </p:sp>
          <p:sp>
            <p:nvSpPr>
              <p:cNvPr id="163" name="Line 87">
                <a:extLst>
                  <a:ext uri="{FF2B5EF4-FFF2-40B4-BE49-F238E27FC236}">
                    <a16:creationId xmlns:a16="http://schemas.microsoft.com/office/drawing/2014/main" id="{7B0AF506-607C-9449-A772-A582112D1727}"/>
                  </a:ext>
                </a:extLst>
              </p:cNvPr>
              <p:cNvSpPr>
                <a:spLocks noChangeShapeType="1"/>
              </p:cNvSpPr>
              <p:nvPr/>
            </p:nvSpPr>
            <p:spPr bwMode="gray">
              <a:xfrm flipV="1">
                <a:off x="905400" y="3782200"/>
                <a:ext cx="0" cy="1224000"/>
              </a:xfrm>
              <a:prstGeom prst="line">
                <a:avLst/>
              </a:prstGeom>
              <a:noFill/>
              <a:ln w="12700" cap="flat">
                <a:solidFill>
                  <a:srgbClr val="66667E"/>
                </a:solidFill>
                <a:miter lim="800000"/>
                <a:headEnd type="none" w="lg" len="lg"/>
                <a:tailEnd type="oval"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9953" tIns="46776" rIns="89953" bIns="46776"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endParaRPr lang="en-US" sz="1799" dirty="0">
                  <a:solidFill>
                    <a:srgbClr val="66667E"/>
                  </a:solidFill>
                  <a:latin typeface="+mn-lt"/>
                </a:endParaRPr>
              </a:p>
            </p:txBody>
          </p:sp>
        </p:grpSp>
      </p:grpSp>
      <p:grpSp>
        <p:nvGrpSpPr>
          <p:cNvPr id="18" name="Group 17"/>
          <p:cNvGrpSpPr/>
          <p:nvPr/>
        </p:nvGrpSpPr>
        <p:grpSpPr>
          <a:xfrm>
            <a:off x="2990957" y="1775661"/>
            <a:ext cx="1502215" cy="1539958"/>
            <a:chOff x="2992514" y="1800000"/>
            <a:chExt cx="1502997" cy="1540760"/>
          </a:xfrm>
        </p:grpSpPr>
        <p:grpSp>
          <p:nvGrpSpPr>
            <p:cNvPr id="78" name="Group 77"/>
            <p:cNvGrpSpPr/>
            <p:nvPr/>
          </p:nvGrpSpPr>
          <p:grpSpPr>
            <a:xfrm>
              <a:off x="2992514" y="1800049"/>
              <a:ext cx="198000" cy="1540711"/>
              <a:chOff x="1241755" y="1800049"/>
              <a:chExt cx="198000" cy="1540711"/>
            </a:xfrm>
          </p:grpSpPr>
          <p:sp>
            <p:nvSpPr>
              <p:cNvPr id="80" name="Ellipse 26"/>
              <p:cNvSpPr>
                <a:spLocks noChangeAspect="1"/>
              </p:cNvSpPr>
              <p:nvPr/>
            </p:nvSpPr>
            <p:spPr bwMode="gray">
              <a:xfrm>
                <a:off x="1241755" y="3142760"/>
                <a:ext cx="198000" cy="198000"/>
              </a:xfrm>
              <a:prstGeom prst="ellipse">
                <a:avLst/>
              </a:prstGeom>
              <a:solidFill>
                <a:schemeClr val="bg1"/>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endParaRPr lang="en-US" sz="1599" dirty="0">
                  <a:solidFill>
                    <a:srgbClr val="66667E"/>
                  </a:solidFill>
                  <a:latin typeface="+mn-lt"/>
                </a:endParaRPr>
              </a:p>
            </p:txBody>
          </p:sp>
          <p:sp>
            <p:nvSpPr>
              <p:cNvPr id="81" name="Line 87"/>
              <p:cNvSpPr>
                <a:spLocks noChangeShapeType="1"/>
              </p:cNvSpPr>
              <p:nvPr/>
            </p:nvSpPr>
            <p:spPr bwMode="gray">
              <a:xfrm flipV="1">
                <a:off x="1340756" y="1800049"/>
                <a:ext cx="0" cy="1439949"/>
              </a:xfrm>
              <a:prstGeom prst="line">
                <a:avLst/>
              </a:prstGeom>
              <a:noFill/>
              <a:ln w="12700" cap="flat">
                <a:solidFill>
                  <a:srgbClr val="66667E"/>
                </a:solidFill>
                <a:miter lim="800000"/>
                <a:headEnd type="oval" w="lg" len="lg"/>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endParaRPr lang="en-US" sz="1799" dirty="0">
                  <a:solidFill>
                    <a:srgbClr val="66667E"/>
                  </a:solidFill>
                  <a:latin typeface="+mn-lt"/>
                </a:endParaRPr>
              </a:p>
            </p:txBody>
          </p:sp>
        </p:grpSp>
        <p:sp>
          <p:nvSpPr>
            <p:cNvPr id="79" name="Rechteck 28">
              <a:extLst>
                <a:ext uri="{FF2B5EF4-FFF2-40B4-BE49-F238E27FC236}">
                  <a16:creationId xmlns:a16="http://schemas.microsoft.com/office/drawing/2014/main" id="{1A9A9952-8106-5B4E-B9C7-1960ED09A7DA}"/>
                </a:ext>
              </a:extLst>
            </p:cNvPr>
            <p:cNvSpPr/>
            <p:nvPr/>
          </p:nvSpPr>
          <p:spPr bwMode="gray">
            <a:xfrm>
              <a:off x="3091511" y="1800000"/>
              <a:ext cx="1404000" cy="830219"/>
            </a:xfrm>
            <a:prstGeom prst="rect">
              <a:avLst/>
            </a:prstGeom>
            <a:noFill/>
            <a:ln w="19050">
              <a:noFill/>
              <a:miter lim="800000"/>
            </a:ln>
            <a:effectLst/>
          </p:spPr>
          <p:txBody>
            <a:bodyPr wrap="square" lIns="143925" tIns="71963" rIns="0" bIns="72000" numCol="1" spcCol="72000" rtlCol="0" anchor="t" anchorCtr="0">
              <a:spAutoFit/>
            </a:bodyPr>
            <a:lstStyle/>
            <a:p>
              <a:pPr>
                <a:tabLst>
                  <a:tab pos="1255085" algn="r"/>
                </a:tabLst>
                <a:defRPr/>
              </a:pPr>
              <a:r>
                <a:rPr lang="en-US" altLang="de-DE" sz="1399" b="1" dirty="0">
                  <a:solidFill>
                    <a:schemeClr val="accent1"/>
                  </a:solidFill>
                  <a:ea typeface="Arial Unicode MS"/>
                </a:rPr>
                <a:t>Dolore</a:t>
              </a:r>
            </a:p>
            <a:p>
              <a:pPr marL="0" lvl="1">
                <a:spcBef>
                  <a:spcPts val="300"/>
                </a:spcBef>
                <a:buClr>
                  <a:srgbClr val="3C464B"/>
                </a:buClr>
                <a:defRPr/>
              </a:pPr>
              <a:r>
                <a:rPr lang="en-US" altLang="de-DE" sz="1399" dirty="0">
                  <a:solidFill>
                    <a:srgbClr val="66667E"/>
                  </a:solidFill>
                  <a:ea typeface="Arial Unicode MS"/>
                  <a:cs typeface="Arial" pitchFamily="34" charset="0"/>
                </a:rPr>
                <a:t>Ultricies mi euro senz</a:t>
              </a:r>
            </a:p>
          </p:txBody>
        </p:sp>
      </p:grpSp>
      <p:grpSp>
        <p:nvGrpSpPr>
          <p:cNvPr id="17" name="Group 16"/>
          <p:cNvGrpSpPr/>
          <p:nvPr/>
        </p:nvGrpSpPr>
        <p:grpSpPr>
          <a:xfrm>
            <a:off x="4740804" y="1775661"/>
            <a:ext cx="1502215" cy="1539958"/>
            <a:chOff x="4743273" y="1800000"/>
            <a:chExt cx="1502997" cy="1540760"/>
          </a:xfrm>
        </p:grpSpPr>
        <p:grpSp>
          <p:nvGrpSpPr>
            <p:cNvPr id="83" name="Group 82"/>
            <p:cNvGrpSpPr/>
            <p:nvPr/>
          </p:nvGrpSpPr>
          <p:grpSpPr>
            <a:xfrm>
              <a:off x="4743273" y="1800049"/>
              <a:ext cx="198000" cy="1540711"/>
              <a:chOff x="1241755" y="1800049"/>
              <a:chExt cx="198000" cy="1540711"/>
            </a:xfrm>
          </p:grpSpPr>
          <p:sp>
            <p:nvSpPr>
              <p:cNvPr id="85" name="Ellipse 26"/>
              <p:cNvSpPr>
                <a:spLocks noChangeAspect="1"/>
              </p:cNvSpPr>
              <p:nvPr/>
            </p:nvSpPr>
            <p:spPr bwMode="gray">
              <a:xfrm>
                <a:off x="1241755" y="3142760"/>
                <a:ext cx="198000" cy="198000"/>
              </a:xfrm>
              <a:prstGeom prst="ellipse">
                <a:avLst/>
              </a:prstGeom>
              <a:solidFill>
                <a:schemeClr val="bg1"/>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endParaRPr lang="en-US" sz="1599" dirty="0">
                  <a:solidFill>
                    <a:srgbClr val="66667E"/>
                  </a:solidFill>
                  <a:latin typeface="+mn-lt"/>
                </a:endParaRPr>
              </a:p>
            </p:txBody>
          </p:sp>
          <p:sp>
            <p:nvSpPr>
              <p:cNvPr id="86" name="Line 87"/>
              <p:cNvSpPr>
                <a:spLocks noChangeShapeType="1"/>
              </p:cNvSpPr>
              <p:nvPr/>
            </p:nvSpPr>
            <p:spPr bwMode="gray">
              <a:xfrm flipV="1">
                <a:off x="1340755" y="1800049"/>
                <a:ext cx="0" cy="1439949"/>
              </a:xfrm>
              <a:prstGeom prst="line">
                <a:avLst/>
              </a:prstGeom>
              <a:noFill/>
              <a:ln w="12700" cap="flat">
                <a:solidFill>
                  <a:srgbClr val="66667E"/>
                </a:solidFill>
                <a:miter lim="800000"/>
                <a:headEnd type="oval" w="lg" len="lg"/>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endParaRPr lang="en-US" sz="1799" dirty="0">
                  <a:solidFill>
                    <a:srgbClr val="66667E"/>
                  </a:solidFill>
                  <a:latin typeface="+mn-lt"/>
                </a:endParaRPr>
              </a:p>
            </p:txBody>
          </p:sp>
        </p:grpSp>
        <p:sp>
          <p:nvSpPr>
            <p:cNvPr id="84" name="Rechteck 28">
              <a:extLst>
                <a:ext uri="{FF2B5EF4-FFF2-40B4-BE49-F238E27FC236}">
                  <a16:creationId xmlns:a16="http://schemas.microsoft.com/office/drawing/2014/main" id="{1A9A9952-8106-5B4E-B9C7-1960ED09A7DA}"/>
                </a:ext>
              </a:extLst>
            </p:cNvPr>
            <p:cNvSpPr/>
            <p:nvPr/>
          </p:nvSpPr>
          <p:spPr bwMode="gray">
            <a:xfrm>
              <a:off x="4842270" y="1800000"/>
              <a:ext cx="1404000" cy="830219"/>
            </a:xfrm>
            <a:prstGeom prst="rect">
              <a:avLst/>
            </a:prstGeom>
            <a:noFill/>
            <a:ln w="19050">
              <a:noFill/>
              <a:miter lim="800000"/>
            </a:ln>
            <a:effectLst/>
          </p:spPr>
          <p:txBody>
            <a:bodyPr wrap="square" lIns="143925" tIns="71963" rIns="0" bIns="72000" numCol="1" spcCol="72000" rtlCol="0" anchor="t" anchorCtr="0">
              <a:spAutoFit/>
            </a:bodyPr>
            <a:lstStyle/>
            <a:p>
              <a:pPr>
                <a:tabLst>
                  <a:tab pos="1255085" algn="r"/>
                </a:tabLst>
                <a:defRPr/>
              </a:pPr>
              <a:r>
                <a:rPr lang="en-US" altLang="de-DE" sz="1399" b="1" dirty="0">
                  <a:solidFill>
                    <a:schemeClr val="accent1"/>
                  </a:solidFill>
                  <a:ea typeface="Arial Unicode MS"/>
                </a:rPr>
                <a:t>Conses</a:t>
              </a:r>
            </a:p>
            <a:p>
              <a:pPr marL="0" lvl="1">
                <a:spcBef>
                  <a:spcPts val="300"/>
                </a:spcBef>
                <a:buClr>
                  <a:srgbClr val="3C464B"/>
                </a:buClr>
                <a:defRPr/>
              </a:pPr>
              <a:r>
                <a:rPr lang="en-US" altLang="de-DE" sz="1399" dirty="0">
                  <a:solidFill>
                    <a:srgbClr val="66667E"/>
                  </a:solidFill>
                  <a:ea typeface="Arial Unicode MS"/>
                  <a:cs typeface="Arial" pitchFamily="34" charset="0"/>
                </a:rPr>
                <a:t>Imperdiet nec diet</a:t>
              </a:r>
            </a:p>
          </p:txBody>
        </p:sp>
      </p:grpSp>
      <p:grpSp>
        <p:nvGrpSpPr>
          <p:cNvPr id="16" name="Group 15"/>
          <p:cNvGrpSpPr/>
          <p:nvPr/>
        </p:nvGrpSpPr>
        <p:grpSpPr>
          <a:xfrm>
            <a:off x="6490652" y="1775661"/>
            <a:ext cx="1502215" cy="1539958"/>
            <a:chOff x="6494032" y="1800000"/>
            <a:chExt cx="1502997" cy="1540760"/>
          </a:xfrm>
        </p:grpSpPr>
        <p:grpSp>
          <p:nvGrpSpPr>
            <p:cNvPr id="88" name="Group 87"/>
            <p:cNvGrpSpPr/>
            <p:nvPr/>
          </p:nvGrpSpPr>
          <p:grpSpPr>
            <a:xfrm>
              <a:off x="6494032" y="1800049"/>
              <a:ext cx="198000" cy="1540711"/>
              <a:chOff x="1241755" y="1800049"/>
              <a:chExt cx="198000" cy="1540711"/>
            </a:xfrm>
          </p:grpSpPr>
          <p:sp>
            <p:nvSpPr>
              <p:cNvPr id="90" name="Ellipse 26"/>
              <p:cNvSpPr>
                <a:spLocks noChangeAspect="1"/>
              </p:cNvSpPr>
              <p:nvPr/>
            </p:nvSpPr>
            <p:spPr bwMode="gray">
              <a:xfrm>
                <a:off x="1241755" y="3142760"/>
                <a:ext cx="198000" cy="198000"/>
              </a:xfrm>
              <a:prstGeom prst="ellipse">
                <a:avLst/>
              </a:prstGeom>
              <a:solidFill>
                <a:schemeClr val="bg1"/>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endParaRPr lang="en-US" sz="1599" dirty="0">
                  <a:solidFill>
                    <a:srgbClr val="66667E"/>
                  </a:solidFill>
                  <a:latin typeface="+mn-lt"/>
                </a:endParaRPr>
              </a:p>
            </p:txBody>
          </p:sp>
          <p:sp>
            <p:nvSpPr>
              <p:cNvPr id="91" name="Line 87"/>
              <p:cNvSpPr>
                <a:spLocks noChangeShapeType="1"/>
              </p:cNvSpPr>
              <p:nvPr/>
            </p:nvSpPr>
            <p:spPr bwMode="gray">
              <a:xfrm flipV="1">
                <a:off x="1340755" y="1800049"/>
                <a:ext cx="0" cy="1439949"/>
              </a:xfrm>
              <a:prstGeom prst="line">
                <a:avLst/>
              </a:prstGeom>
              <a:noFill/>
              <a:ln w="12700" cap="flat">
                <a:solidFill>
                  <a:srgbClr val="66667E"/>
                </a:solidFill>
                <a:miter lim="800000"/>
                <a:headEnd type="oval" w="lg" len="lg"/>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endParaRPr lang="en-US" sz="1799" dirty="0">
                  <a:solidFill>
                    <a:srgbClr val="66667E"/>
                  </a:solidFill>
                  <a:latin typeface="+mn-lt"/>
                </a:endParaRPr>
              </a:p>
            </p:txBody>
          </p:sp>
        </p:grpSp>
        <p:sp>
          <p:nvSpPr>
            <p:cNvPr id="89" name="Rechteck 28">
              <a:extLst>
                <a:ext uri="{FF2B5EF4-FFF2-40B4-BE49-F238E27FC236}">
                  <a16:creationId xmlns:a16="http://schemas.microsoft.com/office/drawing/2014/main" id="{1A9A9952-8106-5B4E-B9C7-1960ED09A7DA}"/>
                </a:ext>
              </a:extLst>
            </p:cNvPr>
            <p:cNvSpPr/>
            <p:nvPr/>
          </p:nvSpPr>
          <p:spPr bwMode="gray">
            <a:xfrm>
              <a:off x="6593029" y="1800000"/>
              <a:ext cx="1404000" cy="817388"/>
            </a:xfrm>
            <a:prstGeom prst="rect">
              <a:avLst/>
            </a:prstGeom>
            <a:noFill/>
            <a:ln w="19050">
              <a:noFill/>
              <a:miter lim="800000"/>
            </a:ln>
            <a:effectLst/>
          </p:spPr>
          <p:txBody>
            <a:bodyPr wrap="square" lIns="143925" tIns="71963" rIns="0" bIns="72000" numCol="1" spcCol="72000" rtlCol="0" anchor="t" anchorCtr="0">
              <a:spAutoFit/>
            </a:bodyPr>
            <a:lstStyle/>
            <a:p>
              <a:pPr>
                <a:spcAft>
                  <a:spcPts val="200"/>
                </a:spcAft>
                <a:tabLst>
                  <a:tab pos="1255085" algn="r"/>
                </a:tabLst>
                <a:defRPr/>
              </a:pPr>
              <a:r>
                <a:rPr lang="en-US" altLang="de-DE" sz="1399" b="1" dirty="0">
                  <a:solidFill>
                    <a:schemeClr val="accent1"/>
                  </a:solidFill>
                  <a:ea typeface="Arial Unicode MS"/>
                </a:rPr>
                <a:t>Ultricies</a:t>
              </a:r>
            </a:p>
            <a:p>
              <a:pPr marL="0" lvl="1">
                <a:buClr>
                  <a:srgbClr val="3C464B"/>
                </a:buClr>
                <a:defRPr/>
              </a:pPr>
              <a:r>
                <a:rPr lang="en-US" altLang="de-DE" sz="1399" dirty="0">
                  <a:solidFill>
                    <a:srgbClr val="66667E"/>
                  </a:solidFill>
                  <a:ea typeface="Arial Unicode MS"/>
                  <a:cs typeface="Arial" pitchFamily="34" charset="0"/>
                </a:rPr>
                <a:t>Ipsum impe diet et dis</a:t>
              </a:r>
            </a:p>
          </p:txBody>
        </p:sp>
      </p:grpSp>
      <p:grpSp>
        <p:nvGrpSpPr>
          <p:cNvPr id="13" name="Group 12"/>
          <p:cNvGrpSpPr/>
          <p:nvPr/>
        </p:nvGrpSpPr>
        <p:grpSpPr>
          <a:xfrm>
            <a:off x="8240499" y="1775661"/>
            <a:ext cx="1502215" cy="1539958"/>
            <a:chOff x="8244791" y="1800000"/>
            <a:chExt cx="1502997" cy="1540760"/>
          </a:xfrm>
        </p:grpSpPr>
        <p:grpSp>
          <p:nvGrpSpPr>
            <p:cNvPr id="93" name="Group 92"/>
            <p:cNvGrpSpPr/>
            <p:nvPr/>
          </p:nvGrpSpPr>
          <p:grpSpPr>
            <a:xfrm>
              <a:off x="8244791" y="1800049"/>
              <a:ext cx="198000" cy="1540711"/>
              <a:chOff x="1241755" y="1800049"/>
              <a:chExt cx="198000" cy="1540711"/>
            </a:xfrm>
          </p:grpSpPr>
          <p:sp>
            <p:nvSpPr>
              <p:cNvPr id="95" name="Ellipse 26"/>
              <p:cNvSpPr>
                <a:spLocks noChangeAspect="1"/>
              </p:cNvSpPr>
              <p:nvPr/>
            </p:nvSpPr>
            <p:spPr bwMode="gray">
              <a:xfrm>
                <a:off x="1241755" y="3142760"/>
                <a:ext cx="198000" cy="198000"/>
              </a:xfrm>
              <a:prstGeom prst="ellipse">
                <a:avLst/>
              </a:prstGeom>
              <a:solidFill>
                <a:schemeClr val="bg1"/>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endParaRPr lang="en-US" sz="1599" dirty="0">
                  <a:solidFill>
                    <a:srgbClr val="66667E"/>
                  </a:solidFill>
                  <a:latin typeface="+mn-lt"/>
                </a:endParaRPr>
              </a:p>
            </p:txBody>
          </p:sp>
          <p:sp>
            <p:nvSpPr>
              <p:cNvPr id="96" name="Line 87"/>
              <p:cNvSpPr>
                <a:spLocks noChangeShapeType="1"/>
              </p:cNvSpPr>
              <p:nvPr/>
            </p:nvSpPr>
            <p:spPr bwMode="gray">
              <a:xfrm flipV="1">
                <a:off x="1340755" y="1800049"/>
                <a:ext cx="0" cy="1439949"/>
              </a:xfrm>
              <a:prstGeom prst="line">
                <a:avLst/>
              </a:prstGeom>
              <a:noFill/>
              <a:ln w="12700" cap="flat">
                <a:solidFill>
                  <a:srgbClr val="66667E"/>
                </a:solidFill>
                <a:miter lim="800000"/>
                <a:headEnd type="oval" w="lg" len="lg"/>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endParaRPr lang="en-US" sz="1799" dirty="0">
                  <a:solidFill>
                    <a:srgbClr val="66667E"/>
                  </a:solidFill>
                  <a:latin typeface="+mn-lt"/>
                </a:endParaRPr>
              </a:p>
            </p:txBody>
          </p:sp>
        </p:grpSp>
        <p:sp>
          <p:nvSpPr>
            <p:cNvPr id="94" name="Rechteck 28">
              <a:extLst>
                <a:ext uri="{FF2B5EF4-FFF2-40B4-BE49-F238E27FC236}">
                  <a16:creationId xmlns:a16="http://schemas.microsoft.com/office/drawing/2014/main" id="{1A9A9952-8106-5B4E-B9C7-1960ED09A7DA}"/>
                </a:ext>
              </a:extLst>
            </p:cNvPr>
            <p:cNvSpPr/>
            <p:nvPr/>
          </p:nvSpPr>
          <p:spPr bwMode="gray">
            <a:xfrm>
              <a:off x="8343788" y="1800000"/>
              <a:ext cx="1404000" cy="830219"/>
            </a:xfrm>
            <a:prstGeom prst="rect">
              <a:avLst/>
            </a:prstGeom>
            <a:noFill/>
            <a:ln w="19050">
              <a:noFill/>
              <a:miter lim="800000"/>
            </a:ln>
            <a:effectLst/>
          </p:spPr>
          <p:txBody>
            <a:bodyPr wrap="square" lIns="143925" tIns="71963" rIns="0" bIns="72000" numCol="1" spcCol="72000" rtlCol="0" anchor="t" anchorCtr="0">
              <a:spAutoFit/>
            </a:bodyPr>
            <a:lstStyle/>
            <a:p>
              <a:pPr>
                <a:tabLst>
                  <a:tab pos="1255085" algn="r"/>
                </a:tabLst>
                <a:defRPr/>
              </a:pPr>
              <a:r>
                <a:rPr lang="en-US" altLang="de-DE" sz="1399" b="1" dirty="0">
                  <a:solidFill>
                    <a:schemeClr val="accent1"/>
                  </a:solidFill>
                  <a:ea typeface="Arial Unicode MS"/>
                </a:rPr>
                <a:t>Dolore</a:t>
              </a:r>
            </a:p>
            <a:p>
              <a:pPr marL="0" lvl="1">
                <a:spcBef>
                  <a:spcPts val="300"/>
                </a:spcBef>
                <a:buClr>
                  <a:srgbClr val="3C464B"/>
                </a:buClr>
                <a:defRPr/>
              </a:pPr>
              <a:r>
                <a:rPr lang="en-US" altLang="de-DE" sz="1399" dirty="0">
                  <a:solidFill>
                    <a:srgbClr val="66667E"/>
                  </a:solidFill>
                  <a:ea typeface="Arial Unicode MS"/>
                  <a:cs typeface="Arial" pitchFamily="34" charset="0"/>
                </a:rPr>
                <a:t>Ultricies mi euro senz</a:t>
              </a:r>
            </a:p>
          </p:txBody>
        </p:sp>
      </p:grpSp>
      <p:grpSp>
        <p:nvGrpSpPr>
          <p:cNvPr id="14" name="Group 13"/>
          <p:cNvGrpSpPr/>
          <p:nvPr/>
        </p:nvGrpSpPr>
        <p:grpSpPr>
          <a:xfrm>
            <a:off x="9990349" y="1775709"/>
            <a:ext cx="1502213" cy="1539910"/>
            <a:chOff x="9995552" y="1800048"/>
            <a:chExt cx="1502995" cy="1540712"/>
          </a:xfrm>
        </p:grpSpPr>
        <p:sp>
          <p:nvSpPr>
            <p:cNvPr id="99" name="Rechteck 28">
              <a:extLst>
                <a:ext uri="{FF2B5EF4-FFF2-40B4-BE49-F238E27FC236}">
                  <a16:creationId xmlns:a16="http://schemas.microsoft.com/office/drawing/2014/main" id="{1A9A9952-8106-5B4E-B9C7-1960ED09A7DA}"/>
                </a:ext>
              </a:extLst>
            </p:cNvPr>
            <p:cNvSpPr/>
            <p:nvPr/>
          </p:nvSpPr>
          <p:spPr bwMode="gray">
            <a:xfrm>
              <a:off x="10094547" y="1800048"/>
              <a:ext cx="1404000" cy="900000"/>
            </a:xfrm>
            <a:prstGeom prst="rect">
              <a:avLst/>
            </a:prstGeom>
            <a:solidFill>
              <a:srgbClr val="00646E"/>
            </a:solidFill>
            <a:ln w="19050">
              <a:noFill/>
              <a:miter lim="800000"/>
            </a:ln>
            <a:effectLst/>
          </p:spPr>
          <p:txBody>
            <a:bodyPr wrap="square" lIns="143925" tIns="107944" rIns="71963" bIns="71963" numCol="1" spcCol="72000" rtlCol="0" anchor="t" anchorCtr="0">
              <a:noAutofit/>
            </a:bodyPr>
            <a:lstStyle/>
            <a:p>
              <a:pPr>
                <a:tabLst>
                  <a:tab pos="1255085" algn="r"/>
                </a:tabLst>
                <a:defRPr/>
              </a:pPr>
              <a:r>
                <a:rPr lang="en-US" altLang="de-DE" sz="1399" b="1" dirty="0">
                  <a:solidFill>
                    <a:schemeClr val="bg1"/>
                  </a:solidFill>
                  <a:ea typeface="Arial Unicode MS"/>
                </a:rPr>
                <a:t>Dolore</a:t>
              </a:r>
            </a:p>
            <a:p>
              <a:pPr marL="0" lvl="1">
                <a:spcBef>
                  <a:spcPts val="300"/>
                </a:spcBef>
                <a:buClr>
                  <a:srgbClr val="3C464B"/>
                </a:buClr>
                <a:defRPr/>
              </a:pPr>
              <a:r>
                <a:rPr lang="en-US" altLang="de-DE" sz="1399" dirty="0">
                  <a:solidFill>
                    <a:schemeClr val="bg1"/>
                  </a:solidFill>
                  <a:ea typeface="Arial Unicode MS"/>
                  <a:cs typeface="Arial" pitchFamily="34" charset="0"/>
                </a:rPr>
                <a:t>Ultricies mi euro senz</a:t>
              </a:r>
            </a:p>
          </p:txBody>
        </p:sp>
        <p:grpSp>
          <p:nvGrpSpPr>
            <p:cNvPr id="98" name="Group 97"/>
            <p:cNvGrpSpPr/>
            <p:nvPr/>
          </p:nvGrpSpPr>
          <p:grpSpPr>
            <a:xfrm>
              <a:off x="9995552" y="1800049"/>
              <a:ext cx="198000" cy="1540711"/>
              <a:chOff x="1241755" y="1800049"/>
              <a:chExt cx="198000" cy="1540711"/>
            </a:xfrm>
          </p:grpSpPr>
          <p:sp>
            <p:nvSpPr>
              <p:cNvPr id="100" name="Ellipse 26"/>
              <p:cNvSpPr>
                <a:spLocks noChangeAspect="1"/>
              </p:cNvSpPr>
              <p:nvPr/>
            </p:nvSpPr>
            <p:spPr bwMode="gray">
              <a:xfrm>
                <a:off x="1241755" y="3142760"/>
                <a:ext cx="198000" cy="198000"/>
              </a:xfrm>
              <a:prstGeom prst="ellipse">
                <a:avLst/>
              </a:prstGeom>
              <a:solidFill>
                <a:schemeClr val="bg1"/>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endParaRPr lang="en-US" sz="1599" dirty="0">
                  <a:latin typeface="+mn-lt"/>
                </a:endParaRPr>
              </a:p>
            </p:txBody>
          </p:sp>
          <p:sp>
            <p:nvSpPr>
              <p:cNvPr id="101" name="Line 87"/>
              <p:cNvSpPr>
                <a:spLocks noChangeShapeType="1"/>
              </p:cNvSpPr>
              <p:nvPr/>
            </p:nvSpPr>
            <p:spPr bwMode="gray">
              <a:xfrm flipV="1">
                <a:off x="1340749" y="1800049"/>
                <a:ext cx="0" cy="1439949"/>
              </a:xfrm>
              <a:prstGeom prst="line">
                <a:avLst/>
              </a:prstGeom>
              <a:noFill/>
              <a:ln w="12700" cap="flat">
                <a:solidFill>
                  <a:srgbClr val="66667E"/>
                </a:solidFill>
                <a:miter lim="800000"/>
                <a:headEnd type="oval" w="lg" len="lg"/>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endParaRPr lang="en-US" sz="1799" dirty="0">
                  <a:latin typeface="+mn-lt"/>
                </a:endParaRPr>
              </a:p>
            </p:txBody>
          </p:sp>
        </p:grpSp>
      </p:grpSp>
      <p:grpSp>
        <p:nvGrpSpPr>
          <p:cNvPr id="104" name="Group 103"/>
          <p:cNvGrpSpPr/>
          <p:nvPr/>
        </p:nvGrpSpPr>
        <p:grpSpPr>
          <a:xfrm>
            <a:off x="2919322" y="3833789"/>
            <a:ext cx="1034461" cy="1324110"/>
            <a:chOff x="806400" y="3859200"/>
            <a:chExt cx="1035000" cy="1324800"/>
          </a:xfrm>
        </p:grpSpPr>
        <p:sp>
          <p:nvSpPr>
            <p:cNvPr id="105" name="Rechteck 28">
              <a:extLst>
                <a:ext uri="{FF2B5EF4-FFF2-40B4-BE49-F238E27FC236}">
                  <a16:creationId xmlns:a16="http://schemas.microsoft.com/office/drawing/2014/main" id="{F9E8C198-C74A-4343-A698-857ADDF76A3B}"/>
                </a:ext>
              </a:extLst>
            </p:cNvPr>
            <p:cNvSpPr/>
            <p:nvPr/>
          </p:nvSpPr>
          <p:spPr bwMode="gray">
            <a:xfrm>
              <a:off x="905400" y="4353781"/>
              <a:ext cx="936000" cy="830219"/>
            </a:xfrm>
            <a:prstGeom prst="rect">
              <a:avLst/>
            </a:prstGeom>
            <a:noFill/>
            <a:ln w="19050">
              <a:noFill/>
              <a:miter lim="800000"/>
            </a:ln>
            <a:effectLst/>
          </p:spPr>
          <p:txBody>
            <a:bodyPr wrap="square" lIns="143925" tIns="72000" rIns="0" bIns="71963" numCol="1" spcCol="72000" rtlCol="0" anchor="b" anchorCtr="0">
              <a:spAutoFit/>
            </a:bodyPr>
            <a:lstStyle/>
            <a:p>
              <a:pPr>
                <a:defRPr/>
              </a:pPr>
              <a:r>
                <a:rPr lang="en-US" altLang="de-DE" sz="1399" b="1" dirty="0">
                  <a:solidFill>
                    <a:schemeClr val="accent1"/>
                  </a:solidFill>
                  <a:ea typeface="Arial Unicode MS"/>
                </a:rPr>
                <a:t>Conses</a:t>
              </a:r>
            </a:p>
            <a:p>
              <a:pPr marL="0" lvl="1">
                <a:spcBef>
                  <a:spcPts val="300"/>
                </a:spcBef>
                <a:buClr>
                  <a:srgbClr val="3C464B"/>
                </a:buClr>
                <a:defRPr/>
              </a:pPr>
              <a:r>
                <a:rPr lang="en-US" altLang="de-DE" sz="1399" dirty="0">
                  <a:solidFill>
                    <a:srgbClr val="66667E"/>
                  </a:solidFill>
                  <a:ea typeface="Arial Unicode MS"/>
                  <a:cs typeface="Arial" pitchFamily="34" charset="0"/>
                </a:rPr>
                <a:t>Imper</a:t>
              </a:r>
              <a:br>
                <a:rPr lang="en-US" altLang="de-DE" sz="1399" dirty="0">
                  <a:solidFill>
                    <a:srgbClr val="66667E"/>
                  </a:solidFill>
                  <a:ea typeface="Arial Unicode MS"/>
                  <a:cs typeface="Arial" pitchFamily="34" charset="0"/>
                </a:rPr>
              </a:br>
              <a:r>
                <a:rPr lang="en-US" altLang="de-DE" sz="1399" dirty="0">
                  <a:solidFill>
                    <a:srgbClr val="66667E"/>
                  </a:solidFill>
                  <a:ea typeface="Arial Unicode MS"/>
                  <a:cs typeface="Arial" pitchFamily="34" charset="0"/>
                </a:rPr>
                <a:t>diet diet</a:t>
              </a:r>
            </a:p>
          </p:txBody>
        </p:sp>
        <p:grpSp>
          <p:nvGrpSpPr>
            <p:cNvPr id="106" name="Gruppieren 19">
              <a:extLst>
                <a:ext uri="{FF2B5EF4-FFF2-40B4-BE49-F238E27FC236}">
                  <a16:creationId xmlns:a16="http://schemas.microsoft.com/office/drawing/2014/main" id="{D7F48A4A-8844-6E4F-AE8B-94775BE48541}"/>
                </a:ext>
              </a:extLst>
            </p:cNvPr>
            <p:cNvGrpSpPr/>
            <p:nvPr/>
          </p:nvGrpSpPr>
          <p:grpSpPr>
            <a:xfrm>
              <a:off x="806400" y="3859200"/>
              <a:ext cx="198000" cy="1324800"/>
              <a:chOff x="806400" y="3681400"/>
              <a:chExt cx="198000" cy="1324800"/>
            </a:xfrm>
          </p:grpSpPr>
          <p:sp>
            <p:nvSpPr>
              <p:cNvPr id="107" name="Ellipse 26">
                <a:extLst>
                  <a:ext uri="{FF2B5EF4-FFF2-40B4-BE49-F238E27FC236}">
                    <a16:creationId xmlns:a16="http://schemas.microsoft.com/office/drawing/2014/main" id="{B31F6662-5EDE-AB47-8093-BE33FFBA5677}"/>
                  </a:ext>
                </a:extLst>
              </p:cNvPr>
              <p:cNvSpPr>
                <a:spLocks noChangeAspect="1"/>
              </p:cNvSpPr>
              <p:nvPr/>
            </p:nvSpPr>
            <p:spPr bwMode="gray">
              <a:xfrm>
                <a:off x="806400" y="3681400"/>
                <a:ext cx="198000" cy="198000"/>
              </a:xfrm>
              <a:prstGeom prst="ellipse">
                <a:avLst/>
              </a:prstGeom>
              <a:solidFill>
                <a:schemeClr val="bg1"/>
              </a:solidFill>
              <a:ln w="12700" cap="flat" cmpd="sng" algn="ctr">
                <a:noFill/>
                <a:prstDash val="solid"/>
                <a:round/>
                <a:headEnd type="none" w="med" len="med"/>
                <a:tailEnd type="none" w="med" len="med"/>
              </a:ln>
              <a:effectLst/>
            </p:spPr>
            <p:txBody>
              <a:bodyPr vert="horz" wrap="none" lIns="89953" tIns="46776" rIns="89953" bIns="46776"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endParaRPr lang="en-US" sz="1599" dirty="0">
                  <a:solidFill>
                    <a:srgbClr val="66667E"/>
                  </a:solidFill>
                  <a:latin typeface="+mn-lt"/>
                </a:endParaRPr>
              </a:p>
            </p:txBody>
          </p:sp>
          <p:sp>
            <p:nvSpPr>
              <p:cNvPr id="108" name="Line 87">
                <a:extLst>
                  <a:ext uri="{FF2B5EF4-FFF2-40B4-BE49-F238E27FC236}">
                    <a16:creationId xmlns:a16="http://schemas.microsoft.com/office/drawing/2014/main" id="{7B0AF506-607C-9449-A772-A582112D1727}"/>
                  </a:ext>
                </a:extLst>
              </p:cNvPr>
              <p:cNvSpPr>
                <a:spLocks noChangeShapeType="1"/>
              </p:cNvSpPr>
              <p:nvPr/>
            </p:nvSpPr>
            <p:spPr bwMode="gray">
              <a:xfrm flipV="1">
                <a:off x="905400" y="3782200"/>
                <a:ext cx="0" cy="1224000"/>
              </a:xfrm>
              <a:prstGeom prst="line">
                <a:avLst/>
              </a:prstGeom>
              <a:noFill/>
              <a:ln w="12700" cap="flat">
                <a:solidFill>
                  <a:srgbClr val="66667E"/>
                </a:solidFill>
                <a:miter lim="800000"/>
                <a:headEnd type="none" w="lg" len="lg"/>
                <a:tailEnd type="oval"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9953" tIns="46776" rIns="89953" bIns="46776"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endParaRPr lang="en-US" sz="1799" dirty="0">
                  <a:solidFill>
                    <a:srgbClr val="66667E"/>
                  </a:solidFill>
                  <a:latin typeface="+mn-lt"/>
                </a:endParaRPr>
              </a:p>
            </p:txBody>
          </p:sp>
        </p:grpSp>
      </p:grpSp>
      <p:grpSp>
        <p:nvGrpSpPr>
          <p:cNvPr id="109" name="Group 108"/>
          <p:cNvGrpSpPr/>
          <p:nvPr/>
        </p:nvGrpSpPr>
        <p:grpSpPr>
          <a:xfrm>
            <a:off x="5032663" y="3833789"/>
            <a:ext cx="1034461" cy="1324110"/>
            <a:chOff x="806400" y="3859200"/>
            <a:chExt cx="1035000" cy="1324800"/>
          </a:xfrm>
        </p:grpSpPr>
        <p:sp>
          <p:nvSpPr>
            <p:cNvPr id="110" name="Rechteck 28">
              <a:extLst>
                <a:ext uri="{FF2B5EF4-FFF2-40B4-BE49-F238E27FC236}">
                  <a16:creationId xmlns:a16="http://schemas.microsoft.com/office/drawing/2014/main" id="{F9E8C198-C74A-4343-A698-857ADDF76A3B}"/>
                </a:ext>
              </a:extLst>
            </p:cNvPr>
            <p:cNvSpPr/>
            <p:nvPr/>
          </p:nvSpPr>
          <p:spPr bwMode="gray">
            <a:xfrm>
              <a:off x="905400" y="4353781"/>
              <a:ext cx="936000" cy="830219"/>
            </a:xfrm>
            <a:prstGeom prst="rect">
              <a:avLst/>
            </a:prstGeom>
            <a:noFill/>
            <a:ln w="19050">
              <a:noFill/>
              <a:miter lim="800000"/>
            </a:ln>
            <a:effectLst/>
          </p:spPr>
          <p:txBody>
            <a:bodyPr wrap="square" lIns="143925" tIns="72000" rIns="0" bIns="71963" numCol="1" spcCol="72000" rtlCol="0" anchor="b" anchorCtr="0">
              <a:spAutoFit/>
            </a:bodyPr>
            <a:lstStyle/>
            <a:p>
              <a:pPr>
                <a:defRPr/>
              </a:pPr>
              <a:r>
                <a:rPr lang="en-US" altLang="de-DE" sz="1399" b="1" dirty="0">
                  <a:solidFill>
                    <a:schemeClr val="accent1"/>
                  </a:solidFill>
                  <a:ea typeface="Arial Unicode MS"/>
                </a:rPr>
                <a:t>Dolore</a:t>
              </a:r>
            </a:p>
            <a:p>
              <a:pPr marL="0" lvl="1">
                <a:spcBef>
                  <a:spcPts val="300"/>
                </a:spcBef>
                <a:buClr>
                  <a:srgbClr val="3C464B"/>
                </a:buClr>
                <a:defRPr/>
              </a:pPr>
              <a:r>
                <a:rPr lang="en-US" altLang="de-DE" sz="1399" dirty="0">
                  <a:solidFill>
                    <a:srgbClr val="66667E"/>
                  </a:solidFill>
                  <a:ea typeface="Arial Unicode MS"/>
                  <a:cs typeface="Arial" pitchFamily="34" charset="0"/>
                </a:rPr>
                <a:t>Ultricies mi senz</a:t>
              </a:r>
            </a:p>
          </p:txBody>
        </p:sp>
        <p:grpSp>
          <p:nvGrpSpPr>
            <p:cNvPr id="111" name="Gruppieren 19">
              <a:extLst>
                <a:ext uri="{FF2B5EF4-FFF2-40B4-BE49-F238E27FC236}">
                  <a16:creationId xmlns:a16="http://schemas.microsoft.com/office/drawing/2014/main" id="{D7F48A4A-8844-6E4F-AE8B-94775BE48541}"/>
                </a:ext>
              </a:extLst>
            </p:cNvPr>
            <p:cNvGrpSpPr/>
            <p:nvPr/>
          </p:nvGrpSpPr>
          <p:grpSpPr>
            <a:xfrm>
              <a:off x="806400" y="3859200"/>
              <a:ext cx="198000" cy="1324800"/>
              <a:chOff x="806400" y="3681400"/>
              <a:chExt cx="198000" cy="1324800"/>
            </a:xfrm>
          </p:grpSpPr>
          <p:sp>
            <p:nvSpPr>
              <p:cNvPr id="112" name="Ellipse 26">
                <a:extLst>
                  <a:ext uri="{FF2B5EF4-FFF2-40B4-BE49-F238E27FC236}">
                    <a16:creationId xmlns:a16="http://schemas.microsoft.com/office/drawing/2014/main" id="{B31F6662-5EDE-AB47-8093-BE33FFBA5677}"/>
                  </a:ext>
                </a:extLst>
              </p:cNvPr>
              <p:cNvSpPr>
                <a:spLocks noChangeAspect="1"/>
              </p:cNvSpPr>
              <p:nvPr/>
            </p:nvSpPr>
            <p:spPr bwMode="gray">
              <a:xfrm>
                <a:off x="806400" y="3681400"/>
                <a:ext cx="198000" cy="198000"/>
              </a:xfrm>
              <a:prstGeom prst="ellipse">
                <a:avLst/>
              </a:prstGeom>
              <a:solidFill>
                <a:schemeClr val="bg1"/>
              </a:solidFill>
              <a:ln w="12700" cap="flat" cmpd="sng" algn="ctr">
                <a:noFill/>
                <a:prstDash val="solid"/>
                <a:round/>
                <a:headEnd type="none" w="med" len="med"/>
                <a:tailEnd type="none" w="med" len="med"/>
              </a:ln>
              <a:effectLst/>
            </p:spPr>
            <p:txBody>
              <a:bodyPr vert="horz" wrap="none" lIns="89953" tIns="46776" rIns="89953" bIns="46776"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endParaRPr lang="en-US" sz="1599" dirty="0">
                  <a:solidFill>
                    <a:srgbClr val="66667E"/>
                  </a:solidFill>
                  <a:latin typeface="+mn-lt"/>
                </a:endParaRPr>
              </a:p>
            </p:txBody>
          </p:sp>
          <p:sp>
            <p:nvSpPr>
              <p:cNvPr id="113" name="Line 87">
                <a:extLst>
                  <a:ext uri="{FF2B5EF4-FFF2-40B4-BE49-F238E27FC236}">
                    <a16:creationId xmlns:a16="http://schemas.microsoft.com/office/drawing/2014/main" id="{7B0AF506-607C-9449-A772-A582112D1727}"/>
                  </a:ext>
                </a:extLst>
              </p:cNvPr>
              <p:cNvSpPr>
                <a:spLocks noChangeShapeType="1"/>
              </p:cNvSpPr>
              <p:nvPr/>
            </p:nvSpPr>
            <p:spPr bwMode="gray">
              <a:xfrm flipV="1">
                <a:off x="905400" y="3782200"/>
                <a:ext cx="0" cy="1224000"/>
              </a:xfrm>
              <a:prstGeom prst="line">
                <a:avLst/>
              </a:prstGeom>
              <a:noFill/>
              <a:ln w="12700" cap="flat">
                <a:solidFill>
                  <a:srgbClr val="66667E"/>
                </a:solidFill>
                <a:miter lim="800000"/>
                <a:headEnd type="none" w="lg" len="lg"/>
                <a:tailEnd type="oval"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9953" tIns="46776" rIns="89953" bIns="46776"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endParaRPr lang="en-US" sz="1799" dirty="0">
                  <a:solidFill>
                    <a:srgbClr val="66667E"/>
                  </a:solidFill>
                  <a:latin typeface="+mn-lt"/>
                </a:endParaRPr>
              </a:p>
            </p:txBody>
          </p:sp>
        </p:grpSp>
      </p:grpSp>
      <p:grpSp>
        <p:nvGrpSpPr>
          <p:cNvPr id="114" name="Group 113"/>
          <p:cNvGrpSpPr/>
          <p:nvPr/>
        </p:nvGrpSpPr>
        <p:grpSpPr>
          <a:xfrm>
            <a:off x="7146005" y="3833789"/>
            <a:ext cx="1034460" cy="1324110"/>
            <a:chOff x="806400" y="3859200"/>
            <a:chExt cx="1034999" cy="1324800"/>
          </a:xfrm>
        </p:grpSpPr>
        <p:sp>
          <p:nvSpPr>
            <p:cNvPr id="115" name="Rechteck 28">
              <a:extLst>
                <a:ext uri="{FF2B5EF4-FFF2-40B4-BE49-F238E27FC236}">
                  <a16:creationId xmlns:a16="http://schemas.microsoft.com/office/drawing/2014/main" id="{F9E8C198-C74A-4343-A698-857ADDF76A3B}"/>
                </a:ext>
              </a:extLst>
            </p:cNvPr>
            <p:cNvSpPr/>
            <p:nvPr/>
          </p:nvSpPr>
          <p:spPr bwMode="gray">
            <a:xfrm>
              <a:off x="905399" y="4353781"/>
              <a:ext cx="936000" cy="830219"/>
            </a:xfrm>
            <a:prstGeom prst="rect">
              <a:avLst/>
            </a:prstGeom>
            <a:noFill/>
            <a:ln w="19050">
              <a:noFill/>
              <a:miter lim="800000"/>
            </a:ln>
            <a:effectLst/>
          </p:spPr>
          <p:txBody>
            <a:bodyPr wrap="square" lIns="143925" tIns="72000" rIns="0" bIns="71963" numCol="1" spcCol="72000" rtlCol="0" anchor="b" anchorCtr="0">
              <a:spAutoFit/>
            </a:bodyPr>
            <a:lstStyle/>
            <a:p>
              <a:pPr>
                <a:defRPr/>
              </a:pPr>
              <a:r>
                <a:rPr lang="en-US" altLang="de-DE" sz="1399" b="1" dirty="0">
                  <a:solidFill>
                    <a:schemeClr val="accent1"/>
                  </a:solidFill>
                  <a:ea typeface="Arial Unicode MS"/>
                </a:rPr>
                <a:t>Conses</a:t>
              </a:r>
            </a:p>
            <a:p>
              <a:pPr marL="0" lvl="1">
                <a:spcBef>
                  <a:spcPts val="300"/>
                </a:spcBef>
                <a:buClr>
                  <a:srgbClr val="3C464B"/>
                </a:buClr>
                <a:defRPr/>
              </a:pPr>
              <a:r>
                <a:rPr lang="en-US" altLang="de-DE" sz="1399" dirty="0">
                  <a:solidFill>
                    <a:srgbClr val="66667E"/>
                  </a:solidFill>
                  <a:ea typeface="Arial Unicode MS"/>
                  <a:cs typeface="Arial" pitchFamily="34" charset="0"/>
                </a:rPr>
                <a:t>Imper</a:t>
              </a:r>
              <a:br>
                <a:rPr lang="en-US" altLang="de-DE" sz="1399" dirty="0">
                  <a:solidFill>
                    <a:srgbClr val="66667E"/>
                  </a:solidFill>
                  <a:ea typeface="Arial Unicode MS"/>
                  <a:cs typeface="Arial" pitchFamily="34" charset="0"/>
                </a:rPr>
              </a:br>
              <a:r>
                <a:rPr lang="en-US" altLang="de-DE" sz="1399" dirty="0">
                  <a:solidFill>
                    <a:srgbClr val="66667E"/>
                  </a:solidFill>
                  <a:ea typeface="Arial Unicode MS"/>
                  <a:cs typeface="Arial" pitchFamily="34" charset="0"/>
                </a:rPr>
                <a:t>diet diet</a:t>
              </a:r>
            </a:p>
          </p:txBody>
        </p:sp>
        <p:grpSp>
          <p:nvGrpSpPr>
            <p:cNvPr id="116" name="Gruppieren 19">
              <a:extLst>
                <a:ext uri="{FF2B5EF4-FFF2-40B4-BE49-F238E27FC236}">
                  <a16:creationId xmlns:a16="http://schemas.microsoft.com/office/drawing/2014/main" id="{D7F48A4A-8844-6E4F-AE8B-94775BE48541}"/>
                </a:ext>
              </a:extLst>
            </p:cNvPr>
            <p:cNvGrpSpPr/>
            <p:nvPr/>
          </p:nvGrpSpPr>
          <p:grpSpPr>
            <a:xfrm>
              <a:off x="806400" y="3859200"/>
              <a:ext cx="198000" cy="1324800"/>
              <a:chOff x="806400" y="3681400"/>
              <a:chExt cx="198000" cy="1324800"/>
            </a:xfrm>
          </p:grpSpPr>
          <p:sp>
            <p:nvSpPr>
              <p:cNvPr id="117" name="Ellipse 26">
                <a:extLst>
                  <a:ext uri="{FF2B5EF4-FFF2-40B4-BE49-F238E27FC236}">
                    <a16:creationId xmlns:a16="http://schemas.microsoft.com/office/drawing/2014/main" id="{B31F6662-5EDE-AB47-8093-BE33FFBA5677}"/>
                  </a:ext>
                </a:extLst>
              </p:cNvPr>
              <p:cNvSpPr>
                <a:spLocks noChangeAspect="1"/>
              </p:cNvSpPr>
              <p:nvPr/>
            </p:nvSpPr>
            <p:spPr bwMode="gray">
              <a:xfrm>
                <a:off x="806400" y="3681400"/>
                <a:ext cx="198000" cy="198000"/>
              </a:xfrm>
              <a:prstGeom prst="ellipse">
                <a:avLst/>
              </a:prstGeom>
              <a:solidFill>
                <a:schemeClr val="bg1"/>
              </a:solidFill>
              <a:ln w="12700" cap="flat" cmpd="sng" algn="ctr">
                <a:noFill/>
                <a:prstDash val="solid"/>
                <a:round/>
                <a:headEnd type="none" w="med" len="med"/>
                <a:tailEnd type="none" w="med" len="med"/>
              </a:ln>
              <a:effectLst/>
            </p:spPr>
            <p:txBody>
              <a:bodyPr vert="horz" wrap="none" lIns="89953" tIns="46776" rIns="89953" bIns="46776"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endParaRPr lang="en-US" sz="1599" dirty="0">
                  <a:solidFill>
                    <a:srgbClr val="66667E"/>
                  </a:solidFill>
                  <a:latin typeface="+mn-lt"/>
                </a:endParaRPr>
              </a:p>
            </p:txBody>
          </p:sp>
          <p:sp>
            <p:nvSpPr>
              <p:cNvPr id="118" name="Line 87">
                <a:extLst>
                  <a:ext uri="{FF2B5EF4-FFF2-40B4-BE49-F238E27FC236}">
                    <a16:creationId xmlns:a16="http://schemas.microsoft.com/office/drawing/2014/main" id="{7B0AF506-607C-9449-A772-A582112D1727}"/>
                  </a:ext>
                </a:extLst>
              </p:cNvPr>
              <p:cNvSpPr>
                <a:spLocks noChangeShapeType="1"/>
              </p:cNvSpPr>
              <p:nvPr/>
            </p:nvSpPr>
            <p:spPr bwMode="gray">
              <a:xfrm flipV="1">
                <a:off x="905400" y="3782200"/>
                <a:ext cx="0" cy="1224000"/>
              </a:xfrm>
              <a:prstGeom prst="line">
                <a:avLst/>
              </a:prstGeom>
              <a:noFill/>
              <a:ln w="12700" cap="flat">
                <a:solidFill>
                  <a:srgbClr val="66667E"/>
                </a:solidFill>
                <a:miter lim="800000"/>
                <a:headEnd type="none" w="lg" len="lg"/>
                <a:tailEnd type="oval"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9953" tIns="46776" rIns="89953" bIns="46776"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endParaRPr lang="en-US" sz="1799" dirty="0">
                  <a:solidFill>
                    <a:srgbClr val="66667E"/>
                  </a:solidFill>
                  <a:latin typeface="+mn-lt"/>
                </a:endParaRPr>
              </a:p>
            </p:txBody>
          </p:sp>
        </p:grpSp>
      </p:grpSp>
      <p:grpSp>
        <p:nvGrpSpPr>
          <p:cNvPr id="119" name="Group 118"/>
          <p:cNvGrpSpPr/>
          <p:nvPr/>
        </p:nvGrpSpPr>
        <p:grpSpPr>
          <a:xfrm>
            <a:off x="9259348" y="3833789"/>
            <a:ext cx="1034461" cy="1324110"/>
            <a:chOff x="806400" y="3859200"/>
            <a:chExt cx="1035000" cy="1324800"/>
          </a:xfrm>
        </p:grpSpPr>
        <p:sp>
          <p:nvSpPr>
            <p:cNvPr id="120" name="Rechteck 28">
              <a:extLst>
                <a:ext uri="{FF2B5EF4-FFF2-40B4-BE49-F238E27FC236}">
                  <a16:creationId xmlns:a16="http://schemas.microsoft.com/office/drawing/2014/main" id="{F9E8C198-C74A-4343-A698-857ADDF76A3B}"/>
                </a:ext>
              </a:extLst>
            </p:cNvPr>
            <p:cNvSpPr/>
            <p:nvPr/>
          </p:nvSpPr>
          <p:spPr bwMode="gray">
            <a:xfrm>
              <a:off x="905400" y="4353781"/>
              <a:ext cx="936000" cy="830219"/>
            </a:xfrm>
            <a:prstGeom prst="rect">
              <a:avLst/>
            </a:prstGeom>
            <a:noFill/>
            <a:ln w="19050">
              <a:noFill/>
              <a:miter lim="800000"/>
            </a:ln>
            <a:effectLst/>
          </p:spPr>
          <p:txBody>
            <a:bodyPr wrap="square" lIns="143925" tIns="72000" rIns="0" bIns="71963" numCol="1" spcCol="72000" rtlCol="0" anchor="b" anchorCtr="0">
              <a:spAutoFit/>
            </a:bodyPr>
            <a:lstStyle/>
            <a:p>
              <a:pPr>
                <a:tabLst>
                  <a:tab pos="1255085" algn="r"/>
                </a:tabLst>
                <a:defRPr/>
              </a:pPr>
              <a:r>
                <a:rPr lang="en-US" altLang="de-DE" sz="1399" b="1" dirty="0">
                  <a:solidFill>
                    <a:schemeClr val="accent1"/>
                  </a:solidFill>
                  <a:ea typeface="Arial Unicode MS"/>
                </a:rPr>
                <a:t>Lorem</a:t>
              </a:r>
            </a:p>
            <a:p>
              <a:pPr marL="0" lvl="1">
                <a:spcBef>
                  <a:spcPts val="300"/>
                </a:spcBef>
                <a:buClr>
                  <a:srgbClr val="3C464B"/>
                </a:buClr>
                <a:defRPr/>
              </a:pPr>
              <a:r>
                <a:rPr lang="en-US" altLang="de-DE" sz="1399" dirty="0">
                  <a:solidFill>
                    <a:srgbClr val="66667E"/>
                  </a:solidFill>
                  <a:ea typeface="Arial Unicode MS"/>
                  <a:cs typeface="Arial" pitchFamily="34" charset="0"/>
                </a:rPr>
                <a:t>Utra cie smieu</a:t>
              </a:r>
            </a:p>
          </p:txBody>
        </p:sp>
        <p:grpSp>
          <p:nvGrpSpPr>
            <p:cNvPr id="121" name="Gruppieren 19">
              <a:extLst>
                <a:ext uri="{FF2B5EF4-FFF2-40B4-BE49-F238E27FC236}">
                  <a16:creationId xmlns:a16="http://schemas.microsoft.com/office/drawing/2014/main" id="{D7F48A4A-8844-6E4F-AE8B-94775BE48541}"/>
                </a:ext>
              </a:extLst>
            </p:cNvPr>
            <p:cNvGrpSpPr/>
            <p:nvPr/>
          </p:nvGrpSpPr>
          <p:grpSpPr>
            <a:xfrm>
              <a:off x="806400" y="3859200"/>
              <a:ext cx="198000" cy="1324800"/>
              <a:chOff x="806400" y="3681400"/>
              <a:chExt cx="198000" cy="1324800"/>
            </a:xfrm>
          </p:grpSpPr>
          <p:sp>
            <p:nvSpPr>
              <p:cNvPr id="122" name="Ellipse 26">
                <a:extLst>
                  <a:ext uri="{FF2B5EF4-FFF2-40B4-BE49-F238E27FC236}">
                    <a16:creationId xmlns:a16="http://schemas.microsoft.com/office/drawing/2014/main" id="{B31F6662-5EDE-AB47-8093-BE33FFBA5677}"/>
                  </a:ext>
                </a:extLst>
              </p:cNvPr>
              <p:cNvSpPr>
                <a:spLocks noChangeAspect="1"/>
              </p:cNvSpPr>
              <p:nvPr/>
            </p:nvSpPr>
            <p:spPr bwMode="gray">
              <a:xfrm>
                <a:off x="806400" y="3681400"/>
                <a:ext cx="198000" cy="198000"/>
              </a:xfrm>
              <a:prstGeom prst="ellipse">
                <a:avLst/>
              </a:prstGeom>
              <a:solidFill>
                <a:schemeClr val="bg1"/>
              </a:solidFill>
              <a:ln w="12700" cap="flat" cmpd="sng" algn="ctr">
                <a:noFill/>
                <a:prstDash val="solid"/>
                <a:round/>
                <a:headEnd type="none" w="med" len="med"/>
                <a:tailEnd type="none" w="med" len="med"/>
              </a:ln>
              <a:effectLst/>
            </p:spPr>
            <p:txBody>
              <a:bodyPr vert="horz" wrap="none" lIns="89953" tIns="46776" rIns="89953" bIns="46776"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endParaRPr lang="en-US" sz="1599" dirty="0">
                  <a:solidFill>
                    <a:srgbClr val="66667E"/>
                  </a:solidFill>
                  <a:latin typeface="+mn-lt"/>
                </a:endParaRPr>
              </a:p>
            </p:txBody>
          </p:sp>
          <p:sp>
            <p:nvSpPr>
              <p:cNvPr id="123" name="Line 87">
                <a:extLst>
                  <a:ext uri="{FF2B5EF4-FFF2-40B4-BE49-F238E27FC236}">
                    <a16:creationId xmlns:a16="http://schemas.microsoft.com/office/drawing/2014/main" id="{7B0AF506-607C-9449-A772-A582112D1727}"/>
                  </a:ext>
                </a:extLst>
              </p:cNvPr>
              <p:cNvSpPr>
                <a:spLocks noChangeShapeType="1"/>
              </p:cNvSpPr>
              <p:nvPr/>
            </p:nvSpPr>
            <p:spPr bwMode="gray">
              <a:xfrm flipV="1">
                <a:off x="905400" y="3782200"/>
                <a:ext cx="0" cy="1224000"/>
              </a:xfrm>
              <a:prstGeom prst="line">
                <a:avLst/>
              </a:prstGeom>
              <a:noFill/>
              <a:ln w="12700" cap="flat">
                <a:solidFill>
                  <a:srgbClr val="66667E"/>
                </a:solidFill>
                <a:miter lim="800000"/>
                <a:headEnd type="none" w="lg" len="lg"/>
                <a:tailEnd type="oval"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9953" tIns="46776" rIns="89953" bIns="46776"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endParaRPr lang="en-US" sz="1799" dirty="0">
                  <a:solidFill>
                    <a:srgbClr val="66667E"/>
                  </a:solidFill>
                  <a:latin typeface="+mn-lt"/>
                </a:endParaRPr>
              </a:p>
            </p:txBody>
          </p:sp>
        </p:grpSp>
      </p:grpSp>
      <p:grpSp>
        <p:nvGrpSpPr>
          <p:cNvPr id="130" name="Group 129"/>
          <p:cNvGrpSpPr/>
          <p:nvPr/>
        </p:nvGrpSpPr>
        <p:grpSpPr>
          <a:xfrm>
            <a:off x="1862651" y="3833789"/>
            <a:ext cx="1034461" cy="2151679"/>
            <a:chOff x="806400" y="3859200"/>
            <a:chExt cx="1035000" cy="2152800"/>
          </a:xfrm>
        </p:grpSpPr>
        <p:sp>
          <p:nvSpPr>
            <p:cNvPr id="131" name="Rechteck 28">
              <a:extLst>
                <a:ext uri="{FF2B5EF4-FFF2-40B4-BE49-F238E27FC236}">
                  <a16:creationId xmlns:a16="http://schemas.microsoft.com/office/drawing/2014/main" id="{F9E8C198-C74A-4343-A698-857ADDF76A3B}"/>
                </a:ext>
              </a:extLst>
            </p:cNvPr>
            <p:cNvSpPr/>
            <p:nvPr/>
          </p:nvSpPr>
          <p:spPr bwMode="gray">
            <a:xfrm>
              <a:off x="905400" y="5181781"/>
              <a:ext cx="936000" cy="830219"/>
            </a:xfrm>
            <a:prstGeom prst="rect">
              <a:avLst/>
            </a:prstGeom>
            <a:noFill/>
            <a:ln w="19050">
              <a:noFill/>
              <a:miter lim="800000"/>
            </a:ln>
            <a:effectLst/>
          </p:spPr>
          <p:txBody>
            <a:bodyPr wrap="square" lIns="143925" tIns="72000" rIns="0" bIns="71963" numCol="1" spcCol="72000" rtlCol="0" anchor="b" anchorCtr="0">
              <a:spAutoFit/>
            </a:bodyPr>
            <a:lstStyle/>
            <a:p>
              <a:pPr>
                <a:defRPr/>
              </a:pPr>
              <a:r>
                <a:rPr lang="en-US" altLang="de-DE" sz="1399" b="1" dirty="0">
                  <a:solidFill>
                    <a:schemeClr val="accent1"/>
                  </a:solidFill>
                  <a:ea typeface="Arial Unicode MS"/>
                </a:rPr>
                <a:t>Lorem</a:t>
              </a:r>
            </a:p>
            <a:p>
              <a:pPr marL="0" lvl="1">
                <a:spcBef>
                  <a:spcPts val="300"/>
                </a:spcBef>
                <a:buClr>
                  <a:srgbClr val="3C464B"/>
                </a:buClr>
                <a:defRPr/>
              </a:pPr>
              <a:r>
                <a:rPr lang="en-US" altLang="de-DE" sz="1399" dirty="0">
                  <a:solidFill>
                    <a:srgbClr val="66667E"/>
                  </a:solidFill>
                  <a:ea typeface="Arial Unicode MS"/>
                  <a:cs typeface="Arial" pitchFamily="34" charset="0"/>
                </a:rPr>
                <a:t>Utra cie smieu</a:t>
              </a:r>
            </a:p>
          </p:txBody>
        </p:sp>
        <p:grpSp>
          <p:nvGrpSpPr>
            <p:cNvPr id="132" name="Gruppieren 19">
              <a:extLst>
                <a:ext uri="{FF2B5EF4-FFF2-40B4-BE49-F238E27FC236}">
                  <a16:creationId xmlns:a16="http://schemas.microsoft.com/office/drawing/2014/main" id="{D7F48A4A-8844-6E4F-AE8B-94775BE48541}"/>
                </a:ext>
              </a:extLst>
            </p:cNvPr>
            <p:cNvGrpSpPr/>
            <p:nvPr/>
          </p:nvGrpSpPr>
          <p:grpSpPr>
            <a:xfrm>
              <a:off x="806400" y="3859200"/>
              <a:ext cx="198000" cy="2152800"/>
              <a:chOff x="806400" y="3681400"/>
              <a:chExt cx="198000" cy="2152800"/>
            </a:xfrm>
          </p:grpSpPr>
          <p:sp>
            <p:nvSpPr>
              <p:cNvPr id="133" name="Ellipse 26">
                <a:extLst>
                  <a:ext uri="{FF2B5EF4-FFF2-40B4-BE49-F238E27FC236}">
                    <a16:creationId xmlns:a16="http://schemas.microsoft.com/office/drawing/2014/main" id="{B31F6662-5EDE-AB47-8093-BE33FFBA5677}"/>
                  </a:ext>
                </a:extLst>
              </p:cNvPr>
              <p:cNvSpPr>
                <a:spLocks noChangeAspect="1"/>
              </p:cNvSpPr>
              <p:nvPr/>
            </p:nvSpPr>
            <p:spPr bwMode="gray">
              <a:xfrm>
                <a:off x="806400" y="3681400"/>
                <a:ext cx="198000" cy="198000"/>
              </a:xfrm>
              <a:prstGeom prst="ellipse">
                <a:avLst/>
              </a:prstGeom>
              <a:solidFill>
                <a:schemeClr val="bg1"/>
              </a:solidFill>
              <a:ln w="12700" cap="flat" cmpd="sng" algn="ctr">
                <a:noFill/>
                <a:prstDash val="solid"/>
                <a:round/>
                <a:headEnd type="none" w="med" len="med"/>
                <a:tailEnd type="none" w="med" len="med"/>
              </a:ln>
              <a:effectLst/>
            </p:spPr>
            <p:txBody>
              <a:bodyPr vert="horz" wrap="none" lIns="89953" tIns="46776" rIns="89953" bIns="46776"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endParaRPr lang="en-US" sz="1599" dirty="0">
                  <a:solidFill>
                    <a:srgbClr val="66667E"/>
                  </a:solidFill>
                  <a:latin typeface="+mn-lt"/>
                </a:endParaRPr>
              </a:p>
            </p:txBody>
          </p:sp>
          <p:sp>
            <p:nvSpPr>
              <p:cNvPr id="134" name="Line 87">
                <a:extLst>
                  <a:ext uri="{FF2B5EF4-FFF2-40B4-BE49-F238E27FC236}">
                    <a16:creationId xmlns:a16="http://schemas.microsoft.com/office/drawing/2014/main" id="{7B0AF506-607C-9449-A772-A582112D1727}"/>
                  </a:ext>
                </a:extLst>
              </p:cNvPr>
              <p:cNvSpPr>
                <a:spLocks noChangeShapeType="1"/>
              </p:cNvSpPr>
              <p:nvPr/>
            </p:nvSpPr>
            <p:spPr bwMode="gray">
              <a:xfrm flipV="1">
                <a:off x="905400" y="3782200"/>
                <a:ext cx="0" cy="2052000"/>
              </a:xfrm>
              <a:prstGeom prst="line">
                <a:avLst/>
              </a:prstGeom>
              <a:noFill/>
              <a:ln w="12700" cap="flat">
                <a:solidFill>
                  <a:srgbClr val="66667E"/>
                </a:solidFill>
                <a:miter lim="800000"/>
                <a:headEnd type="none" w="lg" len="lg"/>
                <a:tailEnd type="oval"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9953" tIns="46776" rIns="89953" bIns="46776"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endParaRPr lang="en-US" sz="1799" dirty="0">
                  <a:solidFill>
                    <a:srgbClr val="66667E"/>
                  </a:solidFill>
                  <a:latin typeface="+mn-lt"/>
                </a:endParaRPr>
              </a:p>
            </p:txBody>
          </p:sp>
        </p:grpSp>
      </p:grpSp>
      <p:grpSp>
        <p:nvGrpSpPr>
          <p:cNvPr id="140" name="Group 139"/>
          <p:cNvGrpSpPr/>
          <p:nvPr/>
        </p:nvGrpSpPr>
        <p:grpSpPr>
          <a:xfrm>
            <a:off x="3975992" y="3833789"/>
            <a:ext cx="1034461" cy="2151679"/>
            <a:chOff x="806400" y="3859200"/>
            <a:chExt cx="1035000" cy="2152800"/>
          </a:xfrm>
        </p:grpSpPr>
        <p:sp>
          <p:nvSpPr>
            <p:cNvPr id="141" name="Rechteck 28">
              <a:extLst>
                <a:ext uri="{FF2B5EF4-FFF2-40B4-BE49-F238E27FC236}">
                  <a16:creationId xmlns:a16="http://schemas.microsoft.com/office/drawing/2014/main" id="{F9E8C198-C74A-4343-A698-857ADDF76A3B}"/>
                </a:ext>
              </a:extLst>
            </p:cNvPr>
            <p:cNvSpPr/>
            <p:nvPr/>
          </p:nvSpPr>
          <p:spPr bwMode="gray">
            <a:xfrm>
              <a:off x="905400" y="5194611"/>
              <a:ext cx="936000" cy="817389"/>
            </a:xfrm>
            <a:prstGeom prst="rect">
              <a:avLst/>
            </a:prstGeom>
            <a:noFill/>
            <a:ln w="19050">
              <a:noFill/>
              <a:miter lim="800000"/>
            </a:ln>
            <a:effectLst/>
          </p:spPr>
          <p:txBody>
            <a:bodyPr wrap="square" lIns="143925" tIns="72000" rIns="0" bIns="71963" numCol="1" spcCol="72000" rtlCol="0" anchor="b" anchorCtr="0">
              <a:spAutoFit/>
            </a:bodyPr>
            <a:lstStyle/>
            <a:p>
              <a:pPr>
                <a:spcAft>
                  <a:spcPts val="200"/>
                </a:spcAft>
                <a:defRPr/>
              </a:pPr>
              <a:r>
                <a:rPr lang="en-US" altLang="de-DE" sz="1399" b="1" dirty="0">
                  <a:solidFill>
                    <a:schemeClr val="accent1"/>
                  </a:solidFill>
                  <a:ea typeface="Arial Unicode MS"/>
                </a:rPr>
                <a:t>Ultris</a:t>
              </a:r>
            </a:p>
            <a:p>
              <a:pPr marL="0" lvl="1">
                <a:buClr>
                  <a:srgbClr val="3C464B"/>
                </a:buClr>
                <a:defRPr/>
              </a:pPr>
              <a:r>
                <a:rPr lang="en-US" altLang="de-DE" sz="1399" dirty="0">
                  <a:solidFill>
                    <a:srgbClr val="66667E"/>
                  </a:solidFill>
                  <a:ea typeface="Arial Unicode MS"/>
                  <a:cs typeface="Arial" pitchFamily="34" charset="0"/>
                </a:rPr>
                <a:t>Ipsum et dis</a:t>
              </a:r>
            </a:p>
          </p:txBody>
        </p:sp>
        <p:grpSp>
          <p:nvGrpSpPr>
            <p:cNvPr id="142" name="Gruppieren 19">
              <a:extLst>
                <a:ext uri="{FF2B5EF4-FFF2-40B4-BE49-F238E27FC236}">
                  <a16:creationId xmlns:a16="http://schemas.microsoft.com/office/drawing/2014/main" id="{D7F48A4A-8844-6E4F-AE8B-94775BE48541}"/>
                </a:ext>
              </a:extLst>
            </p:cNvPr>
            <p:cNvGrpSpPr/>
            <p:nvPr/>
          </p:nvGrpSpPr>
          <p:grpSpPr>
            <a:xfrm>
              <a:off x="806400" y="3859200"/>
              <a:ext cx="198000" cy="2152800"/>
              <a:chOff x="806400" y="3681400"/>
              <a:chExt cx="198000" cy="2152800"/>
            </a:xfrm>
          </p:grpSpPr>
          <p:sp>
            <p:nvSpPr>
              <p:cNvPr id="143" name="Ellipse 26">
                <a:extLst>
                  <a:ext uri="{FF2B5EF4-FFF2-40B4-BE49-F238E27FC236}">
                    <a16:creationId xmlns:a16="http://schemas.microsoft.com/office/drawing/2014/main" id="{B31F6662-5EDE-AB47-8093-BE33FFBA5677}"/>
                  </a:ext>
                </a:extLst>
              </p:cNvPr>
              <p:cNvSpPr>
                <a:spLocks noChangeAspect="1"/>
              </p:cNvSpPr>
              <p:nvPr/>
            </p:nvSpPr>
            <p:spPr bwMode="gray">
              <a:xfrm>
                <a:off x="806400" y="3681400"/>
                <a:ext cx="198000" cy="198000"/>
              </a:xfrm>
              <a:prstGeom prst="ellipse">
                <a:avLst/>
              </a:prstGeom>
              <a:solidFill>
                <a:schemeClr val="bg1"/>
              </a:solidFill>
              <a:ln w="12700" cap="flat" cmpd="sng" algn="ctr">
                <a:noFill/>
                <a:prstDash val="solid"/>
                <a:round/>
                <a:headEnd type="none" w="med" len="med"/>
                <a:tailEnd type="none" w="med" len="med"/>
              </a:ln>
              <a:effectLst/>
            </p:spPr>
            <p:txBody>
              <a:bodyPr vert="horz" wrap="none" lIns="89953" tIns="46776" rIns="89953" bIns="46776"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endParaRPr lang="en-US" sz="1599" dirty="0">
                  <a:solidFill>
                    <a:srgbClr val="66667E"/>
                  </a:solidFill>
                  <a:latin typeface="+mn-lt"/>
                </a:endParaRPr>
              </a:p>
            </p:txBody>
          </p:sp>
          <p:sp>
            <p:nvSpPr>
              <p:cNvPr id="149" name="Line 87">
                <a:extLst>
                  <a:ext uri="{FF2B5EF4-FFF2-40B4-BE49-F238E27FC236}">
                    <a16:creationId xmlns:a16="http://schemas.microsoft.com/office/drawing/2014/main" id="{7B0AF506-607C-9449-A772-A582112D1727}"/>
                  </a:ext>
                </a:extLst>
              </p:cNvPr>
              <p:cNvSpPr>
                <a:spLocks noChangeShapeType="1"/>
              </p:cNvSpPr>
              <p:nvPr/>
            </p:nvSpPr>
            <p:spPr bwMode="gray">
              <a:xfrm flipV="1">
                <a:off x="905400" y="3782200"/>
                <a:ext cx="0" cy="2052000"/>
              </a:xfrm>
              <a:prstGeom prst="line">
                <a:avLst/>
              </a:prstGeom>
              <a:noFill/>
              <a:ln w="12700" cap="flat">
                <a:solidFill>
                  <a:srgbClr val="66667E"/>
                </a:solidFill>
                <a:miter lim="800000"/>
                <a:headEnd type="none" w="lg" len="lg"/>
                <a:tailEnd type="oval"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9953" tIns="46776" rIns="89953" bIns="46776"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endParaRPr lang="en-US" sz="1799" dirty="0">
                  <a:solidFill>
                    <a:srgbClr val="66667E"/>
                  </a:solidFill>
                  <a:latin typeface="+mn-lt"/>
                </a:endParaRPr>
              </a:p>
            </p:txBody>
          </p:sp>
        </p:grpSp>
      </p:grpSp>
      <p:grpSp>
        <p:nvGrpSpPr>
          <p:cNvPr id="150" name="Group 149"/>
          <p:cNvGrpSpPr/>
          <p:nvPr/>
        </p:nvGrpSpPr>
        <p:grpSpPr>
          <a:xfrm>
            <a:off x="6089334" y="3833789"/>
            <a:ext cx="1034461" cy="2151679"/>
            <a:chOff x="806400" y="3859200"/>
            <a:chExt cx="1035000" cy="2152800"/>
          </a:xfrm>
        </p:grpSpPr>
        <p:sp>
          <p:nvSpPr>
            <p:cNvPr id="151" name="Rechteck 28">
              <a:extLst>
                <a:ext uri="{FF2B5EF4-FFF2-40B4-BE49-F238E27FC236}">
                  <a16:creationId xmlns:a16="http://schemas.microsoft.com/office/drawing/2014/main" id="{F9E8C198-C74A-4343-A698-857ADDF76A3B}"/>
                </a:ext>
              </a:extLst>
            </p:cNvPr>
            <p:cNvSpPr/>
            <p:nvPr/>
          </p:nvSpPr>
          <p:spPr bwMode="gray">
            <a:xfrm>
              <a:off x="905400" y="5181781"/>
              <a:ext cx="936000" cy="830219"/>
            </a:xfrm>
            <a:prstGeom prst="rect">
              <a:avLst/>
            </a:prstGeom>
            <a:noFill/>
            <a:ln w="19050">
              <a:noFill/>
              <a:miter lim="800000"/>
            </a:ln>
            <a:effectLst/>
          </p:spPr>
          <p:txBody>
            <a:bodyPr wrap="square" lIns="143925" tIns="72000" rIns="0" bIns="71963" numCol="1" spcCol="72000" rtlCol="0" anchor="b" anchorCtr="0">
              <a:spAutoFit/>
            </a:bodyPr>
            <a:lstStyle/>
            <a:p>
              <a:pPr>
                <a:tabLst>
                  <a:tab pos="1255085" algn="r"/>
                </a:tabLst>
                <a:defRPr/>
              </a:pPr>
              <a:r>
                <a:rPr lang="en-US" altLang="de-DE" sz="1399" b="1" dirty="0">
                  <a:solidFill>
                    <a:schemeClr val="accent1"/>
                  </a:solidFill>
                  <a:ea typeface="Arial Unicode MS"/>
                </a:rPr>
                <a:t>Lorem</a:t>
              </a:r>
            </a:p>
            <a:p>
              <a:pPr marL="0" lvl="1">
                <a:spcBef>
                  <a:spcPts val="300"/>
                </a:spcBef>
                <a:buClr>
                  <a:srgbClr val="3C464B"/>
                </a:buClr>
                <a:defRPr/>
              </a:pPr>
              <a:r>
                <a:rPr lang="en-US" altLang="de-DE" sz="1399" dirty="0">
                  <a:solidFill>
                    <a:srgbClr val="66667E"/>
                  </a:solidFill>
                  <a:ea typeface="Arial Unicode MS"/>
                  <a:cs typeface="Arial" pitchFamily="34" charset="0"/>
                </a:rPr>
                <a:t>Utra cie smieu</a:t>
              </a:r>
            </a:p>
          </p:txBody>
        </p:sp>
        <p:grpSp>
          <p:nvGrpSpPr>
            <p:cNvPr id="152" name="Gruppieren 19">
              <a:extLst>
                <a:ext uri="{FF2B5EF4-FFF2-40B4-BE49-F238E27FC236}">
                  <a16:creationId xmlns:a16="http://schemas.microsoft.com/office/drawing/2014/main" id="{D7F48A4A-8844-6E4F-AE8B-94775BE48541}"/>
                </a:ext>
              </a:extLst>
            </p:cNvPr>
            <p:cNvGrpSpPr/>
            <p:nvPr/>
          </p:nvGrpSpPr>
          <p:grpSpPr>
            <a:xfrm>
              <a:off x="806400" y="3859200"/>
              <a:ext cx="198000" cy="2152800"/>
              <a:chOff x="806400" y="3681400"/>
              <a:chExt cx="198000" cy="2152800"/>
            </a:xfrm>
          </p:grpSpPr>
          <p:sp>
            <p:nvSpPr>
              <p:cNvPr id="153" name="Ellipse 26">
                <a:extLst>
                  <a:ext uri="{FF2B5EF4-FFF2-40B4-BE49-F238E27FC236}">
                    <a16:creationId xmlns:a16="http://schemas.microsoft.com/office/drawing/2014/main" id="{B31F6662-5EDE-AB47-8093-BE33FFBA5677}"/>
                  </a:ext>
                </a:extLst>
              </p:cNvPr>
              <p:cNvSpPr>
                <a:spLocks noChangeAspect="1"/>
              </p:cNvSpPr>
              <p:nvPr/>
            </p:nvSpPr>
            <p:spPr bwMode="gray">
              <a:xfrm>
                <a:off x="806400" y="3681400"/>
                <a:ext cx="198000" cy="198000"/>
              </a:xfrm>
              <a:prstGeom prst="ellipse">
                <a:avLst/>
              </a:prstGeom>
              <a:solidFill>
                <a:schemeClr val="bg1"/>
              </a:solidFill>
              <a:ln w="12700" cap="flat" cmpd="sng" algn="ctr">
                <a:noFill/>
                <a:prstDash val="solid"/>
                <a:round/>
                <a:headEnd type="none" w="med" len="med"/>
                <a:tailEnd type="none" w="med" len="med"/>
              </a:ln>
              <a:effectLst/>
            </p:spPr>
            <p:txBody>
              <a:bodyPr vert="horz" wrap="none" lIns="89953" tIns="46776" rIns="89953" bIns="46776"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endParaRPr lang="en-US" sz="1599" dirty="0">
                  <a:solidFill>
                    <a:srgbClr val="66667E"/>
                  </a:solidFill>
                  <a:latin typeface="+mn-lt"/>
                </a:endParaRPr>
              </a:p>
            </p:txBody>
          </p:sp>
          <p:sp>
            <p:nvSpPr>
              <p:cNvPr id="155" name="Line 87">
                <a:extLst>
                  <a:ext uri="{FF2B5EF4-FFF2-40B4-BE49-F238E27FC236}">
                    <a16:creationId xmlns:a16="http://schemas.microsoft.com/office/drawing/2014/main" id="{7B0AF506-607C-9449-A772-A582112D1727}"/>
                  </a:ext>
                </a:extLst>
              </p:cNvPr>
              <p:cNvSpPr>
                <a:spLocks noChangeShapeType="1"/>
              </p:cNvSpPr>
              <p:nvPr/>
            </p:nvSpPr>
            <p:spPr bwMode="gray">
              <a:xfrm flipV="1">
                <a:off x="905400" y="3782200"/>
                <a:ext cx="0" cy="2052000"/>
              </a:xfrm>
              <a:prstGeom prst="line">
                <a:avLst/>
              </a:prstGeom>
              <a:noFill/>
              <a:ln w="12700" cap="flat">
                <a:solidFill>
                  <a:srgbClr val="66667E"/>
                </a:solidFill>
                <a:miter lim="800000"/>
                <a:headEnd type="none" w="lg" len="lg"/>
                <a:tailEnd type="oval"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9953" tIns="46776" rIns="89953" bIns="46776"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endParaRPr lang="en-US" sz="1799" dirty="0">
                  <a:solidFill>
                    <a:srgbClr val="66667E"/>
                  </a:solidFill>
                  <a:latin typeface="+mn-lt"/>
                </a:endParaRPr>
              </a:p>
            </p:txBody>
          </p:sp>
        </p:grpSp>
      </p:grpSp>
      <p:grpSp>
        <p:nvGrpSpPr>
          <p:cNvPr id="156" name="Group 155"/>
          <p:cNvGrpSpPr/>
          <p:nvPr/>
        </p:nvGrpSpPr>
        <p:grpSpPr>
          <a:xfrm>
            <a:off x="8202675" y="3833789"/>
            <a:ext cx="1034461" cy="2151679"/>
            <a:chOff x="806400" y="3859200"/>
            <a:chExt cx="1035000" cy="2152800"/>
          </a:xfrm>
        </p:grpSpPr>
        <p:sp>
          <p:nvSpPr>
            <p:cNvPr id="157" name="Rechteck 28">
              <a:extLst>
                <a:ext uri="{FF2B5EF4-FFF2-40B4-BE49-F238E27FC236}">
                  <a16:creationId xmlns:a16="http://schemas.microsoft.com/office/drawing/2014/main" id="{F9E8C198-C74A-4343-A698-857ADDF76A3B}"/>
                </a:ext>
              </a:extLst>
            </p:cNvPr>
            <p:cNvSpPr/>
            <p:nvPr/>
          </p:nvSpPr>
          <p:spPr bwMode="gray">
            <a:xfrm>
              <a:off x="905400" y="5194611"/>
              <a:ext cx="936000" cy="817389"/>
            </a:xfrm>
            <a:prstGeom prst="rect">
              <a:avLst/>
            </a:prstGeom>
            <a:noFill/>
            <a:ln w="19050">
              <a:noFill/>
              <a:miter lim="800000"/>
            </a:ln>
            <a:effectLst/>
          </p:spPr>
          <p:txBody>
            <a:bodyPr wrap="square" lIns="143925" tIns="72000" rIns="0" bIns="71963" numCol="1" spcCol="72000" rtlCol="0" anchor="b" anchorCtr="0">
              <a:spAutoFit/>
            </a:bodyPr>
            <a:lstStyle/>
            <a:p>
              <a:pPr>
                <a:spcAft>
                  <a:spcPts val="200"/>
                </a:spcAft>
                <a:tabLst>
                  <a:tab pos="1255085" algn="r"/>
                </a:tabLst>
                <a:defRPr/>
              </a:pPr>
              <a:r>
                <a:rPr lang="en-US" altLang="de-DE" sz="1399" b="1" dirty="0">
                  <a:solidFill>
                    <a:schemeClr val="accent1"/>
                  </a:solidFill>
                  <a:ea typeface="Arial Unicode MS"/>
                </a:rPr>
                <a:t>Ultris</a:t>
              </a:r>
            </a:p>
            <a:p>
              <a:pPr marL="0" lvl="1">
                <a:buClr>
                  <a:srgbClr val="3C464B"/>
                </a:buClr>
                <a:defRPr/>
              </a:pPr>
              <a:r>
                <a:rPr lang="en-US" altLang="de-DE" sz="1399" dirty="0">
                  <a:solidFill>
                    <a:srgbClr val="66667E"/>
                  </a:solidFill>
                  <a:ea typeface="Arial Unicode MS"/>
                  <a:cs typeface="Arial" pitchFamily="34" charset="0"/>
                </a:rPr>
                <a:t>Ipsum et dis</a:t>
              </a:r>
            </a:p>
          </p:txBody>
        </p:sp>
        <p:grpSp>
          <p:nvGrpSpPr>
            <p:cNvPr id="158" name="Gruppieren 19">
              <a:extLst>
                <a:ext uri="{FF2B5EF4-FFF2-40B4-BE49-F238E27FC236}">
                  <a16:creationId xmlns:a16="http://schemas.microsoft.com/office/drawing/2014/main" id="{D7F48A4A-8844-6E4F-AE8B-94775BE48541}"/>
                </a:ext>
              </a:extLst>
            </p:cNvPr>
            <p:cNvGrpSpPr/>
            <p:nvPr/>
          </p:nvGrpSpPr>
          <p:grpSpPr>
            <a:xfrm>
              <a:off x="806400" y="3859200"/>
              <a:ext cx="198000" cy="2152800"/>
              <a:chOff x="806400" y="3681400"/>
              <a:chExt cx="198000" cy="2152800"/>
            </a:xfrm>
          </p:grpSpPr>
          <p:sp>
            <p:nvSpPr>
              <p:cNvPr id="159" name="Ellipse 26">
                <a:extLst>
                  <a:ext uri="{FF2B5EF4-FFF2-40B4-BE49-F238E27FC236}">
                    <a16:creationId xmlns:a16="http://schemas.microsoft.com/office/drawing/2014/main" id="{B31F6662-5EDE-AB47-8093-BE33FFBA5677}"/>
                  </a:ext>
                </a:extLst>
              </p:cNvPr>
              <p:cNvSpPr>
                <a:spLocks noChangeAspect="1"/>
              </p:cNvSpPr>
              <p:nvPr/>
            </p:nvSpPr>
            <p:spPr bwMode="gray">
              <a:xfrm>
                <a:off x="806400" y="3681400"/>
                <a:ext cx="198000" cy="198000"/>
              </a:xfrm>
              <a:prstGeom prst="ellipse">
                <a:avLst/>
              </a:prstGeom>
              <a:solidFill>
                <a:schemeClr val="bg1"/>
              </a:solidFill>
              <a:ln w="12700" cap="flat" cmpd="sng" algn="ctr">
                <a:noFill/>
                <a:prstDash val="solid"/>
                <a:round/>
                <a:headEnd type="none" w="med" len="med"/>
                <a:tailEnd type="none" w="med" len="med"/>
              </a:ln>
              <a:effectLst/>
            </p:spPr>
            <p:txBody>
              <a:bodyPr vert="horz" wrap="none" lIns="89953" tIns="46776" rIns="89953" bIns="46776"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endParaRPr lang="en-US" sz="1599" dirty="0">
                  <a:solidFill>
                    <a:srgbClr val="66667E"/>
                  </a:solidFill>
                  <a:latin typeface="+mn-lt"/>
                </a:endParaRPr>
              </a:p>
            </p:txBody>
          </p:sp>
          <p:sp>
            <p:nvSpPr>
              <p:cNvPr id="160" name="Line 87">
                <a:extLst>
                  <a:ext uri="{FF2B5EF4-FFF2-40B4-BE49-F238E27FC236}">
                    <a16:creationId xmlns:a16="http://schemas.microsoft.com/office/drawing/2014/main" id="{7B0AF506-607C-9449-A772-A582112D1727}"/>
                  </a:ext>
                </a:extLst>
              </p:cNvPr>
              <p:cNvSpPr>
                <a:spLocks noChangeShapeType="1"/>
              </p:cNvSpPr>
              <p:nvPr/>
            </p:nvSpPr>
            <p:spPr bwMode="gray">
              <a:xfrm flipV="1">
                <a:off x="905400" y="3782200"/>
                <a:ext cx="0" cy="2052000"/>
              </a:xfrm>
              <a:prstGeom prst="line">
                <a:avLst/>
              </a:prstGeom>
              <a:noFill/>
              <a:ln w="12700" cap="flat">
                <a:solidFill>
                  <a:srgbClr val="66667E"/>
                </a:solidFill>
                <a:miter lim="800000"/>
                <a:headEnd type="none" w="lg" len="lg"/>
                <a:tailEnd type="oval"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9953" tIns="46776" rIns="89953" bIns="46776"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endParaRPr lang="en-US" sz="1799" dirty="0">
                  <a:solidFill>
                    <a:srgbClr val="66667E"/>
                  </a:solidFill>
                  <a:latin typeface="+mn-lt"/>
                </a:endParaRPr>
              </a:p>
            </p:txBody>
          </p:sp>
        </p:grpSp>
      </p:grpSp>
      <p:grpSp>
        <p:nvGrpSpPr>
          <p:cNvPr id="162" name="Group 161"/>
          <p:cNvGrpSpPr/>
          <p:nvPr/>
        </p:nvGrpSpPr>
        <p:grpSpPr>
          <a:xfrm>
            <a:off x="10304433" y="3833789"/>
            <a:ext cx="1322311" cy="2151679"/>
            <a:chOff x="806400" y="3859200"/>
            <a:chExt cx="1323000" cy="2152800"/>
          </a:xfrm>
        </p:grpSpPr>
        <p:sp>
          <p:nvSpPr>
            <p:cNvPr id="165" name="Rechteck 28">
              <a:extLst>
                <a:ext uri="{FF2B5EF4-FFF2-40B4-BE49-F238E27FC236}">
                  <a16:creationId xmlns:a16="http://schemas.microsoft.com/office/drawing/2014/main" id="{F9E8C198-C74A-4343-A698-857ADDF76A3B}"/>
                </a:ext>
              </a:extLst>
            </p:cNvPr>
            <p:cNvSpPr/>
            <p:nvPr/>
          </p:nvSpPr>
          <p:spPr bwMode="gray">
            <a:xfrm>
              <a:off x="905400" y="5181781"/>
              <a:ext cx="1224000" cy="830219"/>
            </a:xfrm>
            <a:prstGeom prst="rect">
              <a:avLst/>
            </a:prstGeom>
            <a:noFill/>
            <a:ln w="19050">
              <a:noFill/>
              <a:miter lim="800000"/>
            </a:ln>
            <a:effectLst/>
          </p:spPr>
          <p:txBody>
            <a:bodyPr wrap="square" lIns="143925" tIns="72000" rIns="0" bIns="71963" numCol="1" spcCol="72000" rtlCol="0" anchor="b" anchorCtr="0">
              <a:spAutoFit/>
            </a:bodyPr>
            <a:lstStyle/>
            <a:p>
              <a:pPr>
                <a:defRPr/>
              </a:pPr>
              <a:r>
                <a:rPr lang="en-US" altLang="de-DE" sz="1399" b="1" dirty="0">
                  <a:solidFill>
                    <a:schemeClr val="accent1"/>
                  </a:solidFill>
                  <a:ea typeface="Arial Unicode MS"/>
                </a:rPr>
                <a:t>Dolore</a:t>
              </a:r>
            </a:p>
            <a:p>
              <a:pPr marL="0" lvl="1">
                <a:spcBef>
                  <a:spcPts val="300"/>
                </a:spcBef>
                <a:buClr>
                  <a:srgbClr val="3C464B"/>
                </a:buClr>
                <a:tabLst>
                  <a:tab pos="1255085" algn="r"/>
                </a:tabLst>
                <a:defRPr/>
              </a:pPr>
              <a:r>
                <a:rPr lang="en-US" altLang="de-DE" sz="1399" dirty="0">
                  <a:solidFill>
                    <a:srgbClr val="66667E"/>
                  </a:solidFill>
                  <a:ea typeface="Arial Unicode MS"/>
                  <a:cs typeface="Arial" pitchFamily="34" charset="0"/>
                </a:rPr>
                <a:t>Ultricies mi senz</a:t>
              </a:r>
            </a:p>
          </p:txBody>
        </p:sp>
        <p:grpSp>
          <p:nvGrpSpPr>
            <p:cNvPr id="166" name="Gruppieren 19">
              <a:extLst>
                <a:ext uri="{FF2B5EF4-FFF2-40B4-BE49-F238E27FC236}">
                  <a16:creationId xmlns:a16="http://schemas.microsoft.com/office/drawing/2014/main" id="{D7F48A4A-8844-6E4F-AE8B-94775BE48541}"/>
                </a:ext>
              </a:extLst>
            </p:cNvPr>
            <p:cNvGrpSpPr/>
            <p:nvPr/>
          </p:nvGrpSpPr>
          <p:grpSpPr>
            <a:xfrm>
              <a:off x="806400" y="3859200"/>
              <a:ext cx="198000" cy="2152800"/>
              <a:chOff x="806400" y="3681400"/>
              <a:chExt cx="198000" cy="2152800"/>
            </a:xfrm>
          </p:grpSpPr>
          <p:sp>
            <p:nvSpPr>
              <p:cNvPr id="167" name="Ellipse 26">
                <a:extLst>
                  <a:ext uri="{FF2B5EF4-FFF2-40B4-BE49-F238E27FC236}">
                    <a16:creationId xmlns:a16="http://schemas.microsoft.com/office/drawing/2014/main" id="{B31F6662-5EDE-AB47-8093-BE33FFBA5677}"/>
                  </a:ext>
                </a:extLst>
              </p:cNvPr>
              <p:cNvSpPr>
                <a:spLocks noChangeAspect="1"/>
              </p:cNvSpPr>
              <p:nvPr/>
            </p:nvSpPr>
            <p:spPr bwMode="gray">
              <a:xfrm>
                <a:off x="806400" y="3681400"/>
                <a:ext cx="198000" cy="198000"/>
              </a:xfrm>
              <a:prstGeom prst="ellipse">
                <a:avLst/>
              </a:prstGeom>
              <a:solidFill>
                <a:schemeClr val="bg1"/>
              </a:solidFill>
              <a:ln w="12700" cap="flat" cmpd="sng" algn="ctr">
                <a:noFill/>
                <a:prstDash val="solid"/>
                <a:round/>
                <a:headEnd type="none" w="med" len="med"/>
                <a:tailEnd type="none" w="med" len="med"/>
              </a:ln>
              <a:effectLst/>
            </p:spPr>
            <p:txBody>
              <a:bodyPr vert="horz" wrap="none" lIns="89953" tIns="46776" rIns="89953" bIns="46776"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endParaRPr lang="en-US" sz="1599" dirty="0">
                  <a:solidFill>
                    <a:srgbClr val="66667E"/>
                  </a:solidFill>
                  <a:latin typeface="+mn-lt"/>
                </a:endParaRPr>
              </a:p>
            </p:txBody>
          </p:sp>
          <p:sp>
            <p:nvSpPr>
              <p:cNvPr id="168" name="Line 87">
                <a:extLst>
                  <a:ext uri="{FF2B5EF4-FFF2-40B4-BE49-F238E27FC236}">
                    <a16:creationId xmlns:a16="http://schemas.microsoft.com/office/drawing/2014/main" id="{7B0AF506-607C-9449-A772-A582112D1727}"/>
                  </a:ext>
                </a:extLst>
              </p:cNvPr>
              <p:cNvSpPr>
                <a:spLocks noChangeShapeType="1"/>
              </p:cNvSpPr>
              <p:nvPr/>
            </p:nvSpPr>
            <p:spPr bwMode="gray">
              <a:xfrm flipV="1">
                <a:off x="905400" y="3782200"/>
                <a:ext cx="0" cy="2052000"/>
              </a:xfrm>
              <a:prstGeom prst="line">
                <a:avLst/>
              </a:prstGeom>
              <a:noFill/>
              <a:ln w="12700" cap="flat">
                <a:solidFill>
                  <a:srgbClr val="66667E"/>
                </a:solidFill>
                <a:miter lim="800000"/>
                <a:headEnd type="none" w="lg" len="lg"/>
                <a:tailEnd type="oval"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9953" tIns="46776" rIns="89953" bIns="46776"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endParaRPr lang="en-US" sz="1799" dirty="0">
                  <a:solidFill>
                    <a:srgbClr val="66667E"/>
                  </a:solidFill>
                  <a:latin typeface="+mn-lt"/>
                </a:endParaRPr>
              </a:p>
            </p:txBody>
          </p:sp>
        </p:grpSp>
      </p:grpSp>
      <p:sp>
        <p:nvSpPr>
          <p:cNvPr id="4" name="Footer Placeholder 3">
            <a:extLst>
              <a:ext uri="{FF2B5EF4-FFF2-40B4-BE49-F238E27FC236}">
                <a16:creationId xmlns:a16="http://schemas.microsoft.com/office/drawing/2014/main" id="{56DCD5E1-196F-4068-8FA1-33776397120E}"/>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5" name="Slide Number Placeholder 4">
            <a:extLst>
              <a:ext uri="{FF2B5EF4-FFF2-40B4-BE49-F238E27FC236}">
                <a16:creationId xmlns:a16="http://schemas.microsoft.com/office/drawing/2014/main" id="{EE8DEAC6-C491-4313-B8EA-531F5B19C01B}"/>
              </a:ext>
            </a:extLst>
          </p:cNvPr>
          <p:cNvSpPr>
            <a:spLocks noGrp="1"/>
          </p:cNvSpPr>
          <p:nvPr>
            <p:ph type="sldNum" sz="quarter" idx="11"/>
          </p:nvPr>
        </p:nvSpPr>
        <p:spPr/>
        <p:txBody>
          <a:bodyPr/>
          <a:lstStyle/>
          <a:p>
            <a:r>
              <a:rPr lang="en-US" dirty="0"/>
              <a:t>Page </a:t>
            </a:r>
            <a:fld id="{15EBE321-CBB1-4E91-BD14-37C8D44326FB}" type="slidenum">
              <a:rPr lang="en-US" smtClean="0"/>
              <a:pPr/>
              <a:t>62</a:t>
            </a:fld>
            <a:endParaRPr lang="en-US" dirty="0"/>
          </a:p>
        </p:txBody>
      </p:sp>
    </p:spTree>
    <p:extLst>
      <p:ext uri="{BB962C8B-B14F-4D97-AF65-F5344CB8AC3E}">
        <p14:creationId xmlns:p14="http://schemas.microsoft.com/office/powerpoint/2010/main" val="389985274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dirty="0"/>
              <a:t>Timeline – content-related sequence</a:t>
            </a:r>
          </a:p>
        </p:txBody>
      </p:sp>
      <p:sp>
        <p:nvSpPr>
          <p:cNvPr id="238" name="Richtungspfeil 237">
            <a:extLst>
              <a:ext uri="{FF2B5EF4-FFF2-40B4-BE49-F238E27FC236}">
                <a16:creationId xmlns:a16="http://schemas.microsoft.com/office/drawing/2014/main" id="{538DCE9F-8333-CC4E-B82E-AF53B49E0670}"/>
              </a:ext>
            </a:extLst>
          </p:cNvPr>
          <p:cNvSpPr/>
          <p:nvPr/>
        </p:nvSpPr>
        <p:spPr bwMode="gray">
          <a:xfrm>
            <a:off x="411164" y="3214912"/>
            <a:ext cx="11376020" cy="719625"/>
          </a:xfrm>
          <a:prstGeom prst="homePlate">
            <a:avLst>
              <a:gd name="adj" fmla="val 31376"/>
            </a:avLst>
          </a:prstGeom>
          <a:solidFill>
            <a:srgbClr val="00646E"/>
          </a:solidFill>
          <a:ln w="38100">
            <a:noFill/>
            <a:miter lim="800000"/>
          </a:ln>
          <a:effectLst/>
        </p:spPr>
        <p:txBody>
          <a:bodyPr wrap="square" lIns="71963" tIns="71963" rIns="71963" bIns="71963" numCol="1" spcCol="72000" rtlCol="0" anchor="ctr" anchorCtr="0">
            <a:noAutofit/>
          </a:bodyPr>
          <a:lstStyle/>
          <a:p>
            <a:pPr algn="ctr"/>
            <a:endParaRPr lang="en-US" sz="1999" b="1" dirty="0">
              <a:solidFill>
                <a:schemeClr val="bg1"/>
              </a:solidFill>
              <a:ea typeface="Arial Unicode MS"/>
            </a:endParaRPr>
          </a:p>
        </p:txBody>
      </p:sp>
      <p:sp>
        <p:nvSpPr>
          <p:cNvPr id="6" name="Rectangle 93"/>
          <p:cNvSpPr>
            <a:spLocks noChangeArrowheads="1"/>
          </p:cNvSpPr>
          <p:nvPr/>
        </p:nvSpPr>
        <p:spPr bwMode="gray">
          <a:xfrm>
            <a:off x="1347131" y="3214912"/>
            <a:ext cx="1187382" cy="719625"/>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12700"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43925" tIns="71963" rIns="143925" bIns="71963" anchor="ctr">
            <a:noAutofit/>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pPr>
            <a:r>
              <a:rPr lang="en-US" sz="1599" b="1" dirty="0">
                <a:latin typeface="+mn-lt"/>
              </a:rPr>
              <a:t>Lorem</a:t>
            </a:r>
            <a:endParaRPr lang="en-US" sz="1599" dirty="0">
              <a:latin typeface="+mn-lt"/>
            </a:endParaRPr>
          </a:p>
        </p:txBody>
      </p:sp>
      <p:sp>
        <p:nvSpPr>
          <p:cNvPr id="7" name="Rectangle 93"/>
          <p:cNvSpPr>
            <a:spLocks noChangeArrowheads="1"/>
          </p:cNvSpPr>
          <p:nvPr/>
        </p:nvSpPr>
        <p:spPr bwMode="gray">
          <a:xfrm>
            <a:off x="3095534" y="3214912"/>
            <a:ext cx="1187382" cy="719625"/>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12700"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43925" tIns="71963" rIns="143925" bIns="71963" anchor="ctr">
            <a:noAutofit/>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pPr>
            <a:r>
              <a:rPr lang="en-US" sz="1599" b="1" dirty="0">
                <a:latin typeface="+mn-lt"/>
              </a:rPr>
              <a:t>Dolore</a:t>
            </a:r>
          </a:p>
        </p:txBody>
      </p:sp>
      <p:sp>
        <p:nvSpPr>
          <p:cNvPr id="8" name="Rectangle 93"/>
          <p:cNvSpPr>
            <a:spLocks noChangeArrowheads="1"/>
          </p:cNvSpPr>
          <p:nvPr/>
        </p:nvSpPr>
        <p:spPr bwMode="gray">
          <a:xfrm>
            <a:off x="8340741" y="3214912"/>
            <a:ext cx="1187382" cy="719625"/>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12700"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43925" tIns="71963" rIns="143925" bIns="71963" anchor="ctr">
            <a:noAutofit/>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pPr>
            <a:r>
              <a:rPr lang="en-US" sz="1599" b="1" dirty="0">
                <a:latin typeface="+mn-lt"/>
              </a:rPr>
              <a:t>Dequera</a:t>
            </a:r>
            <a:endParaRPr lang="en-US" sz="1599" dirty="0">
              <a:latin typeface="+mn-lt"/>
            </a:endParaRPr>
          </a:p>
        </p:txBody>
      </p:sp>
      <p:sp>
        <p:nvSpPr>
          <p:cNvPr id="9" name="Rectangle 93"/>
          <p:cNvSpPr>
            <a:spLocks noChangeArrowheads="1"/>
          </p:cNvSpPr>
          <p:nvPr/>
        </p:nvSpPr>
        <p:spPr bwMode="gray">
          <a:xfrm>
            <a:off x="6592338" y="3214912"/>
            <a:ext cx="1187382" cy="719625"/>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12700"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43925" tIns="71963" rIns="143925" bIns="71963" anchor="ctr">
            <a:noAutofit/>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pPr>
            <a:r>
              <a:rPr lang="en-US" sz="1599" b="1" dirty="0">
                <a:latin typeface="+mn-lt"/>
              </a:rPr>
              <a:t>Respeta</a:t>
            </a:r>
            <a:endParaRPr lang="en-US" sz="1599" dirty="0">
              <a:latin typeface="+mn-lt"/>
            </a:endParaRPr>
          </a:p>
        </p:txBody>
      </p:sp>
      <p:sp>
        <p:nvSpPr>
          <p:cNvPr id="12" name="Rectangle 95"/>
          <p:cNvSpPr>
            <a:spLocks noChangeArrowheads="1"/>
          </p:cNvSpPr>
          <p:nvPr/>
        </p:nvSpPr>
        <p:spPr bwMode="gray">
          <a:xfrm>
            <a:off x="10089145" y="3214912"/>
            <a:ext cx="1187382" cy="719625"/>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12700"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43925" tIns="71963" rIns="143925" bIns="71963" anchor="ctr">
            <a:noAutofit/>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pPr>
            <a:r>
              <a:rPr lang="en-US" sz="1599" b="1" dirty="0">
                <a:latin typeface="+mn-lt"/>
              </a:rPr>
              <a:t>Ultricies</a:t>
            </a:r>
            <a:endParaRPr lang="en-US" sz="1599" dirty="0">
              <a:latin typeface="+mn-lt"/>
            </a:endParaRPr>
          </a:p>
        </p:txBody>
      </p:sp>
      <p:sp>
        <p:nvSpPr>
          <p:cNvPr id="15" name="Rectangle 93"/>
          <p:cNvSpPr>
            <a:spLocks noChangeArrowheads="1"/>
          </p:cNvSpPr>
          <p:nvPr/>
        </p:nvSpPr>
        <p:spPr bwMode="gray">
          <a:xfrm>
            <a:off x="4843936" y="3214912"/>
            <a:ext cx="1187382" cy="719625"/>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12700"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43925" tIns="71963" rIns="143925" bIns="71963" anchor="ctr">
            <a:noAutofit/>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pPr>
            <a:r>
              <a:rPr lang="en-US" sz="1599" b="1" dirty="0">
                <a:latin typeface="+mn-lt"/>
              </a:rPr>
              <a:t>Vero eos</a:t>
            </a:r>
            <a:endParaRPr lang="en-US" sz="1599" dirty="0">
              <a:latin typeface="+mn-lt"/>
            </a:endParaRPr>
          </a:p>
        </p:txBody>
      </p:sp>
      <p:grpSp>
        <p:nvGrpSpPr>
          <p:cNvPr id="19" name="Group 18"/>
          <p:cNvGrpSpPr/>
          <p:nvPr/>
        </p:nvGrpSpPr>
        <p:grpSpPr>
          <a:xfrm>
            <a:off x="1241109" y="1775661"/>
            <a:ext cx="1502215" cy="1539958"/>
            <a:chOff x="1241755" y="1800000"/>
            <a:chExt cx="1502997" cy="1540760"/>
          </a:xfrm>
        </p:grpSpPr>
        <p:grpSp>
          <p:nvGrpSpPr>
            <p:cNvPr id="3" name="Group 2"/>
            <p:cNvGrpSpPr/>
            <p:nvPr/>
          </p:nvGrpSpPr>
          <p:grpSpPr>
            <a:xfrm>
              <a:off x="1241755" y="1800049"/>
              <a:ext cx="198000" cy="1540711"/>
              <a:chOff x="1241755" y="1800049"/>
              <a:chExt cx="198000" cy="1540711"/>
            </a:xfrm>
          </p:grpSpPr>
          <p:sp>
            <p:nvSpPr>
              <p:cNvPr id="27" name="Ellipse 26"/>
              <p:cNvSpPr>
                <a:spLocks noChangeAspect="1"/>
              </p:cNvSpPr>
              <p:nvPr/>
            </p:nvSpPr>
            <p:spPr bwMode="gray">
              <a:xfrm>
                <a:off x="1241755" y="3142760"/>
                <a:ext cx="198000" cy="198000"/>
              </a:xfrm>
              <a:prstGeom prst="ellipse">
                <a:avLst/>
              </a:prstGeom>
              <a:solidFill>
                <a:schemeClr val="bg2"/>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endParaRPr lang="en-US" sz="1599" dirty="0">
                  <a:solidFill>
                    <a:srgbClr val="66667E"/>
                  </a:solidFill>
                  <a:latin typeface="+mn-lt"/>
                </a:endParaRPr>
              </a:p>
            </p:txBody>
          </p:sp>
          <p:sp>
            <p:nvSpPr>
              <p:cNvPr id="67" name="Line 87"/>
              <p:cNvSpPr>
                <a:spLocks noChangeShapeType="1"/>
              </p:cNvSpPr>
              <p:nvPr/>
            </p:nvSpPr>
            <p:spPr bwMode="gray">
              <a:xfrm flipV="1">
                <a:off x="1340755" y="1800049"/>
                <a:ext cx="0" cy="1439949"/>
              </a:xfrm>
              <a:prstGeom prst="line">
                <a:avLst/>
              </a:prstGeom>
              <a:noFill/>
              <a:ln w="12700" cap="flat">
                <a:solidFill>
                  <a:srgbClr val="9999A9"/>
                </a:solidFill>
                <a:miter lim="800000"/>
                <a:headEnd type="oval" w="lg" len="lg"/>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endParaRPr lang="en-US" sz="1799" dirty="0">
                  <a:solidFill>
                    <a:srgbClr val="66667E"/>
                  </a:solidFill>
                  <a:latin typeface="+mn-lt"/>
                </a:endParaRPr>
              </a:p>
            </p:txBody>
          </p:sp>
        </p:grpSp>
        <p:sp>
          <p:nvSpPr>
            <p:cNvPr id="154" name="Rechteck 28">
              <a:extLst>
                <a:ext uri="{FF2B5EF4-FFF2-40B4-BE49-F238E27FC236}">
                  <a16:creationId xmlns:a16="http://schemas.microsoft.com/office/drawing/2014/main" id="{1A9A9952-8106-5B4E-B9C7-1960ED09A7DA}"/>
                </a:ext>
              </a:extLst>
            </p:cNvPr>
            <p:cNvSpPr/>
            <p:nvPr/>
          </p:nvSpPr>
          <p:spPr bwMode="gray">
            <a:xfrm>
              <a:off x="1340752" y="1800000"/>
              <a:ext cx="1404000" cy="830219"/>
            </a:xfrm>
            <a:prstGeom prst="rect">
              <a:avLst/>
            </a:prstGeom>
            <a:noFill/>
            <a:ln w="19050">
              <a:noFill/>
              <a:miter lim="800000"/>
            </a:ln>
            <a:effectLst/>
          </p:spPr>
          <p:txBody>
            <a:bodyPr wrap="square" lIns="143925" tIns="71963" rIns="0" bIns="72000" numCol="1" spcCol="72000" rtlCol="0" anchor="t" anchorCtr="0">
              <a:spAutoFit/>
            </a:bodyPr>
            <a:lstStyle/>
            <a:p>
              <a:pPr>
                <a:defRPr/>
              </a:pPr>
              <a:r>
                <a:rPr lang="en-US" altLang="de-DE" sz="1399" b="1" dirty="0">
                  <a:solidFill>
                    <a:srgbClr val="00FFB9"/>
                  </a:solidFill>
                  <a:ea typeface="Arial Unicode MS"/>
                </a:rPr>
                <a:t>Lorem</a:t>
              </a:r>
            </a:p>
            <a:p>
              <a:pPr marL="0" lvl="1">
                <a:spcBef>
                  <a:spcPts val="300"/>
                </a:spcBef>
                <a:buClr>
                  <a:srgbClr val="3C464B"/>
                </a:buClr>
                <a:defRPr/>
              </a:pPr>
              <a:r>
                <a:rPr lang="en-US" altLang="de-DE" sz="1399" dirty="0">
                  <a:solidFill>
                    <a:srgbClr val="9999A9"/>
                  </a:solidFill>
                  <a:ea typeface="Arial Unicode MS"/>
                  <a:cs typeface="Arial" pitchFamily="34" charset="0"/>
                </a:rPr>
                <a:t>Cras ultra ciesmi eu</a:t>
              </a:r>
            </a:p>
          </p:txBody>
        </p:sp>
      </p:grpSp>
      <p:grpSp>
        <p:nvGrpSpPr>
          <p:cNvPr id="11" name="Group 10"/>
          <p:cNvGrpSpPr/>
          <p:nvPr/>
        </p:nvGrpSpPr>
        <p:grpSpPr>
          <a:xfrm>
            <a:off x="805980" y="3837387"/>
            <a:ext cx="1034461" cy="1320512"/>
            <a:chOff x="806400" y="3862800"/>
            <a:chExt cx="1035000" cy="1321200"/>
          </a:xfrm>
        </p:grpSpPr>
        <p:sp>
          <p:nvSpPr>
            <p:cNvPr id="161" name="Rechteck 28">
              <a:extLst>
                <a:ext uri="{FF2B5EF4-FFF2-40B4-BE49-F238E27FC236}">
                  <a16:creationId xmlns:a16="http://schemas.microsoft.com/office/drawing/2014/main" id="{F9E8C198-C74A-4343-A698-857ADDF76A3B}"/>
                </a:ext>
              </a:extLst>
            </p:cNvPr>
            <p:cNvSpPr/>
            <p:nvPr/>
          </p:nvSpPr>
          <p:spPr bwMode="gray">
            <a:xfrm>
              <a:off x="905400" y="4353781"/>
              <a:ext cx="936000" cy="830219"/>
            </a:xfrm>
            <a:prstGeom prst="rect">
              <a:avLst/>
            </a:prstGeom>
            <a:noFill/>
            <a:ln w="19050">
              <a:noFill/>
              <a:miter lim="800000"/>
            </a:ln>
            <a:effectLst/>
          </p:spPr>
          <p:txBody>
            <a:bodyPr wrap="square" lIns="143925" tIns="72000" rIns="0" bIns="71963" numCol="1" spcCol="72000" rtlCol="0" anchor="b" anchorCtr="0">
              <a:spAutoFit/>
            </a:bodyPr>
            <a:lstStyle/>
            <a:p>
              <a:pPr>
                <a:defRPr/>
              </a:pPr>
              <a:r>
                <a:rPr lang="en-US" altLang="de-DE" sz="1399" b="1" dirty="0">
                  <a:solidFill>
                    <a:srgbClr val="00FFB9"/>
                  </a:solidFill>
                  <a:ea typeface="Arial Unicode MS"/>
                </a:rPr>
                <a:t>Dolore</a:t>
              </a:r>
            </a:p>
            <a:p>
              <a:pPr marL="0" lvl="1">
                <a:spcBef>
                  <a:spcPts val="300"/>
                </a:spcBef>
                <a:buClr>
                  <a:srgbClr val="3C464B"/>
                </a:buClr>
                <a:defRPr/>
              </a:pPr>
              <a:r>
                <a:rPr lang="en-US" altLang="de-DE" sz="1399" dirty="0">
                  <a:solidFill>
                    <a:srgbClr val="9999A9"/>
                  </a:solidFill>
                  <a:ea typeface="Arial Unicode MS"/>
                  <a:cs typeface="Arial" pitchFamily="34" charset="0"/>
                </a:rPr>
                <a:t>Ultricies mi senz</a:t>
              </a:r>
            </a:p>
          </p:txBody>
        </p:sp>
        <p:grpSp>
          <p:nvGrpSpPr>
            <p:cNvPr id="20" name="Gruppieren 19">
              <a:extLst>
                <a:ext uri="{FF2B5EF4-FFF2-40B4-BE49-F238E27FC236}">
                  <a16:creationId xmlns:a16="http://schemas.microsoft.com/office/drawing/2014/main" id="{D7F48A4A-8844-6E4F-AE8B-94775BE48541}"/>
                </a:ext>
              </a:extLst>
            </p:cNvPr>
            <p:cNvGrpSpPr/>
            <p:nvPr/>
          </p:nvGrpSpPr>
          <p:grpSpPr>
            <a:xfrm>
              <a:off x="806400" y="3862800"/>
              <a:ext cx="198000" cy="1321200"/>
              <a:chOff x="806400" y="3685000"/>
              <a:chExt cx="198000" cy="1321200"/>
            </a:xfrm>
          </p:grpSpPr>
          <p:sp>
            <p:nvSpPr>
              <p:cNvPr id="164" name="Ellipse 26">
                <a:extLst>
                  <a:ext uri="{FF2B5EF4-FFF2-40B4-BE49-F238E27FC236}">
                    <a16:creationId xmlns:a16="http://schemas.microsoft.com/office/drawing/2014/main" id="{B31F6662-5EDE-AB47-8093-BE33FFBA5677}"/>
                  </a:ext>
                </a:extLst>
              </p:cNvPr>
              <p:cNvSpPr>
                <a:spLocks noChangeAspect="1"/>
              </p:cNvSpPr>
              <p:nvPr/>
            </p:nvSpPr>
            <p:spPr bwMode="gray">
              <a:xfrm>
                <a:off x="806400" y="3685000"/>
                <a:ext cx="198000" cy="198000"/>
              </a:xfrm>
              <a:prstGeom prst="ellipse">
                <a:avLst/>
              </a:prstGeom>
              <a:solidFill>
                <a:schemeClr val="bg2"/>
              </a:solidFill>
              <a:ln w="12700" cap="flat" cmpd="sng" algn="ctr">
                <a:noFill/>
                <a:prstDash val="solid"/>
                <a:round/>
                <a:headEnd type="none" w="med" len="med"/>
                <a:tailEnd type="none" w="med" len="med"/>
              </a:ln>
              <a:effectLst/>
            </p:spPr>
            <p:txBody>
              <a:bodyPr vert="horz" wrap="none" lIns="89953" tIns="46776" rIns="89953" bIns="46776"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endParaRPr lang="en-US" sz="1599" dirty="0">
                  <a:solidFill>
                    <a:srgbClr val="66667E"/>
                  </a:solidFill>
                  <a:latin typeface="+mn-lt"/>
                </a:endParaRPr>
              </a:p>
            </p:txBody>
          </p:sp>
          <p:sp>
            <p:nvSpPr>
              <p:cNvPr id="163" name="Line 87">
                <a:extLst>
                  <a:ext uri="{FF2B5EF4-FFF2-40B4-BE49-F238E27FC236}">
                    <a16:creationId xmlns:a16="http://schemas.microsoft.com/office/drawing/2014/main" id="{7B0AF506-607C-9449-A772-A582112D1727}"/>
                  </a:ext>
                </a:extLst>
              </p:cNvPr>
              <p:cNvSpPr>
                <a:spLocks noChangeShapeType="1"/>
              </p:cNvSpPr>
              <p:nvPr/>
            </p:nvSpPr>
            <p:spPr bwMode="gray">
              <a:xfrm flipV="1">
                <a:off x="905400" y="3782200"/>
                <a:ext cx="0" cy="1224000"/>
              </a:xfrm>
              <a:prstGeom prst="line">
                <a:avLst/>
              </a:prstGeom>
              <a:noFill/>
              <a:ln w="12700" cap="flat">
                <a:solidFill>
                  <a:srgbClr val="9999A9"/>
                </a:solidFill>
                <a:miter lim="800000"/>
                <a:headEnd type="none" w="lg" len="lg"/>
                <a:tailEnd type="oval"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9953" tIns="46776" rIns="89953" bIns="46776"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endParaRPr lang="en-US" sz="1799" dirty="0">
                  <a:solidFill>
                    <a:srgbClr val="66667E"/>
                  </a:solidFill>
                  <a:latin typeface="+mn-lt"/>
                </a:endParaRPr>
              </a:p>
            </p:txBody>
          </p:sp>
        </p:grpSp>
      </p:grpSp>
      <p:grpSp>
        <p:nvGrpSpPr>
          <p:cNvPr id="18" name="Group 17"/>
          <p:cNvGrpSpPr/>
          <p:nvPr/>
        </p:nvGrpSpPr>
        <p:grpSpPr>
          <a:xfrm>
            <a:off x="2990957" y="1775661"/>
            <a:ext cx="1502215" cy="1539958"/>
            <a:chOff x="2992514" y="1800000"/>
            <a:chExt cx="1502997" cy="1540760"/>
          </a:xfrm>
        </p:grpSpPr>
        <p:grpSp>
          <p:nvGrpSpPr>
            <p:cNvPr id="78" name="Group 77"/>
            <p:cNvGrpSpPr/>
            <p:nvPr/>
          </p:nvGrpSpPr>
          <p:grpSpPr>
            <a:xfrm>
              <a:off x="2992514" y="1800049"/>
              <a:ext cx="198000" cy="1540711"/>
              <a:chOff x="1241755" y="1800049"/>
              <a:chExt cx="198000" cy="1540711"/>
            </a:xfrm>
          </p:grpSpPr>
          <p:sp>
            <p:nvSpPr>
              <p:cNvPr id="80" name="Ellipse 26"/>
              <p:cNvSpPr>
                <a:spLocks noChangeAspect="1"/>
              </p:cNvSpPr>
              <p:nvPr/>
            </p:nvSpPr>
            <p:spPr bwMode="gray">
              <a:xfrm>
                <a:off x="1241755" y="3142760"/>
                <a:ext cx="198000" cy="198000"/>
              </a:xfrm>
              <a:prstGeom prst="ellipse">
                <a:avLst/>
              </a:prstGeom>
              <a:solidFill>
                <a:schemeClr val="bg2"/>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endParaRPr lang="en-US" sz="1599" dirty="0">
                  <a:solidFill>
                    <a:srgbClr val="66667E"/>
                  </a:solidFill>
                  <a:latin typeface="+mn-lt"/>
                </a:endParaRPr>
              </a:p>
            </p:txBody>
          </p:sp>
          <p:sp>
            <p:nvSpPr>
              <p:cNvPr id="81" name="Line 87"/>
              <p:cNvSpPr>
                <a:spLocks noChangeShapeType="1"/>
              </p:cNvSpPr>
              <p:nvPr/>
            </p:nvSpPr>
            <p:spPr bwMode="gray">
              <a:xfrm flipV="1">
                <a:off x="1340756" y="1800049"/>
                <a:ext cx="0" cy="1439949"/>
              </a:xfrm>
              <a:prstGeom prst="line">
                <a:avLst/>
              </a:prstGeom>
              <a:noFill/>
              <a:ln w="12700" cap="flat">
                <a:solidFill>
                  <a:srgbClr val="9999A9"/>
                </a:solidFill>
                <a:miter lim="800000"/>
                <a:headEnd type="oval" w="lg" len="lg"/>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endParaRPr lang="en-US" sz="1799" dirty="0">
                  <a:solidFill>
                    <a:srgbClr val="66667E"/>
                  </a:solidFill>
                  <a:latin typeface="+mn-lt"/>
                </a:endParaRPr>
              </a:p>
            </p:txBody>
          </p:sp>
        </p:grpSp>
        <p:sp>
          <p:nvSpPr>
            <p:cNvPr id="79" name="Rechteck 28">
              <a:extLst>
                <a:ext uri="{FF2B5EF4-FFF2-40B4-BE49-F238E27FC236}">
                  <a16:creationId xmlns:a16="http://schemas.microsoft.com/office/drawing/2014/main" id="{1A9A9952-8106-5B4E-B9C7-1960ED09A7DA}"/>
                </a:ext>
              </a:extLst>
            </p:cNvPr>
            <p:cNvSpPr/>
            <p:nvPr/>
          </p:nvSpPr>
          <p:spPr bwMode="gray">
            <a:xfrm>
              <a:off x="3091511" y="1800000"/>
              <a:ext cx="1404000" cy="830219"/>
            </a:xfrm>
            <a:prstGeom prst="rect">
              <a:avLst/>
            </a:prstGeom>
            <a:noFill/>
            <a:ln w="19050">
              <a:noFill/>
              <a:miter lim="800000"/>
            </a:ln>
            <a:effectLst/>
          </p:spPr>
          <p:txBody>
            <a:bodyPr wrap="square" lIns="143925" tIns="71963" rIns="0" bIns="72000" numCol="1" spcCol="72000" rtlCol="0" anchor="t" anchorCtr="0">
              <a:spAutoFit/>
            </a:bodyPr>
            <a:lstStyle/>
            <a:p>
              <a:pPr>
                <a:tabLst>
                  <a:tab pos="1255085" algn="r"/>
                </a:tabLst>
                <a:defRPr/>
              </a:pPr>
              <a:r>
                <a:rPr lang="en-US" altLang="de-DE" sz="1399" b="1" dirty="0">
                  <a:solidFill>
                    <a:srgbClr val="00FFB9"/>
                  </a:solidFill>
                  <a:ea typeface="Arial Unicode MS"/>
                </a:rPr>
                <a:t>Dolore</a:t>
              </a:r>
            </a:p>
            <a:p>
              <a:pPr marL="0" lvl="1">
                <a:spcBef>
                  <a:spcPts val="300"/>
                </a:spcBef>
                <a:buClr>
                  <a:srgbClr val="3C464B"/>
                </a:buClr>
                <a:defRPr/>
              </a:pPr>
              <a:r>
                <a:rPr lang="en-US" altLang="de-DE" sz="1399" dirty="0">
                  <a:solidFill>
                    <a:srgbClr val="9999A9"/>
                  </a:solidFill>
                  <a:ea typeface="Arial Unicode MS"/>
                  <a:cs typeface="Arial" pitchFamily="34" charset="0"/>
                </a:rPr>
                <a:t>Ultricies mi euro senz</a:t>
              </a:r>
            </a:p>
          </p:txBody>
        </p:sp>
      </p:grpSp>
      <p:grpSp>
        <p:nvGrpSpPr>
          <p:cNvPr id="17" name="Group 16"/>
          <p:cNvGrpSpPr/>
          <p:nvPr/>
        </p:nvGrpSpPr>
        <p:grpSpPr>
          <a:xfrm>
            <a:off x="4740804" y="1775661"/>
            <a:ext cx="1502215" cy="1539958"/>
            <a:chOff x="4743273" y="1800000"/>
            <a:chExt cx="1502997" cy="1540760"/>
          </a:xfrm>
        </p:grpSpPr>
        <p:grpSp>
          <p:nvGrpSpPr>
            <p:cNvPr id="83" name="Group 82"/>
            <p:cNvGrpSpPr/>
            <p:nvPr/>
          </p:nvGrpSpPr>
          <p:grpSpPr>
            <a:xfrm>
              <a:off x="4743273" y="1800049"/>
              <a:ext cx="198000" cy="1540711"/>
              <a:chOff x="1241755" y="1800049"/>
              <a:chExt cx="198000" cy="1540711"/>
            </a:xfrm>
          </p:grpSpPr>
          <p:sp>
            <p:nvSpPr>
              <p:cNvPr id="85" name="Ellipse 26"/>
              <p:cNvSpPr>
                <a:spLocks noChangeAspect="1"/>
              </p:cNvSpPr>
              <p:nvPr/>
            </p:nvSpPr>
            <p:spPr bwMode="gray">
              <a:xfrm>
                <a:off x="1241755" y="3142760"/>
                <a:ext cx="198000" cy="198000"/>
              </a:xfrm>
              <a:prstGeom prst="ellipse">
                <a:avLst/>
              </a:prstGeom>
              <a:solidFill>
                <a:schemeClr val="bg2"/>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endParaRPr lang="en-US" sz="1599" dirty="0">
                  <a:solidFill>
                    <a:srgbClr val="66667E"/>
                  </a:solidFill>
                  <a:latin typeface="+mn-lt"/>
                </a:endParaRPr>
              </a:p>
            </p:txBody>
          </p:sp>
          <p:sp>
            <p:nvSpPr>
              <p:cNvPr id="86" name="Line 87"/>
              <p:cNvSpPr>
                <a:spLocks noChangeShapeType="1"/>
              </p:cNvSpPr>
              <p:nvPr/>
            </p:nvSpPr>
            <p:spPr bwMode="gray">
              <a:xfrm flipV="1">
                <a:off x="1340755" y="1800049"/>
                <a:ext cx="0" cy="1439949"/>
              </a:xfrm>
              <a:prstGeom prst="line">
                <a:avLst/>
              </a:prstGeom>
              <a:noFill/>
              <a:ln w="12700" cap="flat">
                <a:solidFill>
                  <a:srgbClr val="9999A9"/>
                </a:solidFill>
                <a:miter lim="800000"/>
                <a:headEnd type="oval" w="lg" len="lg"/>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endParaRPr lang="en-US" sz="1799" dirty="0">
                  <a:solidFill>
                    <a:srgbClr val="66667E"/>
                  </a:solidFill>
                  <a:latin typeface="+mn-lt"/>
                </a:endParaRPr>
              </a:p>
            </p:txBody>
          </p:sp>
        </p:grpSp>
        <p:sp>
          <p:nvSpPr>
            <p:cNvPr id="84" name="Rechteck 28">
              <a:extLst>
                <a:ext uri="{FF2B5EF4-FFF2-40B4-BE49-F238E27FC236}">
                  <a16:creationId xmlns:a16="http://schemas.microsoft.com/office/drawing/2014/main" id="{1A9A9952-8106-5B4E-B9C7-1960ED09A7DA}"/>
                </a:ext>
              </a:extLst>
            </p:cNvPr>
            <p:cNvSpPr/>
            <p:nvPr/>
          </p:nvSpPr>
          <p:spPr bwMode="gray">
            <a:xfrm>
              <a:off x="4842270" y="1800000"/>
              <a:ext cx="1404000" cy="830219"/>
            </a:xfrm>
            <a:prstGeom prst="rect">
              <a:avLst/>
            </a:prstGeom>
            <a:noFill/>
            <a:ln w="19050">
              <a:noFill/>
              <a:miter lim="800000"/>
            </a:ln>
            <a:effectLst/>
          </p:spPr>
          <p:txBody>
            <a:bodyPr wrap="square" lIns="143925" tIns="71963" rIns="0" bIns="72000" numCol="1" spcCol="72000" rtlCol="0" anchor="t" anchorCtr="0">
              <a:spAutoFit/>
            </a:bodyPr>
            <a:lstStyle/>
            <a:p>
              <a:pPr>
                <a:tabLst>
                  <a:tab pos="1255085" algn="r"/>
                </a:tabLst>
                <a:defRPr/>
              </a:pPr>
              <a:r>
                <a:rPr lang="en-US" altLang="de-DE" sz="1399" b="1" dirty="0">
                  <a:solidFill>
                    <a:srgbClr val="00FFB9"/>
                  </a:solidFill>
                  <a:ea typeface="Arial Unicode MS"/>
                </a:rPr>
                <a:t>Conses</a:t>
              </a:r>
            </a:p>
            <a:p>
              <a:pPr marL="0" lvl="1">
                <a:spcBef>
                  <a:spcPts val="300"/>
                </a:spcBef>
                <a:buClr>
                  <a:srgbClr val="3C464B"/>
                </a:buClr>
                <a:defRPr/>
              </a:pPr>
              <a:r>
                <a:rPr lang="en-US" altLang="de-DE" sz="1399" dirty="0">
                  <a:solidFill>
                    <a:srgbClr val="9999A9"/>
                  </a:solidFill>
                  <a:ea typeface="Arial Unicode MS"/>
                  <a:cs typeface="Arial" pitchFamily="34" charset="0"/>
                </a:rPr>
                <a:t>Imperdiet nec diet</a:t>
              </a:r>
            </a:p>
          </p:txBody>
        </p:sp>
      </p:grpSp>
      <p:grpSp>
        <p:nvGrpSpPr>
          <p:cNvPr id="16" name="Group 15"/>
          <p:cNvGrpSpPr/>
          <p:nvPr/>
        </p:nvGrpSpPr>
        <p:grpSpPr>
          <a:xfrm>
            <a:off x="6490652" y="1775661"/>
            <a:ext cx="1502215" cy="1539958"/>
            <a:chOff x="6494032" y="1800000"/>
            <a:chExt cx="1502997" cy="1540760"/>
          </a:xfrm>
        </p:grpSpPr>
        <p:grpSp>
          <p:nvGrpSpPr>
            <p:cNvPr id="88" name="Group 87"/>
            <p:cNvGrpSpPr/>
            <p:nvPr/>
          </p:nvGrpSpPr>
          <p:grpSpPr>
            <a:xfrm>
              <a:off x="6494032" y="1800049"/>
              <a:ext cx="198000" cy="1540711"/>
              <a:chOff x="1241755" y="1800049"/>
              <a:chExt cx="198000" cy="1540711"/>
            </a:xfrm>
          </p:grpSpPr>
          <p:sp>
            <p:nvSpPr>
              <p:cNvPr id="90" name="Ellipse 26"/>
              <p:cNvSpPr>
                <a:spLocks noChangeAspect="1"/>
              </p:cNvSpPr>
              <p:nvPr/>
            </p:nvSpPr>
            <p:spPr bwMode="gray">
              <a:xfrm>
                <a:off x="1241755" y="3142760"/>
                <a:ext cx="198000" cy="198000"/>
              </a:xfrm>
              <a:prstGeom prst="ellipse">
                <a:avLst/>
              </a:prstGeom>
              <a:solidFill>
                <a:schemeClr val="bg2"/>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endParaRPr lang="en-US" sz="1599" dirty="0">
                  <a:solidFill>
                    <a:srgbClr val="66667E"/>
                  </a:solidFill>
                  <a:latin typeface="+mn-lt"/>
                </a:endParaRPr>
              </a:p>
            </p:txBody>
          </p:sp>
          <p:sp>
            <p:nvSpPr>
              <p:cNvPr id="91" name="Line 87"/>
              <p:cNvSpPr>
                <a:spLocks noChangeShapeType="1"/>
              </p:cNvSpPr>
              <p:nvPr/>
            </p:nvSpPr>
            <p:spPr bwMode="gray">
              <a:xfrm flipV="1">
                <a:off x="1340755" y="1800049"/>
                <a:ext cx="0" cy="1439949"/>
              </a:xfrm>
              <a:prstGeom prst="line">
                <a:avLst/>
              </a:prstGeom>
              <a:noFill/>
              <a:ln w="12700" cap="flat">
                <a:solidFill>
                  <a:srgbClr val="9999A9"/>
                </a:solidFill>
                <a:miter lim="800000"/>
                <a:headEnd type="oval" w="lg" len="lg"/>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endParaRPr lang="en-US" sz="1799" dirty="0">
                  <a:solidFill>
                    <a:srgbClr val="66667E"/>
                  </a:solidFill>
                  <a:latin typeface="+mn-lt"/>
                </a:endParaRPr>
              </a:p>
            </p:txBody>
          </p:sp>
        </p:grpSp>
        <p:sp>
          <p:nvSpPr>
            <p:cNvPr id="89" name="Rechteck 28">
              <a:extLst>
                <a:ext uri="{FF2B5EF4-FFF2-40B4-BE49-F238E27FC236}">
                  <a16:creationId xmlns:a16="http://schemas.microsoft.com/office/drawing/2014/main" id="{1A9A9952-8106-5B4E-B9C7-1960ED09A7DA}"/>
                </a:ext>
              </a:extLst>
            </p:cNvPr>
            <p:cNvSpPr/>
            <p:nvPr/>
          </p:nvSpPr>
          <p:spPr bwMode="gray">
            <a:xfrm>
              <a:off x="6593029" y="1800000"/>
              <a:ext cx="1404000" cy="817388"/>
            </a:xfrm>
            <a:prstGeom prst="rect">
              <a:avLst/>
            </a:prstGeom>
            <a:noFill/>
            <a:ln w="19050">
              <a:noFill/>
              <a:miter lim="800000"/>
            </a:ln>
            <a:effectLst/>
          </p:spPr>
          <p:txBody>
            <a:bodyPr wrap="square" lIns="143925" tIns="71963" rIns="0" bIns="72000" numCol="1" spcCol="72000" rtlCol="0" anchor="t" anchorCtr="0">
              <a:spAutoFit/>
            </a:bodyPr>
            <a:lstStyle/>
            <a:p>
              <a:pPr>
                <a:spcAft>
                  <a:spcPts val="200"/>
                </a:spcAft>
                <a:tabLst>
                  <a:tab pos="1255085" algn="r"/>
                </a:tabLst>
                <a:defRPr/>
              </a:pPr>
              <a:r>
                <a:rPr lang="en-US" altLang="de-DE" sz="1399" b="1" dirty="0">
                  <a:solidFill>
                    <a:srgbClr val="00FFB9"/>
                  </a:solidFill>
                  <a:ea typeface="Arial Unicode MS"/>
                </a:rPr>
                <a:t>Ultricies</a:t>
              </a:r>
            </a:p>
            <a:p>
              <a:pPr marL="0" lvl="1">
                <a:buClr>
                  <a:srgbClr val="3C464B"/>
                </a:buClr>
                <a:defRPr/>
              </a:pPr>
              <a:r>
                <a:rPr lang="en-US" altLang="de-DE" sz="1399" dirty="0">
                  <a:solidFill>
                    <a:srgbClr val="9999A9"/>
                  </a:solidFill>
                  <a:ea typeface="Arial Unicode MS"/>
                  <a:cs typeface="Arial" pitchFamily="34" charset="0"/>
                </a:rPr>
                <a:t>Ipsum impe diet et dis</a:t>
              </a:r>
            </a:p>
          </p:txBody>
        </p:sp>
      </p:grpSp>
      <p:grpSp>
        <p:nvGrpSpPr>
          <p:cNvPr id="13" name="Group 12"/>
          <p:cNvGrpSpPr/>
          <p:nvPr/>
        </p:nvGrpSpPr>
        <p:grpSpPr>
          <a:xfrm>
            <a:off x="8240499" y="1775661"/>
            <a:ext cx="1502215" cy="1539958"/>
            <a:chOff x="8244791" y="1800000"/>
            <a:chExt cx="1502997" cy="1540760"/>
          </a:xfrm>
        </p:grpSpPr>
        <p:grpSp>
          <p:nvGrpSpPr>
            <p:cNvPr id="93" name="Group 92"/>
            <p:cNvGrpSpPr/>
            <p:nvPr/>
          </p:nvGrpSpPr>
          <p:grpSpPr>
            <a:xfrm>
              <a:off x="8244791" y="1800049"/>
              <a:ext cx="198000" cy="1540711"/>
              <a:chOff x="1241755" y="1800049"/>
              <a:chExt cx="198000" cy="1540711"/>
            </a:xfrm>
          </p:grpSpPr>
          <p:sp>
            <p:nvSpPr>
              <p:cNvPr id="95" name="Ellipse 26"/>
              <p:cNvSpPr>
                <a:spLocks noChangeAspect="1"/>
              </p:cNvSpPr>
              <p:nvPr/>
            </p:nvSpPr>
            <p:spPr bwMode="gray">
              <a:xfrm>
                <a:off x="1241755" y="3142760"/>
                <a:ext cx="198000" cy="198000"/>
              </a:xfrm>
              <a:prstGeom prst="ellipse">
                <a:avLst/>
              </a:prstGeom>
              <a:solidFill>
                <a:schemeClr val="bg2"/>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endParaRPr lang="en-US" sz="1599" dirty="0">
                  <a:solidFill>
                    <a:srgbClr val="66667E"/>
                  </a:solidFill>
                  <a:latin typeface="+mn-lt"/>
                </a:endParaRPr>
              </a:p>
            </p:txBody>
          </p:sp>
          <p:sp>
            <p:nvSpPr>
              <p:cNvPr id="96" name="Line 87"/>
              <p:cNvSpPr>
                <a:spLocks noChangeShapeType="1"/>
              </p:cNvSpPr>
              <p:nvPr/>
            </p:nvSpPr>
            <p:spPr bwMode="gray">
              <a:xfrm flipV="1">
                <a:off x="1340755" y="1800049"/>
                <a:ext cx="0" cy="1439949"/>
              </a:xfrm>
              <a:prstGeom prst="line">
                <a:avLst/>
              </a:prstGeom>
              <a:noFill/>
              <a:ln w="12700" cap="flat">
                <a:solidFill>
                  <a:srgbClr val="9999A9"/>
                </a:solidFill>
                <a:miter lim="800000"/>
                <a:headEnd type="oval" w="lg" len="lg"/>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endParaRPr lang="en-US" sz="1799" dirty="0">
                  <a:solidFill>
                    <a:srgbClr val="66667E"/>
                  </a:solidFill>
                  <a:latin typeface="+mn-lt"/>
                </a:endParaRPr>
              </a:p>
            </p:txBody>
          </p:sp>
        </p:grpSp>
        <p:sp>
          <p:nvSpPr>
            <p:cNvPr id="94" name="Rechteck 28">
              <a:extLst>
                <a:ext uri="{FF2B5EF4-FFF2-40B4-BE49-F238E27FC236}">
                  <a16:creationId xmlns:a16="http://schemas.microsoft.com/office/drawing/2014/main" id="{1A9A9952-8106-5B4E-B9C7-1960ED09A7DA}"/>
                </a:ext>
              </a:extLst>
            </p:cNvPr>
            <p:cNvSpPr/>
            <p:nvPr/>
          </p:nvSpPr>
          <p:spPr bwMode="gray">
            <a:xfrm>
              <a:off x="8343788" y="1800000"/>
              <a:ext cx="1404000" cy="830219"/>
            </a:xfrm>
            <a:prstGeom prst="rect">
              <a:avLst/>
            </a:prstGeom>
            <a:noFill/>
            <a:ln w="19050">
              <a:noFill/>
              <a:miter lim="800000"/>
            </a:ln>
            <a:effectLst/>
          </p:spPr>
          <p:txBody>
            <a:bodyPr wrap="square" lIns="143925" tIns="71963" rIns="0" bIns="72000" numCol="1" spcCol="72000" rtlCol="0" anchor="t" anchorCtr="0">
              <a:spAutoFit/>
            </a:bodyPr>
            <a:lstStyle/>
            <a:p>
              <a:pPr>
                <a:tabLst>
                  <a:tab pos="1255085" algn="r"/>
                </a:tabLst>
                <a:defRPr/>
              </a:pPr>
              <a:r>
                <a:rPr lang="en-US" altLang="de-DE" sz="1399" b="1" dirty="0">
                  <a:solidFill>
                    <a:srgbClr val="00FFB9"/>
                  </a:solidFill>
                  <a:ea typeface="Arial Unicode MS"/>
                </a:rPr>
                <a:t>Dolore</a:t>
              </a:r>
            </a:p>
            <a:p>
              <a:pPr marL="0" lvl="1">
                <a:spcBef>
                  <a:spcPts val="300"/>
                </a:spcBef>
                <a:buClr>
                  <a:srgbClr val="3C464B"/>
                </a:buClr>
                <a:defRPr/>
              </a:pPr>
              <a:r>
                <a:rPr lang="en-US" altLang="de-DE" sz="1399" dirty="0">
                  <a:solidFill>
                    <a:srgbClr val="9999A9"/>
                  </a:solidFill>
                  <a:ea typeface="Arial Unicode MS"/>
                  <a:cs typeface="Arial" pitchFamily="34" charset="0"/>
                </a:rPr>
                <a:t>Ultricies mi euro senz</a:t>
              </a:r>
            </a:p>
          </p:txBody>
        </p:sp>
      </p:grpSp>
      <p:grpSp>
        <p:nvGrpSpPr>
          <p:cNvPr id="14" name="Group 13"/>
          <p:cNvGrpSpPr/>
          <p:nvPr/>
        </p:nvGrpSpPr>
        <p:grpSpPr>
          <a:xfrm>
            <a:off x="9990349" y="1775709"/>
            <a:ext cx="1502213" cy="1539910"/>
            <a:chOff x="9995552" y="1800048"/>
            <a:chExt cx="1502995" cy="1540712"/>
          </a:xfrm>
        </p:grpSpPr>
        <p:sp>
          <p:nvSpPr>
            <p:cNvPr id="99" name="Rechteck 28">
              <a:extLst>
                <a:ext uri="{FF2B5EF4-FFF2-40B4-BE49-F238E27FC236}">
                  <a16:creationId xmlns:a16="http://schemas.microsoft.com/office/drawing/2014/main" id="{1A9A9952-8106-5B4E-B9C7-1960ED09A7DA}"/>
                </a:ext>
              </a:extLst>
            </p:cNvPr>
            <p:cNvSpPr/>
            <p:nvPr/>
          </p:nvSpPr>
          <p:spPr bwMode="gray">
            <a:xfrm>
              <a:off x="10094547" y="1800048"/>
              <a:ext cx="1404000" cy="900000"/>
            </a:xfrm>
            <a:prstGeom prst="rect">
              <a:avLst/>
            </a:prstGeom>
            <a:gradFill>
              <a:gsLst>
                <a:gs pos="0">
                  <a:srgbClr val="00FFB9"/>
                </a:gs>
                <a:gs pos="100000">
                  <a:srgbClr val="00E6DC"/>
                </a:gs>
              </a:gsLst>
              <a:lin ang="0" scaled="1"/>
            </a:gradFill>
            <a:ln w="19050">
              <a:noFill/>
              <a:miter lim="800000"/>
            </a:ln>
            <a:effectLst/>
          </p:spPr>
          <p:txBody>
            <a:bodyPr wrap="square" lIns="143925" tIns="107944" rIns="71963" bIns="71963" numCol="1" spcCol="72000" rtlCol="0" anchor="t" anchorCtr="0">
              <a:noAutofit/>
            </a:bodyPr>
            <a:lstStyle/>
            <a:p>
              <a:pPr>
                <a:tabLst>
                  <a:tab pos="1255085" algn="r"/>
                </a:tabLst>
                <a:defRPr/>
              </a:pPr>
              <a:r>
                <a:rPr lang="en-US" altLang="de-DE" sz="1399" b="1" dirty="0">
                  <a:solidFill>
                    <a:schemeClr val="bg1"/>
                  </a:solidFill>
                  <a:ea typeface="Arial Unicode MS"/>
                </a:rPr>
                <a:t>Dolore</a:t>
              </a:r>
            </a:p>
            <a:p>
              <a:pPr marL="0" lvl="1">
                <a:spcBef>
                  <a:spcPts val="300"/>
                </a:spcBef>
                <a:buClr>
                  <a:srgbClr val="3C464B"/>
                </a:buClr>
                <a:defRPr/>
              </a:pPr>
              <a:r>
                <a:rPr lang="en-US" altLang="de-DE" sz="1399" dirty="0">
                  <a:solidFill>
                    <a:schemeClr val="bg1"/>
                  </a:solidFill>
                  <a:ea typeface="Arial Unicode MS"/>
                  <a:cs typeface="Arial" pitchFamily="34" charset="0"/>
                </a:rPr>
                <a:t>Ultricies mi euro senz</a:t>
              </a:r>
            </a:p>
          </p:txBody>
        </p:sp>
        <p:grpSp>
          <p:nvGrpSpPr>
            <p:cNvPr id="98" name="Group 97"/>
            <p:cNvGrpSpPr/>
            <p:nvPr/>
          </p:nvGrpSpPr>
          <p:grpSpPr>
            <a:xfrm>
              <a:off x="9995552" y="1800049"/>
              <a:ext cx="198000" cy="1540711"/>
              <a:chOff x="1241755" y="1800049"/>
              <a:chExt cx="198000" cy="1540711"/>
            </a:xfrm>
          </p:grpSpPr>
          <p:sp>
            <p:nvSpPr>
              <p:cNvPr id="100" name="Ellipse 26"/>
              <p:cNvSpPr>
                <a:spLocks noChangeAspect="1"/>
              </p:cNvSpPr>
              <p:nvPr/>
            </p:nvSpPr>
            <p:spPr bwMode="gray">
              <a:xfrm>
                <a:off x="1241755" y="3142760"/>
                <a:ext cx="198000" cy="198000"/>
              </a:xfrm>
              <a:prstGeom prst="ellipse">
                <a:avLst/>
              </a:prstGeom>
              <a:solidFill>
                <a:schemeClr val="bg2"/>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endParaRPr lang="en-US" sz="1599" dirty="0">
                  <a:latin typeface="+mn-lt"/>
                </a:endParaRPr>
              </a:p>
            </p:txBody>
          </p:sp>
          <p:sp>
            <p:nvSpPr>
              <p:cNvPr id="101" name="Line 87"/>
              <p:cNvSpPr>
                <a:spLocks noChangeShapeType="1"/>
              </p:cNvSpPr>
              <p:nvPr/>
            </p:nvSpPr>
            <p:spPr bwMode="gray">
              <a:xfrm flipV="1">
                <a:off x="1340749" y="1800049"/>
                <a:ext cx="0" cy="1439949"/>
              </a:xfrm>
              <a:prstGeom prst="line">
                <a:avLst/>
              </a:prstGeom>
              <a:noFill/>
              <a:ln w="12700" cap="flat">
                <a:solidFill>
                  <a:srgbClr val="9999A9"/>
                </a:solidFill>
                <a:miter lim="800000"/>
                <a:headEnd type="oval" w="lg" len="lg"/>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endParaRPr lang="en-US" sz="1799" dirty="0">
                  <a:latin typeface="+mn-lt"/>
                </a:endParaRPr>
              </a:p>
            </p:txBody>
          </p:sp>
        </p:grpSp>
      </p:grpSp>
      <p:grpSp>
        <p:nvGrpSpPr>
          <p:cNvPr id="104" name="Group 103"/>
          <p:cNvGrpSpPr/>
          <p:nvPr/>
        </p:nvGrpSpPr>
        <p:grpSpPr>
          <a:xfrm>
            <a:off x="2919322" y="3833789"/>
            <a:ext cx="1034461" cy="1324110"/>
            <a:chOff x="806400" y="3859200"/>
            <a:chExt cx="1035000" cy="1324800"/>
          </a:xfrm>
        </p:grpSpPr>
        <p:sp>
          <p:nvSpPr>
            <p:cNvPr id="105" name="Rechteck 28">
              <a:extLst>
                <a:ext uri="{FF2B5EF4-FFF2-40B4-BE49-F238E27FC236}">
                  <a16:creationId xmlns:a16="http://schemas.microsoft.com/office/drawing/2014/main" id="{F9E8C198-C74A-4343-A698-857ADDF76A3B}"/>
                </a:ext>
              </a:extLst>
            </p:cNvPr>
            <p:cNvSpPr/>
            <p:nvPr/>
          </p:nvSpPr>
          <p:spPr bwMode="gray">
            <a:xfrm>
              <a:off x="905400" y="4353781"/>
              <a:ext cx="936000" cy="830219"/>
            </a:xfrm>
            <a:prstGeom prst="rect">
              <a:avLst/>
            </a:prstGeom>
            <a:noFill/>
            <a:ln w="19050">
              <a:noFill/>
              <a:miter lim="800000"/>
            </a:ln>
            <a:effectLst/>
          </p:spPr>
          <p:txBody>
            <a:bodyPr wrap="square" lIns="143925" tIns="72000" rIns="0" bIns="71963" numCol="1" spcCol="72000" rtlCol="0" anchor="b" anchorCtr="0">
              <a:spAutoFit/>
            </a:bodyPr>
            <a:lstStyle/>
            <a:p>
              <a:pPr>
                <a:defRPr/>
              </a:pPr>
              <a:r>
                <a:rPr lang="en-US" altLang="de-DE" sz="1399" b="1" dirty="0">
                  <a:solidFill>
                    <a:srgbClr val="00FFB9"/>
                  </a:solidFill>
                  <a:ea typeface="Arial Unicode MS"/>
                </a:rPr>
                <a:t>Conses</a:t>
              </a:r>
            </a:p>
            <a:p>
              <a:pPr marL="0" lvl="1">
                <a:spcBef>
                  <a:spcPts val="300"/>
                </a:spcBef>
                <a:buClr>
                  <a:srgbClr val="3C464B"/>
                </a:buClr>
                <a:defRPr/>
              </a:pPr>
              <a:r>
                <a:rPr lang="en-US" altLang="de-DE" sz="1399" dirty="0">
                  <a:solidFill>
                    <a:srgbClr val="9999A9"/>
                  </a:solidFill>
                  <a:ea typeface="Arial Unicode MS"/>
                  <a:cs typeface="Arial" pitchFamily="34" charset="0"/>
                </a:rPr>
                <a:t>Imper</a:t>
              </a:r>
              <a:br>
                <a:rPr lang="en-US" altLang="de-DE" sz="1399" dirty="0">
                  <a:solidFill>
                    <a:srgbClr val="9999A9"/>
                  </a:solidFill>
                  <a:ea typeface="Arial Unicode MS"/>
                  <a:cs typeface="Arial" pitchFamily="34" charset="0"/>
                </a:rPr>
              </a:br>
              <a:r>
                <a:rPr lang="en-US" altLang="de-DE" sz="1399" dirty="0">
                  <a:solidFill>
                    <a:srgbClr val="9999A9"/>
                  </a:solidFill>
                  <a:ea typeface="Arial Unicode MS"/>
                  <a:cs typeface="Arial" pitchFamily="34" charset="0"/>
                </a:rPr>
                <a:t>diet diet</a:t>
              </a:r>
            </a:p>
          </p:txBody>
        </p:sp>
        <p:grpSp>
          <p:nvGrpSpPr>
            <p:cNvPr id="106" name="Gruppieren 19">
              <a:extLst>
                <a:ext uri="{FF2B5EF4-FFF2-40B4-BE49-F238E27FC236}">
                  <a16:creationId xmlns:a16="http://schemas.microsoft.com/office/drawing/2014/main" id="{D7F48A4A-8844-6E4F-AE8B-94775BE48541}"/>
                </a:ext>
              </a:extLst>
            </p:cNvPr>
            <p:cNvGrpSpPr/>
            <p:nvPr/>
          </p:nvGrpSpPr>
          <p:grpSpPr>
            <a:xfrm>
              <a:off x="806400" y="3859200"/>
              <a:ext cx="198000" cy="1324800"/>
              <a:chOff x="806400" y="3681400"/>
              <a:chExt cx="198000" cy="1324800"/>
            </a:xfrm>
          </p:grpSpPr>
          <p:sp>
            <p:nvSpPr>
              <p:cNvPr id="107" name="Ellipse 26">
                <a:extLst>
                  <a:ext uri="{FF2B5EF4-FFF2-40B4-BE49-F238E27FC236}">
                    <a16:creationId xmlns:a16="http://schemas.microsoft.com/office/drawing/2014/main" id="{B31F6662-5EDE-AB47-8093-BE33FFBA5677}"/>
                  </a:ext>
                </a:extLst>
              </p:cNvPr>
              <p:cNvSpPr>
                <a:spLocks noChangeAspect="1"/>
              </p:cNvSpPr>
              <p:nvPr/>
            </p:nvSpPr>
            <p:spPr bwMode="gray">
              <a:xfrm>
                <a:off x="806400" y="3681400"/>
                <a:ext cx="198000" cy="198000"/>
              </a:xfrm>
              <a:prstGeom prst="ellipse">
                <a:avLst/>
              </a:prstGeom>
              <a:solidFill>
                <a:schemeClr val="bg2"/>
              </a:solidFill>
              <a:ln w="12700" cap="flat" cmpd="sng" algn="ctr">
                <a:noFill/>
                <a:prstDash val="solid"/>
                <a:round/>
                <a:headEnd type="none" w="med" len="med"/>
                <a:tailEnd type="none" w="med" len="med"/>
              </a:ln>
              <a:effectLst/>
            </p:spPr>
            <p:txBody>
              <a:bodyPr vert="horz" wrap="none" lIns="89953" tIns="46776" rIns="89953" bIns="46776"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endParaRPr lang="en-US" sz="1599" dirty="0">
                  <a:solidFill>
                    <a:srgbClr val="66667E"/>
                  </a:solidFill>
                  <a:latin typeface="+mn-lt"/>
                </a:endParaRPr>
              </a:p>
            </p:txBody>
          </p:sp>
          <p:sp>
            <p:nvSpPr>
              <p:cNvPr id="108" name="Line 87">
                <a:extLst>
                  <a:ext uri="{FF2B5EF4-FFF2-40B4-BE49-F238E27FC236}">
                    <a16:creationId xmlns:a16="http://schemas.microsoft.com/office/drawing/2014/main" id="{7B0AF506-607C-9449-A772-A582112D1727}"/>
                  </a:ext>
                </a:extLst>
              </p:cNvPr>
              <p:cNvSpPr>
                <a:spLocks noChangeShapeType="1"/>
              </p:cNvSpPr>
              <p:nvPr/>
            </p:nvSpPr>
            <p:spPr bwMode="gray">
              <a:xfrm flipV="1">
                <a:off x="905400" y="3782200"/>
                <a:ext cx="0" cy="1224000"/>
              </a:xfrm>
              <a:prstGeom prst="line">
                <a:avLst/>
              </a:prstGeom>
              <a:noFill/>
              <a:ln w="12700" cap="flat">
                <a:solidFill>
                  <a:srgbClr val="9999A9"/>
                </a:solidFill>
                <a:miter lim="800000"/>
                <a:headEnd type="none" w="lg" len="lg"/>
                <a:tailEnd type="oval"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9953" tIns="46776" rIns="89953" bIns="46776"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endParaRPr lang="en-US" sz="1799" dirty="0">
                  <a:solidFill>
                    <a:srgbClr val="66667E"/>
                  </a:solidFill>
                  <a:latin typeface="+mn-lt"/>
                </a:endParaRPr>
              </a:p>
            </p:txBody>
          </p:sp>
        </p:grpSp>
      </p:grpSp>
      <p:grpSp>
        <p:nvGrpSpPr>
          <p:cNvPr id="109" name="Group 108"/>
          <p:cNvGrpSpPr/>
          <p:nvPr/>
        </p:nvGrpSpPr>
        <p:grpSpPr>
          <a:xfrm>
            <a:off x="5032663" y="3833789"/>
            <a:ext cx="1034461" cy="1324110"/>
            <a:chOff x="806400" y="3859200"/>
            <a:chExt cx="1035000" cy="1324800"/>
          </a:xfrm>
        </p:grpSpPr>
        <p:sp>
          <p:nvSpPr>
            <p:cNvPr id="110" name="Rechteck 28">
              <a:extLst>
                <a:ext uri="{FF2B5EF4-FFF2-40B4-BE49-F238E27FC236}">
                  <a16:creationId xmlns:a16="http://schemas.microsoft.com/office/drawing/2014/main" id="{F9E8C198-C74A-4343-A698-857ADDF76A3B}"/>
                </a:ext>
              </a:extLst>
            </p:cNvPr>
            <p:cNvSpPr/>
            <p:nvPr/>
          </p:nvSpPr>
          <p:spPr bwMode="gray">
            <a:xfrm>
              <a:off x="905400" y="4353781"/>
              <a:ext cx="936000" cy="830219"/>
            </a:xfrm>
            <a:prstGeom prst="rect">
              <a:avLst/>
            </a:prstGeom>
            <a:noFill/>
            <a:ln w="19050">
              <a:noFill/>
              <a:miter lim="800000"/>
            </a:ln>
            <a:effectLst/>
          </p:spPr>
          <p:txBody>
            <a:bodyPr wrap="square" lIns="143925" tIns="72000" rIns="0" bIns="71963" numCol="1" spcCol="72000" rtlCol="0" anchor="b" anchorCtr="0">
              <a:spAutoFit/>
            </a:bodyPr>
            <a:lstStyle/>
            <a:p>
              <a:pPr>
                <a:defRPr/>
              </a:pPr>
              <a:r>
                <a:rPr lang="en-US" altLang="de-DE" sz="1399" b="1" dirty="0">
                  <a:solidFill>
                    <a:srgbClr val="00FFB9"/>
                  </a:solidFill>
                  <a:ea typeface="Arial Unicode MS"/>
                </a:rPr>
                <a:t>Dolore</a:t>
              </a:r>
            </a:p>
            <a:p>
              <a:pPr marL="0" lvl="1">
                <a:spcBef>
                  <a:spcPts val="300"/>
                </a:spcBef>
                <a:buClr>
                  <a:srgbClr val="3C464B"/>
                </a:buClr>
                <a:defRPr/>
              </a:pPr>
              <a:r>
                <a:rPr lang="en-US" altLang="de-DE" sz="1399" dirty="0">
                  <a:solidFill>
                    <a:srgbClr val="9999A9"/>
                  </a:solidFill>
                  <a:ea typeface="Arial Unicode MS"/>
                  <a:cs typeface="Arial" pitchFamily="34" charset="0"/>
                </a:rPr>
                <a:t>Ultricies mi senz</a:t>
              </a:r>
            </a:p>
          </p:txBody>
        </p:sp>
        <p:grpSp>
          <p:nvGrpSpPr>
            <p:cNvPr id="111" name="Gruppieren 19">
              <a:extLst>
                <a:ext uri="{FF2B5EF4-FFF2-40B4-BE49-F238E27FC236}">
                  <a16:creationId xmlns:a16="http://schemas.microsoft.com/office/drawing/2014/main" id="{D7F48A4A-8844-6E4F-AE8B-94775BE48541}"/>
                </a:ext>
              </a:extLst>
            </p:cNvPr>
            <p:cNvGrpSpPr/>
            <p:nvPr/>
          </p:nvGrpSpPr>
          <p:grpSpPr>
            <a:xfrm>
              <a:off x="806400" y="3859200"/>
              <a:ext cx="198000" cy="1324800"/>
              <a:chOff x="806400" y="3681400"/>
              <a:chExt cx="198000" cy="1324800"/>
            </a:xfrm>
          </p:grpSpPr>
          <p:sp>
            <p:nvSpPr>
              <p:cNvPr id="112" name="Ellipse 26">
                <a:extLst>
                  <a:ext uri="{FF2B5EF4-FFF2-40B4-BE49-F238E27FC236}">
                    <a16:creationId xmlns:a16="http://schemas.microsoft.com/office/drawing/2014/main" id="{B31F6662-5EDE-AB47-8093-BE33FFBA5677}"/>
                  </a:ext>
                </a:extLst>
              </p:cNvPr>
              <p:cNvSpPr>
                <a:spLocks noChangeAspect="1"/>
              </p:cNvSpPr>
              <p:nvPr/>
            </p:nvSpPr>
            <p:spPr bwMode="gray">
              <a:xfrm>
                <a:off x="806400" y="3681400"/>
                <a:ext cx="198000" cy="198000"/>
              </a:xfrm>
              <a:prstGeom prst="ellipse">
                <a:avLst/>
              </a:prstGeom>
              <a:solidFill>
                <a:schemeClr val="bg2"/>
              </a:solidFill>
              <a:ln w="12700" cap="flat" cmpd="sng" algn="ctr">
                <a:noFill/>
                <a:prstDash val="solid"/>
                <a:round/>
                <a:headEnd type="none" w="med" len="med"/>
                <a:tailEnd type="none" w="med" len="med"/>
              </a:ln>
              <a:effectLst/>
            </p:spPr>
            <p:txBody>
              <a:bodyPr vert="horz" wrap="none" lIns="89953" tIns="46776" rIns="89953" bIns="46776"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endParaRPr lang="en-US" sz="1599" dirty="0">
                  <a:solidFill>
                    <a:srgbClr val="66667E"/>
                  </a:solidFill>
                  <a:latin typeface="+mn-lt"/>
                </a:endParaRPr>
              </a:p>
            </p:txBody>
          </p:sp>
          <p:sp>
            <p:nvSpPr>
              <p:cNvPr id="113" name="Line 87">
                <a:extLst>
                  <a:ext uri="{FF2B5EF4-FFF2-40B4-BE49-F238E27FC236}">
                    <a16:creationId xmlns:a16="http://schemas.microsoft.com/office/drawing/2014/main" id="{7B0AF506-607C-9449-A772-A582112D1727}"/>
                  </a:ext>
                </a:extLst>
              </p:cNvPr>
              <p:cNvSpPr>
                <a:spLocks noChangeShapeType="1"/>
              </p:cNvSpPr>
              <p:nvPr/>
            </p:nvSpPr>
            <p:spPr bwMode="gray">
              <a:xfrm flipV="1">
                <a:off x="905400" y="3782200"/>
                <a:ext cx="0" cy="1224000"/>
              </a:xfrm>
              <a:prstGeom prst="line">
                <a:avLst/>
              </a:prstGeom>
              <a:noFill/>
              <a:ln w="12700" cap="flat">
                <a:solidFill>
                  <a:srgbClr val="9999A9"/>
                </a:solidFill>
                <a:miter lim="800000"/>
                <a:headEnd type="none" w="lg" len="lg"/>
                <a:tailEnd type="oval"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9953" tIns="46776" rIns="89953" bIns="46776"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endParaRPr lang="en-US" sz="1799" dirty="0">
                  <a:solidFill>
                    <a:srgbClr val="66667E"/>
                  </a:solidFill>
                  <a:latin typeface="+mn-lt"/>
                </a:endParaRPr>
              </a:p>
            </p:txBody>
          </p:sp>
        </p:grpSp>
      </p:grpSp>
      <p:grpSp>
        <p:nvGrpSpPr>
          <p:cNvPr id="114" name="Group 113"/>
          <p:cNvGrpSpPr/>
          <p:nvPr/>
        </p:nvGrpSpPr>
        <p:grpSpPr>
          <a:xfrm>
            <a:off x="7146005" y="3833789"/>
            <a:ext cx="1034460" cy="1324110"/>
            <a:chOff x="806400" y="3859200"/>
            <a:chExt cx="1034999" cy="1324800"/>
          </a:xfrm>
        </p:grpSpPr>
        <p:sp>
          <p:nvSpPr>
            <p:cNvPr id="115" name="Rechteck 28">
              <a:extLst>
                <a:ext uri="{FF2B5EF4-FFF2-40B4-BE49-F238E27FC236}">
                  <a16:creationId xmlns:a16="http://schemas.microsoft.com/office/drawing/2014/main" id="{F9E8C198-C74A-4343-A698-857ADDF76A3B}"/>
                </a:ext>
              </a:extLst>
            </p:cNvPr>
            <p:cNvSpPr/>
            <p:nvPr/>
          </p:nvSpPr>
          <p:spPr bwMode="gray">
            <a:xfrm>
              <a:off x="905399" y="4353781"/>
              <a:ext cx="936000" cy="830219"/>
            </a:xfrm>
            <a:prstGeom prst="rect">
              <a:avLst/>
            </a:prstGeom>
            <a:noFill/>
            <a:ln w="19050">
              <a:noFill/>
              <a:miter lim="800000"/>
            </a:ln>
            <a:effectLst/>
          </p:spPr>
          <p:txBody>
            <a:bodyPr wrap="square" lIns="143925" tIns="72000" rIns="0" bIns="71963" numCol="1" spcCol="72000" rtlCol="0" anchor="b" anchorCtr="0">
              <a:spAutoFit/>
            </a:bodyPr>
            <a:lstStyle/>
            <a:p>
              <a:pPr>
                <a:defRPr/>
              </a:pPr>
              <a:r>
                <a:rPr lang="en-US" altLang="de-DE" sz="1399" b="1" dirty="0">
                  <a:solidFill>
                    <a:srgbClr val="00FFB9"/>
                  </a:solidFill>
                  <a:ea typeface="Arial Unicode MS"/>
                </a:rPr>
                <a:t>Conses</a:t>
              </a:r>
            </a:p>
            <a:p>
              <a:pPr marL="0" lvl="1">
                <a:spcBef>
                  <a:spcPts val="300"/>
                </a:spcBef>
                <a:buClr>
                  <a:srgbClr val="3C464B"/>
                </a:buClr>
                <a:defRPr/>
              </a:pPr>
              <a:r>
                <a:rPr lang="en-US" altLang="de-DE" sz="1399" dirty="0">
                  <a:solidFill>
                    <a:srgbClr val="9999A9"/>
                  </a:solidFill>
                  <a:ea typeface="Arial Unicode MS"/>
                  <a:cs typeface="Arial" pitchFamily="34" charset="0"/>
                </a:rPr>
                <a:t>Imper</a:t>
              </a:r>
              <a:br>
                <a:rPr lang="en-US" altLang="de-DE" sz="1399" dirty="0">
                  <a:solidFill>
                    <a:srgbClr val="9999A9"/>
                  </a:solidFill>
                  <a:ea typeface="Arial Unicode MS"/>
                  <a:cs typeface="Arial" pitchFamily="34" charset="0"/>
                </a:rPr>
              </a:br>
              <a:r>
                <a:rPr lang="en-US" altLang="de-DE" sz="1399" dirty="0">
                  <a:solidFill>
                    <a:srgbClr val="9999A9"/>
                  </a:solidFill>
                  <a:ea typeface="Arial Unicode MS"/>
                  <a:cs typeface="Arial" pitchFamily="34" charset="0"/>
                </a:rPr>
                <a:t>diet diet</a:t>
              </a:r>
            </a:p>
          </p:txBody>
        </p:sp>
        <p:grpSp>
          <p:nvGrpSpPr>
            <p:cNvPr id="116" name="Gruppieren 19">
              <a:extLst>
                <a:ext uri="{FF2B5EF4-FFF2-40B4-BE49-F238E27FC236}">
                  <a16:creationId xmlns:a16="http://schemas.microsoft.com/office/drawing/2014/main" id="{D7F48A4A-8844-6E4F-AE8B-94775BE48541}"/>
                </a:ext>
              </a:extLst>
            </p:cNvPr>
            <p:cNvGrpSpPr/>
            <p:nvPr/>
          </p:nvGrpSpPr>
          <p:grpSpPr>
            <a:xfrm>
              <a:off x="806400" y="3859200"/>
              <a:ext cx="198000" cy="1324800"/>
              <a:chOff x="806400" y="3681400"/>
              <a:chExt cx="198000" cy="1324800"/>
            </a:xfrm>
          </p:grpSpPr>
          <p:sp>
            <p:nvSpPr>
              <p:cNvPr id="117" name="Ellipse 26">
                <a:extLst>
                  <a:ext uri="{FF2B5EF4-FFF2-40B4-BE49-F238E27FC236}">
                    <a16:creationId xmlns:a16="http://schemas.microsoft.com/office/drawing/2014/main" id="{B31F6662-5EDE-AB47-8093-BE33FFBA5677}"/>
                  </a:ext>
                </a:extLst>
              </p:cNvPr>
              <p:cNvSpPr>
                <a:spLocks noChangeAspect="1"/>
              </p:cNvSpPr>
              <p:nvPr/>
            </p:nvSpPr>
            <p:spPr bwMode="gray">
              <a:xfrm>
                <a:off x="806400" y="3681400"/>
                <a:ext cx="198000" cy="198000"/>
              </a:xfrm>
              <a:prstGeom prst="ellipse">
                <a:avLst/>
              </a:prstGeom>
              <a:solidFill>
                <a:schemeClr val="bg2"/>
              </a:solidFill>
              <a:ln w="12700" cap="flat" cmpd="sng" algn="ctr">
                <a:noFill/>
                <a:prstDash val="solid"/>
                <a:round/>
                <a:headEnd type="none" w="med" len="med"/>
                <a:tailEnd type="none" w="med" len="med"/>
              </a:ln>
              <a:effectLst/>
            </p:spPr>
            <p:txBody>
              <a:bodyPr vert="horz" wrap="none" lIns="89953" tIns="46776" rIns="89953" bIns="46776"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endParaRPr lang="en-US" sz="1599" dirty="0">
                  <a:solidFill>
                    <a:srgbClr val="66667E"/>
                  </a:solidFill>
                  <a:latin typeface="+mn-lt"/>
                </a:endParaRPr>
              </a:p>
            </p:txBody>
          </p:sp>
          <p:sp>
            <p:nvSpPr>
              <p:cNvPr id="118" name="Line 87">
                <a:extLst>
                  <a:ext uri="{FF2B5EF4-FFF2-40B4-BE49-F238E27FC236}">
                    <a16:creationId xmlns:a16="http://schemas.microsoft.com/office/drawing/2014/main" id="{7B0AF506-607C-9449-A772-A582112D1727}"/>
                  </a:ext>
                </a:extLst>
              </p:cNvPr>
              <p:cNvSpPr>
                <a:spLocks noChangeShapeType="1"/>
              </p:cNvSpPr>
              <p:nvPr/>
            </p:nvSpPr>
            <p:spPr bwMode="gray">
              <a:xfrm flipV="1">
                <a:off x="905400" y="3782200"/>
                <a:ext cx="0" cy="1224000"/>
              </a:xfrm>
              <a:prstGeom prst="line">
                <a:avLst/>
              </a:prstGeom>
              <a:noFill/>
              <a:ln w="12700" cap="flat">
                <a:solidFill>
                  <a:srgbClr val="9999A9"/>
                </a:solidFill>
                <a:miter lim="800000"/>
                <a:headEnd type="none" w="lg" len="lg"/>
                <a:tailEnd type="oval"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9953" tIns="46776" rIns="89953" bIns="46776"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endParaRPr lang="en-US" sz="1799" dirty="0">
                  <a:solidFill>
                    <a:srgbClr val="66667E"/>
                  </a:solidFill>
                  <a:latin typeface="+mn-lt"/>
                </a:endParaRPr>
              </a:p>
            </p:txBody>
          </p:sp>
        </p:grpSp>
      </p:grpSp>
      <p:grpSp>
        <p:nvGrpSpPr>
          <p:cNvPr id="119" name="Group 118"/>
          <p:cNvGrpSpPr/>
          <p:nvPr/>
        </p:nvGrpSpPr>
        <p:grpSpPr>
          <a:xfrm>
            <a:off x="9259348" y="3833789"/>
            <a:ext cx="1034461" cy="1324110"/>
            <a:chOff x="806400" y="3859200"/>
            <a:chExt cx="1035000" cy="1324800"/>
          </a:xfrm>
        </p:grpSpPr>
        <p:sp>
          <p:nvSpPr>
            <p:cNvPr id="120" name="Rechteck 28">
              <a:extLst>
                <a:ext uri="{FF2B5EF4-FFF2-40B4-BE49-F238E27FC236}">
                  <a16:creationId xmlns:a16="http://schemas.microsoft.com/office/drawing/2014/main" id="{F9E8C198-C74A-4343-A698-857ADDF76A3B}"/>
                </a:ext>
              </a:extLst>
            </p:cNvPr>
            <p:cNvSpPr/>
            <p:nvPr/>
          </p:nvSpPr>
          <p:spPr bwMode="gray">
            <a:xfrm>
              <a:off x="905400" y="4353781"/>
              <a:ext cx="936000" cy="830219"/>
            </a:xfrm>
            <a:prstGeom prst="rect">
              <a:avLst/>
            </a:prstGeom>
            <a:noFill/>
            <a:ln w="19050">
              <a:noFill/>
              <a:miter lim="800000"/>
            </a:ln>
            <a:effectLst/>
          </p:spPr>
          <p:txBody>
            <a:bodyPr wrap="square" lIns="143925" tIns="72000" rIns="0" bIns="71963" numCol="1" spcCol="72000" rtlCol="0" anchor="b" anchorCtr="0">
              <a:spAutoFit/>
            </a:bodyPr>
            <a:lstStyle/>
            <a:p>
              <a:pPr>
                <a:tabLst>
                  <a:tab pos="1255085" algn="r"/>
                </a:tabLst>
                <a:defRPr/>
              </a:pPr>
              <a:r>
                <a:rPr lang="en-US" altLang="de-DE" sz="1399" b="1" dirty="0">
                  <a:solidFill>
                    <a:srgbClr val="00FFB9"/>
                  </a:solidFill>
                  <a:ea typeface="Arial Unicode MS"/>
                </a:rPr>
                <a:t>Lorem</a:t>
              </a:r>
            </a:p>
            <a:p>
              <a:pPr marL="0" lvl="1">
                <a:spcBef>
                  <a:spcPts val="300"/>
                </a:spcBef>
                <a:buClr>
                  <a:srgbClr val="3C464B"/>
                </a:buClr>
                <a:defRPr/>
              </a:pPr>
              <a:r>
                <a:rPr lang="en-US" altLang="de-DE" sz="1399" dirty="0">
                  <a:solidFill>
                    <a:srgbClr val="9999A9"/>
                  </a:solidFill>
                  <a:ea typeface="Arial Unicode MS"/>
                  <a:cs typeface="Arial" pitchFamily="34" charset="0"/>
                </a:rPr>
                <a:t>Utra cie smieu</a:t>
              </a:r>
            </a:p>
          </p:txBody>
        </p:sp>
        <p:grpSp>
          <p:nvGrpSpPr>
            <p:cNvPr id="121" name="Gruppieren 19">
              <a:extLst>
                <a:ext uri="{FF2B5EF4-FFF2-40B4-BE49-F238E27FC236}">
                  <a16:creationId xmlns:a16="http://schemas.microsoft.com/office/drawing/2014/main" id="{D7F48A4A-8844-6E4F-AE8B-94775BE48541}"/>
                </a:ext>
              </a:extLst>
            </p:cNvPr>
            <p:cNvGrpSpPr/>
            <p:nvPr/>
          </p:nvGrpSpPr>
          <p:grpSpPr>
            <a:xfrm>
              <a:off x="806400" y="3859200"/>
              <a:ext cx="198000" cy="1324800"/>
              <a:chOff x="806400" y="3681400"/>
              <a:chExt cx="198000" cy="1324800"/>
            </a:xfrm>
          </p:grpSpPr>
          <p:sp>
            <p:nvSpPr>
              <p:cNvPr id="122" name="Ellipse 26">
                <a:extLst>
                  <a:ext uri="{FF2B5EF4-FFF2-40B4-BE49-F238E27FC236}">
                    <a16:creationId xmlns:a16="http://schemas.microsoft.com/office/drawing/2014/main" id="{B31F6662-5EDE-AB47-8093-BE33FFBA5677}"/>
                  </a:ext>
                </a:extLst>
              </p:cNvPr>
              <p:cNvSpPr>
                <a:spLocks noChangeAspect="1"/>
              </p:cNvSpPr>
              <p:nvPr/>
            </p:nvSpPr>
            <p:spPr bwMode="gray">
              <a:xfrm>
                <a:off x="806400" y="3681400"/>
                <a:ext cx="198000" cy="198000"/>
              </a:xfrm>
              <a:prstGeom prst="ellipse">
                <a:avLst/>
              </a:prstGeom>
              <a:solidFill>
                <a:schemeClr val="bg2"/>
              </a:solidFill>
              <a:ln w="12700" cap="flat" cmpd="sng" algn="ctr">
                <a:noFill/>
                <a:prstDash val="solid"/>
                <a:round/>
                <a:headEnd type="none" w="med" len="med"/>
                <a:tailEnd type="none" w="med" len="med"/>
              </a:ln>
              <a:effectLst/>
            </p:spPr>
            <p:txBody>
              <a:bodyPr vert="horz" wrap="none" lIns="89953" tIns="46776" rIns="89953" bIns="46776"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endParaRPr lang="en-US" sz="1599" dirty="0">
                  <a:solidFill>
                    <a:srgbClr val="66667E"/>
                  </a:solidFill>
                  <a:latin typeface="+mn-lt"/>
                </a:endParaRPr>
              </a:p>
            </p:txBody>
          </p:sp>
          <p:sp>
            <p:nvSpPr>
              <p:cNvPr id="123" name="Line 87">
                <a:extLst>
                  <a:ext uri="{FF2B5EF4-FFF2-40B4-BE49-F238E27FC236}">
                    <a16:creationId xmlns:a16="http://schemas.microsoft.com/office/drawing/2014/main" id="{7B0AF506-607C-9449-A772-A582112D1727}"/>
                  </a:ext>
                </a:extLst>
              </p:cNvPr>
              <p:cNvSpPr>
                <a:spLocks noChangeShapeType="1"/>
              </p:cNvSpPr>
              <p:nvPr/>
            </p:nvSpPr>
            <p:spPr bwMode="gray">
              <a:xfrm flipV="1">
                <a:off x="905400" y="3782200"/>
                <a:ext cx="0" cy="1224000"/>
              </a:xfrm>
              <a:prstGeom prst="line">
                <a:avLst/>
              </a:prstGeom>
              <a:noFill/>
              <a:ln w="12700" cap="flat">
                <a:solidFill>
                  <a:srgbClr val="9999A9"/>
                </a:solidFill>
                <a:miter lim="800000"/>
                <a:headEnd type="none" w="lg" len="lg"/>
                <a:tailEnd type="oval"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9953" tIns="46776" rIns="89953" bIns="46776"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endParaRPr lang="en-US" sz="1799" dirty="0">
                  <a:solidFill>
                    <a:srgbClr val="66667E"/>
                  </a:solidFill>
                  <a:latin typeface="+mn-lt"/>
                </a:endParaRPr>
              </a:p>
            </p:txBody>
          </p:sp>
        </p:grpSp>
      </p:grpSp>
      <p:grpSp>
        <p:nvGrpSpPr>
          <p:cNvPr id="130" name="Group 129"/>
          <p:cNvGrpSpPr/>
          <p:nvPr/>
        </p:nvGrpSpPr>
        <p:grpSpPr>
          <a:xfrm>
            <a:off x="1862651" y="3833789"/>
            <a:ext cx="1034461" cy="2151679"/>
            <a:chOff x="806400" y="3859200"/>
            <a:chExt cx="1035000" cy="2152800"/>
          </a:xfrm>
        </p:grpSpPr>
        <p:sp>
          <p:nvSpPr>
            <p:cNvPr id="131" name="Rechteck 28">
              <a:extLst>
                <a:ext uri="{FF2B5EF4-FFF2-40B4-BE49-F238E27FC236}">
                  <a16:creationId xmlns:a16="http://schemas.microsoft.com/office/drawing/2014/main" id="{F9E8C198-C74A-4343-A698-857ADDF76A3B}"/>
                </a:ext>
              </a:extLst>
            </p:cNvPr>
            <p:cNvSpPr/>
            <p:nvPr/>
          </p:nvSpPr>
          <p:spPr bwMode="gray">
            <a:xfrm>
              <a:off x="905400" y="5181781"/>
              <a:ext cx="936000" cy="830219"/>
            </a:xfrm>
            <a:prstGeom prst="rect">
              <a:avLst/>
            </a:prstGeom>
            <a:noFill/>
            <a:ln w="19050">
              <a:noFill/>
              <a:miter lim="800000"/>
            </a:ln>
            <a:effectLst/>
          </p:spPr>
          <p:txBody>
            <a:bodyPr wrap="square" lIns="143925" tIns="72000" rIns="0" bIns="71963" numCol="1" spcCol="72000" rtlCol="0" anchor="b" anchorCtr="0">
              <a:spAutoFit/>
            </a:bodyPr>
            <a:lstStyle/>
            <a:p>
              <a:pPr>
                <a:defRPr/>
              </a:pPr>
              <a:r>
                <a:rPr lang="en-US" altLang="de-DE" sz="1399" b="1" dirty="0">
                  <a:solidFill>
                    <a:srgbClr val="00FFB9"/>
                  </a:solidFill>
                  <a:ea typeface="Arial Unicode MS"/>
                </a:rPr>
                <a:t>Lorem</a:t>
              </a:r>
            </a:p>
            <a:p>
              <a:pPr marL="0" lvl="1">
                <a:spcBef>
                  <a:spcPts val="300"/>
                </a:spcBef>
                <a:buClr>
                  <a:srgbClr val="3C464B"/>
                </a:buClr>
                <a:defRPr/>
              </a:pPr>
              <a:r>
                <a:rPr lang="en-US" altLang="de-DE" sz="1399" dirty="0">
                  <a:solidFill>
                    <a:srgbClr val="9999A9"/>
                  </a:solidFill>
                  <a:ea typeface="Arial Unicode MS"/>
                  <a:cs typeface="Arial" pitchFamily="34" charset="0"/>
                </a:rPr>
                <a:t>Utra cie smieu</a:t>
              </a:r>
            </a:p>
          </p:txBody>
        </p:sp>
        <p:grpSp>
          <p:nvGrpSpPr>
            <p:cNvPr id="132" name="Gruppieren 19">
              <a:extLst>
                <a:ext uri="{FF2B5EF4-FFF2-40B4-BE49-F238E27FC236}">
                  <a16:creationId xmlns:a16="http://schemas.microsoft.com/office/drawing/2014/main" id="{D7F48A4A-8844-6E4F-AE8B-94775BE48541}"/>
                </a:ext>
              </a:extLst>
            </p:cNvPr>
            <p:cNvGrpSpPr/>
            <p:nvPr/>
          </p:nvGrpSpPr>
          <p:grpSpPr>
            <a:xfrm>
              <a:off x="806400" y="3859200"/>
              <a:ext cx="198000" cy="2152800"/>
              <a:chOff x="806400" y="3681400"/>
              <a:chExt cx="198000" cy="2152800"/>
            </a:xfrm>
          </p:grpSpPr>
          <p:sp>
            <p:nvSpPr>
              <p:cNvPr id="133" name="Ellipse 26">
                <a:extLst>
                  <a:ext uri="{FF2B5EF4-FFF2-40B4-BE49-F238E27FC236}">
                    <a16:creationId xmlns:a16="http://schemas.microsoft.com/office/drawing/2014/main" id="{B31F6662-5EDE-AB47-8093-BE33FFBA5677}"/>
                  </a:ext>
                </a:extLst>
              </p:cNvPr>
              <p:cNvSpPr>
                <a:spLocks noChangeAspect="1"/>
              </p:cNvSpPr>
              <p:nvPr/>
            </p:nvSpPr>
            <p:spPr bwMode="gray">
              <a:xfrm>
                <a:off x="806400" y="3681400"/>
                <a:ext cx="198000" cy="198000"/>
              </a:xfrm>
              <a:prstGeom prst="ellipse">
                <a:avLst/>
              </a:prstGeom>
              <a:solidFill>
                <a:schemeClr val="bg2"/>
              </a:solidFill>
              <a:ln w="12700" cap="flat" cmpd="sng" algn="ctr">
                <a:noFill/>
                <a:prstDash val="solid"/>
                <a:round/>
                <a:headEnd type="none" w="med" len="med"/>
                <a:tailEnd type="none" w="med" len="med"/>
              </a:ln>
              <a:effectLst/>
            </p:spPr>
            <p:txBody>
              <a:bodyPr vert="horz" wrap="none" lIns="89953" tIns="46776" rIns="89953" bIns="46776"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endParaRPr lang="en-US" sz="1599" dirty="0">
                  <a:solidFill>
                    <a:srgbClr val="66667E"/>
                  </a:solidFill>
                  <a:latin typeface="+mn-lt"/>
                </a:endParaRPr>
              </a:p>
            </p:txBody>
          </p:sp>
          <p:sp>
            <p:nvSpPr>
              <p:cNvPr id="134" name="Line 87">
                <a:extLst>
                  <a:ext uri="{FF2B5EF4-FFF2-40B4-BE49-F238E27FC236}">
                    <a16:creationId xmlns:a16="http://schemas.microsoft.com/office/drawing/2014/main" id="{7B0AF506-607C-9449-A772-A582112D1727}"/>
                  </a:ext>
                </a:extLst>
              </p:cNvPr>
              <p:cNvSpPr>
                <a:spLocks noChangeShapeType="1"/>
              </p:cNvSpPr>
              <p:nvPr/>
            </p:nvSpPr>
            <p:spPr bwMode="gray">
              <a:xfrm flipV="1">
                <a:off x="905400" y="3782200"/>
                <a:ext cx="0" cy="2052000"/>
              </a:xfrm>
              <a:prstGeom prst="line">
                <a:avLst/>
              </a:prstGeom>
              <a:noFill/>
              <a:ln w="12700" cap="flat">
                <a:solidFill>
                  <a:srgbClr val="9999A9"/>
                </a:solidFill>
                <a:miter lim="800000"/>
                <a:headEnd type="none" w="lg" len="lg"/>
                <a:tailEnd type="oval"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9953" tIns="46776" rIns="89953" bIns="46776"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endParaRPr lang="en-US" sz="1799" dirty="0">
                  <a:solidFill>
                    <a:srgbClr val="66667E"/>
                  </a:solidFill>
                  <a:latin typeface="+mn-lt"/>
                </a:endParaRPr>
              </a:p>
            </p:txBody>
          </p:sp>
        </p:grpSp>
      </p:grpSp>
      <p:grpSp>
        <p:nvGrpSpPr>
          <p:cNvPr id="140" name="Group 139"/>
          <p:cNvGrpSpPr/>
          <p:nvPr/>
        </p:nvGrpSpPr>
        <p:grpSpPr>
          <a:xfrm>
            <a:off x="3975992" y="3833789"/>
            <a:ext cx="1034461" cy="2151679"/>
            <a:chOff x="806400" y="3859200"/>
            <a:chExt cx="1035000" cy="2152800"/>
          </a:xfrm>
        </p:grpSpPr>
        <p:sp>
          <p:nvSpPr>
            <p:cNvPr id="141" name="Rechteck 28">
              <a:extLst>
                <a:ext uri="{FF2B5EF4-FFF2-40B4-BE49-F238E27FC236}">
                  <a16:creationId xmlns:a16="http://schemas.microsoft.com/office/drawing/2014/main" id="{F9E8C198-C74A-4343-A698-857ADDF76A3B}"/>
                </a:ext>
              </a:extLst>
            </p:cNvPr>
            <p:cNvSpPr/>
            <p:nvPr/>
          </p:nvSpPr>
          <p:spPr bwMode="gray">
            <a:xfrm>
              <a:off x="905400" y="5194611"/>
              <a:ext cx="936000" cy="817389"/>
            </a:xfrm>
            <a:prstGeom prst="rect">
              <a:avLst/>
            </a:prstGeom>
            <a:noFill/>
            <a:ln w="19050">
              <a:noFill/>
              <a:miter lim="800000"/>
            </a:ln>
            <a:effectLst/>
          </p:spPr>
          <p:txBody>
            <a:bodyPr wrap="square" lIns="143925" tIns="72000" rIns="0" bIns="71963" numCol="1" spcCol="72000" rtlCol="0" anchor="b" anchorCtr="0">
              <a:spAutoFit/>
            </a:bodyPr>
            <a:lstStyle/>
            <a:p>
              <a:pPr>
                <a:spcAft>
                  <a:spcPts val="200"/>
                </a:spcAft>
                <a:defRPr/>
              </a:pPr>
              <a:r>
                <a:rPr lang="en-US" altLang="de-DE" sz="1399" b="1" dirty="0">
                  <a:solidFill>
                    <a:srgbClr val="00FFB9"/>
                  </a:solidFill>
                  <a:ea typeface="Arial Unicode MS"/>
                </a:rPr>
                <a:t>Ultris</a:t>
              </a:r>
            </a:p>
            <a:p>
              <a:pPr marL="0" lvl="1">
                <a:buClr>
                  <a:srgbClr val="3C464B"/>
                </a:buClr>
                <a:defRPr/>
              </a:pPr>
              <a:r>
                <a:rPr lang="en-US" altLang="de-DE" sz="1399" dirty="0">
                  <a:solidFill>
                    <a:srgbClr val="9999A9"/>
                  </a:solidFill>
                  <a:ea typeface="Arial Unicode MS"/>
                  <a:cs typeface="Arial" pitchFamily="34" charset="0"/>
                </a:rPr>
                <a:t>Ipsum et dis</a:t>
              </a:r>
            </a:p>
          </p:txBody>
        </p:sp>
        <p:grpSp>
          <p:nvGrpSpPr>
            <p:cNvPr id="142" name="Gruppieren 19">
              <a:extLst>
                <a:ext uri="{FF2B5EF4-FFF2-40B4-BE49-F238E27FC236}">
                  <a16:creationId xmlns:a16="http://schemas.microsoft.com/office/drawing/2014/main" id="{D7F48A4A-8844-6E4F-AE8B-94775BE48541}"/>
                </a:ext>
              </a:extLst>
            </p:cNvPr>
            <p:cNvGrpSpPr/>
            <p:nvPr/>
          </p:nvGrpSpPr>
          <p:grpSpPr>
            <a:xfrm>
              <a:off x="806400" y="3859200"/>
              <a:ext cx="198000" cy="2152800"/>
              <a:chOff x="806400" y="3681400"/>
              <a:chExt cx="198000" cy="2152800"/>
            </a:xfrm>
          </p:grpSpPr>
          <p:sp>
            <p:nvSpPr>
              <p:cNvPr id="143" name="Ellipse 26">
                <a:extLst>
                  <a:ext uri="{FF2B5EF4-FFF2-40B4-BE49-F238E27FC236}">
                    <a16:creationId xmlns:a16="http://schemas.microsoft.com/office/drawing/2014/main" id="{B31F6662-5EDE-AB47-8093-BE33FFBA5677}"/>
                  </a:ext>
                </a:extLst>
              </p:cNvPr>
              <p:cNvSpPr>
                <a:spLocks noChangeAspect="1"/>
              </p:cNvSpPr>
              <p:nvPr/>
            </p:nvSpPr>
            <p:spPr bwMode="gray">
              <a:xfrm>
                <a:off x="806400" y="3681400"/>
                <a:ext cx="198000" cy="198000"/>
              </a:xfrm>
              <a:prstGeom prst="ellipse">
                <a:avLst/>
              </a:prstGeom>
              <a:solidFill>
                <a:schemeClr val="bg2"/>
              </a:solidFill>
              <a:ln w="12700" cap="flat" cmpd="sng" algn="ctr">
                <a:noFill/>
                <a:prstDash val="solid"/>
                <a:round/>
                <a:headEnd type="none" w="med" len="med"/>
                <a:tailEnd type="none" w="med" len="med"/>
              </a:ln>
              <a:effectLst/>
            </p:spPr>
            <p:txBody>
              <a:bodyPr vert="horz" wrap="none" lIns="89953" tIns="46776" rIns="89953" bIns="46776"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endParaRPr lang="en-US" sz="1599" dirty="0">
                  <a:solidFill>
                    <a:srgbClr val="66667E"/>
                  </a:solidFill>
                  <a:latin typeface="+mn-lt"/>
                </a:endParaRPr>
              </a:p>
            </p:txBody>
          </p:sp>
          <p:sp>
            <p:nvSpPr>
              <p:cNvPr id="149" name="Line 87">
                <a:extLst>
                  <a:ext uri="{FF2B5EF4-FFF2-40B4-BE49-F238E27FC236}">
                    <a16:creationId xmlns:a16="http://schemas.microsoft.com/office/drawing/2014/main" id="{7B0AF506-607C-9449-A772-A582112D1727}"/>
                  </a:ext>
                </a:extLst>
              </p:cNvPr>
              <p:cNvSpPr>
                <a:spLocks noChangeShapeType="1"/>
              </p:cNvSpPr>
              <p:nvPr/>
            </p:nvSpPr>
            <p:spPr bwMode="gray">
              <a:xfrm flipV="1">
                <a:off x="905400" y="3782200"/>
                <a:ext cx="0" cy="2052000"/>
              </a:xfrm>
              <a:prstGeom prst="line">
                <a:avLst/>
              </a:prstGeom>
              <a:noFill/>
              <a:ln w="12700" cap="flat">
                <a:solidFill>
                  <a:srgbClr val="9999A9"/>
                </a:solidFill>
                <a:miter lim="800000"/>
                <a:headEnd type="none" w="lg" len="lg"/>
                <a:tailEnd type="oval"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9953" tIns="46776" rIns="89953" bIns="46776"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endParaRPr lang="en-US" sz="1799" dirty="0">
                  <a:solidFill>
                    <a:srgbClr val="66667E"/>
                  </a:solidFill>
                  <a:latin typeface="+mn-lt"/>
                </a:endParaRPr>
              </a:p>
            </p:txBody>
          </p:sp>
        </p:grpSp>
      </p:grpSp>
      <p:grpSp>
        <p:nvGrpSpPr>
          <p:cNvPr id="150" name="Group 149"/>
          <p:cNvGrpSpPr/>
          <p:nvPr/>
        </p:nvGrpSpPr>
        <p:grpSpPr>
          <a:xfrm>
            <a:off x="6089334" y="3833789"/>
            <a:ext cx="1034461" cy="2151679"/>
            <a:chOff x="806400" y="3859200"/>
            <a:chExt cx="1035000" cy="2152800"/>
          </a:xfrm>
        </p:grpSpPr>
        <p:sp>
          <p:nvSpPr>
            <p:cNvPr id="151" name="Rechteck 28">
              <a:extLst>
                <a:ext uri="{FF2B5EF4-FFF2-40B4-BE49-F238E27FC236}">
                  <a16:creationId xmlns:a16="http://schemas.microsoft.com/office/drawing/2014/main" id="{F9E8C198-C74A-4343-A698-857ADDF76A3B}"/>
                </a:ext>
              </a:extLst>
            </p:cNvPr>
            <p:cNvSpPr/>
            <p:nvPr/>
          </p:nvSpPr>
          <p:spPr bwMode="gray">
            <a:xfrm>
              <a:off x="905400" y="5181781"/>
              <a:ext cx="936000" cy="830219"/>
            </a:xfrm>
            <a:prstGeom prst="rect">
              <a:avLst/>
            </a:prstGeom>
            <a:noFill/>
            <a:ln w="19050">
              <a:noFill/>
              <a:miter lim="800000"/>
            </a:ln>
            <a:effectLst/>
          </p:spPr>
          <p:txBody>
            <a:bodyPr wrap="square" lIns="143925" tIns="72000" rIns="0" bIns="71963" numCol="1" spcCol="72000" rtlCol="0" anchor="b" anchorCtr="0">
              <a:spAutoFit/>
            </a:bodyPr>
            <a:lstStyle/>
            <a:p>
              <a:pPr>
                <a:tabLst>
                  <a:tab pos="1255085" algn="r"/>
                </a:tabLst>
                <a:defRPr/>
              </a:pPr>
              <a:r>
                <a:rPr lang="en-US" altLang="de-DE" sz="1399" b="1" dirty="0">
                  <a:solidFill>
                    <a:srgbClr val="00FFB9"/>
                  </a:solidFill>
                  <a:ea typeface="Arial Unicode MS"/>
                </a:rPr>
                <a:t>Lorem</a:t>
              </a:r>
            </a:p>
            <a:p>
              <a:pPr marL="0" lvl="1">
                <a:spcBef>
                  <a:spcPts val="300"/>
                </a:spcBef>
                <a:buClr>
                  <a:srgbClr val="3C464B"/>
                </a:buClr>
                <a:defRPr/>
              </a:pPr>
              <a:r>
                <a:rPr lang="en-US" altLang="de-DE" sz="1399" dirty="0">
                  <a:solidFill>
                    <a:srgbClr val="9999A9"/>
                  </a:solidFill>
                  <a:ea typeface="Arial Unicode MS"/>
                  <a:cs typeface="Arial" pitchFamily="34" charset="0"/>
                </a:rPr>
                <a:t>Utra cie smieu</a:t>
              </a:r>
            </a:p>
          </p:txBody>
        </p:sp>
        <p:grpSp>
          <p:nvGrpSpPr>
            <p:cNvPr id="152" name="Gruppieren 19">
              <a:extLst>
                <a:ext uri="{FF2B5EF4-FFF2-40B4-BE49-F238E27FC236}">
                  <a16:creationId xmlns:a16="http://schemas.microsoft.com/office/drawing/2014/main" id="{D7F48A4A-8844-6E4F-AE8B-94775BE48541}"/>
                </a:ext>
              </a:extLst>
            </p:cNvPr>
            <p:cNvGrpSpPr/>
            <p:nvPr/>
          </p:nvGrpSpPr>
          <p:grpSpPr>
            <a:xfrm>
              <a:off x="806400" y="3859200"/>
              <a:ext cx="198000" cy="2152800"/>
              <a:chOff x="806400" y="3681400"/>
              <a:chExt cx="198000" cy="2152800"/>
            </a:xfrm>
          </p:grpSpPr>
          <p:sp>
            <p:nvSpPr>
              <p:cNvPr id="153" name="Ellipse 26">
                <a:extLst>
                  <a:ext uri="{FF2B5EF4-FFF2-40B4-BE49-F238E27FC236}">
                    <a16:creationId xmlns:a16="http://schemas.microsoft.com/office/drawing/2014/main" id="{B31F6662-5EDE-AB47-8093-BE33FFBA5677}"/>
                  </a:ext>
                </a:extLst>
              </p:cNvPr>
              <p:cNvSpPr>
                <a:spLocks noChangeAspect="1"/>
              </p:cNvSpPr>
              <p:nvPr/>
            </p:nvSpPr>
            <p:spPr bwMode="gray">
              <a:xfrm>
                <a:off x="806400" y="3681400"/>
                <a:ext cx="198000" cy="198000"/>
              </a:xfrm>
              <a:prstGeom prst="ellipse">
                <a:avLst/>
              </a:prstGeom>
              <a:solidFill>
                <a:schemeClr val="bg2"/>
              </a:solidFill>
              <a:ln w="12700" cap="flat" cmpd="sng" algn="ctr">
                <a:noFill/>
                <a:prstDash val="solid"/>
                <a:round/>
                <a:headEnd type="none" w="med" len="med"/>
                <a:tailEnd type="none" w="med" len="med"/>
              </a:ln>
              <a:effectLst/>
            </p:spPr>
            <p:txBody>
              <a:bodyPr vert="horz" wrap="none" lIns="89953" tIns="46776" rIns="89953" bIns="46776"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endParaRPr lang="en-US" sz="1599" dirty="0">
                  <a:solidFill>
                    <a:srgbClr val="66667E"/>
                  </a:solidFill>
                  <a:latin typeface="+mn-lt"/>
                </a:endParaRPr>
              </a:p>
            </p:txBody>
          </p:sp>
          <p:sp>
            <p:nvSpPr>
              <p:cNvPr id="155" name="Line 87">
                <a:extLst>
                  <a:ext uri="{FF2B5EF4-FFF2-40B4-BE49-F238E27FC236}">
                    <a16:creationId xmlns:a16="http://schemas.microsoft.com/office/drawing/2014/main" id="{7B0AF506-607C-9449-A772-A582112D1727}"/>
                  </a:ext>
                </a:extLst>
              </p:cNvPr>
              <p:cNvSpPr>
                <a:spLocks noChangeShapeType="1"/>
              </p:cNvSpPr>
              <p:nvPr/>
            </p:nvSpPr>
            <p:spPr bwMode="gray">
              <a:xfrm flipV="1">
                <a:off x="905400" y="3782200"/>
                <a:ext cx="0" cy="2052000"/>
              </a:xfrm>
              <a:prstGeom prst="line">
                <a:avLst/>
              </a:prstGeom>
              <a:noFill/>
              <a:ln w="12700" cap="flat">
                <a:solidFill>
                  <a:srgbClr val="9999A9"/>
                </a:solidFill>
                <a:miter lim="800000"/>
                <a:headEnd type="none" w="lg" len="lg"/>
                <a:tailEnd type="oval"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9953" tIns="46776" rIns="89953" bIns="46776"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endParaRPr lang="en-US" sz="1799" dirty="0">
                  <a:solidFill>
                    <a:srgbClr val="66667E"/>
                  </a:solidFill>
                  <a:latin typeface="+mn-lt"/>
                </a:endParaRPr>
              </a:p>
            </p:txBody>
          </p:sp>
        </p:grpSp>
      </p:grpSp>
      <p:grpSp>
        <p:nvGrpSpPr>
          <p:cNvPr id="156" name="Group 155"/>
          <p:cNvGrpSpPr/>
          <p:nvPr/>
        </p:nvGrpSpPr>
        <p:grpSpPr>
          <a:xfrm>
            <a:off x="8202675" y="3833789"/>
            <a:ext cx="1034461" cy="2151679"/>
            <a:chOff x="806400" y="3859200"/>
            <a:chExt cx="1035000" cy="2152800"/>
          </a:xfrm>
        </p:grpSpPr>
        <p:sp>
          <p:nvSpPr>
            <p:cNvPr id="157" name="Rechteck 28">
              <a:extLst>
                <a:ext uri="{FF2B5EF4-FFF2-40B4-BE49-F238E27FC236}">
                  <a16:creationId xmlns:a16="http://schemas.microsoft.com/office/drawing/2014/main" id="{F9E8C198-C74A-4343-A698-857ADDF76A3B}"/>
                </a:ext>
              </a:extLst>
            </p:cNvPr>
            <p:cNvSpPr/>
            <p:nvPr/>
          </p:nvSpPr>
          <p:spPr bwMode="gray">
            <a:xfrm>
              <a:off x="905400" y="5194611"/>
              <a:ext cx="936000" cy="817389"/>
            </a:xfrm>
            <a:prstGeom prst="rect">
              <a:avLst/>
            </a:prstGeom>
            <a:noFill/>
            <a:ln w="19050">
              <a:noFill/>
              <a:miter lim="800000"/>
            </a:ln>
            <a:effectLst/>
          </p:spPr>
          <p:txBody>
            <a:bodyPr wrap="square" lIns="143925" tIns="72000" rIns="0" bIns="71963" numCol="1" spcCol="72000" rtlCol="0" anchor="b" anchorCtr="0">
              <a:spAutoFit/>
            </a:bodyPr>
            <a:lstStyle/>
            <a:p>
              <a:pPr>
                <a:spcAft>
                  <a:spcPts val="200"/>
                </a:spcAft>
                <a:tabLst>
                  <a:tab pos="1255085" algn="r"/>
                </a:tabLst>
                <a:defRPr/>
              </a:pPr>
              <a:r>
                <a:rPr lang="en-US" altLang="de-DE" sz="1399" b="1" dirty="0">
                  <a:solidFill>
                    <a:srgbClr val="00FFB9"/>
                  </a:solidFill>
                  <a:ea typeface="Arial Unicode MS"/>
                </a:rPr>
                <a:t>Ultris</a:t>
              </a:r>
            </a:p>
            <a:p>
              <a:pPr marL="0" lvl="1">
                <a:buClr>
                  <a:srgbClr val="3C464B"/>
                </a:buClr>
                <a:defRPr/>
              </a:pPr>
              <a:r>
                <a:rPr lang="en-US" altLang="de-DE" sz="1399" dirty="0">
                  <a:solidFill>
                    <a:srgbClr val="9999A9"/>
                  </a:solidFill>
                  <a:ea typeface="Arial Unicode MS"/>
                  <a:cs typeface="Arial" pitchFamily="34" charset="0"/>
                </a:rPr>
                <a:t>Ipsum et dis</a:t>
              </a:r>
            </a:p>
          </p:txBody>
        </p:sp>
        <p:grpSp>
          <p:nvGrpSpPr>
            <p:cNvPr id="158" name="Gruppieren 19">
              <a:extLst>
                <a:ext uri="{FF2B5EF4-FFF2-40B4-BE49-F238E27FC236}">
                  <a16:creationId xmlns:a16="http://schemas.microsoft.com/office/drawing/2014/main" id="{D7F48A4A-8844-6E4F-AE8B-94775BE48541}"/>
                </a:ext>
              </a:extLst>
            </p:cNvPr>
            <p:cNvGrpSpPr/>
            <p:nvPr/>
          </p:nvGrpSpPr>
          <p:grpSpPr>
            <a:xfrm>
              <a:off x="806400" y="3859200"/>
              <a:ext cx="198000" cy="2152800"/>
              <a:chOff x="806400" y="3681400"/>
              <a:chExt cx="198000" cy="2152800"/>
            </a:xfrm>
          </p:grpSpPr>
          <p:sp>
            <p:nvSpPr>
              <p:cNvPr id="159" name="Ellipse 26">
                <a:extLst>
                  <a:ext uri="{FF2B5EF4-FFF2-40B4-BE49-F238E27FC236}">
                    <a16:creationId xmlns:a16="http://schemas.microsoft.com/office/drawing/2014/main" id="{B31F6662-5EDE-AB47-8093-BE33FFBA5677}"/>
                  </a:ext>
                </a:extLst>
              </p:cNvPr>
              <p:cNvSpPr>
                <a:spLocks noChangeAspect="1"/>
              </p:cNvSpPr>
              <p:nvPr/>
            </p:nvSpPr>
            <p:spPr bwMode="gray">
              <a:xfrm>
                <a:off x="806400" y="3681400"/>
                <a:ext cx="198000" cy="198000"/>
              </a:xfrm>
              <a:prstGeom prst="ellipse">
                <a:avLst/>
              </a:prstGeom>
              <a:solidFill>
                <a:schemeClr val="bg2"/>
              </a:solidFill>
              <a:ln w="12700" cap="flat" cmpd="sng" algn="ctr">
                <a:noFill/>
                <a:prstDash val="solid"/>
                <a:round/>
                <a:headEnd type="none" w="med" len="med"/>
                <a:tailEnd type="none" w="med" len="med"/>
              </a:ln>
              <a:effectLst/>
            </p:spPr>
            <p:txBody>
              <a:bodyPr vert="horz" wrap="none" lIns="89953" tIns="46776" rIns="89953" bIns="46776"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endParaRPr lang="en-US" sz="1599" dirty="0">
                  <a:solidFill>
                    <a:srgbClr val="66667E"/>
                  </a:solidFill>
                  <a:latin typeface="+mn-lt"/>
                </a:endParaRPr>
              </a:p>
            </p:txBody>
          </p:sp>
          <p:sp>
            <p:nvSpPr>
              <p:cNvPr id="160" name="Line 87">
                <a:extLst>
                  <a:ext uri="{FF2B5EF4-FFF2-40B4-BE49-F238E27FC236}">
                    <a16:creationId xmlns:a16="http://schemas.microsoft.com/office/drawing/2014/main" id="{7B0AF506-607C-9449-A772-A582112D1727}"/>
                  </a:ext>
                </a:extLst>
              </p:cNvPr>
              <p:cNvSpPr>
                <a:spLocks noChangeShapeType="1"/>
              </p:cNvSpPr>
              <p:nvPr/>
            </p:nvSpPr>
            <p:spPr bwMode="gray">
              <a:xfrm flipV="1">
                <a:off x="905400" y="3782200"/>
                <a:ext cx="0" cy="2052000"/>
              </a:xfrm>
              <a:prstGeom prst="line">
                <a:avLst/>
              </a:prstGeom>
              <a:noFill/>
              <a:ln w="12700" cap="flat">
                <a:solidFill>
                  <a:srgbClr val="9999A9"/>
                </a:solidFill>
                <a:miter lim="800000"/>
                <a:headEnd type="none" w="lg" len="lg"/>
                <a:tailEnd type="oval"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9953" tIns="46776" rIns="89953" bIns="46776"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endParaRPr lang="en-US" sz="1799" dirty="0">
                  <a:solidFill>
                    <a:srgbClr val="66667E"/>
                  </a:solidFill>
                  <a:latin typeface="+mn-lt"/>
                </a:endParaRPr>
              </a:p>
            </p:txBody>
          </p:sp>
        </p:grpSp>
      </p:grpSp>
      <p:grpSp>
        <p:nvGrpSpPr>
          <p:cNvPr id="162" name="Group 161"/>
          <p:cNvGrpSpPr/>
          <p:nvPr/>
        </p:nvGrpSpPr>
        <p:grpSpPr>
          <a:xfrm>
            <a:off x="10304433" y="3833789"/>
            <a:ext cx="1322311" cy="2151679"/>
            <a:chOff x="806400" y="3859200"/>
            <a:chExt cx="1323000" cy="2152800"/>
          </a:xfrm>
        </p:grpSpPr>
        <p:sp>
          <p:nvSpPr>
            <p:cNvPr id="165" name="Rechteck 28">
              <a:extLst>
                <a:ext uri="{FF2B5EF4-FFF2-40B4-BE49-F238E27FC236}">
                  <a16:creationId xmlns:a16="http://schemas.microsoft.com/office/drawing/2014/main" id="{F9E8C198-C74A-4343-A698-857ADDF76A3B}"/>
                </a:ext>
              </a:extLst>
            </p:cNvPr>
            <p:cNvSpPr/>
            <p:nvPr/>
          </p:nvSpPr>
          <p:spPr bwMode="gray">
            <a:xfrm>
              <a:off x="905400" y="5181781"/>
              <a:ext cx="1224000" cy="830219"/>
            </a:xfrm>
            <a:prstGeom prst="rect">
              <a:avLst/>
            </a:prstGeom>
            <a:noFill/>
            <a:ln w="19050">
              <a:noFill/>
              <a:miter lim="800000"/>
            </a:ln>
            <a:effectLst/>
          </p:spPr>
          <p:txBody>
            <a:bodyPr wrap="square" lIns="143925" tIns="72000" rIns="0" bIns="71963" numCol="1" spcCol="72000" rtlCol="0" anchor="b" anchorCtr="0">
              <a:spAutoFit/>
            </a:bodyPr>
            <a:lstStyle/>
            <a:p>
              <a:pPr>
                <a:defRPr/>
              </a:pPr>
              <a:r>
                <a:rPr lang="en-US" altLang="de-DE" sz="1399" b="1" dirty="0">
                  <a:solidFill>
                    <a:srgbClr val="00FFB9"/>
                  </a:solidFill>
                  <a:ea typeface="Arial Unicode MS"/>
                </a:rPr>
                <a:t>Dolore</a:t>
              </a:r>
            </a:p>
            <a:p>
              <a:pPr marL="0" lvl="1">
                <a:spcBef>
                  <a:spcPts val="300"/>
                </a:spcBef>
                <a:buClr>
                  <a:srgbClr val="3C464B"/>
                </a:buClr>
                <a:tabLst>
                  <a:tab pos="1255085" algn="r"/>
                </a:tabLst>
                <a:defRPr/>
              </a:pPr>
              <a:r>
                <a:rPr lang="en-US" altLang="de-DE" sz="1399" dirty="0">
                  <a:solidFill>
                    <a:srgbClr val="9999A9"/>
                  </a:solidFill>
                  <a:ea typeface="Arial Unicode MS"/>
                  <a:cs typeface="Arial" pitchFamily="34" charset="0"/>
                </a:rPr>
                <a:t>Ultricies mi senz</a:t>
              </a:r>
            </a:p>
          </p:txBody>
        </p:sp>
        <p:grpSp>
          <p:nvGrpSpPr>
            <p:cNvPr id="166" name="Gruppieren 19">
              <a:extLst>
                <a:ext uri="{FF2B5EF4-FFF2-40B4-BE49-F238E27FC236}">
                  <a16:creationId xmlns:a16="http://schemas.microsoft.com/office/drawing/2014/main" id="{D7F48A4A-8844-6E4F-AE8B-94775BE48541}"/>
                </a:ext>
              </a:extLst>
            </p:cNvPr>
            <p:cNvGrpSpPr/>
            <p:nvPr/>
          </p:nvGrpSpPr>
          <p:grpSpPr>
            <a:xfrm>
              <a:off x="806400" y="3859200"/>
              <a:ext cx="198000" cy="2152800"/>
              <a:chOff x="806400" y="3681400"/>
              <a:chExt cx="198000" cy="2152800"/>
            </a:xfrm>
          </p:grpSpPr>
          <p:sp>
            <p:nvSpPr>
              <p:cNvPr id="167" name="Ellipse 26">
                <a:extLst>
                  <a:ext uri="{FF2B5EF4-FFF2-40B4-BE49-F238E27FC236}">
                    <a16:creationId xmlns:a16="http://schemas.microsoft.com/office/drawing/2014/main" id="{B31F6662-5EDE-AB47-8093-BE33FFBA5677}"/>
                  </a:ext>
                </a:extLst>
              </p:cNvPr>
              <p:cNvSpPr>
                <a:spLocks noChangeAspect="1"/>
              </p:cNvSpPr>
              <p:nvPr/>
            </p:nvSpPr>
            <p:spPr bwMode="gray">
              <a:xfrm>
                <a:off x="806400" y="3681400"/>
                <a:ext cx="198000" cy="198000"/>
              </a:xfrm>
              <a:prstGeom prst="ellipse">
                <a:avLst/>
              </a:prstGeom>
              <a:solidFill>
                <a:schemeClr val="bg2"/>
              </a:solidFill>
              <a:ln w="12700" cap="flat" cmpd="sng" algn="ctr">
                <a:noFill/>
                <a:prstDash val="solid"/>
                <a:round/>
                <a:headEnd type="none" w="med" len="med"/>
                <a:tailEnd type="none" w="med" len="med"/>
              </a:ln>
              <a:effectLst/>
            </p:spPr>
            <p:txBody>
              <a:bodyPr vert="horz" wrap="none" lIns="89953" tIns="46776" rIns="89953" bIns="46776"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endParaRPr lang="en-US" sz="1599" dirty="0">
                  <a:solidFill>
                    <a:srgbClr val="66667E"/>
                  </a:solidFill>
                  <a:latin typeface="+mn-lt"/>
                </a:endParaRPr>
              </a:p>
            </p:txBody>
          </p:sp>
          <p:sp>
            <p:nvSpPr>
              <p:cNvPr id="168" name="Line 87">
                <a:extLst>
                  <a:ext uri="{FF2B5EF4-FFF2-40B4-BE49-F238E27FC236}">
                    <a16:creationId xmlns:a16="http://schemas.microsoft.com/office/drawing/2014/main" id="{7B0AF506-607C-9449-A772-A582112D1727}"/>
                  </a:ext>
                </a:extLst>
              </p:cNvPr>
              <p:cNvSpPr>
                <a:spLocks noChangeShapeType="1"/>
              </p:cNvSpPr>
              <p:nvPr/>
            </p:nvSpPr>
            <p:spPr bwMode="gray">
              <a:xfrm flipV="1">
                <a:off x="905400" y="3782200"/>
                <a:ext cx="0" cy="2052000"/>
              </a:xfrm>
              <a:prstGeom prst="line">
                <a:avLst/>
              </a:prstGeom>
              <a:noFill/>
              <a:ln w="12700" cap="flat">
                <a:solidFill>
                  <a:srgbClr val="9999A9"/>
                </a:solidFill>
                <a:miter lim="800000"/>
                <a:headEnd type="none" w="lg" len="lg"/>
                <a:tailEnd type="oval"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9953" tIns="46776" rIns="89953" bIns="46776"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endParaRPr lang="en-US" sz="1799" dirty="0">
                  <a:solidFill>
                    <a:srgbClr val="66667E"/>
                  </a:solidFill>
                  <a:latin typeface="+mn-lt"/>
                </a:endParaRPr>
              </a:p>
            </p:txBody>
          </p:sp>
        </p:grpSp>
      </p:grpSp>
      <p:sp>
        <p:nvSpPr>
          <p:cNvPr id="4" name="Footer Placeholder 3">
            <a:extLst>
              <a:ext uri="{FF2B5EF4-FFF2-40B4-BE49-F238E27FC236}">
                <a16:creationId xmlns:a16="http://schemas.microsoft.com/office/drawing/2014/main" id="{75297753-A7CB-47EA-8290-173B9D067E1D}"/>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5" name="Slide Number Placeholder 4">
            <a:extLst>
              <a:ext uri="{FF2B5EF4-FFF2-40B4-BE49-F238E27FC236}">
                <a16:creationId xmlns:a16="http://schemas.microsoft.com/office/drawing/2014/main" id="{94343487-D8C2-4D94-B999-CB5374585BF1}"/>
              </a:ext>
            </a:extLst>
          </p:cNvPr>
          <p:cNvSpPr>
            <a:spLocks noGrp="1"/>
          </p:cNvSpPr>
          <p:nvPr>
            <p:ph type="sldNum" sz="quarter" idx="11"/>
          </p:nvPr>
        </p:nvSpPr>
        <p:spPr/>
        <p:txBody>
          <a:bodyPr/>
          <a:lstStyle/>
          <a:p>
            <a:r>
              <a:rPr lang="en-US" dirty="0"/>
              <a:t>Page </a:t>
            </a:r>
            <a:fld id="{15EBE321-CBB1-4E91-BD14-37C8D44326FB}" type="slidenum">
              <a:rPr lang="en-US" smtClean="0"/>
              <a:pPr/>
              <a:t>63</a:t>
            </a:fld>
            <a:endParaRPr lang="en-US" dirty="0"/>
          </a:p>
        </p:txBody>
      </p:sp>
    </p:spTree>
    <p:extLst>
      <p:ext uri="{BB962C8B-B14F-4D97-AF65-F5344CB8AC3E}">
        <p14:creationId xmlns:p14="http://schemas.microsoft.com/office/powerpoint/2010/main" val="178144584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Freeform 14">
            <a:extLst>
              <a:ext uri="{FF2B5EF4-FFF2-40B4-BE49-F238E27FC236}">
                <a16:creationId xmlns:a16="http://schemas.microsoft.com/office/drawing/2014/main" id="{CAE3F164-440A-3949-BCFB-A5EBB4F6C167}"/>
              </a:ext>
            </a:extLst>
          </p:cNvPr>
          <p:cNvSpPr/>
          <p:nvPr/>
        </p:nvSpPr>
        <p:spPr bwMode="auto">
          <a:xfrm>
            <a:off x="410400" y="2204659"/>
            <a:ext cx="11376788" cy="3963490"/>
          </a:xfrm>
          <a:custGeom>
            <a:avLst/>
            <a:gdLst>
              <a:gd name="connsiteX0" fmla="*/ 194793 w 9996715"/>
              <a:gd name="connsiteY0" fmla="*/ 4427034 h 4427034"/>
              <a:gd name="connsiteX1" fmla="*/ 1254159 w 9996715"/>
              <a:gd name="connsiteY1" fmla="*/ 3401122 h 4427034"/>
              <a:gd name="connsiteX2" fmla="*/ 9662178 w 9996715"/>
              <a:gd name="connsiteY2" fmla="*/ 1059365 h 4427034"/>
              <a:gd name="connsiteX3" fmla="*/ 8290578 w 9996715"/>
              <a:gd name="connsiteY3" fmla="*/ 356839 h 4427034"/>
              <a:gd name="connsiteX4" fmla="*/ 9996715 w 9996715"/>
              <a:gd name="connsiteY4" fmla="*/ 0 h 4427034"/>
              <a:gd name="connsiteX5" fmla="*/ 9996715 w 9996715"/>
              <a:gd name="connsiteY5" fmla="*/ 0 h 4427034"/>
              <a:gd name="connsiteX0" fmla="*/ 180894 w 9982816"/>
              <a:gd name="connsiteY0" fmla="*/ 4427034 h 4427034"/>
              <a:gd name="connsiteX1" fmla="*/ 1240260 w 9982816"/>
              <a:gd name="connsiteY1" fmla="*/ 3401122 h 4427034"/>
              <a:gd name="connsiteX2" fmla="*/ 9324894 w 9982816"/>
              <a:gd name="connsiteY2" fmla="*/ 1326994 h 4427034"/>
              <a:gd name="connsiteX3" fmla="*/ 8276679 w 9982816"/>
              <a:gd name="connsiteY3" fmla="*/ 356839 h 4427034"/>
              <a:gd name="connsiteX4" fmla="*/ 9982816 w 9982816"/>
              <a:gd name="connsiteY4" fmla="*/ 0 h 4427034"/>
              <a:gd name="connsiteX5" fmla="*/ 9982816 w 9982816"/>
              <a:gd name="connsiteY5" fmla="*/ 0 h 4427034"/>
              <a:gd name="connsiteX0" fmla="*/ 180894 w 9982816"/>
              <a:gd name="connsiteY0" fmla="*/ 4427034 h 4427034"/>
              <a:gd name="connsiteX1" fmla="*/ 1240260 w 9982816"/>
              <a:gd name="connsiteY1" fmla="*/ 3401122 h 4427034"/>
              <a:gd name="connsiteX2" fmla="*/ 9324894 w 9982816"/>
              <a:gd name="connsiteY2" fmla="*/ 1326994 h 4427034"/>
              <a:gd name="connsiteX3" fmla="*/ 8276679 w 9982816"/>
              <a:gd name="connsiteY3" fmla="*/ 356839 h 4427034"/>
              <a:gd name="connsiteX4" fmla="*/ 9982816 w 9982816"/>
              <a:gd name="connsiteY4" fmla="*/ 0 h 4427034"/>
              <a:gd name="connsiteX5" fmla="*/ 9982816 w 9982816"/>
              <a:gd name="connsiteY5" fmla="*/ 0 h 4427034"/>
              <a:gd name="connsiteX0" fmla="*/ 181829 w 9983751"/>
              <a:gd name="connsiteY0" fmla="*/ 4427034 h 4427034"/>
              <a:gd name="connsiteX1" fmla="*/ 1241195 w 9983751"/>
              <a:gd name="connsiteY1" fmla="*/ 3401122 h 4427034"/>
              <a:gd name="connsiteX2" fmla="*/ 9348132 w 9983751"/>
              <a:gd name="connsiteY2" fmla="*/ 1349297 h 4427034"/>
              <a:gd name="connsiteX3" fmla="*/ 8277614 w 9983751"/>
              <a:gd name="connsiteY3" fmla="*/ 356839 h 4427034"/>
              <a:gd name="connsiteX4" fmla="*/ 9983751 w 9983751"/>
              <a:gd name="connsiteY4" fmla="*/ 0 h 4427034"/>
              <a:gd name="connsiteX5" fmla="*/ 9983751 w 9983751"/>
              <a:gd name="connsiteY5" fmla="*/ 0 h 4427034"/>
              <a:gd name="connsiteX0" fmla="*/ 181829 w 9983751"/>
              <a:gd name="connsiteY0" fmla="*/ 4427034 h 4427034"/>
              <a:gd name="connsiteX1" fmla="*/ 1241195 w 9983751"/>
              <a:gd name="connsiteY1" fmla="*/ 3401122 h 4427034"/>
              <a:gd name="connsiteX2" fmla="*/ 9348132 w 9983751"/>
              <a:gd name="connsiteY2" fmla="*/ 1349297 h 4427034"/>
              <a:gd name="connsiteX3" fmla="*/ 8277614 w 9983751"/>
              <a:gd name="connsiteY3" fmla="*/ 356839 h 4427034"/>
              <a:gd name="connsiteX4" fmla="*/ 9983751 w 9983751"/>
              <a:gd name="connsiteY4" fmla="*/ 0 h 4427034"/>
              <a:gd name="connsiteX5" fmla="*/ 9983751 w 9983751"/>
              <a:gd name="connsiteY5" fmla="*/ 0 h 4427034"/>
              <a:gd name="connsiteX0" fmla="*/ 176725 w 9978647"/>
              <a:gd name="connsiteY0" fmla="*/ 4427034 h 4427034"/>
              <a:gd name="connsiteX1" fmla="*/ 1236091 w 9978647"/>
              <a:gd name="connsiteY1" fmla="*/ 3401122 h 4427034"/>
              <a:gd name="connsiteX2" fmla="*/ 9220365 w 9978647"/>
              <a:gd name="connsiteY2" fmla="*/ 1282390 h 4427034"/>
              <a:gd name="connsiteX3" fmla="*/ 8272510 w 9978647"/>
              <a:gd name="connsiteY3" fmla="*/ 356839 h 4427034"/>
              <a:gd name="connsiteX4" fmla="*/ 9978647 w 9978647"/>
              <a:gd name="connsiteY4" fmla="*/ 0 h 4427034"/>
              <a:gd name="connsiteX5" fmla="*/ 9978647 w 9978647"/>
              <a:gd name="connsiteY5" fmla="*/ 0 h 4427034"/>
              <a:gd name="connsiteX0" fmla="*/ 37826 w 9839748"/>
              <a:gd name="connsiteY0" fmla="*/ 4427034 h 4427034"/>
              <a:gd name="connsiteX1" fmla="*/ 2390733 w 9839748"/>
              <a:gd name="connsiteY1" fmla="*/ 2910468 h 4427034"/>
              <a:gd name="connsiteX2" fmla="*/ 9081466 w 9839748"/>
              <a:gd name="connsiteY2" fmla="*/ 1282390 h 4427034"/>
              <a:gd name="connsiteX3" fmla="*/ 8133611 w 9839748"/>
              <a:gd name="connsiteY3" fmla="*/ 356839 h 4427034"/>
              <a:gd name="connsiteX4" fmla="*/ 9839748 w 9839748"/>
              <a:gd name="connsiteY4" fmla="*/ 0 h 4427034"/>
              <a:gd name="connsiteX5" fmla="*/ 9839748 w 9839748"/>
              <a:gd name="connsiteY5" fmla="*/ 0 h 4427034"/>
              <a:gd name="connsiteX0" fmla="*/ 68432 w 9870354"/>
              <a:gd name="connsiteY0" fmla="*/ 4427034 h 4427034"/>
              <a:gd name="connsiteX1" fmla="*/ 2421339 w 9870354"/>
              <a:gd name="connsiteY1" fmla="*/ 2910468 h 4427034"/>
              <a:gd name="connsiteX2" fmla="*/ 9112072 w 9870354"/>
              <a:gd name="connsiteY2" fmla="*/ 1282390 h 4427034"/>
              <a:gd name="connsiteX3" fmla="*/ 8164217 w 9870354"/>
              <a:gd name="connsiteY3" fmla="*/ 356839 h 4427034"/>
              <a:gd name="connsiteX4" fmla="*/ 9870354 w 9870354"/>
              <a:gd name="connsiteY4" fmla="*/ 0 h 4427034"/>
              <a:gd name="connsiteX5" fmla="*/ 9870354 w 9870354"/>
              <a:gd name="connsiteY5" fmla="*/ 0 h 4427034"/>
              <a:gd name="connsiteX0" fmla="*/ 38570 w 9840492"/>
              <a:gd name="connsiteY0" fmla="*/ 4427034 h 4427034"/>
              <a:gd name="connsiteX1" fmla="*/ 2391477 w 9840492"/>
              <a:gd name="connsiteY1" fmla="*/ 2910468 h 4427034"/>
              <a:gd name="connsiteX2" fmla="*/ 9249478 w 9840492"/>
              <a:gd name="connsiteY2" fmla="*/ 1237785 h 4427034"/>
              <a:gd name="connsiteX3" fmla="*/ 8134355 w 9840492"/>
              <a:gd name="connsiteY3" fmla="*/ 356839 h 4427034"/>
              <a:gd name="connsiteX4" fmla="*/ 9840492 w 9840492"/>
              <a:gd name="connsiteY4" fmla="*/ 0 h 4427034"/>
              <a:gd name="connsiteX5" fmla="*/ 9840492 w 9840492"/>
              <a:gd name="connsiteY5" fmla="*/ 0 h 4427034"/>
              <a:gd name="connsiteX0" fmla="*/ 38570 w 9840492"/>
              <a:gd name="connsiteY0" fmla="*/ 4427034 h 4427034"/>
              <a:gd name="connsiteX1" fmla="*/ 2391477 w 9840492"/>
              <a:gd name="connsiteY1" fmla="*/ 2910468 h 4427034"/>
              <a:gd name="connsiteX2" fmla="*/ 9249478 w 9840492"/>
              <a:gd name="connsiteY2" fmla="*/ 1237785 h 4427034"/>
              <a:gd name="connsiteX3" fmla="*/ 8134355 w 9840492"/>
              <a:gd name="connsiteY3" fmla="*/ 356839 h 4427034"/>
              <a:gd name="connsiteX4" fmla="*/ 9840492 w 9840492"/>
              <a:gd name="connsiteY4" fmla="*/ 0 h 4427034"/>
              <a:gd name="connsiteX5" fmla="*/ 9840492 w 9840492"/>
              <a:gd name="connsiteY5" fmla="*/ 0 h 4427034"/>
              <a:gd name="connsiteX0" fmla="*/ 38269 w 9840191"/>
              <a:gd name="connsiteY0" fmla="*/ 4427034 h 4427034"/>
              <a:gd name="connsiteX1" fmla="*/ 2391176 w 9840191"/>
              <a:gd name="connsiteY1" fmla="*/ 2910468 h 4427034"/>
              <a:gd name="connsiteX2" fmla="*/ 9182269 w 9840191"/>
              <a:gd name="connsiteY2" fmla="*/ 1215483 h 4427034"/>
              <a:gd name="connsiteX3" fmla="*/ 8134054 w 9840191"/>
              <a:gd name="connsiteY3" fmla="*/ 356839 h 4427034"/>
              <a:gd name="connsiteX4" fmla="*/ 9840191 w 9840191"/>
              <a:gd name="connsiteY4" fmla="*/ 0 h 4427034"/>
              <a:gd name="connsiteX5" fmla="*/ 9840191 w 9840191"/>
              <a:gd name="connsiteY5" fmla="*/ 0 h 4427034"/>
              <a:gd name="connsiteX0" fmla="*/ 0 w 9801922"/>
              <a:gd name="connsiteY0" fmla="*/ 4427034 h 4427034"/>
              <a:gd name="connsiteX1" fmla="*/ 2352907 w 9801922"/>
              <a:gd name="connsiteY1" fmla="*/ 2910468 h 4427034"/>
              <a:gd name="connsiteX2" fmla="*/ 9144000 w 9801922"/>
              <a:gd name="connsiteY2" fmla="*/ 1215483 h 4427034"/>
              <a:gd name="connsiteX3" fmla="*/ 8095785 w 9801922"/>
              <a:gd name="connsiteY3" fmla="*/ 356839 h 4427034"/>
              <a:gd name="connsiteX4" fmla="*/ 9801922 w 9801922"/>
              <a:gd name="connsiteY4" fmla="*/ 0 h 4427034"/>
              <a:gd name="connsiteX5" fmla="*/ 9801922 w 9801922"/>
              <a:gd name="connsiteY5" fmla="*/ 0 h 4427034"/>
              <a:gd name="connsiteX0" fmla="*/ 0 w 9801922"/>
              <a:gd name="connsiteY0" fmla="*/ 4427034 h 4427034"/>
              <a:gd name="connsiteX1" fmla="*/ 2352907 w 9801922"/>
              <a:gd name="connsiteY1" fmla="*/ 2910468 h 4427034"/>
              <a:gd name="connsiteX2" fmla="*/ 9144000 w 9801922"/>
              <a:gd name="connsiteY2" fmla="*/ 1215483 h 4427034"/>
              <a:gd name="connsiteX3" fmla="*/ 8095785 w 9801922"/>
              <a:gd name="connsiteY3" fmla="*/ 356839 h 4427034"/>
              <a:gd name="connsiteX4" fmla="*/ 9801922 w 9801922"/>
              <a:gd name="connsiteY4" fmla="*/ 0 h 4427034"/>
              <a:gd name="connsiteX5" fmla="*/ 9801922 w 9801922"/>
              <a:gd name="connsiteY5" fmla="*/ 0 h 4427034"/>
              <a:gd name="connsiteX0" fmla="*/ 0 w 9801922"/>
              <a:gd name="connsiteY0" fmla="*/ 4427034 h 4427034"/>
              <a:gd name="connsiteX1" fmla="*/ 2352907 w 9801922"/>
              <a:gd name="connsiteY1" fmla="*/ 2910468 h 4427034"/>
              <a:gd name="connsiteX2" fmla="*/ 9144000 w 9801922"/>
              <a:gd name="connsiteY2" fmla="*/ 1215483 h 4427034"/>
              <a:gd name="connsiteX3" fmla="*/ 8095785 w 9801922"/>
              <a:gd name="connsiteY3" fmla="*/ 356839 h 4427034"/>
              <a:gd name="connsiteX4" fmla="*/ 9801922 w 9801922"/>
              <a:gd name="connsiteY4" fmla="*/ 0 h 4427034"/>
              <a:gd name="connsiteX5" fmla="*/ 9801922 w 9801922"/>
              <a:gd name="connsiteY5" fmla="*/ 0 h 4427034"/>
              <a:gd name="connsiteX0" fmla="*/ 0 w 9801922"/>
              <a:gd name="connsiteY0" fmla="*/ 4427034 h 4427034"/>
              <a:gd name="connsiteX1" fmla="*/ 2520175 w 9801922"/>
              <a:gd name="connsiteY1" fmla="*/ 2854712 h 4427034"/>
              <a:gd name="connsiteX2" fmla="*/ 9144000 w 9801922"/>
              <a:gd name="connsiteY2" fmla="*/ 1215483 h 4427034"/>
              <a:gd name="connsiteX3" fmla="*/ 8095785 w 9801922"/>
              <a:gd name="connsiteY3" fmla="*/ 356839 h 4427034"/>
              <a:gd name="connsiteX4" fmla="*/ 9801922 w 9801922"/>
              <a:gd name="connsiteY4" fmla="*/ 0 h 4427034"/>
              <a:gd name="connsiteX5" fmla="*/ 9801922 w 9801922"/>
              <a:gd name="connsiteY5" fmla="*/ 0 h 4427034"/>
              <a:gd name="connsiteX0" fmla="*/ 0 w 9801922"/>
              <a:gd name="connsiteY0" fmla="*/ 4427034 h 4427034"/>
              <a:gd name="connsiteX1" fmla="*/ 2520175 w 9801922"/>
              <a:gd name="connsiteY1" fmla="*/ 2854712 h 4427034"/>
              <a:gd name="connsiteX2" fmla="*/ 9144000 w 9801922"/>
              <a:gd name="connsiteY2" fmla="*/ 1215483 h 4427034"/>
              <a:gd name="connsiteX3" fmla="*/ 8095785 w 9801922"/>
              <a:gd name="connsiteY3" fmla="*/ 356839 h 4427034"/>
              <a:gd name="connsiteX4" fmla="*/ 9801922 w 9801922"/>
              <a:gd name="connsiteY4" fmla="*/ 0 h 4427034"/>
              <a:gd name="connsiteX5" fmla="*/ 9801922 w 9801922"/>
              <a:gd name="connsiteY5" fmla="*/ 0 h 4427034"/>
              <a:gd name="connsiteX0" fmla="*/ 0 w 9801922"/>
              <a:gd name="connsiteY0" fmla="*/ 4427034 h 4427034"/>
              <a:gd name="connsiteX1" fmla="*/ 2520175 w 9801922"/>
              <a:gd name="connsiteY1" fmla="*/ 2854712 h 4427034"/>
              <a:gd name="connsiteX2" fmla="*/ 9144000 w 9801922"/>
              <a:gd name="connsiteY2" fmla="*/ 1215483 h 4427034"/>
              <a:gd name="connsiteX3" fmla="*/ 8095785 w 9801922"/>
              <a:gd name="connsiteY3" fmla="*/ 356839 h 4427034"/>
              <a:gd name="connsiteX4" fmla="*/ 9801922 w 9801922"/>
              <a:gd name="connsiteY4" fmla="*/ 0 h 4427034"/>
              <a:gd name="connsiteX5" fmla="*/ 9801922 w 9801922"/>
              <a:gd name="connsiteY5" fmla="*/ 0 h 4427034"/>
              <a:gd name="connsiteX0" fmla="*/ 0 w 9801922"/>
              <a:gd name="connsiteY0" fmla="*/ 4427034 h 4427034"/>
              <a:gd name="connsiteX1" fmla="*/ 2520175 w 9801922"/>
              <a:gd name="connsiteY1" fmla="*/ 2854712 h 4427034"/>
              <a:gd name="connsiteX2" fmla="*/ 9144000 w 9801922"/>
              <a:gd name="connsiteY2" fmla="*/ 1215483 h 4427034"/>
              <a:gd name="connsiteX3" fmla="*/ 8095785 w 9801922"/>
              <a:gd name="connsiteY3" fmla="*/ 356839 h 4427034"/>
              <a:gd name="connsiteX4" fmla="*/ 9801922 w 9801922"/>
              <a:gd name="connsiteY4" fmla="*/ 0 h 4427034"/>
              <a:gd name="connsiteX5" fmla="*/ 9801922 w 9801922"/>
              <a:gd name="connsiteY5" fmla="*/ 0 h 4427034"/>
              <a:gd name="connsiteX0" fmla="*/ 0 w 9801922"/>
              <a:gd name="connsiteY0" fmla="*/ 4427034 h 4427034"/>
              <a:gd name="connsiteX1" fmla="*/ 2520175 w 9801922"/>
              <a:gd name="connsiteY1" fmla="*/ 2854712 h 4427034"/>
              <a:gd name="connsiteX2" fmla="*/ 9088244 w 9801922"/>
              <a:gd name="connsiteY2" fmla="*/ 1237785 h 4427034"/>
              <a:gd name="connsiteX3" fmla="*/ 8095785 w 9801922"/>
              <a:gd name="connsiteY3" fmla="*/ 356839 h 4427034"/>
              <a:gd name="connsiteX4" fmla="*/ 9801922 w 9801922"/>
              <a:gd name="connsiteY4" fmla="*/ 0 h 4427034"/>
              <a:gd name="connsiteX5" fmla="*/ 9801922 w 9801922"/>
              <a:gd name="connsiteY5" fmla="*/ 0 h 4427034"/>
              <a:gd name="connsiteX0" fmla="*/ 0 w 9801922"/>
              <a:gd name="connsiteY0" fmla="*/ 4427034 h 4427034"/>
              <a:gd name="connsiteX1" fmla="*/ 2520175 w 9801922"/>
              <a:gd name="connsiteY1" fmla="*/ 2854712 h 4427034"/>
              <a:gd name="connsiteX2" fmla="*/ 9088244 w 9801922"/>
              <a:gd name="connsiteY2" fmla="*/ 1237785 h 4427034"/>
              <a:gd name="connsiteX3" fmla="*/ 8095785 w 9801922"/>
              <a:gd name="connsiteY3" fmla="*/ 356839 h 4427034"/>
              <a:gd name="connsiteX4" fmla="*/ 9801922 w 9801922"/>
              <a:gd name="connsiteY4" fmla="*/ 0 h 4427034"/>
              <a:gd name="connsiteX5" fmla="*/ 9801922 w 9801922"/>
              <a:gd name="connsiteY5" fmla="*/ 0 h 4427034"/>
              <a:gd name="connsiteX0" fmla="*/ 0 w 9801922"/>
              <a:gd name="connsiteY0" fmla="*/ 4427034 h 4427034"/>
              <a:gd name="connsiteX1" fmla="*/ 2520175 w 9801922"/>
              <a:gd name="connsiteY1" fmla="*/ 2854712 h 4427034"/>
              <a:gd name="connsiteX2" fmla="*/ 9088244 w 9801922"/>
              <a:gd name="connsiteY2" fmla="*/ 1237785 h 4427034"/>
              <a:gd name="connsiteX3" fmla="*/ 8095785 w 9801922"/>
              <a:gd name="connsiteY3" fmla="*/ 356839 h 4427034"/>
              <a:gd name="connsiteX4" fmla="*/ 9801922 w 9801922"/>
              <a:gd name="connsiteY4" fmla="*/ 0 h 4427034"/>
              <a:gd name="connsiteX5" fmla="*/ 9801922 w 9801922"/>
              <a:gd name="connsiteY5" fmla="*/ 0 h 4427034"/>
              <a:gd name="connsiteX0" fmla="*/ 0 w 9801922"/>
              <a:gd name="connsiteY0" fmla="*/ 4427034 h 4427034"/>
              <a:gd name="connsiteX1" fmla="*/ 2520175 w 9801922"/>
              <a:gd name="connsiteY1" fmla="*/ 2854712 h 4427034"/>
              <a:gd name="connsiteX2" fmla="*/ 9054790 w 9801922"/>
              <a:gd name="connsiteY2" fmla="*/ 1271239 h 4427034"/>
              <a:gd name="connsiteX3" fmla="*/ 8095785 w 9801922"/>
              <a:gd name="connsiteY3" fmla="*/ 356839 h 4427034"/>
              <a:gd name="connsiteX4" fmla="*/ 9801922 w 9801922"/>
              <a:gd name="connsiteY4" fmla="*/ 0 h 4427034"/>
              <a:gd name="connsiteX5" fmla="*/ 9801922 w 9801922"/>
              <a:gd name="connsiteY5" fmla="*/ 0 h 4427034"/>
              <a:gd name="connsiteX0" fmla="*/ 0 w 9801922"/>
              <a:gd name="connsiteY0" fmla="*/ 4427034 h 4427034"/>
              <a:gd name="connsiteX1" fmla="*/ 2520175 w 9801922"/>
              <a:gd name="connsiteY1" fmla="*/ 2854712 h 4427034"/>
              <a:gd name="connsiteX2" fmla="*/ 9054790 w 9801922"/>
              <a:gd name="connsiteY2" fmla="*/ 1271239 h 4427034"/>
              <a:gd name="connsiteX3" fmla="*/ 8095785 w 9801922"/>
              <a:gd name="connsiteY3" fmla="*/ 356839 h 4427034"/>
              <a:gd name="connsiteX4" fmla="*/ 9801922 w 9801922"/>
              <a:gd name="connsiteY4" fmla="*/ 0 h 4427034"/>
              <a:gd name="connsiteX5" fmla="*/ 9801922 w 9801922"/>
              <a:gd name="connsiteY5" fmla="*/ 0 h 4427034"/>
              <a:gd name="connsiteX0" fmla="*/ 0 w 9991493"/>
              <a:gd name="connsiteY0" fmla="*/ 4427045 h 4427045"/>
              <a:gd name="connsiteX1" fmla="*/ 2520175 w 9991493"/>
              <a:gd name="connsiteY1" fmla="*/ 2854723 h 4427045"/>
              <a:gd name="connsiteX2" fmla="*/ 9054790 w 9991493"/>
              <a:gd name="connsiteY2" fmla="*/ 1271250 h 4427045"/>
              <a:gd name="connsiteX3" fmla="*/ 8095785 w 9991493"/>
              <a:gd name="connsiteY3" fmla="*/ 356850 h 4427045"/>
              <a:gd name="connsiteX4" fmla="*/ 9801922 w 9991493"/>
              <a:gd name="connsiteY4" fmla="*/ 11 h 4427045"/>
              <a:gd name="connsiteX5" fmla="*/ 9991493 w 9991493"/>
              <a:gd name="connsiteY5" fmla="*/ 345699 h 4427045"/>
              <a:gd name="connsiteX0" fmla="*/ 0 w 9801922"/>
              <a:gd name="connsiteY0" fmla="*/ 4427034 h 4427034"/>
              <a:gd name="connsiteX1" fmla="*/ 2520175 w 9801922"/>
              <a:gd name="connsiteY1" fmla="*/ 2854712 h 4427034"/>
              <a:gd name="connsiteX2" fmla="*/ 9054790 w 9801922"/>
              <a:gd name="connsiteY2" fmla="*/ 1271239 h 4427034"/>
              <a:gd name="connsiteX3" fmla="*/ 8095785 w 9801922"/>
              <a:gd name="connsiteY3" fmla="*/ 356839 h 4427034"/>
              <a:gd name="connsiteX4" fmla="*/ 9801922 w 9801922"/>
              <a:gd name="connsiteY4" fmla="*/ 0 h 4427034"/>
              <a:gd name="connsiteX0" fmla="*/ 0 w 9801922"/>
              <a:gd name="connsiteY0" fmla="*/ 4449337 h 4449337"/>
              <a:gd name="connsiteX1" fmla="*/ 2520175 w 9801922"/>
              <a:gd name="connsiteY1" fmla="*/ 2877015 h 4449337"/>
              <a:gd name="connsiteX2" fmla="*/ 9054790 w 9801922"/>
              <a:gd name="connsiteY2" fmla="*/ 1293542 h 4449337"/>
              <a:gd name="connsiteX3" fmla="*/ 8095785 w 9801922"/>
              <a:gd name="connsiteY3" fmla="*/ 379142 h 4449337"/>
              <a:gd name="connsiteX4" fmla="*/ 9801922 w 9801922"/>
              <a:gd name="connsiteY4" fmla="*/ 0 h 4449337"/>
              <a:gd name="connsiteX0" fmla="*/ 0 w 9801922"/>
              <a:gd name="connsiteY0" fmla="*/ 4449337 h 4449337"/>
              <a:gd name="connsiteX1" fmla="*/ 2520175 w 9801922"/>
              <a:gd name="connsiteY1" fmla="*/ 2877015 h 4449337"/>
              <a:gd name="connsiteX2" fmla="*/ 9054790 w 9801922"/>
              <a:gd name="connsiteY2" fmla="*/ 1293542 h 4449337"/>
              <a:gd name="connsiteX3" fmla="*/ 8095785 w 9801922"/>
              <a:gd name="connsiteY3" fmla="*/ 379142 h 4449337"/>
              <a:gd name="connsiteX4" fmla="*/ 9801922 w 9801922"/>
              <a:gd name="connsiteY4" fmla="*/ 0 h 4449337"/>
              <a:gd name="connsiteX0" fmla="*/ 0 w 9801922"/>
              <a:gd name="connsiteY0" fmla="*/ 4449337 h 4449337"/>
              <a:gd name="connsiteX1" fmla="*/ 2520175 w 9801922"/>
              <a:gd name="connsiteY1" fmla="*/ 2877015 h 4449337"/>
              <a:gd name="connsiteX2" fmla="*/ 9054790 w 9801922"/>
              <a:gd name="connsiteY2" fmla="*/ 1293542 h 4449337"/>
              <a:gd name="connsiteX3" fmla="*/ 8106936 w 9801922"/>
              <a:gd name="connsiteY3" fmla="*/ 390293 h 4449337"/>
              <a:gd name="connsiteX4" fmla="*/ 9801922 w 9801922"/>
              <a:gd name="connsiteY4" fmla="*/ 0 h 4449337"/>
              <a:gd name="connsiteX0" fmla="*/ 0 w 9801922"/>
              <a:gd name="connsiteY0" fmla="*/ 4449337 h 4449337"/>
              <a:gd name="connsiteX1" fmla="*/ 2520175 w 9801922"/>
              <a:gd name="connsiteY1" fmla="*/ 2877015 h 4449337"/>
              <a:gd name="connsiteX2" fmla="*/ 9054790 w 9801922"/>
              <a:gd name="connsiteY2" fmla="*/ 1293542 h 4449337"/>
              <a:gd name="connsiteX3" fmla="*/ 8106936 w 9801922"/>
              <a:gd name="connsiteY3" fmla="*/ 390293 h 4449337"/>
              <a:gd name="connsiteX4" fmla="*/ 9801922 w 9801922"/>
              <a:gd name="connsiteY4" fmla="*/ 0 h 4449337"/>
              <a:gd name="connsiteX0" fmla="*/ 0 w 9801922"/>
              <a:gd name="connsiteY0" fmla="*/ 4449337 h 4449337"/>
              <a:gd name="connsiteX1" fmla="*/ 2520175 w 9801922"/>
              <a:gd name="connsiteY1" fmla="*/ 2877015 h 4449337"/>
              <a:gd name="connsiteX2" fmla="*/ 8987883 w 9801922"/>
              <a:gd name="connsiteY2" fmla="*/ 1293542 h 4449337"/>
              <a:gd name="connsiteX3" fmla="*/ 8106936 w 9801922"/>
              <a:gd name="connsiteY3" fmla="*/ 390293 h 4449337"/>
              <a:gd name="connsiteX4" fmla="*/ 9801922 w 9801922"/>
              <a:gd name="connsiteY4" fmla="*/ 0 h 4449337"/>
              <a:gd name="connsiteX0" fmla="*/ 0 w 9801922"/>
              <a:gd name="connsiteY0" fmla="*/ 4449337 h 4449337"/>
              <a:gd name="connsiteX1" fmla="*/ 2520175 w 9801922"/>
              <a:gd name="connsiteY1" fmla="*/ 2877015 h 4449337"/>
              <a:gd name="connsiteX2" fmla="*/ 8987883 w 9801922"/>
              <a:gd name="connsiteY2" fmla="*/ 1293542 h 4449337"/>
              <a:gd name="connsiteX3" fmla="*/ 8106936 w 9801922"/>
              <a:gd name="connsiteY3" fmla="*/ 390293 h 4449337"/>
              <a:gd name="connsiteX4" fmla="*/ 9801922 w 9801922"/>
              <a:gd name="connsiteY4" fmla="*/ 0 h 4449337"/>
              <a:gd name="connsiteX0" fmla="*/ 0 w 9801922"/>
              <a:gd name="connsiteY0" fmla="*/ 4449337 h 4449337"/>
              <a:gd name="connsiteX1" fmla="*/ 2143982 w 9801922"/>
              <a:gd name="connsiteY1" fmla="*/ 2672521 h 4449337"/>
              <a:gd name="connsiteX2" fmla="*/ 8987883 w 9801922"/>
              <a:gd name="connsiteY2" fmla="*/ 1293542 h 4449337"/>
              <a:gd name="connsiteX3" fmla="*/ 8106936 w 9801922"/>
              <a:gd name="connsiteY3" fmla="*/ 390293 h 4449337"/>
              <a:gd name="connsiteX4" fmla="*/ 9801922 w 9801922"/>
              <a:gd name="connsiteY4" fmla="*/ 0 h 4449337"/>
              <a:gd name="connsiteX0" fmla="*/ 0 w 9801922"/>
              <a:gd name="connsiteY0" fmla="*/ 4449337 h 4449337"/>
              <a:gd name="connsiteX1" fmla="*/ 2143982 w 9801922"/>
              <a:gd name="connsiteY1" fmla="*/ 2672521 h 4449337"/>
              <a:gd name="connsiteX2" fmla="*/ 8327004 w 9801922"/>
              <a:gd name="connsiteY2" fmla="*/ 1551851 h 4449337"/>
              <a:gd name="connsiteX3" fmla="*/ 8106936 w 9801922"/>
              <a:gd name="connsiteY3" fmla="*/ 390293 h 4449337"/>
              <a:gd name="connsiteX4" fmla="*/ 9801922 w 9801922"/>
              <a:gd name="connsiteY4" fmla="*/ 0 h 4449337"/>
              <a:gd name="connsiteX0" fmla="*/ 0 w 9801922"/>
              <a:gd name="connsiteY0" fmla="*/ 4449337 h 4449337"/>
              <a:gd name="connsiteX1" fmla="*/ 2143982 w 9801922"/>
              <a:gd name="connsiteY1" fmla="*/ 2672521 h 4449337"/>
              <a:gd name="connsiteX2" fmla="*/ 8327004 w 9801922"/>
              <a:gd name="connsiteY2" fmla="*/ 1551851 h 4449337"/>
              <a:gd name="connsiteX3" fmla="*/ 8035765 w 9801922"/>
              <a:gd name="connsiteY3" fmla="*/ 863860 h 4449337"/>
              <a:gd name="connsiteX4" fmla="*/ 9801922 w 9801922"/>
              <a:gd name="connsiteY4" fmla="*/ 0 h 4449337"/>
              <a:gd name="connsiteX0" fmla="*/ 0 w 9842592"/>
              <a:gd name="connsiteY0" fmla="*/ 3825091 h 3825091"/>
              <a:gd name="connsiteX1" fmla="*/ 2143982 w 9842592"/>
              <a:gd name="connsiteY1" fmla="*/ 2048275 h 3825091"/>
              <a:gd name="connsiteX2" fmla="*/ 8327004 w 9842592"/>
              <a:gd name="connsiteY2" fmla="*/ 927605 h 3825091"/>
              <a:gd name="connsiteX3" fmla="*/ 8035765 w 9842592"/>
              <a:gd name="connsiteY3" fmla="*/ 239614 h 3825091"/>
              <a:gd name="connsiteX4" fmla="*/ 9842592 w 9842592"/>
              <a:gd name="connsiteY4" fmla="*/ 0 h 3825091"/>
              <a:gd name="connsiteX0" fmla="*/ 0 w 9842592"/>
              <a:gd name="connsiteY0" fmla="*/ 3825422 h 3825422"/>
              <a:gd name="connsiteX1" fmla="*/ 2143982 w 9842592"/>
              <a:gd name="connsiteY1" fmla="*/ 2048606 h 3825422"/>
              <a:gd name="connsiteX2" fmla="*/ 8327004 w 9842592"/>
              <a:gd name="connsiteY2" fmla="*/ 927936 h 3825422"/>
              <a:gd name="connsiteX3" fmla="*/ 8035765 w 9842592"/>
              <a:gd name="connsiteY3" fmla="*/ 239945 h 3825422"/>
              <a:gd name="connsiteX4" fmla="*/ 9842592 w 9842592"/>
              <a:gd name="connsiteY4" fmla="*/ 331 h 3825422"/>
              <a:gd name="connsiteX0" fmla="*/ 0 w 9842592"/>
              <a:gd name="connsiteY0" fmla="*/ 3825422 h 3825422"/>
              <a:gd name="connsiteX1" fmla="*/ 2143982 w 9842592"/>
              <a:gd name="connsiteY1" fmla="*/ 2048606 h 3825422"/>
              <a:gd name="connsiteX2" fmla="*/ 8327004 w 9842592"/>
              <a:gd name="connsiteY2" fmla="*/ 927936 h 3825422"/>
              <a:gd name="connsiteX3" fmla="*/ 8035765 w 9842592"/>
              <a:gd name="connsiteY3" fmla="*/ 239945 h 3825422"/>
              <a:gd name="connsiteX4" fmla="*/ 9842592 w 9842592"/>
              <a:gd name="connsiteY4" fmla="*/ 331 h 3825422"/>
              <a:gd name="connsiteX0" fmla="*/ 0 w 9842592"/>
              <a:gd name="connsiteY0" fmla="*/ 3825422 h 3825422"/>
              <a:gd name="connsiteX1" fmla="*/ 2143982 w 9842592"/>
              <a:gd name="connsiteY1" fmla="*/ 2048606 h 3825422"/>
              <a:gd name="connsiteX2" fmla="*/ 8327004 w 9842592"/>
              <a:gd name="connsiteY2" fmla="*/ 927936 h 3825422"/>
              <a:gd name="connsiteX3" fmla="*/ 8035765 w 9842592"/>
              <a:gd name="connsiteY3" fmla="*/ 239945 h 3825422"/>
              <a:gd name="connsiteX4" fmla="*/ 9842592 w 9842592"/>
              <a:gd name="connsiteY4" fmla="*/ 331 h 3825422"/>
              <a:gd name="connsiteX0" fmla="*/ 0 w 9842592"/>
              <a:gd name="connsiteY0" fmla="*/ 3825422 h 3825422"/>
              <a:gd name="connsiteX1" fmla="*/ 2143982 w 9842592"/>
              <a:gd name="connsiteY1" fmla="*/ 2048606 h 3825422"/>
              <a:gd name="connsiteX2" fmla="*/ 8327004 w 9842592"/>
              <a:gd name="connsiteY2" fmla="*/ 927936 h 3825422"/>
              <a:gd name="connsiteX3" fmla="*/ 8035765 w 9842592"/>
              <a:gd name="connsiteY3" fmla="*/ 239945 h 3825422"/>
              <a:gd name="connsiteX4" fmla="*/ 9842592 w 9842592"/>
              <a:gd name="connsiteY4" fmla="*/ 331 h 3825422"/>
              <a:gd name="connsiteX0" fmla="*/ 0 w 9842592"/>
              <a:gd name="connsiteY0" fmla="*/ 3825469 h 3825469"/>
              <a:gd name="connsiteX1" fmla="*/ 2143982 w 9842592"/>
              <a:gd name="connsiteY1" fmla="*/ 2048653 h 3825469"/>
              <a:gd name="connsiteX2" fmla="*/ 8235498 w 9842592"/>
              <a:gd name="connsiteY2" fmla="*/ 1003323 h 3825469"/>
              <a:gd name="connsiteX3" fmla="*/ 8035765 w 9842592"/>
              <a:gd name="connsiteY3" fmla="*/ 239992 h 3825469"/>
              <a:gd name="connsiteX4" fmla="*/ 9842592 w 9842592"/>
              <a:gd name="connsiteY4" fmla="*/ 378 h 3825469"/>
              <a:gd name="connsiteX0" fmla="*/ 0 w 9842592"/>
              <a:gd name="connsiteY0" fmla="*/ 3825469 h 3825469"/>
              <a:gd name="connsiteX1" fmla="*/ 2143982 w 9842592"/>
              <a:gd name="connsiteY1" fmla="*/ 2048653 h 3825469"/>
              <a:gd name="connsiteX2" fmla="*/ 8235498 w 9842592"/>
              <a:gd name="connsiteY2" fmla="*/ 1003323 h 3825469"/>
              <a:gd name="connsiteX3" fmla="*/ 8035765 w 9842592"/>
              <a:gd name="connsiteY3" fmla="*/ 239992 h 3825469"/>
              <a:gd name="connsiteX4" fmla="*/ 9842592 w 9842592"/>
              <a:gd name="connsiteY4" fmla="*/ 378 h 3825469"/>
              <a:gd name="connsiteX0" fmla="*/ 0 w 9842592"/>
              <a:gd name="connsiteY0" fmla="*/ 3825435 h 3825435"/>
              <a:gd name="connsiteX1" fmla="*/ 2143982 w 9842592"/>
              <a:gd name="connsiteY1" fmla="*/ 2048619 h 3825435"/>
              <a:gd name="connsiteX2" fmla="*/ 8235498 w 9842592"/>
              <a:gd name="connsiteY2" fmla="*/ 949474 h 3825435"/>
              <a:gd name="connsiteX3" fmla="*/ 8035765 w 9842592"/>
              <a:gd name="connsiteY3" fmla="*/ 239958 h 3825435"/>
              <a:gd name="connsiteX4" fmla="*/ 9842592 w 9842592"/>
              <a:gd name="connsiteY4" fmla="*/ 344 h 3825435"/>
              <a:gd name="connsiteX0" fmla="*/ 0 w 9842592"/>
              <a:gd name="connsiteY0" fmla="*/ 3825435 h 3825435"/>
              <a:gd name="connsiteX1" fmla="*/ 2143982 w 9842592"/>
              <a:gd name="connsiteY1" fmla="*/ 2048619 h 3825435"/>
              <a:gd name="connsiteX2" fmla="*/ 8235498 w 9842592"/>
              <a:gd name="connsiteY2" fmla="*/ 949474 h 3825435"/>
              <a:gd name="connsiteX3" fmla="*/ 8035765 w 9842592"/>
              <a:gd name="connsiteY3" fmla="*/ 239958 h 3825435"/>
              <a:gd name="connsiteX4" fmla="*/ 9842592 w 9842592"/>
              <a:gd name="connsiteY4" fmla="*/ 344 h 3825435"/>
              <a:gd name="connsiteX0" fmla="*/ 0 w 9842592"/>
              <a:gd name="connsiteY0" fmla="*/ 3825462 h 3825462"/>
              <a:gd name="connsiteX1" fmla="*/ 2143982 w 9842592"/>
              <a:gd name="connsiteY1" fmla="*/ 2048646 h 3825462"/>
              <a:gd name="connsiteX2" fmla="*/ 8225331 w 9842592"/>
              <a:gd name="connsiteY2" fmla="*/ 992552 h 3825462"/>
              <a:gd name="connsiteX3" fmla="*/ 8035765 w 9842592"/>
              <a:gd name="connsiteY3" fmla="*/ 239985 h 3825462"/>
              <a:gd name="connsiteX4" fmla="*/ 9842592 w 9842592"/>
              <a:gd name="connsiteY4" fmla="*/ 371 h 3825462"/>
              <a:gd name="connsiteX0" fmla="*/ 0 w 9842592"/>
              <a:gd name="connsiteY0" fmla="*/ 3825462 h 3825462"/>
              <a:gd name="connsiteX1" fmla="*/ 2143982 w 9842592"/>
              <a:gd name="connsiteY1" fmla="*/ 2048646 h 3825462"/>
              <a:gd name="connsiteX2" fmla="*/ 8225331 w 9842592"/>
              <a:gd name="connsiteY2" fmla="*/ 992552 h 3825462"/>
              <a:gd name="connsiteX3" fmla="*/ 8035765 w 9842592"/>
              <a:gd name="connsiteY3" fmla="*/ 239985 h 3825462"/>
              <a:gd name="connsiteX4" fmla="*/ 9842592 w 9842592"/>
              <a:gd name="connsiteY4" fmla="*/ 371 h 3825462"/>
              <a:gd name="connsiteX0" fmla="*/ 0 w 9842592"/>
              <a:gd name="connsiteY0" fmla="*/ 3825462 h 3825462"/>
              <a:gd name="connsiteX1" fmla="*/ 2143982 w 9842592"/>
              <a:gd name="connsiteY1" fmla="*/ 2048646 h 3825462"/>
              <a:gd name="connsiteX2" fmla="*/ 8225331 w 9842592"/>
              <a:gd name="connsiteY2" fmla="*/ 992552 h 3825462"/>
              <a:gd name="connsiteX3" fmla="*/ 8035765 w 9842592"/>
              <a:gd name="connsiteY3" fmla="*/ 239985 h 3825462"/>
              <a:gd name="connsiteX4" fmla="*/ 9842592 w 9842592"/>
              <a:gd name="connsiteY4" fmla="*/ 371 h 3825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42592" h="3825462">
                <a:moveTo>
                  <a:pt x="0" y="3825462"/>
                </a:moveTo>
                <a:cubicBezTo>
                  <a:pt x="30990" y="3236972"/>
                  <a:pt x="630750" y="2499273"/>
                  <a:pt x="2143982" y="2048646"/>
                </a:cubicBezTo>
                <a:cubicBezTo>
                  <a:pt x="3657214" y="1598019"/>
                  <a:pt x="6979016" y="1401625"/>
                  <a:pt x="8225331" y="992552"/>
                </a:cubicBezTo>
                <a:cubicBezTo>
                  <a:pt x="9471646" y="583479"/>
                  <a:pt x="7766222" y="405348"/>
                  <a:pt x="8035765" y="239985"/>
                </a:cubicBezTo>
                <a:cubicBezTo>
                  <a:pt x="8305308" y="74622"/>
                  <a:pt x="9358061" y="-6203"/>
                  <a:pt x="9842592" y="371"/>
                </a:cubicBezTo>
              </a:path>
            </a:pathLst>
          </a:custGeom>
          <a:noFill/>
          <a:ln w="47625">
            <a:gradFill>
              <a:gsLst>
                <a:gs pos="100000">
                  <a:srgbClr val="00FFB9"/>
                </a:gs>
                <a:gs pos="0">
                  <a:srgbClr val="00E6DC"/>
                </a:gs>
              </a:gsLst>
              <a:lin ang="5400000" scaled="1"/>
            </a:gradFill>
            <a:miter lim="800000"/>
            <a:headEnd/>
            <a:tailEn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dirty="0">
              <a:ln>
                <a:noFill/>
              </a:ln>
              <a:solidFill>
                <a:srgbClr val="000000"/>
              </a:solidFill>
              <a:effectLst/>
              <a:ea typeface="ヒラギノ角ゴ Pro W3" charset="0"/>
            </a:endParaRPr>
          </a:p>
        </p:txBody>
      </p:sp>
      <p:sp>
        <p:nvSpPr>
          <p:cNvPr id="83" name="Text Box 90">
            <a:extLst>
              <a:ext uri="{FF2B5EF4-FFF2-40B4-BE49-F238E27FC236}">
                <a16:creationId xmlns:a16="http://schemas.microsoft.com/office/drawing/2014/main" id="{A3BA1C7C-7833-7446-90E2-6D7B35F2E42A}"/>
              </a:ext>
            </a:extLst>
          </p:cNvPr>
          <p:cNvSpPr txBox="1">
            <a:spLocks noChangeArrowheads="1"/>
          </p:cNvSpPr>
          <p:nvPr/>
        </p:nvSpPr>
        <p:spPr bwMode="gray">
          <a:xfrm>
            <a:off x="1126295" y="1414801"/>
            <a:ext cx="2700000" cy="141498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44000" tIns="72000" rIns="144000" bIns="72000">
            <a:spAutoFit/>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defRPr/>
            </a:pPr>
            <a:r>
              <a:rPr lang="en-US" altLang="de-DE" sz="1600" b="1" dirty="0">
                <a:solidFill>
                  <a:schemeClr val="accent1"/>
                </a:solidFill>
                <a:latin typeface="+mn-lt"/>
                <a:ea typeface="Arial Unicode MS"/>
              </a:rPr>
              <a:t>Accusantium sit fonte cron accumsan</a:t>
            </a:r>
          </a:p>
          <a:p>
            <a:pPr marL="0" lvl="1" algn="l">
              <a:spcBef>
                <a:spcPts val="300"/>
              </a:spcBef>
              <a:buClr>
                <a:srgbClr val="3C464B"/>
              </a:buClr>
              <a:defRPr/>
            </a:pPr>
            <a:r>
              <a:rPr lang="en-US" altLang="de-DE" sz="1200" dirty="0">
                <a:solidFill>
                  <a:srgbClr val="66667E"/>
                </a:solidFill>
                <a:latin typeface="+mn-lt"/>
                <a:ea typeface="Arial Unicode MS"/>
                <a:cs typeface="Arial" pitchFamily="34" charset="0"/>
              </a:rPr>
              <a:t>Illo Veritatis et quasi architect beatae vitae dicta sunt quas </a:t>
            </a:r>
            <a:r>
              <a:rPr lang="en-US" sz="1200" dirty="0">
                <a:solidFill>
                  <a:srgbClr val="66667E"/>
                </a:solidFill>
                <a:latin typeface="+mn-lt"/>
              </a:rPr>
              <a:t>sagittis vestibulum, nullam nulla eros, ultramet </a:t>
            </a:r>
            <a:r>
              <a:rPr lang="en-US" altLang="de-DE" sz="1200" dirty="0">
                <a:solidFill>
                  <a:srgbClr val="66667E"/>
                </a:solidFill>
                <a:latin typeface="+mn-lt"/>
                <a:ea typeface="Arial Unicode MS"/>
                <a:cs typeface="Arial" pitchFamily="34" charset="0"/>
              </a:rPr>
              <a:t>sum</a:t>
            </a:r>
          </a:p>
        </p:txBody>
      </p:sp>
      <p:sp>
        <p:nvSpPr>
          <p:cNvPr id="84" name="Text Box 90">
            <a:extLst>
              <a:ext uri="{FF2B5EF4-FFF2-40B4-BE49-F238E27FC236}">
                <a16:creationId xmlns:a16="http://schemas.microsoft.com/office/drawing/2014/main" id="{001B648F-0560-AB4D-A475-68BE11717E9F}"/>
              </a:ext>
            </a:extLst>
          </p:cNvPr>
          <p:cNvSpPr txBox="1">
            <a:spLocks noChangeArrowheads="1"/>
          </p:cNvSpPr>
          <p:nvPr/>
        </p:nvSpPr>
        <p:spPr bwMode="gray">
          <a:xfrm>
            <a:off x="4265844" y="1414800"/>
            <a:ext cx="2340000" cy="123031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44000" tIns="72000" rIns="144000" bIns="72000">
            <a:spAutoFit/>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defRPr/>
            </a:pPr>
            <a:r>
              <a:rPr lang="en-US" altLang="de-DE" sz="1600" b="1" dirty="0">
                <a:solidFill>
                  <a:schemeClr val="accent1"/>
                </a:solidFill>
                <a:latin typeface="+mn-lt"/>
                <a:ea typeface="Arial Unicode MS"/>
              </a:rPr>
              <a:t>Vestibulum ante ipsum dolore quen</a:t>
            </a:r>
          </a:p>
          <a:p>
            <a:pPr marL="0" lvl="1" algn="l">
              <a:spcBef>
                <a:spcPts val="300"/>
              </a:spcBef>
              <a:buClr>
                <a:srgbClr val="3C464B"/>
              </a:buClr>
              <a:defRPr/>
            </a:pPr>
            <a:r>
              <a:rPr lang="en-US" sz="1200" dirty="0">
                <a:solidFill>
                  <a:srgbClr val="66667E"/>
                </a:solidFill>
                <a:latin typeface="+mn-lt"/>
              </a:rPr>
              <a:t>Maecenas nec odio et ante tincidunt tempus, titus donec vitae ut libero</a:t>
            </a:r>
            <a:endParaRPr lang="en-US" altLang="de-DE" sz="1200" dirty="0">
              <a:solidFill>
                <a:srgbClr val="66667E"/>
              </a:solidFill>
              <a:latin typeface="+mn-lt"/>
              <a:ea typeface="Arial Unicode MS"/>
              <a:cs typeface="Arial" pitchFamily="34" charset="0"/>
            </a:endParaRPr>
          </a:p>
        </p:txBody>
      </p:sp>
      <p:sp>
        <p:nvSpPr>
          <p:cNvPr id="85" name="Text Box 90">
            <a:extLst>
              <a:ext uri="{FF2B5EF4-FFF2-40B4-BE49-F238E27FC236}">
                <a16:creationId xmlns:a16="http://schemas.microsoft.com/office/drawing/2014/main" id="{BEC96CDE-01AC-C543-BA74-DB101DD48383}"/>
              </a:ext>
            </a:extLst>
          </p:cNvPr>
          <p:cNvSpPr txBox="1">
            <a:spLocks noChangeArrowheads="1"/>
          </p:cNvSpPr>
          <p:nvPr/>
        </p:nvSpPr>
        <p:spPr bwMode="gray">
          <a:xfrm>
            <a:off x="7571836" y="1414800"/>
            <a:ext cx="1980000" cy="984097"/>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44000" tIns="72000" rIns="144000" bIns="72000">
            <a:spAutoFit/>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defRPr/>
            </a:pPr>
            <a:r>
              <a:rPr lang="en-US" altLang="de-DE" sz="1600" b="1" dirty="0">
                <a:solidFill>
                  <a:schemeClr val="accent1"/>
                </a:solidFill>
                <a:latin typeface="+mn-lt"/>
                <a:ea typeface="Arial Unicode MS"/>
              </a:rPr>
              <a:t>Ultrices mauris</a:t>
            </a:r>
          </a:p>
          <a:p>
            <a:pPr marL="0" lvl="1" algn="l">
              <a:spcBef>
                <a:spcPts val="300"/>
              </a:spcBef>
              <a:buClr>
                <a:srgbClr val="3C464B"/>
              </a:buClr>
              <a:defRPr/>
            </a:pPr>
            <a:r>
              <a:rPr lang="en-US" sz="1200" dirty="0">
                <a:solidFill>
                  <a:srgbClr val="66667E"/>
                </a:solidFill>
                <a:latin typeface="+mn-lt"/>
              </a:rPr>
              <a:t>Phasellus accumsan cursus velit, vestibulum ante ipsum</a:t>
            </a:r>
            <a:endParaRPr lang="en-US" altLang="de-DE" sz="1200" dirty="0">
              <a:solidFill>
                <a:srgbClr val="66667E"/>
              </a:solidFill>
              <a:latin typeface="+mn-lt"/>
              <a:ea typeface="Arial Unicode MS"/>
              <a:cs typeface="Arial" pitchFamily="34" charset="0"/>
            </a:endParaRPr>
          </a:p>
        </p:txBody>
      </p:sp>
      <p:sp>
        <p:nvSpPr>
          <p:cNvPr id="86" name="Text Box 90">
            <a:extLst>
              <a:ext uri="{FF2B5EF4-FFF2-40B4-BE49-F238E27FC236}">
                <a16:creationId xmlns:a16="http://schemas.microsoft.com/office/drawing/2014/main" id="{5B8B8AB2-DA9A-4A4A-91D3-686A9A342857}"/>
              </a:ext>
            </a:extLst>
          </p:cNvPr>
          <p:cNvSpPr txBox="1">
            <a:spLocks noChangeArrowheads="1"/>
          </p:cNvSpPr>
          <p:nvPr/>
        </p:nvSpPr>
        <p:spPr bwMode="gray">
          <a:xfrm>
            <a:off x="3406805" y="4945790"/>
            <a:ext cx="2700000" cy="123031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44000" tIns="72000" rIns="144000" bIns="72000" anchor="b">
            <a:spAutoFit/>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defRPr/>
            </a:pPr>
            <a:r>
              <a:rPr lang="en-US" altLang="de-DE" sz="1600" b="1" dirty="0">
                <a:solidFill>
                  <a:schemeClr val="accent1"/>
                </a:solidFill>
                <a:latin typeface="+mn-lt"/>
                <a:ea typeface="Arial Unicode MS"/>
              </a:rPr>
              <a:t>Nullam nulla eros, ultricies sit amet</a:t>
            </a:r>
          </a:p>
          <a:p>
            <a:pPr marL="0" lvl="1" algn="l">
              <a:spcBef>
                <a:spcPts val="300"/>
              </a:spcBef>
              <a:buClr>
                <a:srgbClr val="3C464B"/>
              </a:buClr>
              <a:defRPr/>
            </a:pPr>
            <a:r>
              <a:rPr lang="en-US" sz="1200" dirty="0">
                <a:solidFill>
                  <a:srgbClr val="66667E"/>
                </a:solidFill>
                <a:latin typeface="+mn-lt"/>
              </a:rPr>
              <a:t>Nullam dictum felis eu pede mollis pretium tellus eget condimentum rhoncus, sem quam</a:t>
            </a:r>
            <a:endParaRPr lang="en-US" altLang="de-DE" sz="1200" dirty="0">
              <a:solidFill>
                <a:srgbClr val="66667E"/>
              </a:solidFill>
              <a:latin typeface="+mn-lt"/>
              <a:ea typeface="Arial Unicode MS"/>
              <a:cs typeface="Arial" pitchFamily="34" charset="0"/>
            </a:endParaRPr>
          </a:p>
        </p:txBody>
      </p:sp>
      <p:sp>
        <p:nvSpPr>
          <p:cNvPr id="9" name="Titel 8">
            <a:extLst>
              <a:ext uri="{FF2B5EF4-FFF2-40B4-BE49-F238E27FC236}">
                <a16:creationId xmlns:a16="http://schemas.microsoft.com/office/drawing/2014/main" id="{30916218-0FE7-DA40-850A-7231E8C46B1B}"/>
              </a:ext>
            </a:extLst>
          </p:cNvPr>
          <p:cNvSpPr>
            <a:spLocks noGrp="1"/>
          </p:cNvSpPr>
          <p:nvPr>
            <p:ph type="title"/>
          </p:nvPr>
        </p:nvSpPr>
        <p:spPr/>
        <p:txBody>
          <a:bodyPr/>
          <a:lstStyle/>
          <a:p>
            <a:r>
              <a:rPr lang="en-US" dirty="0"/>
              <a:t>Roadmap</a:t>
            </a:r>
            <a:endParaRPr lang="de-DE" dirty="0"/>
          </a:p>
        </p:txBody>
      </p:sp>
      <p:cxnSp>
        <p:nvCxnSpPr>
          <p:cNvPr id="22" name="Gerade Verbindung 52">
            <a:extLst>
              <a:ext uri="{FF2B5EF4-FFF2-40B4-BE49-F238E27FC236}">
                <a16:creationId xmlns:a16="http://schemas.microsoft.com/office/drawing/2014/main" id="{70D7F7B6-C5FB-8B46-861D-D27C1AD2BF44}"/>
              </a:ext>
            </a:extLst>
          </p:cNvPr>
          <p:cNvCxnSpPr>
            <a:stCxn id="72" idx="0"/>
          </p:cNvCxnSpPr>
          <p:nvPr/>
        </p:nvCxnSpPr>
        <p:spPr bwMode="gray">
          <a:xfrm>
            <a:off x="9586106" y="3480714"/>
            <a:ext cx="518" cy="2695395"/>
          </a:xfrm>
          <a:prstGeom prst="line">
            <a:avLst/>
          </a:prstGeom>
          <a:solidFill>
            <a:schemeClr val="tx2"/>
          </a:solidFill>
          <a:ln w="12700" cap="flat" cmpd="sng" algn="ctr">
            <a:solidFill>
              <a:srgbClr val="66667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Gerade Verbindung 52">
            <a:extLst>
              <a:ext uri="{FF2B5EF4-FFF2-40B4-BE49-F238E27FC236}">
                <a16:creationId xmlns:a16="http://schemas.microsoft.com/office/drawing/2014/main" id="{C88757CC-7896-8144-9D17-944234C2263F}"/>
              </a:ext>
            </a:extLst>
          </p:cNvPr>
          <p:cNvCxnSpPr/>
          <p:nvPr/>
        </p:nvCxnSpPr>
        <p:spPr bwMode="gray">
          <a:xfrm>
            <a:off x="6687989" y="4154188"/>
            <a:ext cx="383" cy="2021921"/>
          </a:xfrm>
          <a:prstGeom prst="line">
            <a:avLst/>
          </a:prstGeom>
          <a:solidFill>
            <a:schemeClr val="tx2"/>
          </a:solidFill>
          <a:ln w="12700" cap="flat" cmpd="sng" algn="ctr">
            <a:solidFill>
              <a:srgbClr val="66667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52">
            <a:extLst>
              <a:ext uri="{FF2B5EF4-FFF2-40B4-BE49-F238E27FC236}">
                <a16:creationId xmlns:a16="http://schemas.microsoft.com/office/drawing/2014/main" id="{AE1D304A-93B8-584E-BBCA-D5FEF4E8E29F}"/>
              </a:ext>
            </a:extLst>
          </p:cNvPr>
          <p:cNvCxnSpPr/>
          <p:nvPr/>
        </p:nvCxnSpPr>
        <p:spPr bwMode="gray">
          <a:xfrm>
            <a:off x="3406806" y="4742889"/>
            <a:ext cx="0" cy="1433220"/>
          </a:xfrm>
          <a:prstGeom prst="line">
            <a:avLst/>
          </a:prstGeom>
          <a:solidFill>
            <a:schemeClr val="tx2"/>
          </a:solidFill>
          <a:ln w="12700" cap="flat" cmpd="sng" algn="ctr">
            <a:solidFill>
              <a:srgbClr val="66667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Gerade Verbindung 52">
            <a:extLst>
              <a:ext uri="{FF2B5EF4-FFF2-40B4-BE49-F238E27FC236}">
                <a16:creationId xmlns:a16="http://schemas.microsoft.com/office/drawing/2014/main" id="{9A68F6AA-ABA5-FF4F-8DD0-86B83AE99BEC}"/>
              </a:ext>
            </a:extLst>
          </p:cNvPr>
          <p:cNvCxnSpPr>
            <a:endCxn id="53" idx="0"/>
          </p:cNvCxnSpPr>
          <p:nvPr/>
        </p:nvCxnSpPr>
        <p:spPr bwMode="gray">
          <a:xfrm flipH="1">
            <a:off x="7576171" y="1422792"/>
            <a:ext cx="1663" cy="1993346"/>
          </a:xfrm>
          <a:prstGeom prst="line">
            <a:avLst/>
          </a:prstGeom>
          <a:solidFill>
            <a:schemeClr val="tx2"/>
          </a:solidFill>
          <a:ln w="12700" cap="flat" cmpd="sng" algn="ctr">
            <a:solidFill>
              <a:srgbClr val="66667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Gerade Verbindung 52">
            <a:extLst>
              <a:ext uri="{FF2B5EF4-FFF2-40B4-BE49-F238E27FC236}">
                <a16:creationId xmlns:a16="http://schemas.microsoft.com/office/drawing/2014/main" id="{D867D07B-6404-1744-AE60-3955EBA69E18}"/>
              </a:ext>
            </a:extLst>
          </p:cNvPr>
          <p:cNvCxnSpPr/>
          <p:nvPr/>
        </p:nvCxnSpPr>
        <p:spPr bwMode="gray">
          <a:xfrm>
            <a:off x="4265845" y="1414801"/>
            <a:ext cx="0" cy="2315716"/>
          </a:xfrm>
          <a:prstGeom prst="line">
            <a:avLst/>
          </a:prstGeom>
          <a:solidFill>
            <a:schemeClr val="tx2"/>
          </a:solidFill>
          <a:ln w="12700" cap="flat" cmpd="sng" algn="ctr">
            <a:solidFill>
              <a:srgbClr val="66667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8" name="Gerade Verbindung 27">
            <a:extLst>
              <a:ext uri="{FF2B5EF4-FFF2-40B4-BE49-F238E27FC236}">
                <a16:creationId xmlns:a16="http://schemas.microsoft.com/office/drawing/2014/main" id="{F4890CFC-74CB-9B46-8661-65A754EA8041}"/>
              </a:ext>
            </a:extLst>
          </p:cNvPr>
          <p:cNvCxnSpPr/>
          <p:nvPr/>
        </p:nvCxnSpPr>
        <p:spPr bwMode="gray">
          <a:xfrm flipH="1">
            <a:off x="1107766" y="1414801"/>
            <a:ext cx="18530" cy="3228914"/>
          </a:xfrm>
          <a:prstGeom prst="line">
            <a:avLst/>
          </a:prstGeom>
          <a:solidFill>
            <a:schemeClr val="tx2"/>
          </a:solidFill>
          <a:ln w="12700" cap="flat" cmpd="sng" algn="ctr">
            <a:solidFill>
              <a:srgbClr val="66667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29" name="Group 17">
            <a:extLst>
              <a:ext uri="{FF2B5EF4-FFF2-40B4-BE49-F238E27FC236}">
                <a16:creationId xmlns:a16="http://schemas.microsoft.com/office/drawing/2014/main" id="{EB9AAC89-5F09-6340-8014-F26C26103B6C}"/>
              </a:ext>
            </a:extLst>
          </p:cNvPr>
          <p:cNvGrpSpPr/>
          <p:nvPr/>
        </p:nvGrpSpPr>
        <p:grpSpPr>
          <a:xfrm>
            <a:off x="658178" y="3512393"/>
            <a:ext cx="900112" cy="1274439"/>
            <a:chOff x="734378" y="3537591"/>
            <a:chExt cx="900112" cy="1274439"/>
          </a:xfrm>
        </p:grpSpPr>
        <p:sp>
          <p:nvSpPr>
            <p:cNvPr id="30" name="Oval 29">
              <a:extLst>
                <a:ext uri="{FF2B5EF4-FFF2-40B4-BE49-F238E27FC236}">
                  <a16:creationId xmlns:a16="http://schemas.microsoft.com/office/drawing/2014/main" id="{CAE4C3E0-9D1F-2941-B84B-5DB662C185C0}"/>
                </a:ext>
              </a:extLst>
            </p:cNvPr>
            <p:cNvSpPr/>
            <p:nvPr/>
          </p:nvSpPr>
          <p:spPr bwMode="auto">
            <a:xfrm>
              <a:off x="734378" y="4552964"/>
              <a:ext cx="900112" cy="259066"/>
            </a:xfrm>
            <a:prstGeom prst="ellipse">
              <a:avLst/>
            </a:prstGeom>
            <a:solidFill>
              <a:srgbClr val="E5E5E9"/>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ea typeface="Arial Unicode MS" panose="020B0604020202020204" pitchFamily="34" charset="-128"/>
                <a:cs typeface="Arial Unicode MS" panose="020B0604020202020204" pitchFamily="34" charset="-128"/>
              </a:endParaRPr>
            </a:p>
          </p:txBody>
        </p:sp>
        <p:grpSp>
          <p:nvGrpSpPr>
            <p:cNvPr id="31" name="Group 12">
              <a:extLst>
                <a:ext uri="{FF2B5EF4-FFF2-40B4-BE49-F238E27FC236}">
                  <a16:creationId xmlns:a16="http://schemas.microsoft.com/office/drawing/2014/main" id="{A1AECC6B-A8D5-0A42-B92A-6A404CA06323}"/>
                </a:ext>
              </a:extLst>
            </p:cNvPr>
            <p:cNvGrpSpPr/>
            <p:nvPr/>
          </p:nvGrpSpPr>
          <p:grpSpPr>
            <a:xfrm>
              <a:off x="794963" y="3537591"/>
              <a:ext cx="778943" cy="1131322"/>
              <a:chOff x="115998" y="4766494"/>
              <a:chExt cx="778943" cy="1131322"/>
            </a:xfrm>
          </p:grpSpPr>
          <p:sp>
            <p:nvSpPr>
              <p:cNvPr id="32" name="Oval 31">
                <a:extLst>
                  <a:ext uri="{FF2B5EF4-FFF2-40B4-BE49-F238E27FC236}">
                    <a16:creationId xmlns:a16="http://schemas.microsoft.com/office/drawing/2014/main" id="{E2144D4F-AC78-A445-A65E-E9619E3BE14F}"/>
                  </a:ext>
                </a:extLst>
              </p:cNvPr>
              <p:cNvSpPr/>
              <p:nvPr/>
            </p:nvSpPr>
            <p:spPr bwMode="auto">
              <a:xfrm>
                <a:off x="268923" y="4905416"/>
                <a:ext cx="495212" cy="495212"/>
              </a:xfrm>
              <a:prstGeom prst="ellipse">
                <a:avLst/>
              </a:prstGeom>
              <a:solidFill>
                <a:schemeClr val="bg1"/>
              </a:solidFill>
              <a:ln w="9525">
                <a:noFill/>
                <a:miter lim="800000"/>
                <a:headEnd/>
                <a:tailEnd/>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ea typeface="Arial Unicode MS" panose="020B0604020202020204" pitchFamily="34" charset="-128"/>
                  <a:cs typeface="Arial Unicode MS" panose="020B0604020202020204" pitchFamily="34" charset="-128"/>
                </a:endParaRPr>
              </a:p>
            </p:txBody>
          </p:sp>
          <p:sp>
            <p:nvSpPr>
              <p:cNvPr id="33" name="Freeform 26">
                <a:extLst>
                  <a:ext uri="{FF2B5EF4-FFF2-40B4-BE49-F238E27FC236}">
                    <a16:creationId xmlns:a16="http://schemas.microsoft.com/office/drawing/2014/main" id="{F7704985-3A3E-EA45-9B1A-E2D92A1F6687}"/>
                  </a:ext>
                </a:extLst>
              </p:cNvPr>
              <p:cNvSpPr>
                <a:spLocks noEditPoints="1"/>
              </p:cNvSpPr>
              <p:nvPr/>
            </p:nvSpPr>
            <p:spPr bwMode="auto">
              <a:xfrm>
                <a:off x="115998" y="4766494"/>
                <a:ext cx="778943" cy="1131322"/>
              </a:xfrm>
              <a:custGeom>
                <a:avLst/>
                <a:gdLst>
                  <a:gd name="T0" fmla="*/ 415 w 831"/>
                  <a:gd name="T1" fmla="*/ 1210 h 1210"/>
                  <a:gd name="T2" fmla="*/ 771 w 831"/>
                  <a:gd name="T3" fmla="*/ 632 h 1210"/>
                  <a:gd name="T4" fmla="*/ 831 w 831"/>
                  <a:gd name="T5" fmla="*/ 416 h 1210"/>
                  <a:gd name="T6" fmla="*/ 415 w 831"/>
                  <a:gd name="T7" fmla="*/ 0 h 1210"/>
                  <a:gd name="T8" fmla="*/ 0 w 831"/>
                  <a:gd name="T9" fmla="*/ 416 h 1210"/>
                  <a:gd name="T10" fmla="*/ 60 w 831"/>
                  <a:gd name="T11" fmla="*/ 632 h 1210"/>
                  <a:gd name="T12" fmla="*/ 415 w 831"/>
                  <a:gd name="T13" fmla="*/ 1210 h 1210"/>
                  <a:gd name="T14" fmla="*/ 415 w 831"/>
                  <a:gd name="T15" fmla="*/ 227 h 1210"/>
                  <a:gd name="T16" fmla="*/ 604 w 831"/>
                  <a:gd name="T17" fmla="*/ 416 h 1210"/>
                  <a:gd name="T18" fmla="*/ 415 w 831"/>
                  <a:gd name="T19" fmla="*/ 605 h 1210"/>
                  <a:gd name="T20" fmla="*/ 226 w 831"/>
                  <a:gd name="T21" fmla="*/ 416 h 1210"/>
                  <a:gd name="T22" fmla="*/ 415 w 831"/>
                  <a:gd name="T23" fmla="*/ 227 h 1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1" h="1210">
                    <a:moveTo>
                      <a:pt x="415" y="1210"/>
                    </a:moveTo>
                    <a:cubicBezTo>
                      <a:pt x="771" y="632"/>
                      <a:pt x="771" y="632"/>
                      <a:pt x="771" y="632"/>
                    </a:cubicBezTo>
                    <a:cubicBezTo>
                      <a:pt x="809" y="569"/>
                      <a:pt x="831" y="495"/>
                      <a:pt x="831" y="416"/>
                    </a:cubicBezTo>
                    <a:cubicBezTo>
                      <a:pt x="831" y="186"/>
                      <a:pt x="645" y="0"/>
                      <a:pt x="415" y="0"/>
                    </a:cubicBezTo>
                    <a:cubicBezTo>
                      <a:pt x="186" y="0"/>
                      <a:pt x="0" y="186"/>
                      <a:pt x="0" y="416"/>
                    </a:cubicBezTo>
                    <a:cubicBezTo>
                      <a:pt x="0" y="495"/>
                      <a:pt x="22" y="569"/>
                      <a:pt x="60" y="632"/>
                    </a:cubicBezTo>
                    <a:lnTo>
                      <a:pt x="415" y="1210"/>
                    </a:lnTo>
                    <a:close/>
                    <a:moveTo>
                      <a:pt x="415" y="227"/>
                    </a:moveTo>
                    <a:cubicBezTo>
                      <a:pt x="520" y="227"/>
                      <a:pt x="604" y="312"/>
                      <a:pt x="604" y="416"/>
                    </a:cubicBezTo>
                    <a:cubicBezTo>
                      <a:pt x="604" y="520"/>
                      <a:pt x="520" y="605"/>
                      <a:pt x="415" y="605"/>
                    </a:cubicBezTo>
                    <a:cubicBezTo>
                      <a:pt x="311" y="605"/>
                      <a:pt x="226" y="520"/>
                      <a:pt x="226" y="416"/>
                    </a:cubicBezTo>
                    <a:cubicBezTo>
                      <a:pt x="226" y="312"/>
                      <a:pt x="311" y="227"/>
                      <a:pt x="415" y="227"/>
                    </a:cubicBezTo>
                    <a:close/>
                  </a:path>
                </a:pathLst>
              </a:custGeom>
              <a:solidFill>
                <a:srgbClr val="3333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34" name="Group 72">
            <a:extLst>
              <a:ext uri="{FF2B5EF4-FFF2-40B4-BE49-F238E27FC236}">
                <a16:creationId xmlns:a16="http://schemas.microsoft.com/office/drawing/2014/main" id="{69583BAC-7EAE-E447-A123-6F10EF54E173}"/>
              </a:ext>
            </a:extLst>
          </p:cNvPr>
          <p:cNvGrpSpPr/>
          <p:nvPr/>
        </p:nvGrpSpPr>
        <p:grpSpPr>
          <a:xfrm>
            <a:off x="2957218" y="3611567"/>
            <a:ext cx="900112" cy="1274439"/>
            <a:chOff x="734378" y="3537591"/>
            <a:chExt cx="900112" cy="1274439"/>
          </a:xfrm>
        </p:grpSpPr>
        <p:sp>
          <p:nvSpPr>
            <p:cNvPr id="35" name="Oval 34">
              <a:extLst>
                <a:ext uri="{FF2B5EF4-FFF2-40B4-BE49-F238E27FC236}">
                  <a16:creationId xmlns:a16="http://schemas.microsoft.com/office/drawing/2014/main" id="{F0613F3C-34DF-CF42-9899-37DD8F00371B}"/>
                </a:ext>
              </a:extLst>
            </p:cNvPr>
            <p:cNvSpPr/>
            <p:nvPr/>
          </p:nvSpPr>
          <p:spPr bwMode="auto">
            <a:xfrm>
              <a:off x="734378" y="4552964"/>
              <a:ext cx="900112" cy="259066"/>
            </a:xfrm>
            <a:prstGeom prst="ellipse">
              <a:avLst/>
            </a:prstGeom>
            <a:solidFill>
              <a:srgbClr val="E5E5E9"/>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ea typeface="Arial Unicode MS" panose="020B0604020202020204" pitchFamily="34" charset="-128"/>
                <a:cs typeface="Arial Unicode MS" panose="020B0604020202020204" pitchFamily="34" charset="-128"/>
              </a:endParaRPr>
            </a:p>
          </p:txBody>
        </p:sp>
        <p:grpSp>
          <p:nvGrpSpPr>
            <p:cNvPr id="36" name="Group 74">
              <a:extLst>
                <a:ext uri="{FF2B5EF4-FFF2-40B4-BE49-F238E27FC236}">
                  <a16:creationId xmlns:a16="http://schemas.microsoft.com/office/drawing/2014/main" id="{9EAB45F6-BD29-E542-87F0-55CB136A14D2}"/>
                </a:ext>
              </a:extLst>
            </p:cNvPr>
            <p:cNvGrpSpPr/>
            <p:nvPr/>
          </p:nvGrpSpPr>
          <p:grpSpPr>
            <a:xfrm>
              <a:off x="794963" y="3537591"/>
              <a:ext cx="778943" cy="1131322"/>
              <a:chOff x="115998" y="4766494"/>
              <a:chExt cx="778943" cy="1131322"/>
            </a:xfrm>
          </p:grpSpPr>
          <p:sp>
            <p:nvSpPr>
              <p:cNvPr id="37" name="Oval 36">
                <a:extLst>
                  <a:ext uri="{FF2B5EF4-FFF2-40B4-BE49-F238E27FC236}">
                    <a16:creationId xmlns:a16="http://schemas.microsoft.com/office/drawing/2014/main" id="{CEF97BC7-E43A-434F-ABBC-32A40480E299}"/>
                  </a:ext>
                </a:extLst>
              </p:cNvPr>
              <p:cNvSpPr/>
              <p:nvPr/>
            </p:nvSpPr>
            <p:spPr bwMode="auto">
              <a:xfrm>
                <a:off x="268923" y="4905416"/>
                <a:ext cx="495212" cy="495212"/>
              </a:xfrm>
              <a:prstGeom prst="ellipse">
                <a:avLst/>
              </a:prstGeom>
              <a:solidFill>
                <a:schemeClr val="bg1"/>
              </a:solidFill>
              <a:ln w="9525">
                <a:noFill/>
                <a:miter lim="800000"/>
                <a:headEnd/>
                <a:tailEnd/>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ea typeface="Arial Unicode MS" panose="020B0604020202020204" pitchFamily="34" charset="-128"/>
                  <a:cs typeface="Arial Unicode MS" panose="020B0604020202020204" pitchFamily="34" charset="-128"/>
                </a:endParaRPr>
              </a:p>
            </p:txBody>
          </p:sp>
          <p:sp>
            <p:nvSpPr>
              <p:cNvPr id="38" name="Freeform 26">
                <a:extLst>
                  <a:ext uri="{FF2B5EF4-FFF2-40B4-BE49-F238E27FC236}">
                    <a16:creationId xmlns:a16="http://schemas.microsoft.com/office/drawing/2014/main" id="{C57F495C-1B74-A346-9B80-56E47A1ADBF7}"/>
                  </a:ext>
                </a:extLst>
              </p:cNvPr>
              <p:cNvSpPr>
                <a:spLocks noEditPoints="1"/>
              </p:cNvSpPr>
              <p:nvPr/>
            </p:nvSpPr>
            <p:spPr bwMode="auto">
              <a:xfrm>
                <a:off x="115998" y="4766494"/>
                <a:ext cx="778943" cy="1131322"/>
              </a:xfrm>
              <a:custGeom>
                <a:avLst/>
                <a:gdLst>
                  <a:gd name="T0" fmla="*/ 415 w 831"/>
                  <a:gd name="T1" fmla="*/ 1210 h 1210"/>
                  <a:gd name="T2" fmla="*/ 771 w 831"/>
                  <a:gd name="T3" fmla="*/ 632 h 1210"/>
                  <a:gd name="T4" fmla="*/ 831 w 831"/>
                  <a:gd name="T5" fmla="*/ 416 h 1210"/>
                  <a:gd name="T6" fmla="*/ 415 w 831"/>
                  <a:gd name="T7" fmla="*/ 0 h 1210"/>
                  <a:gd name="T8" fmla="*/ 0 w 831"/>
                  <a:gd name="T9" fmla="*/ 416 h 1210"/>
                  <a:gd name="T10" fmla="*/ 60 w 831"/>
                  <a:gd name="T11" fmla="*/ 632 h 1210"/>
                  <a:gd name="T12" fmla="*/ 415 w 831"/>
                  <a:gd name="T13" fmla="*/ 1210 h 1210"/>
                  <a:gd name="T14" fmla="*/ 415 w 831"/>
                  <a:gd name="T15" fmla="*/ 227 h 1210"/>
                  <a:gd name="T16" fmla="*/ 604 w 831"/>
                  <a:gd name="T17" fmla="*/ 416 h 1210"/>
                  <a:gd name="T18" fmla="*/ 415 w 831"/>
                  <a:gd name="T19" fmla="*/ 605 h 1210"/>
                  <a:gd name="T20" fmla="*/ 226 w 831"/>
                  <a:gd name="T21" fmla="*/ 416 h 1210"/>
                  <a:gd name="T22" fmla="*/ 415 w 831"/>
                  <a:gd name="T23" fmla="*/ 227 h 1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1" h="1210">
                    <a:moveTo>
                      <a:pt x="415" y="1210"/>
                    </a:moveTo>
                    <a:cubicBezTo>
                      <a:pt x="771" y="632"/>
                      <a:pt x="771" y="632"/>
                      <a:pt x="771" y="632"/>
                    </a:cubicBezTo>
                    <a:cubicBezTo>
                      <a:pt x="809" y="569"/>
                      <a:pt x="831" y="495"/>
                      <a:pt x="831" y="416"/>
                    </a:cubicBezTo>
                    <a:cubicBezTo>
                      <a:pt x="831" y="186"/>
                      <a:pt x="645" y="0"/>
                      <a:pt x="415" y="0"/>
                    </a:cubicBezTo>
                    <a:cubicBezTo>
                      <a:pt x="186" y="0"/>
                      <a:pt x="0" y="186"/>
                      <a:pt x="0" y="416"/>
                    </a:cubicBezTo>
                    <a:cubicBezTo>
                      <a:pt x="0" y="495"/>
                      <a:pt x="22" y="569"/>
                      <a:pt x="60" y="632"/>
                    </a:cubicBezTo>
                    <a:lnTo>
                      <a:pt x="415" y="1210"/>
                    </a:lnTo>
                    <a:close/>
                    <a:moveTo>
                      <a:pt x="415" y="227"/>
                    </a:moveTo>
                    <a:cubicBezTo>
                      <a:pt x="520" y="227"/>
                      <a:pt x="604" y="312"/>
                      <a:pt x="604" y="416"/>
                    </a:cubicBezTo>
                    <a:cubicBezTo>
                      <a:pt x="604" y="520"/>
                      <a:pt x="520" y="605"/>
                      <a:pt x="415" y="605"/>
                    </a:cubicBezTo>
                    <a:cubicBezTo>
                      <a:pt x="311" y="605"/>
                      <a:pt x="226" y="520"/>
                      <a:pt x="226" y="416"/>
                    </a:cubicBezTo>
                    <a:cubicBezTo>
                      <a:pt x="226" y="312"/>
                      <a:pt x="311" y="227"/>
                      <a:pt x="415" y="227"/>
                    </a:cubicBezTo>
                    <a:close/>
                  </a:path>
                </a:pathLst>
              </a:custGeom>
              <a:solidFill>
                <a:srgbClr val="3333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39" name="Group 77">
            <a:extLst>
              <a:ext uri="{FF2B5EF4-FFF2-40B4-BE49-F238E27FC236}">
                <a16:creationId xmlns:a16="http://schemas.microsoft.com/office/drawing/2014/main" id="{A6525598-00F8-1944-AD7F-35E826168CEE}"/>
              </a:ext>
            </a:extLst>
          </p:cNvPr>
          <p:cNvGrpSpPr/>
          <p:nvPr/>
        </p:nvGrpSpPr>
        <p:grpSpPr>
          <a:xfrm>
            <a:off x="3898518" y="2806188"/>
            <a:ext cx="735423" cy="1041261"/>
            <a:chOff x="734378" y="3537591"/>
            <a:chExt cx="900112" cy="1274439"/>
          </a:xfrm>
        </p:grpSpPr>
        <p:sp>
          <p:nvSpPr>
            <p:cNvPr id="40" name="Oval 39">
              <a:extLst>
                <a:ext uri="{FF2B5EF4-FFF2-40B4-BE49-F238E27FC236}">
                  <a16:creationId xmlns:a16="http://schemas.microsoft.com/office/drawing/2014/main" id="{502D01D0-4F9C-3645-A550-BEEA602ACBAC}"/>
                </a:ext>
              </a:extLst>
            </p:cNvPr>
            <p:cNvSpPr/>
            <p:nvPr/>
          </p:nvSpPr>
          <p:spPr bwMode="auto">
            <a:xfrm>
              <a:off x="734378" y="4552964"/>
              <a:ext cx="900112" cy="259066"/>
            </a:xfrm>
            <a:prstGeom prst="ellipse">
              <a:avLst/>
            </a:prstGeom>
            <a:solidFill>
              <a:srgbClr val="E5E5E9"/>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ea typeface="Arial Unicode MS" panose="020B0604020202020204" pitchFamily="34" charset="-128"/>
                <a:cs typeface="Arial Unicode MS" panose="020B0604020202020204" pitchFamily="34" charset="-128"/>
              </a:endParaRPr>
            </a:p>
          </p:txBody>
        </p:sp>
        <p:grpSp>
          <p:nvGrpSpPr>
            <p:cNvPr id="41" name="Group 79">
              <a:extLst>
                <a:ext uri="{FF2B5EF4-FFF2-40B4-BE49-F238E27FC236}">
                  <a16:creationId xmlns:a16="http://schemas.microsoft.com/office/drawing/2014/main" id="{55732C17-6036-D54C-B5D4-0597B68E8927}"/>
                </a:ext>
              </a:extLst>
            </p:cNvPr>
            <p:cNvGrpSpPr/>
            <p:nvPr/>
          </p:nvGrpSpPr>
          <p:grpSpPr>
            <a:xfrm>
              <a:off x="794961" y="3537591"/>
              <a:ext cx="778943" cy="1131322"/>
              <a:chOff x="115996" y="4766494"/>
              <a:chExt cx="778943" cy="1131322"/>
            </a:xfrm>
          </p:grpSpPr>
          <p:sp>
            <p:nvSpPr>
              <p:cNvPr id="42" name="Oval 41">
                <a:extLst>
                  <a:ext uri="{FF2B5EF4-FFF2-40B4-BE49-F238E27FC236}">
                    <a16:creationId xmlns:a16="http://schemas.microsoft.com/office/drawing/2014/main" id="{1D1D9CE4-4AA6-5D44-8E48-CD2CC31D776E}"/>
                  </a:ext>
                </a:extLst>
              </p:cNvPr>
              <p:cNvSpPr/>
              <p:nvPr/>
            </p:nvSpPr>
            <p:spPr bwMode="auto">
              <a:xfrm>
                <a:off x="268923" y="4905416"/>
                <a:ext cx="495212" cy="495212"/>
              </a:xfrm>
              <a:prstGeom prst="ellipse">
                <a:avLst/>
              </a:prstGeom>
              <a:solidFill>
                <a:schemeClr val="bg1"/>
              </a:solidFill>
              <a:ln w="9525">
                <a:noFill/>
                <a:miter lim="800000"/>
                <a:headEnd/>
                <a:tailEnd/>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ea typeface="Arial Unicode MS" panose="020B0604020202020204" pitchFamily="34" charset="-128"/>
                  <a:cs typeface="Arial Unicode MS" panose="020B0604020202020204" pitchFamily="34" charset="-128"/>
                </a:endParaRPr>
              </a:p>
            </p:txBody>
          </p:sp>
          <p:sp>
            <p:nvSpPr>
              <p:cNvPr id="43" name="Freeform 26">
                <a:extLst>
                  <a:ext uri="{FF2B5EF4-FFF2-40B4-BE49-F238E27FC236}">
                    <a16:creationId xmlns:a16="http://schemas.microsoft.com/office/drawing/2014/main" id="{2341B58D-F656-6344-AD18-A17F10E15643}"/>
                  </a:ext>
                </a:extLst>
              </p:cNvPr>
              <p:cNvSpPr>
                <a:spLocks noEditPoints="1"/>
              </p:cNvSpPr>
              <p:nvPr/>
            </p:nvSpPr>
            <p:spPr bwMode="auto">
              <a:xfrm>
                <a:off x="115996" y="4766494"/>
                <a:ext cx="778943" cy="1131322"/>
              </a:xfrm>
              <a:custGeom>
                <a:avLst/>
                <a:gdLst>
                  <a:gd name="T0" fmla="*/ 415 w 831"/>
                  <a:gd name="T1" fmla="*/ 1210 h 1210"/>
                  <a:gd name="T2" fmla="*/ 771 w 831"/>
                  <a:gd name="T3" fmla="*/ 632 h 1210"/>
                  <a:gd name="T4" fmla="*/ 831 w 831"/>
                  <a:gd name="T5" fmla="*/ 416 h 1210"/>
                  <a:gd name="T6" fmla="*/ 415 w 831"/>
                  <a:gd name="T7" fmla="*/ 0 h 1210"/>
                  <a:gd name="T8" fmla="*/ 0 w 831"/>
                  <a:gd name="T9" fmla="*/ 416 h 1210"/>
                  <a:gd name="T10" fmla="*/ 60 w 831"/>
                  <a:gd name="T11" fmla="*/ 632 h 1210"/>
                  <a:gd name="T12" fmla="*/ 415 w 831"/>
                  <a:gd name="T13" fmla="*/ 1210 h 1210"/>
                  <a:gd name="T14" fmla="*/ 415 w 831"/>
                  <a:gd name="T15" fmla="*/ 227 h 1210"/>
                  <a:gd name="T16" fmla="*/ 604 w 831"/>
                  <a:gd name="T17" fmla="*/ 416 h 1210"/>
                  <a:gd name="T18" fmla="*/ 415 w 831"/>
                  <a:gd name="T19" fmla="*/ 605 h 1210"/>
                  <a:gd name="T20" fmla="*/ 226 w 831"/>
                  <a:gd name="T21" fmla="*/ 416 h 1210"/>
                  <a:gd name="T22" fmla="*/ 415 w 831"/>
                  <a:gd name="T23" fmla="*/ 227 h 1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1" h="1210">
                    <a:moveTo>
                      <a:pt x="415" y="1210"/>
                    </a:moveTo>
                    <a:cubicBezTo>
                      <a:pt x="771" y="632"/>
                      <a:pt x="771" y="632"/>
                      <a:pt x="771" y="632"/>
                    </a:cubicBezTo>
                    <a:cubicBezTo>
                      <a:pt x="809" y="569"/>
                      <a:pt x="831" y="495"/>
                      <a:pt x="831" y="416"/>
                    </a:cubicBezTo>
                    <a:cubicBezTo>
                      <a:pt x="831" y="186"/>
                      <a:pt x="645" y="0"/>
                      <a:pt x="415" y="0"/>
                    </a:cubicBezTo>
                    <a:cubicBezTo>
                      <a:pt x="186" y="0"/>
                      <a:pt x="0" y="186"/>
                      <a:pt x="0" y="416"/>
                    </a:cubicBezTo>
                    <a:cubicBezTo>
                      <a:pt x="0" y="495"/>
                      <a:pt x="22" y="569"/>
                      <a:pt x="60" y="632"/>
                    </a:cubicBezTo>
                    <a:lnTo>
                      <a:pt x="415" y="1210"/>
                    </a:lnTo>
                    <a:close/>
                    <a:moveTo>
                      <a:pt x="415" y="227"/>
                    </a:moveTo>
                    <a:cubicBezTo>
                      <a:pt x="520" y="227"/>
                      <a:pt x="604" y="312"/>
                      <a:pt x="604" y="416"/>
                    </a:cubicBezTo>
                    <a:cubicBezTo>
                      <a:pt x="604" y="520"/>
                      <a:pt x="520" y="605"/>
                      <a:pt x="415" y="605"/>
                    </a:cubicBezTo>
                    <a:cubicBezTo>
                      <a:pt x="311" y="605"/>
                      <a:pt x="226" y="520"/>
                      <a:pt x="226" y="416"/>
                    </a:cubicBezTo>
                    <a:cubicBezTo>
                      <a:pt x="226" y="312"/>
                      <a:pt x="311" y="227"/>
                      <a:pt x="415" y="227"/>
                    </a:cubicBezTo>
                    <a:close/>
                  </a:path>
                </a:pathLst>
              </a:custGeom>
              <a:solidFill>
                <a:srgbClr val="6666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44" name="Group 82">
            <a:extLst>
              <a:ext uri="{FF2B5EF4-FFF2-40B4-BE49-F238E27FC236}">
                <a16:creationId xmlns:a16="http://schemas.microsoft.com/office/drawing/2014/main" id="{7D9632F5-C807-DE4D-B52F-B422711CC548}"/>
              </a:ext>
            </a:extLst>
          </p:cNvPr>
          <p:cNvGrpSpPr/>
          <p:nvPr/>
        </p:nvGrpSpPr>
        <p:grpSpPr>
          <a:xfrm>
            <a:off x="6320661" y="3229858"/>
            <a:ext cx="735423" cy="1041262"/>
            <a:chOff x="734379" y="3537591"/>
            <a:chExt cx="900112" cy="1274440"/>
          </a:xfrm>
        </p:grpSpPr>
        <p:sp>
          <p:nvSpPr>
            <p:cNvPr id="45" name="Oval 44">
              <a:extLst>
                <a:ext uri="{FF2B5EF4-FFF2-40B4-BE49-F238E27FC236}">
                  <a16:creationId xmlns:a16="http://schemas.microsoft.com/office/drawing/2014/main" id="{6A5A25EB-7492-4E4F-BFA4-36BCA848D002}"/>
                </a:ext>
              </a:extLst>
            </p:cNvPr>
            <p:cNvSpPr/>
            <p:nvPr/>
          </p:nvSpPr>
          <p:spPr bwMode="auto">
            <a:xfrm>
              <a:off x="734379" y="4552965"/>
              <a:ext cx="900112" cy="259066"/>
            </a:xfrm>
            <a:prstGeom prst="ellipse">
              <a:avLst/>
            </a:prstGeom>
            <a:solidFill>
              <a:srgbClr val="E5E5E9"/>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ea typeface="Arial Unicode MS" panose="020B0604020202020204" pitchFamily="34" charset="-128"/>
                <a:cs typeface="Arial Unicode MS" panose="020B0604020202020204" pitchFamily="34" charset="-128"/>
              </a:endParaRPr>
            </a:p>
          </p:txBody>
        </p:sp>
        <p:grpSp>
          <p:nvGrpSpPr>
            <p:cNvPr id="46" name="Group 84">
              <a:extLst>
                <a:ext uri="{FF2B5EF4-FFF2-40B4-BE49-F238E27FC236}">
                  <a16:creationId xmlns:a16="http://schemas.microsoft.com/office/drawing/2014/main" id="{054D5B78-681B-EB45-BBAE-3DA6B66B140B}"/>
                </a:ext>
              </a:extLst>
            </p:cNvPr>
            <p:cNvGrpSpPr/>
            <p:nvPr/>
          </p:nvGrpSpPr>
          <p:grpSpPr>
            <a:xfrm>
              <a:off x="794963" y="3537591"/>
              <a:ext cx="778943" cy="1131322"/>
              <a:chOff x="115998" y="4766494"/>
              <a:chExt cx="778943" cy="1131322"/>
            </a:xfrm>
          </p:grpSpPr>
          <p:sp>
            <p:nvSpPr>
              <p:cNvPr id="47" name="Oval 46">
                <a:extLst>
                  <a:ext uri="{FF2B5EF4-FFF2-40B4-BE49-F238E27FC236}">
                    <a16:creationId xmlns:a16="http://schemas.microsoft.com/office/drawing/2014/main" id="{649B2727-6D19-2149-907F-4B31F6A294D6}"/>
                  </a:ext>
                </a:extLst>
              </p:cNvPr>
              <p:cNvSpPr/>
              <p:nvPr/>
            </p:nvSpPr>
            <p:spPr bwMode="auto">
              <a:xfrm>
                <a:off x="268923" y="4905416"/>
                <a:ext cx="495212" cy="495212"/>
              </a:xfrm>
              <a:prstGeom prst="ellipse">
                <a:avLst/>
              </a:prstGeom>
              <a:solidFill>
                <a:schemeClr val="bg1"/>
              </a:solidFill>
              <a:ln w="9525">
                <a:noFill/>
                <a:miter lim="800000"/>
                <a:headEnd/>
                <a:tailEnd/>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ea typeface="Arial Unicode MS" panose="020B0604020202020204" pitchFamily="34" charset="-128"/>
                  <a:cs typeface="Arial Unicode MS" panose="020B0604020202020204" pitchFamily="34" charset="-128"/>
                </a:endParaRPr>
              </a:p>
            </p:txBody>
          </p:sp>
          <p:sp>
            <p:nvSpPr>
              <p:cNvPr id="48" name="Freeform 26">
                <a:extLst>
                  <a:ext uri="{FF2B5EF4-FFF2-40B4-BE49-F238E27FC236}">
                    <a16:creationId xmlns:a16="http://schemas.microsoft.com/office/drawing/2014/main" id="{7980764E-79C0-C94F-B2DD-48EEF7E6CC1F}"/>
                  </a:ext>
                </a:extLst>
              </p:cNvPr>
              <p:cNvSpPr>
                <a:spLocks noEditPoints="1"/>
              </p:cNvSpPr>
              <p:nvPr/>
            </p:nvSpPr>
            <p:spPr bwMode="auto">
              <a:xfrm>
                <a:off x="115998" y="4766494"/>
                <a:ext cx="778943" cy="1131322"/>
              </a:xfrm>
              <a:custGeom>
                <a:avLst/>
                <a:gdLst>
                  <a:gd name="T0" fmla="*/ 415 w 831"/>
                  <a:gd name="T1" fmla="*/ 1210 h 1210"/>
                  <a:gd name="T2" fmla="*/ 771 w 831"/>
                  <a:gd name="T3" fmla="*/ 632 h 1210"/>
                  <a:gd name="T4" fmla="*/ 831 w 831"/>
                  <a:gd name="T5" fmla="*/ 416 h 1210"/>
                  <a:gd name="T6" fmla="*/ 415 w 831"/>
                  <a:gd name="T7" fmla="*/ 0 h 1210"/>
                  <a:gd name="T8" fmla="*/ 0 w 831"/>
                  <a:gd name="T9" fmla="*/ 416 h 1210"/>
                  <a:gd name="T10" fmla="*/ 60 w 831"/>
                  <a:gd name="T11" fmla="*/ 632 h 1210"/>
                  <a:gd name="T12" fmla="*/ 415 w 831"/>
                  <a:gd name="T13" fmla="*/ 1210 h 1210"/>
                  <a:gd name="T14" fmla="*/ 415 w 831"/>
                  <a:gd name="T15" fmla="*/ 227 h 1210"/>
                  <a:gd name="T16" fmla="*/ 604 w 831"/>
                  <a:gd name="T17" fmla="*/ 416 h 1210"/>
                  <a:gd name="T18" fmla="*/ 415 w 831"/>
                  <a:gd name="T19" fmla="*/ 605 h 1210"/>
                  <a:gd name="T20" fmla="*/ 226 w 831"/>
                  <a:gd name="T21" fmla="*/ 416 h 1210"/>
                  <a:gd name="T22" fmla="*/ 415 w 831"/>
                  <a:gd name="T23" fmla="*/ 227 h 1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1" h="1210">
                    <a:moveTo>
                      <a:pt x="415" y="1210"/>
                    </a:moveTo>
                    <a:cubicBezTo>
                      <a:pt x="771" y="632"/>
                      <a:pt x="771" y="632"/>
                      <a:pt x="771" y="632"/>
                    </a:cubicBezTo>
                    <a:cubicBezTo>
                      <a:pt x="809" y="569"/>
                      <a:pt x="831" y="495"/>
                      <a:pt x="831" y="416"/>
                    </a:cubicBezTo>
                    <a:cubicBezTo>
                      <a:pt x="831" y="186"/>
                      <a:pt x="645" y="0"/>
                      <a:pt x="415" y="0"/>
                    </a:cubicBezTo>
                    <a:cubicBezTo>
                      <a:pt x="186" y="0"/>
                      <a:pt x="0" y="186"/>
                      <a:pt x="0" y="416"/>
                    </a:cubicBezTo>
                    <a:cubicBezTo>
                      <a:pt x="0" y="495"/>
                      <a:pt x="22" y="569"/>
                      <a:pt x="60" y="632"/>
                    </a:cubicBezTo>
                    <a:lnTo>
                      <a:pt x="415" y="1210"/>
                    </a:lnTo>
                    <a:close/>
                    <a:moveTo>
                      <a:pt x="415" y="227"/>
                    </a:moveTo>
                    <a:cubicBezTo>
                      <a:pt x="520" y="227"/>
                      <a:pt x="604" y="312"/>
                      <a:pt x="604" y="416"/>
                    </a:cubicBezTo>
                    <a:cubicBezTo>
                      <a:pt x="604" y="520"/>
                      <a:pt x="520" y="605"/>
                      <a:pt x="415" y="605"/>
                    </a:cubicBezTo>
                    <a:cubicBezTo>
                      <a:pt x="311" y="605"/>
                      <a:pt x="226" y="520"/>
                      <a:pt x="226" y="416"/>
                    </a:cubicBezTo>
                    <a:cubicBezTo>
                      <a:pt x="226" y="312"/>
                      <a:pt x="311" y="227"/>
                      <a:pt x="415" y="227"/>
                    </a:cubicBezTo>
                    <a:close/>
                  </a:path>
                </a:pathLst>
              </a:custGeom>
              <a:solidFill>
                <a:srgbClr val="6666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49" name="Group 87">
            <a:extLst>
              <a:ext uri="{FF2B5EF4-FFF2-40B4-BE49-F238E27FC236}">
                <a16:creationId xmlns:a16="http://schemas.microsoft.com/office/drawing/2014/main" id="{3339A581-5A7A-724C-BE88-AC6B61EC32B2}"/>
              </a:ext>
            </a:extLst>
          </p:cNvPr>
          <p:cNvGrpSpPr/>
          <p:nvPr/>
        </p:nvGrpSpPr>
        <p:grpSpPr>
          <a:xfrm>
            <a:off x="7305608" y="2629272"/>
            <a:ext cx="541778" cy="852272"/>
            <a:chOff x="805109" y="3537591"/>
            <a:chExt cx="778943" cy="1225360"/>
          </a:xfrm>
        </p:grpSpPr>
        <p:sp>
          <p:nvSpPr>
            <p:cNvPr id="50" name="Oval 49">
              <a:extLst>
                <a:ext uri="{FF2B5EF4-FFF2-40B4-BE49-F238E27FC236}">
                  <a16:creationId xmlns:a16="http://schemas.microsoft.com/office/drawing/2014/main" id="{93382CF3-24D6-3C4C-B48E-5939F9C664EC}"/>
                </a:ext>
              </a:extLst>
            </p:cNvPr>
            <p:cNvSpPr/>
            <p:nvPr/>
          </p:nvSpPr>
          <p:spPr bwMode="auto">
            <a:xfrm>
              <a:off x="915048" y="4602042"/>
              <a:ext cx="559066" cy="160909"/>
            </a:xfrm>
            <a:prstGeom prst="ellipse">
              <a:avLst/>
            </a:prstGeom>
            <a:solidFill>
              <a:srgbClr val="E5E5E9"/>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ea typeface="Arial Unicode MS" panose="020B0604020202020204" pitchFamily="34" charset="-128"/>
                <a:cs typeface="Arial Unicode MS" panose="020B0604020202020204" pitchFamily="34" charset="-128"/>
              </a:endParaRPr>
            </a:p>
          </p:txBody>
        </p:sp>
        <p:grpSp>
          <p:nvGrpSpPr>
            <p:cNvPr id="51" name="Group 89">
              <a:extLst>
                <a:ext uri="{FF2B5EF4-FFF2-40B4-BE49-F238E27FC236}">
                  <a16:creationId xmlns:a16="http://schemas.microsoft.com/office/drawing/2014/main" id="{4502D2F0-782A-AB43-A8D6-FB8D51D31AC5}"/>
                </a:ext>
              </a:extLst>
            </p:cNvPr>
            <p:cNvGrpSpPr/>
            <p:nvPr/>
          </p:nvGrpSpPr>
          <p:grpSpPr>
            <a:xfrm>
              <a:off x="805109" y="3537591"/>
              <a:ext cx="778943" cy="1131322"/>
              <a:chOff x="126144" y="4766494"/>
              <a:chExt cx="778943" cy="1131322"/>
            </a:xfrm>
          </p:grpSpPr>
          <p:sp>
            <p:nvSpPr>
              <p:cNvPr id="52" name="Oval 51">
                <a:extLst>
                  <a:ext uri="{FF2B5EF4-FFF2-40B4-BE49-F238E27FC236}">
                    <a16:creationId xmlns:a16="http://schemas.microsoft.com/office/drawing/2014/main" id="{F16ABACD-28E7-F042-A993-857AC02779A4}"/>
                  </a:ext>
                </a:extLst>
              </p:cNvPr>
              <p:cNvSpPr/>
              <p:nvPr/>
            </p:nvSpPr>
            <p:spPr bwMode="auto">
              <a:xfrm>
                <a:off x="268923" y="4905416"/>
                <a:ext cx="495212" cy="495212"/>
              </a:xfrm>
              <a:prstGeom prst="ellipse">
                <a:avLst/>
              </a:prstGeom>
              <a:solidFill>
                <a:schemeClr val="bg1"/>
              </a:solidFill>
              <a:ln w="9525">
                <a:noFill/>
                <a:miter lim="800000"/>
                <a:headEnd/>
                <a:tailEnd/>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ea typeface="Arial Unicode MS" panose="020B0604020202020204" pitchFamily="34" charset="-128"/>
                  <a:cs typeface="Arial Unicode MS" panose="020B0604020202020204" pitchFamily="34" charset="-128"/>
                </a:endParaRPr>
              </a:p>
            </p:txBody>
          </p:sp>
          <p:sp>
            <p:nvSpPr>
              <p:cNvPr id="53" name="Freeform 26">
                <a:extLst>
                  <a:ext uri="{FF2B5EF4-FFF2-40B4-BE49-F238E27FC236}">
                    <a16:creationId xmlns:a16="http://schemas.microsoft.com/office/drawing/2014/main" id="{C38DFAF9-D1ED-534D-AB6A-227D8E06F8E9}"/>
                  </a:ext>
                </a:extLst>
              </p:cNvPr>
              <p:cNvSpPr>
                <a:spLocks noEditPoints="1"/>
              </p:cNvSpPr>
              <p:nvPr/>
            </p:nvSpPr>
            <p:spPr bwMode="auto">
              <a:xfrm>
                <a:off x="126144" y="4766494"/>
                <a:ext cx="778943" cy="1131322"/>
              </a:xfrm>
              <a:custGeom>
                <a:avLst/>
                <a:gdLst>
                  <a:gd name="T0" fmla="*/ 415 w 831"/>
                  <a:gd name="T1" fmla="*/ 1210 h 1210"/>
                  <a:gd name="T2" fmla="*/ 771 w 831"/>
                  <a:gd name="T3" fmla="*/ 632 h 1210"/>
                  <a:gd name="T4" fmla="*/ 831 w 831"/>
                  <a:gd name="T5" fmla="*/ 416 h 1210"/>
                  <a:gd name="T6" fmla="*/ 415 w 831"/>
                  <a:gd name="T7" fmla="*/ 0 h 1210"/>
                  <a:gd name="T8" fmla="*/ 0 w 831"/>
                  <a:gd name="T9" fmla="*/ 416 h 1210"/>
                  <a:gd name="T10" fmla="*/ 60 w 831"/>
                  <a:gd name="T11" fmla="*/ 632 h 1210"/>
                  <a:gd name="T12" fmla="*/ 415 w 831"/>
                  <a:gd name="T13" fmla="*/ 1210 h 1210"/>
                  <a:gd name="T14" fmla="*/ 415 w 831"/>
                  <a:gd name="T15" fmla="*/ 227 h 1210"/>
                  <a:gd name="T16" fmla="*/ 604 w 831"/>
                  <a:gd name="T17" fmla="*/ 416 h 1210"/>
                  <a:gd name="T18" fmla="*/ 415 w 831"/>
                  <a:gd name="T19" fmla="*/ 605 h 1210"/>
                  <a:gd name="T20" fmla="*/ 226 w 831"/>
                  <a:gd name="T21" fmla="*/ 416 h 1210"/>
                  <a:gd name="T22" fmla="*/ 415 w 831"/>
                  <a:gd name="T23" fmla="*/ 227 h 1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1" h="1210">
                    <a:moveTo>
                      <a:pt x="415" y="1210"/>
                    </a:moveTo>
                    <a:cubicBezTo>
                      <a:pt x="771" y="632"/>
                      <a:pt x="771" y="632"/>
                      <a:pt x="771" y="632"/>
                    </a:cubicBezTo>
                    <a:cubicBezTo>
                      <a:pt x="809" y="569"/>
                      <a:pt x="831" y="495"/>
                      <a:pt x="831" y="416"/>
                    </a:cubicBezTo>
                    <a:cubicBezTo>
                      <a:pt x="831" y="186"/>
                      <a:pt x="645" y="0"/>
                      <a:pt x="415" y="0"/>
                    </a:cubicBezTo>
                    <a:cubicBezTo>
                      <a:pt x="186" y="0"/>
                      <a:pt x="0" y="186"/>
                      <a:pt x="0" y="416"/>
                    </a:cubicBezTo>
                    <a:cubicBezTo>
                      <a:pt x="0" y="495"/>
                      <a:pt x="22" y="569"/>
                      <a:pt x="60" y="632"/>
                    </a:cubicBezTo>
                    <a:lnTo>
                      <a:pt x="415" y="1210"/>
                    </a:lnTo>
                    <a:close/>
                    <a:moveTo>
                      <a:pt x="415" y="227"/>
                    </a:moveTo>
                    <a:cubicBezTo>
                      <a:pt x="520" y="227"/>
                      <a:pt x="604" y="312"/>
                      <a:pt x="604" y="416"/>
                    </a:cubicBezTo>
                    <a:cubicBezTo>
                      <a:pt x="604" y="520"/>
                      <a:pt x="520" y="605"/>
                      <a:pt x="415" y="605"/>
                    </a:cubicBezTo>
                    <a:cubicBezTo>
                      <a:pt x="311" y="605"/>
                      <a:pt x="226" y="520"/>
                      <a:pt x="226" y="416"/>
                    </a:cubicBezTo>
                    <a:cubicBezTo>
                      <a:pt x="226" y="312"/>
                      <a:pt x="311" y="227"/>
                      <a:pt x="415" y="227"/>
                    </a:cubicBezTo>
                    <a:close/>
                  </a:path>
                </a:pathLst>
              </a:custGeom>
              <a:solidFill>
                <a:srgbClr val="9999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68" name="Group 92">
            <a:extLst>
              <a:ext uri="{FF2B5EF4-FFF2-40B4-BE49-F238E27FC236}">
                <a16:creationId xmlns:a16="http://schemas.microsoft.com/office/drawing/2014/main" id="{A5B33297-ED71-884B-A552-20C1FA8298DE}"/>
              </a:ext>
            </a:extLst>
          </p:cNvPr>
          <p:cNvGrpSpPr/>
          <p:nvPr/>
        </p:nvGrpSpPr>
        <p:grpSpPr>
          <a:xfrm>
            <a:off x="9315543" y="2693848"/>
            <a:ext cx="541778" cy="852272"/>
            <a:chOff x="805109" y="3537591"/>
            <a:chExt cx="778943" cy="1225360"/>
          </a:xfrm>
        </p:grpSpPr>
        <p:sp>
          <p:nvSpPr>
            <p:cNvPr id="69" name="Oval 68">
              <a:extLst>
                <a:ext uri="{FF2B5EF4-FFF2-40B4-BE49-F238E27FC236}">
                  <a16:creationId xmlns:a16="http://schemas.microsoft.com/office/drawing/2014/main" id="{04241634-5536-2D48-A1CB-0CD5D6C09C9E}"/>
                </a:ext>
              </a:extLst>
            </p:cNvPr>
            <p:cNvSpPr/>
            <p:nvPr/>
          </p:nvSpPr>
          <p:spPr bwMode="auto">
            <a:xfrm>
              <a:off x="915048" y="4602042"/>
              <a:ext cx="559066" cy="160909"/>
            </a:xfrm>
            <a:prstGeom prst="ellipse">
              <a:avLst/>
            </a:prstGeom>
            <a:solidFill>
              <a:srgbClr val="E5E5E9"/>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ea typeface="Arial Unicode MS" panose="020B0604020202020204" pitchFamily="34" charset="-128"/>
                <a:cs typeface="Arial Unicode MS" panose="020B0604020202020204" pitchFamily="34" charset="-128"/>
              </a:endParaRPr>
            </a:p>
          </p:txBody>
        </p:sp>
        <p:grpSp>
          <p:nvGrpSpPr>
            <p:cNvPr id="70" name="Group 94">
              <a:extLst>
                <a:ext uri="{FF2B5EF4-FFF2-40B4-BE49-F238E27FC236}">
                  <a16:creationId xmlns:a16="http://schemas.microsoft.com/office/drawing/2014/main" id="{7FF9D60A-7E18-F845-8815-FD7242B7468F}"/>
                </a:ext>
              </a:extLst>
            </p:cNvPr>
            <p:cNvGrpSpPr/>
            <p:nvPr/>
          </p:nvGrpSpPr>
          <p:grpSpPr>
            <a:xfrm>
              <a:off x="805109" y="3537591"/>
              <a:ext cx="778943" cy="1131322"/>
              <a:chOff x="126144" y="4766494"/>
              <a:chExt cx="778943" cy="1131322"/>
            </a:xfrm>
          </p:grpSpPr>
          <p:sp>
            <p:nvSpPr>
              <p:cNvPr id="71" name="Oval 70">
                <a:extLst>
                  <a:ext uri="{FF2B5EF4-FFF2-40B4-BE49-F238E27FC236}">
                    <a16:creationId xmlns:a16="http://schemas.microsoft.com/office/drawing/2014/main" id="{57AA38F7-84B6-F441-B728-B353DD2D407E}"/>
                  </a:ext>
                </a:extLst>
              </p:cNvPr>
              <p:cNvSpPr/>
              <p:nvPr/>
            </p:nvSpPr>
            <p:spPr bwMode="auto">
              <a:xfrm>
                <a:off x="268923" y="4905416"/>
                <a:ext cx="495212" cy="495212"/>
              </a:xfrm>
              <a:prstGeom prst="ellipse">
                <a:avLst/>
              </a:prstGeom>
              <a:solidFill>
                <a:schemeClr val="bg1"/>
              </a:solidFill>
              <a:ln w="9525">
                <a:noFill/>
                <a:miter lim="800000"/>
                <a:headEnd/>
                <a:tailEnd/>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ea typeface="Arial Unicode MS" panose="020B0604020202020204" pitchFamily="34" charset="-128"/>
                  <a:cs typeface="Arial Unicode MS" panose="020B0604020202020204" pitchFamily="34" charset="-128"/>
                </a:endParaRPr>
              </a:p>
            </p:txBody>
          </p:sp>
          <p:sp>
            <p:nvSpPr>
              <p:cNvPr id="72" name="Freeform 26">
                <a:extLst>
                  <a:ext uri="{FF2B5EF4-FFF2-40B4-BE49-F238E27FC236}">
                    <a16:creationId xmlns:a16="http://schemas.microsoft.com/office/drawing/2014/main" id="{76FD90D2-6DB4-A246-BD16-DAF2AA8C4F37}"/>
                  </a:ext>
                </a:extLst>
              </p:cNvPr>
              <p:cNvSpPr>
                <a:spLocks noEditPoints="1"/>
              </p:cNvSpPr>
              <p:nvPr/>
            </p:nvSpPr>
            <p:spPr bwMode="auto">
              <a:xfrm>
                <a:off x="126144" y="4766494"/>
                <a:ext cx="778943" cy="1131322"/>
              </a:xfrm>
              <a:custGeom>
                <a:avLst/>
                <a:gdLst>
                  <a:gd name="T0" fmla="*/ 415 w 831"/>
                  <a:gd name="T1" fmla="*/ 1210 h 1210"/>
                  <a:gd name="T2" fmla="*/ 771 w 831"/>
                  <a:gd name="T3" fmla="*/ 632 h 1210"/>
                  <a:gd name="T4" fmla="*/ 831 w 831"/>
                  <a:gd name="T5" fmla="*/ 416 h 1210"/>
                  <a:gd name="T6" fmla="*/ 415 w 831"/>
                  <a:gd name="T7" fmla="*/ 0 h 1210"/>
                  <a:gd name="T8" fmla="*/ 0 w 831"/>
                  <a:gd name="T9" fmla="*/ 416 h 1210"/>
                  <a:gd name="T10" fmla="*/ 60 w 831"/>
                  <a:gd name="T11" fmla="*/ 632 h 1210"/>
                  <a:gd name="T12" fmla="*/ 415 w 831"/>
                  <a:gd name="T13" fmla="*/ 1210 h 1210"/>
                  <a:gd name="T14" fmla="*/ 415 w 831"/>
                  <a:gd name="T15" fmla="*/ 227 h 1210"/>
                  <a:gd name="T16" fmla="*/ 604 w 831"/>
                  <a:gd name="T17" fmla="*/ 416 h 1210"/>
                  <a:gd name="T18" fmla="*/ 415 w 831"/>
                  <a:gd name="T19" fmla="*/ 605 h 1210"/>
                  <a:gd name="T20" fmla="*/ 226 w 831"/>
                  <a:gd name="T21" fmla="*/ 416 h 1210"/>
                  <a:gd name="T22" fmla="*/ 415 w 831"/>
                  <a:gd name="T23" fmla="*/ 227 h 1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1" h="1210">
                    <a:moveTo>
                      <a:pt x="415" y="1210"/>
                    </a:moveTo>
                    <a:cubicBezTo>
                      <a:pt x="771" y="632"/>
                      <a:pt x="771" y="632"/>
                      <a:pt x="771" y="632"/>
                    </a:cubicBezTo>
                    <a:cubicBezTo>
                      <a:pt x="809" y="569"/>
                      <a:pt x="831" y="495"/>
                      <a:pt x="831" y="416"/>
                    </a:cubicBezTo>
                    <a:cubicBezTo>
                      <a:pt x="831" y="186"/>
                      <a:pt x="645" y="0"/>
                      <a:pt x="415" y="0"/>
                    </a:cubicBezTo>
                    <a:cubicBezTo>
                      <a:pt x="186" y="0"/>
                      <a:pt x="0" y="186"/>
                      <a:pt x="0" y="416"/>
                    </a:cubicBezTo>
                    <a:cubicBezTo>
                      <a:pt x="0" y="495"/>
                      <a:pt x="22" y="569"/>
                      <a:pt x="60" y="632"/>
                    </a:cubicBezTo>
                    <a:lnTo>
                      <a:pt x="415" y="1210"/>
                    </a:lnTo>
                    <a:close/>
                    <a:moveTo>
                      <a:pt x="415" y="227"/>
                    </a:moveTo>
                    <a:cubicBezTo>
                      <a:pt x="520" y="227"/>
                      <a:pt x="604" y="312"/>
                      <a:pt x="604" y="416"/>
                    </a:cubicBezTo>
                    <a:cubicBezTo>
                      <a:pt x="604" y="520"/>
                      <a:pt x="520" y="605"/>
                      <a:pt x="415" y="605"/>
                    </a:cubicBezTo>
                    <a:cubicBezTo>
                      <a:pt x="311" y="605"/>
                      <a:pt x="226" y="520"/>
                      <a:pt x="226" y="416"/>
                    </a:cubicBezTo>
                    <a:cubicBezTo>
                      <a:pt x="226" y="312"/>
                      <a:pt x="311" y="227"/>
                      <a:pt x="415" y="227"/>
                    </a:cubicBezTo>
                    <a:close/>
                  </a:path>
                </a:pathLst>
              </a:custGeom>
              <a:solidFill>
                <a:srgbClr val="9999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73" name="Group 97">
            <a:extLst>
              <a:ext uri="{FF2B5EF4-FFF2-40B4-BE49-F238E27FC236}">
                <a16:creationId xmlns:a16="http://schemas.microsoft.com/office/drawing/2014/main" id="{BCDF44B5-3097-1443-99FA-6F62D72A084B}"/>
              </a:ext>
            </a:extLst>
          </p:cNvPr>
          <p:cNvGrpSpPr/>
          <p:nvPr/>
        </p:nvGrpSpPr>
        <p:grpSpPr>
          <a:xfrm>
            <a:off x="9719593" y="1686737"/>
            <a:ext cx="318572" cy="501146"/>
            <a:chOff x="805109" y="3537591"/>
            <a:chExt cx="778943" cy="1225360"/>
          </a:xfrm>
        </p:grpSpPr>
        <p:sp>
          <p:nvSpPr>
            <p:cNvPr id="74" name="Oval 73">
              <a:extLst>
                <a:ext uri="{FF2B5EF4-FFF2-40B4-BE49-F238E27FC236}">
                  <a16:creationId xmlns:a16="http://schemas.microsoft.com/office/drawing/2014/main" id="{69DEDD03-E782-4840-816D-977E32447A76}"/>
                </a:ext>
              </a:extLst>
            </p:cNvPr>
            <p:cNvSpPr/>
            <p:nvPr/>
          </p:nvSpPr>
          <p:spPr bwMode="auto">
            <a:xfrm>
              <a:off x="915048" y="4602043"/>
              <a:ext cx="559067" cy="160908"/>
            </a:xfrm>
            <a:prstGeom prst="ellipse">
              <a:avLst/>
            </a:prstGeom>
            <a:solidFill>
              <a:srgbClr val="E5E5E9"/>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ea typeface="Arial Unicode MS" panose="020B0604020202020204" pitchFamily="34" charset="-128"/>
                <a:cs typeface="Arial Unicode MS" panose="020B0604020202020204" pitchFamily="34" charset="-128"/>
              </a:endParaRPr>
            </a:p>
          </p:txBody>
        </p:sp>
        <p:grpSp>
          <p:nvGrpSpPr>
            <p:cNvPr id="75" name="Group 99">
              <a:extLst>
                <a:ext uri="{FF2B5EF4-FFF2-40B4-BE49-F238E27FC236}">
                  <a16:creationId xmlns:a16="http://schemas.microsoft.com/office/drawing/2014/main" id="{068275E6-D4CF-F84F-A4BC-A049761BD25D}"/>
                </a:ext>
              </a:extLst>
            </p:cNvPr>
            <p:cNvGrpSpPr/>
            <p:nvPr/>
          </p:nvGrpSpPr>
          <p:grpSpPr>
            <a:xfrm>
              <a:off x="805109" y="3537591"/>
              <a:ext cx="778943" cy="1131322"/>
              <a:chOff x="126144" y="4766494"/>
              <a:chExt cx="778943" cy="1131322"/>
            </a:xfrm>
          </p:grpSpPr>
          <p:sp>
            <p:nvSpPr>
              <p:cNvPr id="76" name="Oval 75">
                <a:extLst>
                  <a:ext uri="{FF2B5EF4-FFF2-40B4-BE49-F238E27FC236}">
                    <a16:creationId xmlns:a16="http://schemas.microsoft.com/office/drawing/2014/main" id="{7630B752-026B-C446-A5F9-CEC61F1B4962}"/>
                  </a:ext>
                </a:extLst>
              </p:cNvPr>
              <p:cNvSpPr/>
              <p:nvPr/>
            </p:nvSpPr>
            <p:spPr bwMode="auto">
              <a:xfrm>
                <a:off x="268923" y="4905416"/>
                <a:ext cx="495212" cy="495212"/>
              </a:xfrm>
              <a:prstGeom prst="ellipse">
                <a:avLst/>
              </a:prstGeom>
              <a:solidFill>
                <a:schemeClr val="bg1"/>
              </a:solidFill>
              <a:ln w="9525">
                <a:noFill/>
                <a:miter lim="800000"/>
                <a:headEnd/>
                <a:tailEnd/>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ea typeface="Arial Unicode MS" panose="020B0604020202020204" pitchFamily="34" charset="-128"/>
                  <a:cs typeface="Arial Unicode MS" panose="020B0604020202020204" pitchFamily="34" charset="-128"/>
                </a:endParaRPr>
              </a:p>
            </p:txBody>
          </p:sp>
          <p:sp>
            <p:nvSpPr>
              <p:cNvPr id="77" name="Freeform 26">
                <a:extLst>
                  <a:ext uri="{FF2B5EF4-FFF2-40B4-BE49-F238E27FC236}">
                    <a16:creationId xmlns:a16="http://schemas.microsoft.com/office/drawing/2014/main" id="{6BB1AEA7-CF33-9441-B52B-C5097D0846CF}"/>
                  </a:ext>
                </a:extLst>
              </p:cNvPr>
              <p:cNvSpPr>
                <a:spLocks noEditPoints="1"/>
              </p:cNvSpPr>
              <p:nvPr/>
            </p:nvSpPr>
            <p:spPr bwMode="auto">
              <a:xfrm>
                <a:off x="126144" y="4766494"/>
                <a:ext cx="778943" cy="1131322"/>
              </a:xfrm>
              <a:custGeom>
                <a:avLst/>
                <a:gdLst>
                  <a:gd name="T0" fmla="*/ 415 w 831"/>
                  <a:gd name="T1" fmla="*/ 1210 h 1210"/>
                  <a:gd name="T2" fmla="*/ 771 w 831"/>
                  <a:gd name="T3" fmla="*/ 632 h 1210"/>
                  <a:gd name="T4" fmla="*/ 831 w 831"/>
                  <a:gd name="T5" fmla="*/ 416 h 1210"/>
                  <a:gd name="T6" fmla="*/ 415 w 831"/>
                  <a:gd name="T7" fmla="*/ 0 h 1210"/>
                  <a:gd name="T8" fmla="*/ 0 w 831"/>
                  <a:gd name="T9" fmla="*/ 416 h 1210"/>
                  <a:gd name="T10" fmla="*/ 60 w 831"/>
                  <a:gd name="T11" fmla="*/ 632 h 1210"/>
                  <a:gd name="T12" fmla="*/ 415 w 831"/>
                  <a:gd name="T13" fmla="*/ 1210 h 1210"/>
                  <a:gd name="T14" fmla="*/ 415 w 831"/>
                  <a:gd name="T15" fmla="*/ 227 h 1210"/>
                  <a:gd name="T16" fmla="*/ 604 w 831"/>
                  <a:gd name="T17" fmla="*/ 416 h 1210"/>
                  <a:gd name="T18" fmla="*/ 415 w 831"/>
                  <a:gd name="T19" fmla="*/ 605 h 1210"/>
                  <a:gd name="T20" fmla="*/ 226 w 831"/>
                  <a:gd name="T21" fmla="*/ 416 h 1210"/>
                  <a:gd name="T22" fmla="*/ 415 w 831"/>
                  <a:gd name="T23" fmla="*/ 227 h 1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1" h="1210">
                    <a:moveTo>
                      <a:pt x="415" y="1210"/>
                    </a:moveTo>
                    <a:cubicBezTo>
                      <a:pt x="771" y="632"/>
                      <a:pt x="771" y="632"/>
                      <a:pt x="771" y="632"/>
                    </a:cubicBezTo>
                    <a:cubicBezTo>
                      <a:pt x="809" y="569"/>
                      <a:pt x="831" y="495"/>
                      <a:pt x="831" y="416"/>
                    </a:cubicBezTo>
                    <a:cubicBezTo>
                      <a:pt x="831" y="186"/>
                      <a:pt x="645" y="0"/>
                      <a:pt x="415" y="0"/>
                    </a:cubicBezTo>
                    <a:cubicBezTo>
                      <a:pt x="186" y="0"/>
                      <a:pt x="0" y="186"/>
                      <a:pt x="0" y="416"/>
                    </a:cubicBezTo>
                    <a:cubicBezTo>
                      <a:pt x="0" y="495"/>
                      <a:pt x="22" y="569"/>
                      <a:pt x="60" y="632"/>
                    </a:cubicBezTo>
                    <a:lnTo>
                      <a:pt x="415" y="1210"/>
                    </a:lnTo>
                    <a:close/>
                    <a:moveTo>
                      <a:pt x="415" y="227"/>
                    </a:moveTo>
                    <a:cubicBezTo>
                      <a:pt x="520" y="227"/>
                      <a:pt x="604" y="312"/>
                      <a:pt x="604" y="416"/>
                    </a:cubicBezTo>
                    <a:cubicBezTo>
                      <a:pt x="604" y="520"/>
                      <a:pt x="520" y="605"/>
                      <a:pt x="415" y="605"/>
                    </a:cubicBezTo>
                    <a:cubicBezTo>
                      <a:pt x="311" y="605"/>
                      <a:pt x="226" y="520"/>
                      <a:pt x="226" y="416"/>
                    </a:cubicBezTo>
                    <a:cubicBezTo>
                      <a:pt x="226" y="312"/>
                      <a:pt x="311" y="227"/>
                      <a:pt x="415" y="227"/>
                    </a:cubicBezTo>
                    <a:close/>
                  </a:path>
                </a:pathLst>
              </a:custGeom>
              <a:solidFill>
                <a:srgbClr val="CCCC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78" name="Group 102">
            <a:extLst>
              <a:ext uri="{FF2B5EF4-FFF2-40B4-BE49-F238E27FC236}">
                <a16:creationId xmlns:a16="http://schemas.microsoft.com/office/drawing/2014/main" id="{265D6568-512E-A844-98E2-15027B74A326}"/>
              </a:ext>
            </a:extLst>
          </p:cNvPr>
          <p:cNvGrpSpPr/>
          <p:nvPr/>
        </p:nvGrpSpPr>
        <p:grpSpPr>
          <a:xfrm>
            <a:off x="10667880" y="2134296"/>
            <a:ext cx="318572" cy="501146"/>
            <a:chOff x="805109" y="3537591"/>
            <a:chExt cx="778943" cy="1225360"/>
          </a:xfrm>
        </p:grpSpPr>
        <p:sp>
          <p:nvSpPr>
            <p:cNvPr id="79" name="Oval 78">
              <a:extLst>
                <a:ext uri="{FF2B5EF4-FFF2-40B4-BE49-F238E27FC236}">
                  <a16:creationId xmlns:a16="http://schemas.microsoft.com/office/drawing/2014/main" id="{6FDFAC3F-3FF7-D444-9664-756984F16C08}"/>
                </a:ext>
              </a:extLst>
            </p:cNvPr>
            <p:cNvSpPr/>
            <p:nvPr/>
          </p:nvSpPr>
          <p:spPr bwMode="auto">
            <a:xfrm>
              <a:off x="915048" y="4602043"/>
              <a:ext cx="559067" cy="160908"/>
            </a:xfrm>
            <a:prstGeom prst="ellipse">
              <a:avLst/>
            </a:prstGeom>
            <a:solidFill>
              <a:srgbClr val="E5E5E9"/>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ea typeface="Arial Unicode MS" panose="020B0604020202020204" pitchFamily="34" charset="-128"/>
                <a:cs typeface="Arial Unicode MS" panose="020B0604020202020204" pitchFamily="34" charset="-128"/>
              </a:endParaRPr>
            </a:p>
          </p:txBody>
        </p:sp>
        <p:grpSp>
          <p:nvGrpSpPr>
            <p:cNvPr id="80" name="Group 104">
              <a:extLst>
                <a:ext uri="{FF2B5EF4-FFF2-40B4-BE49-F238E27FC236}">
                  <a16:creationId xmlns:a16="http://schemas.microsoft.com/office/drawing/2014/main" id="{327D5AB3-F0F8-FF4D-94A6-732A4BC0E28F}"/>
                </a:ext>
              </a:extLst>
            </p:cNvPr>
            <p:cNvGrpSpPr/>
            <p:nvPr/>
          </p:nvGrpSpPr>
          <p:grpSpPr>
            <a:xfrm>
              <a:off x="805109" y="3537591"/>
              <a:ext cx="778943" cy="1131322"/>
              <a:chOff x="126144" y="4766494"/>
              <a:chExt cx="778943" cy="1131322"/>
            </a:xfrm>
          </p:grpSpPr>
          <p:sp>
            <p:nvSpPr>
              <p:cNvPr id="81" name="Oval 80">
                <a:extLst>
                  <a:ext uri="{FF2B5EF4-FFF2-40B4-BE49-F238E27FC236}">
                    <a16:creationId xmlns:a16="http://schemas.microsoft.com/office/drawing/2014/main" id="{D2BE6C1A-F7CB-2047-8E27-C60E4C241A69}"/>
                  </a:ext>
                </a:extLst>
              </p:cNvPr>
              <p:cNvSpPr/>
              <p:nvPr/>
            </p:nvSpPr>
            <p:spPr bwMode="auto">
              <a:xfrm>
                <a:off x="268923" y="4905416"/>
                <a:ext cx="495212" cy="495212"/>
              </a:xfrm>
              <a:prstGeom prst="ellipse">
                <a:avLst/>
              </a:prstGeom>
              <a:solidFill>
                <a:schemeClr val="bg1"/>
              </a:solidFill>
              <a:ln w="9525">
                <a:noFill/>
                <a:miter lim="800000"/>
                <a:headEnd/>
                <a:tailEnd/>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ea typeface="Arial Unicode MS" panose="020B0604020202020204" pitchFamily="34" charset="-128"/>
                  <a:cs typeface="Arial Unicode MS" panose="020B0604020202020204" pitchFamily="34" charset="-128"/>
                </a:endParaRPr>
              </a:p>
            </p:txBody>
          </p:sp>
          <p:sp>
            <p:nvSpPr>
              <p:cNvPr id="82" name="Freeform 26">
                <a:extLst>
                  <a:ext uri="{FF2B5EF4-FFF2-40B4-BE49-F238E27FC236}">
                    <a16:creationId xmlns:a16="http://schemas.microsoft.com/office/drawing/2014/main" id="{8094D49B-8185-A94E-8F5C-3043BDA9C5BF}"/>
                  </a:ext>
                </a:extLst>
              </p:cNvPr>
              <p:cNvSpPr>
                <a:spLocks noEditPoints="1"/>
              </p:cNvSpPr>
              <p:nvPr/>
            </p:nvSpPr>
            <p:spPr bwMode="auto">
              <a:xfrm>
                <a:off x="126144" y="4766494"/>
                <a:ext cx="778943" cy="1131322"/>
              </a:xfrm>
              <a:custGeom>
                <a:avLst/>
                <a:gdLst>
                  <a:gd name="T0" fmla="*/ 415 w 831"/>
                  <a:gd name="T1" fmla="*/ 1210 h 1210"/>
                  <a:gd name="T2" fmla="*/ 771 w 831"/>
                  <a:gd name="T3" fmla="*/ 632 h 1210"/>
                  <a:gd name="T4" fmla="*/ 831 w 831"/>
                  <a:gd name="T5" fmla="*/ 416 h 1210"/>
                  <a:gd name="T6" fmla="*/ 415 w 831"/>
                  <a:gd name="T7" fmla="*/ 0 h 1210"/>
                  <a:gd name="T8" fmla="*/ 0 w 831"/>
                  <a:gd name="T9" fmla="*/ 416 h 1210"/>
                  <a:gd name="T10" fmla="*/ 60 w 831"/>
                  <a:gd name="T11" fmla="*/ 632 h 1210"/>
                  <a:gd name="T12" fmla="*/ 415 w 831"/>
                  <a:gd name="T13" fmla="*/ 1210 h 1210"/>
                  <a:gd name="T14" fmla="*/ 415 w 831"/>
                  <a:gd name="T15" fmla="*/ 227 h 1210"/>
                  <a:gd name="T16" fmla="*/ 604 w 831"/>
                  <a:gd name="T17" fmla="*/ 416 h 1210"/>
                  <a:gd name="T18" fmla="*/ 415 w 831"/>
                  <a:gd name="T19" fmla="*/ 605 h 1210"/>
                  <a:gd name="T20" fmla="*/ 226 w 831"/>
                  <a:gd name="T21" fmla="*/ 416 h 1210"/>
                  <a:gd name="T22" fmla="*/ 415 w 831"/>
                  <a:gd name="T23" fmla="*/ 227 h 1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1" h="1210">
                    <a:moveTo>
                      <a:pt x="415" y="1210"/>
                    </a:moveTo>
                    <a:cubicBezTo>
                      <a:pt x="771" y="632"/>
                      <a:pt x="771" y="632"/>
                      <a:pt x="771" y="632"/>
                    </a:cubicBezTo>
                    <a:cubicBezTo>
                      <a:pt x="809" y="569"/>
                      <a:pt x="831" y="495"/>
                      <a:pt x="831" y="416"/>
                    </a:cubicBezTo>
                    <a:cubicBezTo>
                      <a:pt x="831" y="186"/>
                      <a:pt x="645" y="0"/>
                      <a:pt x="415" y="0"/>
                    </a:cubicBezTo>
                    <a:cubicBezTo>
                      <a:pt x="186" y="0"/>
                      <a:pt x="0" y="186"/>
                      <a:pt x="0" y="416"/>
                    </a:cubicBezTo>
                    <a:cubicBezTo>
                      <a:pt x="0" y="495"/>
                      <a:pt x="22" y="569"/>
                      <a:pt x="60" y="632"/>
                    </a:cubicBezTo>
                    <a:lnTo>
                      <a:pt x="415" y="1210"/>
                    </a:lnTo>
                    <a:close/>
                    <a:moveTo>
                      <a:pt x="415" y="227"/>
                    </a:moveTo>
                    <a:cubicBezTo>
                      <a:pt x="520" y="227"/>
                      <a:pt x="604" y="312"/>
                      <a:pt x="604" y="416"/>
                    </a:cubicBezTo>
                    <a:cubicBezTo>
                      <a:pt x="604" y="520"/>
                      <a:pt x="520" y="605"/>
                      <a:pt x="415" y="605"/>
                    </a:cubicBezTo>
                    <a:cubicBezTo>
                      <a:pt x="311" y="605"/>
                      <a:pt x="226" y="520"/>
                      <a:pt x="226" y="416"/>
                    </a:cubicBezTo>
                    <a:cubicBezTo>
                      <a:pt x="226" y="312"/>
                      <a:pt x="311" y="227"/>
                      <a:pt x="415" y="227"/>
                    </a:cubicBezTo>
                    <a:close/>
                  </a:path>
                </a:pathLst>
              </a:custGeom>
              <a:solidFill>
                <a:srgbClr val="CCCC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87" name="Text Box 90">
            <a:extLst>
              <a:ext uri="{FF2B5EF4-FFF2-40B4-BE49-F238E27FC236}">
                <a16:creationId xmlns:a16="http://schemas.microsoft.com/office/drawing/2014/main" id="{FB7490FA-DDE6-1547-BA4E-5C1AB7981174}"/>
              </a:ext>
            </a:extLst>
          </p:cNvPr>
          <p:cNvSpPr txBox="1">
            <a:spLocks noChangeArrowheads="1"/>
          </p:cNvSpPr>
          <p:nvPr/>
        </p:nvSpPr>
        <p:spPr bwMode="gray">
          <a:xfrm>
            <a:off x="6687988" y="4945790"/>
            <a:ext cx="2340000" cy="123031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44000" tIns="72000" rIns="144000" bIns="72000" anchor="b">
            <a:spAutoFit/>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defRPr/>
            </a:pPr>
            <a:r>
              <a:rPr lang="en-US" altLang="de-DE" sz="1600" b="1" dirty="0">
                <a:solidFill>
                  <a:schemeClr val="accent1"/>
                </a:solidFill>
                <a:latin typeface="+mn-lt"/>
                <a:ea typeface="Arial Unicode MS"/>
              </a:rPr>
              <a:t>Sed aliquam ultrices mauris</a:t>
            </a:r>
          </a:p>
          <a:p>
            <a:pPr marL="0" lvl="1" algn="l">
              <a:spcBef>
                <a:spcPts val="300"/>
              </a:spcBef>
              <a:buClr>
                <a:srgbClr val="3C464B"/>
              </a:buClr>
              <a:defRPr/>
            </a:pPr>
            <a:r>
              <a:rPr lang="en-US" sz="1200" dirty="0">
                <a:solidFill>
                  <a:srgbClr val="66667E"/>
                </a:solidFill>
                <a:latin typeface="+mn-lt"/>
              </a:rPr>
              <a:t>Cras ultricies mi eu turpis hendrerit fringilla consectetuer lacinia. Nam pretium et arcu</a:t>
            </a:r>
            <a:endParaRPr lang="en-US" altLang="de-DE" sz="1200" dirty="0">
              <a:solidFill>
                <a:srgbClr val="66667E"/>
              </a:solidFill>
              <a:latin typeface="+mn-lt"/>
              <a:ea typeface="Arial Unicode MS"/>
              <a:cs typeface="Arial" pitchFamily="34" charset="0"/>
            </a:endParaRPr>
          </a:p>
        </p:txBody>
      </p:sp>
      <p:sp>
        <p:nvSpPr>
          <p:cNvPr id="88" name="Text Box 90">
            <a:extLst>
              <a:ext uri="{FF2B5EF4-FFF2-40B4-BE49-F238E27FC236}">
                <a16:creationId xmlns:a16="http://schemas.microsoft.com/office/drawing/2014/main" id="{2D11EC4E-282F-2B4D-8D99-1AB961B5A167}"/>
              </a:ext>
            </a:extLst>
          </p:cNvPr>
          <p:cNvSpPr txBox="1">
            <a:spLocks noChangeArrowheads="1"/>
          </p:cNvSpPr>
          <p:nvPr/>
        </p:nvSpPr>
        <p:spPr bwMode="gray">
          <a:xfrm>
            <a:off x="9590400" y="5007345"/>
            <a:ext cx="2196000" cy="116876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44000" tIns="72000" rIns="144000" bIns="72000" anchor="b">
            <a:spAutoFit/>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defRPr/>
            </a:pPr>
            <a:r>
              <a:rPr lang="en-US" altLang="de-DE" sz="1600" b="1" dirty="0">
                <a:solidFill>
                  <a:schemeClr val="accent1"/>
                </a:solidFill>
                <a:latin typeface="+mn-lt"/>
                <a:ea typeface="Arial Unicode MS"/>
              </a:rPr>
              <a:t>Etiam rhoncus</a:t>
            </a:r>
          </a:p>
          <a:p>
            <a:pPr marL="0" lvl="1" algn="l">
              <a:spcBef>
                <a:spcPts val="300"/>
              </a:spcBef>
              <a:buClr>
                <a:srgbClr val="3C464B"/>
              </a:buClr>
              <a:defRPr/>
            </a:pPr>
            <a:r>
              <a:rPr lang="en-US" sz="1200" dirty="0">
                <a:solidFill>
                  <a:srgbClr val="66667E"/>
                </a:solidFill>
                <a:latin typeface="+mn-lt"/>
              </a:rPr>
              <a:t>Nullam nulla eros, ultricies dui quis mi consectetuer lacinia. Namarcu sit amet, non, imperdiet feugiat, pede</a:t>
            </a:r>
            <a:endParaRPr lang="en-US" altLang="de-DE" sz="1200" dirty="0">
              <a:solidFill>
                <a:srgbClr val="66667E"/>
              </a:solidFill>
              <a:latin typeface="+mn-lt"/>
              <a:ea typeface="Arial Unicode MS"/>
              <a:cs typeface="Arial" pitchFamily="34" charset="0"/>
            </a:endParaRPr>
          </a:p>
        </p:txBody>
      </p:sp>
      <p:sp>
        <p:nvSpPr>
          <p:cNvPr id="2" name="Fußzeilenplatzhalter 1">
            <a:extLst>
              <a:ext uri="{FF2B5EF4-FFF2-40B4-BE49-F238E27FC236}">
                <a16:creationId xmlns:a16="http://schemas.microsoft.com/office/drawing/2014/main" id="{B6CCAFED-DB21-9F42-8899-2CC52FF29F2E}"/>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3" name="Foliennummernplatzhalter 2">
            <a:extLst>
              <a:ext uri="{FF2B5EF4-FFF2-40B4-BE49-F238E27FC236}">
                <a16:creationId xmlns:a16="http://schemas.microsoft.com/office/drawing/2014/main" id="{F735936B-C854-8B47-A5D9-DD0428A75FF9}"/>
              </a:ext>
            </a:extLst>
          </p:cNvPr>
          <p:cNvSpPr>
            <a:spLocks noGrp="1"/>
          </p:cNvSpPr>
          <p:nvPr>
            <p:ph type="sldNum" sz="quarter" idx="11"/>
          </p:nvPr>
        </p:nvSpPr>
        <p:spPr/>
        <p:txBody>
          <a:bodyPr/>
          <a:lstStyle/>
          <a:p>
            <a:r>
              <a:rPr lang="en-US" dirty="0"/>
              <a:t>Page </a:t>
            </a:r>
            <a:fld id="{15EBE321-CBB1-4E91-BD14-37C8D44326FB}" type="slidenum">
              <a:rPr lang="en-US" smtClean="0"/>
              <a:pPr/>
              <a:t>64</a:t>
            </a:fld>
            <a:endParaRPr lang="en-US" dirty="0"/>
          </a:p>
        </p:txBody>
      </p:sp>
    </p:spTree>
    <p:extLst>
      <p:ext uri="{BB962C8B-B14F-4D97-AF65-F5344CB8AC3E}">
        <p14:creationId xmlns:p14="http://schemas.microsoft.com/office/powerpoint/2010/main" val="386219106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Freeform 14">
            <a:extLst>
              <a:ext uri="{FF2B5EF4-FFF2-40B4-BE49-F238E27FC236}">
                <a16:creationId xmlns:a16="http://schemas.microsoft.com/office/drawing/2014/main" id="{CAE3F164-440A-3949-BCFB-A5EBB4F6C167}"/>
              </a:ext>
            </a:extLst>
          </p:cNvPr>
          <p:cNvSpPr/>
          <p:nvPr/>
        </p:nvSpPr>
        <p:spPr bwMode="auto">
          <a:xfrm>
            <a:off x="410400" y="2204659"/>
            <a:ext cx="11376788" cy="3963490"/>
          </a:xfrm>
          <a:custGeom>
            <a:avLst/>
            <a:gdLst>
              <a:gd name="connsiteX0" fmla="*/ 194793 w 9996715"/>
              <a:gd name="connsiteY0" fmla="*/ 4427034 h 4427034"/>
              <a:gd name="connsiteX1" fmla="*/ 1254159 w 9996715"/>
              <a:gd name="connsiteY1" fmla="*/ 3401122 h 4427034"/>
              <a:gd name="connsiteX2" fmla="*/ 9662178 w 9996715"/>
              <a:gd name="connsiteY2" fmla="*/ 1059365 h 4427034"/>
              <a:gd name="connsiteX3" fmla="*/ 8290578 w 9996715"/>
              <a:gd name="connsiteY3" fmla="*/ 356839 h 4427034"/>
              <a:gd name="connsiteX4" fmla="*/ 9996715 w 9996715"/>
              <a:gd name="connsiteY4" fmla="*/ 0 h 4427034"/>
              <a:gd name="connsiteX5" fmla="*/ 9996715 w 9996715"/>
              <a:gd name="connsiteY5" fmla="*/ 0 h 4427034"/>
              <a:gd name="connsiteX0" fmla="*/ 180894 w 9982816"/>
              <a:gd name="connsiteY0" fmla="*/ 4427034 h 4427034"/>
              <a:gd name="connsiteX1" fmla="*/ 1240260 w 9982816"/>
              <a:gd name="connsiteY1" fmla="*/ 3401122 h 4427034"/>
              <a:gd name="connsiteX2" fmla="*/ 9324894 w 9982816"/>
              <a:gd name="connsiteY2" fmla="*/ 1326994 h 4427034"/>
              <a:gd name="connsiteX3" fmla="*/ 8276679 w 9982816"/>
              <a:gd name="connsiteY3" fmla="*/ 356839 h 4427034"/>
              <a:gd name="connsiteX4" fmla="*/ 9982816 w 9982816"/>
              <a:gd name="connsiteY4" fmla="*/ 0 h 4427034"/>
              <a:gd name="connsiteX5" fmla="*/ 9982816 w 9982816"/>
              <a:gd name="connsiteY5" fmla="*/ 0 h 4427034"/>
              <a:gd name="connsiteX0" fmla="*/ 180894 w 9982816"/>
              <a:gd name="connsiteY0" fmla="*/ 4427034 h 4427034"/>
              <a:gd name="connsiteX1" fmla="*/ 1240260 w 9982816"/>
              <a:gd name="connsiteY1" fmla="*/ 3401122 h 4427034"/>
              <a:gd name="connsiteX2" fmla="*/ 9324894 w 9982816"/>
              <a:gd name="connsiteY2" fmla="*/ 1326994 h 4427034"/>
              <a:gd name="connsiteX3" fmla="*/ 8276679 w 9982816"/>
              <a:gd name="connsiteY3" fmla="*/ 356839 h 4427034"/>
              <a:gd name="connsiteX4" fmla="*/ 9982816 w 9982816"/>
              <a:gd name="connsiteY4" fmla="*/ 0 h 4427034"/>
              <a:gd name="connsiteX5" fmla="*/ 9982816 w 9982816"/>
              <a:gd name="connsiteY5" fmla="*/ 0 h 4427034"/>
              <a:gd name="connsiteX0" fmla="*/ 181829 w 9983751"/>
              <a:gd name="connsiteY0" fmla="*/ 4427034 h 4427034"/>
              <a:gd name="connsiteX1" fmla="*/ 1241195 w 9983751"/>
              <a:gd name="connsiteY1" fmla="*/ 3401122 h 4427034"/>
              <a:gd name="connsiteX2" fmla="*/ 9348132 w 9983751"/>
              <a:gd name="connsiteY2" fmla="*/ 1349297 h 4427034"/>
              <a:gd name="connsiteX3" fmla="*/ 8277614 w 9983751"/>
              <a:gd name="connsiteY3" fmla="*/ 356839 h 4427034"/>
              <a:gd name="connsiteX4" fmla="*/ 9983751 w 9983751"/>
              <a:gd name="connsiteY4" fmla="*/ 0 h 4427034"/>
              <a:gd name="connsiteX5" fmla="*/ 9983751 w 9983751"/>
              <a:gd name="connsiteY5" fmla="*/ 0 h 4427034"/>
              <a:gd name="connsiteX0" fmla="*/ 181829 w 9983751"/>
              <a:gd name="connsiteY0" fmla="*/ 4427034 h 4427034"/>
              <a:gd name="connsiteX1" fmla="*/ 1241195 w 9983751"/>
              <a:gd name="connsiteY1" fmla="*/ 3401122 h 4427034"/>
              <a:gd name="connsiteX2" fmla="*/ 9348132 w 9983751"/>
              <a:gd name="connsiteY2" fmla="*/ 1349297 h 4427034"/>
              <a:gd name="connsiteX3" fmla="*/ 8277614 w 9983751"/>
              <a:gd name="connsiteY3" fmla="*/ 356839 h 4427034"/>
              <a:gd name="connsiteX4" fmla="*/ 9983751 w 9983751"/>
              <a:gd name="connsiteY4" fmla="*/ 0 h 4427034"/>
              <a:gd name="connsiteX5" fmla="*/ 9983751 w 9983751"/>
              <a:gd name="connsiteY5" fmla="*/ 0 h 4427034"/>
              <a:gd name="connsiteX0" fmla="*/ 176725 w 9978647"/>
              <a:gd name="connsiteY0" fmla="*/ 4427034 h 4427034"/>
              <a:gd name="connsiteX1" fmla="*/ 1236091 w 9978647"/>
              <a:gd name="connsiteY1" fmla="*/ 3401122 h 4427034"/>
              <a:gd name="connsiteX2" fmla="*/ 9220365 w 9978647"/>
              <a:gd name="connsiteY2" fmla="*/ 1282390 h 4427034"/>
              <a:gd name="connsiteX3" fmla="*/ 8272510 w 9978647"/>
              <a:gd name="connsiteY3" fmla="*/ 356839 h 4427034"/>
              <a:gd name="connsiteX4" fmla="*/ 9978647 w 9978647"/>
              <a:gd name="connsiteY4" fmla="*/ 0 h 4427034"/>
              <a:gd name="connsiteX5" fmla="*/ 9978647 w 9978647"/>
              <a:gd name="connsiteY5" fmla="*/ 0 h 4427034"/>
              <a:gd name="connsiteX0" fmla="*/ 37826 w 9839748"/>
              <a:gd name="connsiteY0" fmla="*/ 4427034 h 4427034"/>
              <a:gd name="connsiteX1" fmla="*/ 2390733 w 9839748"/>
              <a:gd name="connsiteY1" fmla="*/ 2910468 h 4427034"/>
              <a:gd name="connsiteX2" fmla="*/ 9081466 w 9839748"/>
              <a:gd name="connsiteY2" fmla="*/ 1282390 h 4427034"/>
              <a:gd name="connsiteX3" fmla="*/ 8133611 w 9839748"/>
              <a:gd name="connsiteY3" fmla="*/ 356839 h 4427034"/>
              <a:gd name="connsiteX4" fmla="*/ 9839748 w 9839748"/>
              <a:gd name="connsiteY4" fmla="*/ 0 h 4427034"/>
              <a:gd name="connsiteX5" fmla="*/ 9839748 w 9839748"/>
              <a:gd name="connsiteY5" fmla="*/ 0 h 4427034"/>
              <a:gd name="connsiteX0" fmla="*/ 68432 w 9870354"/>
              <a:gd name="connsiteY0" fmla="*/ 4427034 h 4427034"/>
              <a:gd name="connsiteX1" fmla="*/ 2421339 w 9870354"/>
              <a:gd name="connsiteY1" fmla="*/ 2910468 h 4427034"/>
              <a:gd name="connsiteX2" fmla="*/ 9112072 w 9870354"/>
              <a:gd name="connsiteY2" fmla="*/ 1282390 h 4427034"/>
              <a:gd name="connsiteX3" fmla="*/ 8164217 w 9870354"/>
              <a:gd name="connsiteY3" fmla="*/ 356839 h 4427034"/>
              <a:gd name="connsiteX4" fmla="*/ 9870354 w 9870354"/>
              <a:gd name="connsiteY4" fmla="*/ 0 h 4427034"/>
              <a:gd name="connsiteX5" fmla="*/ 9870354 w 9870354"/>
              <a:gd name="connsiteY5" fmla="*/ 0 h 4427034"/>
              <a:gd name="connsiteX0" fmla="*/ 38570 w 9840492"/>
              <a:gd name="connsiteY0" fmla="*/ 4427034 h 4427034"/>
              <a:gd name="connsiteX1" fmla="*/ 2391477 w 9840492"/>
              <a:gd name="connsiteY1" fmla="*/ 2910468 h 4427034"/>
              <a:gd name="connsiteX2" fmla="*/ 9249478 w 9840492"/>
              <a:gd name="connsiteY2" fmla="*/ 1237785 h 4427034"/>
              <a:gd name="connsiteX3" fmla="*/ 8134355 w 9840492"/>
              <a:gd name="connsiteY3" fmla="*/ 356839 h 4427034"/>
              <a:gd name="connsiteX4" fmla="*/ 9840492 w 9840492"/>
              <a:gd name="connsiteY4" fmla="*/ 0 h 4427034"/>
              <a:gd name="connsiteX5" fmla="*/ 9840492 w 9840492"/>
              <a:gd name="connsiteY5" fmla="*/ 0 h 4427034"/>
              <a:gd name="connsiteX0" fmla="*/ 38570 w 9840492"/>
              <a:gd name="connsiteY0" fmla="*/ 4427034 h 4427034"/>
              <a:gd name="connsiteX1" fmla="*/ 2391477 w 9840492"/>
              <a:gd name="connsiteY1" fmla="*/ 2910468 h 4427034"/>
              <a:gd name="connsiteX2" fmla="*/ 9249478 w 9840492"/>
              <a:gd name="connsiteY2" fmla="*/ 1237785 h 4427034"/>
              <a:gd name="connsiteX3" fmla="*/ 8134355 w 9840492"/>
              <a:gd name="connsiteY3" fmla="*/ 356839 h 4427034"/>
              <a:gd name="connsiteX4" fmla="*/ 9840492 w 9840492"/>
              <a:gd name="connsiteY4" fmla="*/ 0 h 4427034"/>
              <a:gd name="connsiteX5" fmla="*/ 9840492 w 9840492"/>
              <a:gd name="connsiteY5" fmla="*/ 0 h 4427034"/>
              <a:gd name="connsiteX0" fmla="*/ 38269 w 9840191"/>
              <a:gd name="connsiteY0" fmla="*/ 4427034 h 4427034"/>
              <a:gd name="connsiteX1" fmla="*/ 2391176 w 9840191"/>
              <a:gd name="connsiteY1" fmla="*/ 2910468 h 4427034"/>
              <a:gd name="connsiteX2" fmla="*/ 9182269 w 9840191"/>
              <a:gd name="connsiteY2" fmla="*/ 1215483 h 4427034"/>
              <a:gd name="connsiteX3" fmla="*/ 8134054 w 9840191"/>
              <a:gd name="connsiteY3" fmla="*/ 356839 h 4427034"/>
              <a:gd name="connsiteX4" fmla="*/ 9840191 w 9840191"/>
              <a:gd name="connsiteY4" fmla="*/ 0 h 4427034"/>
              <a:gd name="connsiteX5" fmla="*/ 9840191 w 9840191"/>
              <a:gd name="connsiteY5" fmla="*/ 0 h 4427034"/>
              <a:gd name="connsiteX0" fmla="*/ 0 w 9801922"/>
              <a:gd name="connsiteY0" fmla="*/ 4427034 h 4427034"/>
              <a:gd name="connsiteX1" fmla="*/ 2352907 w 9801922"/>
              <a:gd name="connsiteY1" fmla="*/ 2910468 h 4427034"/>
              <a:gd name="connsiteX2" fmla="*/ 9144000 w 9801922"/>
              <a:gd name="connsiteY2" fmla="*/ 1215483 h 4427034"/>
              <a:gd name="connsiteX3" fmla="*/ 8095785 w 9801922"/>
              <a:gd name="connsiteY3" fmla="*/ 356839 h 4427034"/>
              <a:gd name="connsiteX4" fmla="*/ 9801922 w 9801922"/>
              <a:gd name="connsiteY4" fmla="*/ 0 h 4427034"/>
              <a:gd name="connsiteX5" fmla="*/ 9801922 w 9801922"/>
              <a:gd name="connsiteY5" fmla="*/ 0 h 4427034"/>
              <a:gd name="connsiteX0" fmla="*/ 0 w 9801922"/>
              <a:gd name="connsiteY0" fmla="*/ 4427034 h 4427034"/>
              <a:gd name="connsiteX1" fmla="*/ 2352907 w 9801922"/>
              <a:gd name="connsiteY1" fmla="*/ 2910468 h 4427034"/>
              <a:gd name="connsiteX2" fmla="*/ 9144000 w 9801922"/>
              <a:gd name="connsiteY2" fmla="*/ 1215483 h 4427034"/>
              <a:gd name="connsiteX3" fmla="*/ 8095785 w 9801922"/>
              <a:gd name="connsiteY3" fmla="*/ 356839 h 4427034"/>
              <a:gd name="connsiteX4" fmla="*/ 9801922 w 9801922"/>
              <a:gd name="connsiteY4" fmla="*/ 0 h 4427034"/>
              <a:gd name="connsiteX5" fmla="*/ 9801922 w 9801922"/>
              <a:gd name="connsiteY5" fmla="*/ 0 h 4427034"/>
              <a:gd name="connsiteX0" fmla="*/ 0 w 9801922"/>
              <a:gd name="connsiteY0" fmla="*/ 4427034 h 4427034"/>
              <a:gd name="connsiteX1" fmla="*/ 2352907 w 9801922"/>
              <a:gd name="connsiteY1" fmla="*/ 2910468 h 4427034"/>
              <a:gd name="connsiteX2" fmla="*/ 9144000 w 9801922"/>
              <a:gd name="connsiteY2" fmla="*/ 1215483 h 4427034"/>
              <a:gd name="connsiteX3" fmla="*/ 8095785 w 9801922"/>
              <a:gd name="connsiteY3" fmla="*/ 356839 h 4427034"/>
              <a:gd name="connsiteX4" fmla="*/ 9801922 w 9801922"/>
              <a:gd name="connsiteY4" fmla="*/ 0 h 4427034"/>
              <a:gd name="connsiteX5" fmla="*/ 9801922 w 9801922"/>
              <a:gd name="connsiteY5" fmla="*/ 0 h 4427034"/>
              <a:gd name="connsiteX0" fmla="*/ 0 w 9801922"/>
              <a:gd name="connsiteY0" fmla="*/ 4427034 h 4427034"/>
              <a:gd name="connsiteX1" fmla="*/ 2520175 w 9801922"/>
              <a:gd name="connsiteY1" fmla="*/ 2854712 h 4427034"/>
              <a:gd name="connsiteX2" fmla="*/ 9144000 w 9801922"/>
              <a:gd name="connsiteY2" fmla="*/ 1215483 h 4427034"/>
              <a:gd name="connsiteX3" fmla="*/ 8095785 w 9801922"/>
              <a:gd name="connsiteY3" fmla="*/ 356839 h 4427034"/>
              <a:gd name="connsiteX4" fmla="*/ 9801922 w 9801922"/>
              <a:gd name="connsiteY4" fmla="*/ 0 h 4427034"/>
              <a:gd name="connsiteX5" fmla="*/ 9801922 w 9801922"/>
              <a:gd name="connsiteY5" fmla="*/ 0 h 4427034"/>
              <a:gd name="connsiteX0" fmla="*/ 0 w 9801922"/>
              <a:gd name="connsiteY0" fmla="*/ 4427034 h 4427034"/>
              <a:gd name="connsiteX1" fmla="*/ 2520175 w 9801922"/>
              <a:gd name="connsiteY1" fmla="*/ 2854712 h 4427034"/>
              <a:gd name="connsiteX2" fmla="*/ 9144000 w 9801922"/>
              <a:gd name="connsiteY2" fmla="*/ 1215483 h 4427034"/>
              <a:gd name="connsiteX3" fmla="*/ 8095785 w 9801922"/>
              <a:gd name="connsiteY3" fmla="*/ 356839 h 4427034"/>
              <a:gd name="connsiteX4" fmla="*/ 9801922 w 9801922"/>
              <a:gd name="connsiteY4" fmla="*/ 0 h 4427034"/>
              <a:gd name="connsiteX5" fmla="*/ 9801922 w 9801922"/>
              <a:gd name="connsiteY5" fmla="*/ 0 h 4427034"/>
              <a:gd name="connsiteX0" fmla="*/ 0 w 9801922"/>
              <a:gd name="connsiteY0" fmla="*/ 4427034 h 4427034"/>
              <a:gd name="connsiteX1" fmla="*/ 2520175 w 9801922"/>
              <a:gd name="connsiteY1" fmla="*/ 2854712 h 4427034"/>
              <a:gd name="connsiteX2" fmla="*/ 9144000 w 9801922"/>
              <a:gd name="connsiteY2" fmla="*/ 1215483 h 4427034"/>
              <a:gd name="connsiteX3" fmla="*/ 8095785 w 9801922"/>
              <a:gd name="connsiteY3" fmla="*/ 356839 h 4427034"/>
              <a:gd name="connsiteX4" fmla="*/ 9801922 w 9801922"/>
              <a:gd name="connsiteY4" fmla="*/ 0 h 4427034"/>
              <a:gd name="connsiteX5" fmla="*/ 9801922 w 9801922"/>
              <a:gd name="connsiteY5" fmla="*/ 0 h 4427034"/>
              <a:gd name="connsiteX0" fmla="*/ 0 w 9801922"/>
              <a:gd name="connsiteY0" fmla="*/ 4427034 h 4427034"/>
              <a:gd name="connsiteX1" fmla="*/ 2520175 w 9801922"/>
              <a:gd name="connsiteY1" fmla="*/ 2854712 h 4427034"/>
              <a:gd name="connsiteX2" fmla="*/ 9144000 w 9801922"/>
              <a:gd name="connsiteY2" fmla="*/ 1215483 h 4427034"/>
              <a:gd name="connsiteX3" fmla="*/ 8095785 w 9801922"/>
              <a:gd name="connsiteY3" fmla="*/ 356839 h 4427034"/>
              <a:gd name="connsiteX4" fmla="*/ 9801922 w 9801922"/>
              <a:gd name="connsiteY4" fmla="*/ 0 h 4427034"/>
              <a:gd name="connsiteX5" fmla="*/ 9801922 w 9801922"/>
              <a:gd name="connsiteY5" fmla="*/ 0 h 4427034"/>
              <a:gd name="connsiteX0" fmla="*/ 0 w 9801922"/>
              <a:gd name="connsiteY0" fmla="*/ 4427034 h 4427034"/>
              <a:gd name="connsiteX1" fmla="*/ 2520175 w 9801922"/>
              <a:gd name="connsiteY1" fmla="*/ 2854712 h 4427034"/>
              <a:gd name="connsiteX2" fmla="*/ 9088244 w 9801922"/>
              <a:gd name="connsiteY2" fmla="*/ 1237785 h 4427034"/>
              <a:gd name="connsiteX3" fmla="*/ 8095785 w 9801922"/>
              <a:gd name="connsiteY3" fmla="*/ 356839 h 4427034"/>
              <a:gd name="connsiteX4" fmla="*/ 9801922 w 9801922"/>
              <a:gd name="connsiteY4" fmla="*/ 0 h 4427034"/>
              <a:gd name="connsiteX5" fmla="*/ 9801922 w 9801922"/>
              <a:gd name="connsiteY5" fmla="*/ 0 h 4427034"/>
              <a:gd name="connsiteX0" fmla="*/ 0 w 9801922"/>
              <a:gd name="connsiteY0" fmla="*/ 4427034 h 4427034"/>
              <a:gd name="connsiteX1" fmla="*/ 2520175 w 9801922"/>
              <a:gd name="connsiteY1" fmla="*/ 2854712 h 4427034"/>
              <a:gd name="connsiteX2" fmla="*/ 9088244 w 9801922"/>
              <a:gd name="connsiteY2" fmla="*/ 1237785 h 4427034"/>
              <a:gd name="connsiteX3" fmla="*/ 8095785 w 9801922"/>
              <a:gd name="connsiteY3" fmla="*/ 356839 h 4427034"/>
              <a:gd name="connsiteX4" fmla="*/ 9801922 w 9801922"/>
              <a:gd name="connsiteY4" fmla="*/ 0 h 4427034"/>
              <a:gd name="connsiteX5" fmla="*/ 9801922 w 9801922"/>
              <a:gd name="connsiteY5" fmla="*/ 0 h 4427034"/>
              <a:gd name="connsiteX0" fmla="*/ 0 w 9801922"/>
              <a:gd name="connsiteY0" fmla="*/ 4427034 h 4427034"/>
              <a:gd name="connsiteX1" fmla="*/ 2520175 w 9801922"/>
              <a:gd name="connsiteY1" fmla="*/ 2854712 h 4427034"/>
              <a:gd name="connsiteX2" fmla="*/ 9088244 w 9801922"/>
              <a:gd name="connsiteY2" fmla="*/ 1237785 h 4427034"/>
              <a:gd name="connsiteX3" fmla="*/ 8095785 w 9801922"/>
              <a:gd name="connsiteY3" fmla="*/ 356839 h 4427034"/>
              <a:gd name="connsiteX4" fmla="*/ 9801922 w 9801922"/>
              <a:gd name="connsiteY4" fmla="*/ 0 h 4427034"/>
              <a:gd name="connsiteX5" fmla="*/ 9801922 w 9801922"/>
              <a:gd name="connsiteY5" fmla="*/ 0 h 4427034"/>
              <a:gd name="connsiteX0" fmla="*/ 0 w 9801922"/>
              <a:gd name="connsiteY0" fmla="*/ 4427034 h 4427034"/>
              <a:gd name="connsiteX1" fmla="*/ 2520175 w 9801922"/>
              <a:gd name="connsiteY1" fmla="*/ 2854712 h 4427034"/>
              <a:gd name="connsiteX2" fmla="*/ 9054790 w 9801922"/>
              <a:gd name="connsiteY2" fmla="*/ 1271239 h 4427034"/>
              <a:gd name="connsiteX3" fmla="*/ 8095785 w 9801922"/>
              <a:gd name="connsiteY3" fmla="*/ 356839 h 4427034"/>
              <a:gd name="connsiteX4" fmla="*/ 9801922 w 9801922"/>
              <a:gd name="connsiteY4" fmla="*/ 0 h 4427034"/>
              <a:gd name="connsiteX5" fmla="*/ 9801922 w 9801922"/>
              <a:gd name="connsiteY5" fmla="*/ 0 h 4427034"/>
              <a:gd name="connsiteX0" fmla="*/ 0 w 9801922"/>
              <a:gd name="connsiteY0" fmla="*/ 4427034 h 4427034"/>
              <a:gd name="connsiteX1" fmla="*/ 2520175 w 9801922"/>
              <a:gd name="connsiteY1" fmla="*/ 2854712 h 4427034"/>
              <a:gd name="connsiteX2" fmla="*/ 9054790 w 9801922"/>
              <a:gd name="connsiteY2" fmla="*/ 1271239 h 4427034"/>
              <a:gd name="connsiteX3" fmla="*/ 8095785 w 9801922"/>
              <a:gd name="connsiteY3" fmla="*/ 356839 h 4427034"/>
              <a:gd name="connsiteX4" fmla="*/ 9801922 w 9801922"/>
              <a:gd name="connsiteY4" fmla="*/ 0 h 4427034"/>
              <a:gd name="connsiteX5" fmla="*/ 9801922 w 9801922"/>
              <a:gd name="connsiteY5" fmla="*/ 0 h 4427034"/>
              <a:gd name="connsiteX0" fmla="*/ 0 w 9991493"/>
              <a:gd name="connsiteY0" fmla="*/ 4427045 h 4427045"/>
              <a:gd name="connsiteX1" fmla="*/ 2520175 w 9991493"/>
              <a:gd name="connsiteY1" fmla="*/ 2854723 h 4427045"/>
              <a:gd name="connsiteX2" fmla="*/ 9054790 w 9991493"/>
              <a:gd name="connsiteY2" fmla="*/ 1271250 h 4427045"/>
              <a:gd name="connsiteX3" fmla="*/ 8095785 w 9991493"/>
              <a:gd name="connsiteY3" fmla="*/ 356850 h 4427045"/>
              <a:gd name="connsiteX4" fmla="*/ 9801922 w 9991493"/>
              <a:gd name="connsiteY4" fmla="*/ 11 h 4427045"/>
              <a:gd name="connsiteX5" fmla="*/ 9991493 w 9991493"/>
              <a:gd name="connsiteY5" fmla="*/ 345699 h 4427045"/>
              <a:gd name="connsiteX0" fmla="*/ 0 w 9801922"/>
              <a:gd name="connsiteY0" fmla="*/ 4427034 h 4427034"/>
              <a:gd name="connsiteX1" fmla="*/ 2520175 w 9801922"/>
              <a:gd name="connsiteY1" fmla="*/ 2854712 h 4427034"/>
              <a:gd name="connsiteX2" fmla="*/ 9054790 w 9801922"/>
              <a:gd name="connsiteY2" fmla="*/ 1271239 h 4427034"/>
              <a:gd name="connsiteX3" fmla="*/ 8095785 w 9801922"/>
              <a:gd name="connsiteY3" fmla="*/ 356839 h 4427034"/>
              <a:gd name="connsiteX4" fmla="*/ 9801922 w 9801922"/>
              <a:gd name="connsiteY4" fmla="*/ 0 h 4427034"/>
              <a:gd name="connsiteX0" fmla="*/ 0 w 9801922"/>
              <a:gd name="connsiteY0" fmla="*/ 4449337 h 4449337"/>
              <a:gd name="connsiteX1" fmla="*/ 2520175 w 9801922"/>
              <a:gd name="connsiteY1" fmla="*/ 2877015 h 4449337"/>
              <a:gd name="connsiteX2" fmla="*/ 9054790 w 9801922"/>
              <a:gd name="connsiteY2" fmla="*/ 1293542 h 4449337"/>
              <a:gd name="connsiteX3" fmla="*/ 8095785 w 9801922"/>
              <a:gd name="connsiteY3" fmla="*/ 379142 h 4449337"/>
              <a:gd name="connsiteX4" fmla="*/ 9801922 w 9801922"/>
              <a:gd name="connsiteY4" fmla="*/ 0 h 4449337"/>
              <a:gd name="connsiteX0" fmla="*/ 0 w 9801922"/>
              <a:gd name="connsiteY0" fmla="*/ 4449337 h 4449337"/>
              <a:gd name="connsiteX1" fmla="*/ 2520175 w 9801922"/>
              <a:gd name="connsiteY1" fmla="*/ 2877015 h 4449337"/>
              <a:gd name="connsiteX2" fmla="*/ 9054790 w 9801922"/>
              <a:gd name="connsiteY2" fmla="*/ 1293542 h 4449337"/>
              <a:gd name="connsiteX3" fmla="*/ 8095785 w 9801922"/>
              <a:gd name="connsiteY3" fmla="*/ 379142 h 4449337"/>
              <a:gd name="connsiteX4" fmla="*/ 9801922 w 9801922"/>
              <a:gd name="connsiteY4" fmla="*/ 0 h 4449337"/>
              <a:gd name="connsiteX0" fmla="*/ 0 w 9801922"/>
              <a:gd name="connsiteY0" fmla="*/ 4449337 h 4449337"/>
              <a:gd name="connsiteX1" fmla="*/ 2520175 w 9801922"/>
              <a:gd name="connsiteY1" fmla="*/ 2877015 h 4449337"/>
              <a:gd name="connsiteX2" fmla="*/ 9054790 w 9801922"/>
              <a:gd name="connsiteY2" fmla="*/ 1293542 h 4449337"/>
              <a:gd name="connsiteX3" fmla="*/ 8106936 w 9801922"/>
              <a:gd name="connsiteY3" fmla="*/ 390293 h 4449337"/>
              <a:gd name="connsiteX4" fmla="*/ 9801922 w 9801922"/>
              <a:gd name="connsiteY4" fmla="*/ 0 h 4449337"/>
              <a:gd name="connsiteX0" fmla="*/ 0 w 9801922"/>
              <a:gd name="connsiteY0" fmla="*/ 4449337 h 4449337"/>
              <a:gd name="connsiteX1" fmla="*/ 2520175 w 9801922"/>
              <a:gd name="connsiteY1" fmla="*/ 2877015 h 4449337"/>
              <a:gd name="connsiteX2" fmla="*/ 9054790 w 9801922"/>
              <a:gd name="connsiteY2" fmla="*/ 1293542 h 4449337"/>
              <a:gd name="connsiteX3" fmla="*/ 8106936 w 9801922"/>
              <a:gd name="connsiteY3" fmla="*/ 390293 h 4449337"/>
              <a:gd name="connsiteX4" fmla="*/ 9801922 w 9801922"/>
              <a:gd name="connsiteY4" fmla="*/ 0 h 4449337"/>
              <a:gd name="connsiteX0" fmla="*/ 0 w 9801922"/>
              <a:gd name="connsiteY0" fmla="*/ 4449337 h 4449337"/>
              <a:gd name="connsiteX1" fmla="*/ 2520175 w 9801922"/>
              <a:gd name="connsiteY1" fmla="*/ 2877015 h 4449337"/>
              <a:gd name="connsiteX2" fmla="*/ 8987883 w 9801922"/>
              <a:gd name="connsiteY2" fmla="*/ 1293542 h 4449337"/>
              <a:gd name="connsiteX3" fmla="*/ 8106936 w 9801922"/>
              <a:gd name="connsiteY3" fmla="*/ 390293 h 4449337"/>
              <a:gd name="connsiteX4" fmla="*/ 9801922 w 9801922"/>
              <a:gd name="connsiteY4" fmla="*/ 0 h 4449337"/>
              <a:gd name="connsiteX0" fmla="*/ 0 w 9801922"/>
              <a:gd name="connsiteY0" fmla="*/ 4449337 h 4449337"/>
              <a:gd name="connsiteX1" fmla="*/ 2520175 w 9801922"/>
              <a:gd name="connsiteY1" fmla="*/ 2877015 h 4449337"/>
              <a:gd name="connsiteX2" fmla="*/ 8987883 w 9801922"/>
              <a:gd name="connsiteY2" fmla="*/ 1293542 h 4449337"/>
              <a:gd name="connsiteX3" fmla="*/ 8106936 w 9801922"/>
              <a:gd name="connsiteY3" fmla="*/ 390293 h 4449337"/>
              <a:gd name="connsiteX4" fmla="*/ 9801922 w 9801922"/>
              <a:gd name="connsiteY4" fmla="*/ 0 h 4449337"/>
              <a:gd name="connsiteX0" fmla="*/ 0 w 9801922"/>
              <a:gd name="connsiteY0" fmla="*/ 4449337 h 4449337"/>
              <a:gd name="connsiteX1" fmla="*/ 2143982 w 9801922"/>
              <a:gd name="connsiteY1" fmla="*/ 2672521 h 4449337"/>
              <a:gd name="connsiteX2" fmla="*/ 8987883 w 9801922"/>
              <a:gd name="connsiteY2" fmla="*/ 1293542 h 4449337"/>
              <a:gd name="connsiteX3" fmla="*/ 8106936 w 9801922"/>
              <a:gd name="connsiteY3" fmla="*/ 390293 h 4449337"/>
              <a:gd name="connsiteX4" fmla="*/ 9801922 w 9801922"/>
              <a:gd name="connsiteY4" fmla="*/ 0 h 4449337"/>
              <a:gd name="connsiteX0" fmla="*/ 0 w 9801922"/>
              <a:gd name="connsiteY0" fmla="*/ 4449337 h 4449337"/>
              <a:gd name="connsiteX1" fmla="*/ 2143982 w 9801922"/>
              <a:gd name="connsiteY1" fmla="*/ 2672521 h 4449337"/>
              <a:gd name="connsiteX2" fmla="*/ 8327004 w 9801922"/>
              <a:gd name="connsiteY2" fmla="*/ 1551851 h 4449337"/>
              <a:gd name="connsiteX3" fmla="*/ 8106936 w 9801922"/>
              <a:gd name="connsiteY3" fmla="*/ 390293 h 4449337"/>
              <a:gd name="connsiteX4" fmla="*/ 9801922 w 9801922"/>
              <a:gd name="connsiteY4" fmla="*/ 0 h 4449337"/>
              <a:gd name="connsiteX0" fmla="*/ 0 w 9801922"/>
              <a:gd name="connsiteY0" fmla="*/ 4449337 h 4449337"/>
              <a:gd name="connsiteX1" fmla="*/ 2143982 w 9801922"/>
              <a:gd name="connsiteY1" fmla="*/ 2672521 h 4449337"/>
              <a:gd name="connsiteX2" fmla="*/ 8327004 w 9801922"/>
              <a:gd name="connsiteY2" fmla="*/ 1551851 h 4449337"/>
              <a:gd name="connsiteX3" fmla="*/ 8035765 w 9801922"/>
              <a:gd name="connsiteY3" fmla="*/ 863860 h 4449337"/>
              <a:gd name="connsiteX4" fmla="*/ 9801922 w 9801922"/>
              <a:gd name="connsiteY4" fmla="*/ 0 h 4449337"/>
              <a:gd name="connsiteX0" fmla="*/ 0 w 9842592"/>
              <a:gd name="connsiteY0" fmla="*/ 3825091 h 3825091"/>
              <a:gd name="connsiteX1" fmla="*/ 2143982 w 9842592"/>
              <a:gd name="connsiteY1" fmla="*/ 2048275 h 3825091"/>
              <a:gd name="connsiteX2" fmla="*/ 8327004 w 9842592"/>
              <a:gd name="connsiteY2" fmla="*/ 927605 h 3825091"/>
              <a:gd name="connsiteX3" fmla="*/ 8035765 w 9842592"/>
              <a:gd name="connsiteY3" fmla="*/ 239614 h 3825091"/>
              <a:gd name="connsiteX4" fmla="*/ 9842592 w 9842592"/>
              <a:gd name="connsiteY4" fmla="*/ 0 h 3825091"/>
              <a:gd name="connsiteX0" fmla="*/ 0 w 9842592"/>
              <a:gd name="connsiteY0" fmla="*/ 3825422 h 3825422"/>
              <a:gd name="connsiteX1" fmla="*/ 2143982 w 9842592"/>
              <a:gd name="connsiteY1" fmla="*/ 2048606 h 3825422"/>
              <a:gd name="connsiteX2" fmla="*/ 8327004 w 9842592"/>
              <a:gd name="connsiteY2" fmla="*/ 927936 h 3825422"/>
              <a:gd name="connsiteX3" fmla="*/ 8035765 w 9842592"/>
              <a:gd name="connsiteY3" fmla="*/ 239945 h 3825422"/>
              <a:gd name="connsiteX4" fmla="*/ 9842592 w 9842592"/>
              <a:gd name="connsiteY4" fmla="*/ 331 h 3825422"/>
              <a:gd name="connsiteX0" fmla="*/ 0 w 9842592"/>
              <a:gd name="connsiteY0" fmla="*/ 3825422 h 3825422"/>
              <a:gd name="connsiteX1" fmla="*/ 2143982 w 9842592"/>
              <a:gd name="connsiteY1" fmla="*/ 2048606 h 3825422"/>
              <a:gd name="connsiteX2" fmla="*/ 8327004 w 9842592"/>
              <a:gd name="connsiteY2" fmla="*/ 927936 h 3825422"/>
              <a:gd name="connsiteX3" fmla="*/ 8035765 w 9842592"/>
              <a:gd name="connsiteY3" fmla="*/ 239945 h 3825422"/>
              <a:gd name="connsiteX4" fmla="*/ 9842592 w 9842592"/>
              <a:gd name="connsiteY4" fmla="*/ 331 h 3825422"/>
              <a:gd name="connsiteX0" fmla="*/ 0 w 9842592"/>
              <a:gd name="connsiteY0" fmla="*/ 3825422 h 3825422"/>
              <a:gd name="connsiteX1" fmla="*/ 2143982 w 9842592"/>
              <a:gd name="connsiteY1" fmla="*/ 2048606 h 3825422"/>
              <a:gd name="connsiteX2" fmla="*/ 8327004 w 9842592"/>
              <a:gd name="connsiteY2" fmla="*/ 927936 h 3825422"/>
              <a:gd name="connsiteX3" fmla="*/ 8035765 w 9842592"/>
              <a:gd name="connsiteY3" fmla="*/ 239945 h 3825422"/>
              <a:gd name="connsiteX4" fmla="*/ 9842592 w 9842592"/>
              <a:gd name="connsiteY4" fmla="*/ 331 h 3825422"/>
              <a:gd name="connsiteX0" fmla="*/ 0 w 9842592"/>
              <a:gd name="connsiteY0" fmla="*/ 3825422 h 3825422"/>
              <a:gd name="connsiteX1" fmla="*/ 2143982 w 9842592"/>
              <a:gd name="connsiteY1" fmla="*/ 2048606 h 3825422"/>
              <a:gd name="connsiteX2" fmla="*/ 8327004 w 9842592"/>
              <a:gd name="connsiteY2" fmla="*/ 927936 h 3825422"/>
              <a:gd name="connsiteX3" fmla="*/ 8035765 w 9842592"/>
              <a:gd name="connsiteY3" fmla="*/ 239945 h 3825422"/>
              <a:gd name="connsiteX4" fmla="*/ 9842592 w 9842592"/>
              <a:gd name="connsiteY4" fmla="*/ 331 h 3825422"/>
              <a:gd name="connsiteX0" fmla="*/ 0 w 9842592"/>
              <a:gd name="connsiteY0" fmla="*/ 3825469 h 3825469"/>
              <a:gd name="connsiteX1" fmla="*/ 2143982 w 9842592"/>
              <a:gd name="connsiteY1" fmla="*/ 2048653 h 3825469"/>
              <a:gd name="connsiteX2" fmla="*/ 8235498 w 9842592"/>
              <a:gd name="connsiteY2" fmla="*/ 1003323 h 3825469"/>
              <a:gd name="connsiteX3" fmla="*/ 8035765 w 9842592"/>
              <a:gd name="connsiteY3" fmla="*/ 239992 h 3825469"/>
              <a:gd name="connsiteX4" fmla="*/ 9842592 w 9842592"/>
              <a:gd name="connsiteY4" fmla="*/ 378 h 3825469"/>
              <a:gd name="connsiteX0" fmla="*/ 0 w 9842592"/>
              <a:gd name="connsiteY0" fmla="*/ 3825469 h 3825469"/>
              <a:gd name="connsiteX1" fmla="*/ 2143982 w 9842592"/>
              <a:gd name="connsiteY1" fmla="*/ 2048653 h 3825469"/>
              <a:gd name="connsiteX2" fmla="*/ 8235498 w 9842592"/>
              <a:gd name="connsiteY2" fmla="*/ 1003323 h 3825469"/>
              <a:gd name="connsiteX3" fmla="*/ 8035765 w 9842592"/>
              <a:gd name="connsiteY3" fmla="*/ 239992 h 3825469"/>
              <a:gd name="connsiteX4" fmla="*/ 9842592 w 9842592"/>
              <a:gd name="connsiteY4" fmla="*/ 378 h 3825469"/>
              <a:gd name="connsiteX0" fmla="*/ 0 w 9842592"/>
              <a:gd name="connsiteY0" fmla="*/ 3825435 h 3825435"/>
              <a:gd name="connsiteX1" fmla="*/ 2143982 w 9842592"/>
              <a:gd name="connsiteY1" fmla="*/ 2048619 h 3825435"/>
              <a:gd name="connsiteX2" fmla="*/ 8235498 w 9842592"/>
              <a:gd name="connsiteY2" fmla="*/ 949474 h 3825435"/>
              <a:gd name="connsiteX3" fmla="*/ 8035765 w 9842592"/>
              <a:gd name="connsiteY3" fmla="*/ 239958 h 3825435"/>
              <a:gd name="connsiteX4" fmla="*/ 9842592 w 9842592"/>
              <a:gd name="connsiteY4" fmla="*/ 344 h 3825435"/>
              <a:gd name="connsiteX0" fmla="*/ 0 w 9842592"/>
              <a:gd name="connsiteY0" fmla="*/ 3825435 h 3825435"/>
              <a:gd name="connsiteX1" fmla="*/ 2143982 w 9842592"/>
              <a:gd name="connsiteY1" fmla="*/ 2048619 h 3825435"/>
              <a:gd name="connsiteX2" fmla="*/ 8235498 w 9842592"/>
              <a:gd name="connsiteY2" fmla="*/ 949474 h 3825435"/>
              <a:gd name="connsiteX3" fmla="*/ 8035765 w 9842592"/>
              <a:gd name="connsiteY3" fmla="*/ 239958 h 3825435"/>
              <a:gd name="connsiteX4" fmla="*/ 9842592 w 9842592"/>
              <a:gd name="connsiteY4" fmla="*/ 344 h 3825435"/>
              <a:gd name="connsiteX0" fmla="*/ 0 w 9842592"/>
              <a:gd name="connsiteY0" fmla="*/ 3825462 h 3825462"/>
              <a:gd name="connsiteX1" fmla="*/ 2143982 w 9842592"/>
              <a:gd name="connsiteY1" fmla="*/ 2048646 h 3825462"/>
              <a:gd name="connsiteX2" fmla="*/ 8225331 w 9842592"/>
              <a:gd name="connsiteY2" fmla="*/ 992552 h 3825462"/>
              <a:gd name="connsiteX3" fmla="*/ 8035765 w 9842592"/>
              <a:gd name="connsiteY3" fmla="*/ 239985 h 3825462"/>
              <a:gd name="connsiteX4" fmla="*/ 9842592 w 9842592"/>
              <a:gd name="connsiteY4" fmla="*/ 371 h 3825462"/>
              <a:gd name="connsiteX0" fmla="*/ 0 w 9842592"/>
              <a:gd name="connsiteY0" fmla="*/ 3825462 h 3825462"/>
              <a:gd name="connsiteX1" fmla="*/ 2143982 w 9842592"/>
              <a:gd name="connsiteY1" fmla="*/ 2048646 h 3825462"/>
              <a:gd name="connsiteX2" fmla="*/ 8225331 w 9842592"/>
              <a:gd name="connsiteY2" fmla="*/ 992552 h 3825462"/>
              <a:gd name="connsiteX3" fmla="*/ 8035765 w 9842592"/>
              <a:gd name="connsiteY3" fmla="*/ 239985 h 3825462"/>
              <a:gd name="connsiteX4" fmla="*/ 9842592 w 9842592"/>
              <a:gd name="connsiteY4" fmla="*/ 371 h 3825462"/>
              <a:gd name="connsiteX0" fmla="*/ 0 w 9842592"/>
              <a:gd name="connsiteY0" fmla="*/ 3825462 h 3825462"/>
              <a:gd name="connsiteX1" fmla="*/ 2143982 w 9842592"/>
              <a:gd name="connsiteY1" fmla="*/ 2048646 h 3825462"/>
              <a:gd name="connsiteX2" fmla="*/ 8225331 w 9842592"/>
              <a:gd name="connsiteY2" fmla="*/ 992552 h 3825462"/>
              <a:gd name="connsiteX3" fmla="*/ 8035765 w 9842592"/>
              <a:gd name="connsiteY3" fmla="*/ 239985 h 3825462"/>
              <a:gd name="connsiteX4" fmla="*/ 9842592 w 9842592"/>
              <a:gd name="connsiteY4" fmla="*/ 371 h 3825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42592" h="3825462">
                <a:moveTo>
                  <a:pt x="0" y="3825462"/>
                </a:moveTo>
                <a:cubicBezTo>
                  <a:pt x="30990" y="3236972"/>
                  <a:pt x="630750" y="2499273"/>
                  <a:pt x="2143982" y="2048646"/>
                </a:cubicBezTo>
                <a:cubicBezTo>
                  <a:pt x="3657214" y="1598019"/>
                  <a:pt x="6979016" y="1401625"/>
                  <a:pt x="8225331" y="992552"/>
                </a:cubicBezTo>
                <a:cubicBezTo>
                  <a:pt x="9471646" y="583479"/>
                  <a:pt x="7766222" y="405348"/>
                  <a:pt x="8035765" y="239985"/>
                </a:cubicBezTo>
                <a:cubicBezTo>
                  <a:pt x="8305308" y="74622"/>
                  <a:pt x="9358061" y="-6203"/>
                  <a:pt x="9842592" y="371"/>
                </a:cubicBezTo>
              </a:path>
            </a:pathLst>
          </a:custGeom>
          <a:noFill/>
          <a:ln w="47625">
            <a:gradFill>
              <a:gsLst>
                <a:gs pos="100000">
                  <a:srgbClr val="00FFB9"/>
                </a:gs>
                <a:gs pos="0">
                  <a:srgbClr val="00E6DC"/>
                </a:gs>
              </a:gsLst>
              <a:lin ang="5400000" scaled="1"/>
            </a:gradFill>
            <a:miter lim="800000"/>
            <a:headEnd/>
            <a:tailEn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dirty="0">
              <a:ln>
                <a:noFill/>
              </a:ln>
              <a:solidFill>
                <a:srgbClr val="000000"/>
              </a:solidFill>
              <a:effectLst/>
              <a:ea typeface="ヒラギノ角ゴ Pro W3" charset="0"/>
            </a:endParaRPr>
          </a:p>
        </p:txBody>
      </p:sp>
      <p:sp>
        <p:nvSpPr>
          <p:cNvPr id="83" name="Text Box 90">
            <a:extLst>
              <a:ext uri="{FF2B5EF4-FFF2-40B4-BE49-F238E27FC236}">
                <a16:creationId xmlns:a16="http://schemas.microsoft.com/office/drawing/2014/main" id="{A3BA1C7C-7833-7446-90E2-6D7B35F2E42A}"/>
              </a:ext>
            </a:extLst>
          </p:cNvPr>
          <p:cNvSpPr txBox="1">
            <a:spLocks noChangeArrowheads="1"/>
          </p:cNvSpPr>
          <p:nvPr/>
        </p:nvSpPr>
        <p:spPr bwMode="gray">
          <a:xfrm>
            <a:off x="1126295" y="1414801"/>
            <a:ext cx="2700000" cy="141498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44000" tIns="72000" rIns="144000" bIns="72000">
            <a:spAutoFit/>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defRPr/>
            </a:pPr>
            <a:r>
              <a:rPr lang="en-US" altLang="de-DE" sz="1600" b="1" dirty="0">
                <a:solidFill>
                  <a:srgbClr val="00FFB9"/>
                </a:solidFill>
                <a:latin typeface="+mn-lt"/>
                <a:ea typeface="Arial Unicode MS"/>
              </a:rPr>
              <a:t>Accusantium sit fonte cron accumsan</a:t>
            </a:r>
          </a:p>
          <a:p>
            <a:pPr marL="0" lvl="1" algn="l">
              <a:spcBef>
                <a:spcPts val="300"/>
              </a:spcBef>
              <a:buClr>
                <a:srgbClr val="3C464B"/>
              </a:buClr>
              <a:defRPr/>
            </a:pPr>
            <a:r>
              <a:rPr lang="en-US" altLang="de-DE" sz="1200" dirty="0">
                <a:solidFill>
                  <a:srgbClr val="9999A9"/>
                </a:solidFill>
                <a:latin typeface="+mn-lt"/>
                <a:ea typeface="Arial Unicode MS"/>
                <a:cs typeface="Arial" pitchFamily="34" charset="0"/>
              </a:rPr>
              <a:t>Illo Veritatis et quasi architect beatae vitae dicta sunt quas </a:t>
            </a:r>
            <a:r>
              <a:rPr lang="en-US" sz="1200" dirty="0">
                <a:solidFill>
                  <a:srgbClr val="9999A9"/>
                </a:solidFill>
                <a:latin typeface="+mn-lt"/>
              </a:rPr>
              <a:t>sagittis vestibulum, nullam nulla eros, ultramet </a:t>
            </a:r>
            <a:r>
              <a:rPr lang="en-US" altLang="de-DE" sz="1200" dirty="0">
                <a:solidFill>
                  <a:srgbClr val="9999A9"/>
                </a:solidFill>
                <a:latin typeface="+mn-lt"/>
                <a:ea typeface="Arial Unicode MS"/>
                <a:cs typeface="Arial" pitchFamily="34" charset="0"/>
              </a:rPr>
              <a:t>sum</a:t>
            </a:r>
          </a:p>
        </p:txBody>
      </p:sp>
      <p:sp>
        <p:nvSpPr>
          <p:cNvPr id="84" name="Text Box 90">
            <a:extLst>
              <a:ext uri="{FF2B5EF4-FFF2-40B4-BE49-F238E27FC236}">
                <a16:creationId xmlns:a16="http://schemas.microsoft.com/office/drawing/2014/main" id="{001B648F-0560-AB4D-A475-68BE11717E9F}"/>
              </a:ext>
            </a:extLst>
          </p:cNvPr>
          <p:cNvSpPr txBox="1">
            <a:spLocks noChangeArrowheads="1"/>
          </p:cNvSpPr>
          <p:nvPr/>
        </p:nvSpPr>
        <p:spPr bwMode="gray">
          <a:xfrm>
            <a:off x="4265844" y="1414800"/>
            <a:ext cx="2340000" cy="123031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44000" tIns="72000" rIns="144000" bIns="72000">
            <a:spAutoFit/>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defRPr/>
            </a:pPr>
            <a:r>
              <a:rPr lang="en-US" altLang="de-DE" sz="1600" b="1" dirty="0">
                <a:solidFill>
                  <a:srgbClr val="00FFB9"/>
                </a:solidFill>
                <a:latin typeface="+mn-lt"/>
                <a:ea typeface="Arial Unicode MS"/>
              </a:rPr>
              <a:t>Vestibulum ante ipsum dolore quen</a:t>
            </a:r>
          </a:p>
          <a:p>
            <a:pPr marL="0" lvl="1" algn="l">
              <a:spcBef>
                <a:spcPts val="300"/>
              </a:spcBef>
              <a:buClr>
                <a:srgbClr val="3C464B"/>
              </a:buClr>
              <a:defRPr/>
            </a:pPr>
            <a:r>
              <a:rPr lang="en-US" sz="1200" dirty="0">
                <a:solidFill>
                  <a:srgbClr val="9999A9"/>
                </a:solidFill>
                <a:latin typeface="+mn-lt"/>
              </a:rPr>
              <a:t>Maecenas nec odio et ante tincidunt tempus, titus donec vitae ut libero</a:t>
            </a:r>
            <a:endParaRPr lang="en-US" altLang="de-DE" sz="1200" dirty="0">
              <a:solidFill>
                <a:srgbClr val="9999A9"/>
              </a:solidFill>
              <a:latin typeface="+mn-lt"/>
              <a:ea typeface="Arial Unicode MS"/>
              <a:cs typeface="Arial" pitchFamily="34" charset="0"/>
            </a:endParaRPr>
          </a:p>
        </p:txBody>
      </p:sp>
      <p:sp>
        <p:nvSpPr>
          <p:cNvPr id="85" name="Text Box 90">
            <a:extLst>
              <a:ext uri="{FF2B5EF4-FFF2-40B4-BE49-F238E27FC236}">
                <a16:creationId xmlns:a16="http://schemas.microsoft.com/office/drawing/2014/main" id="{BEC96CDE-01AC-C543-BA74-DB101DD48383}"/>
              </a:ext>
            </a:extLst>
          </p:cNvPr>
          <p:cNvSpPr txBox="1">
            <a:spLocks noChangeArrowheads="1"/>
          </p:cNvSpPr>
          <p:nvPr/>
        </p:nvSpPr>
        <p:spPr bwMode="gray">
          <a:xfrm>
            <a:off x="7571836" y="1414800"/>
            <a:ext cx="1980000" cy="984097"/>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44000" tIns="72000" rIns="144000" bIns="72000">
            <a:spAutoFit/>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defRPr/>
            </a:pPr>
            <a:r>
              <a:rPr lang="en-US" altLang="de-DE" sz="1600" b="1" dirty="0">
                <a:solidFill>
                  <a:srgbClr val="00FFB9"/>
                </a:solidFill>
                <a:latin typeface="+mn-lt"/>
                <a:ea typeface="Arial Unicode MS"/>
              </a:rPr>
              <a:t>Ultrices mauris</a:t>
            </a:r>
          </a:p>
          <a:p>
            <a:pPr marL="0" lvl="1" algn="l">
              <a:spcBef>
                <a:spcPts val="300"/>
              </a:spcBef>
              <a:buClr>
                <a:srgbClr val="3C464B"/>
              </a:buClr>
              <a:defRPr/>
            </a:pPr>
            <a:r>
              <a:rPr lang="en-US" sz="1200" dirty="0">
                <a:solidFill>
                  <a:srgbClr val="9999A9"/>
                </a:solidFill>
                <a:latin typeface="+mn-lt"/>
              </a:rPr>
              <a:t>Phasellus accumsan cursus velit, vestibulum ante ipsum</a:t>
            </a:r>
            <a:endParaRPr lang="en-US" altLang="de-DE" sz="1200" dirty="0">
              <a:solidFill>
                <a:srgbClr val="9999A9"/>
              </a:solidFill>
              <a:latin typeface="+mn-lt"/>
              <a:ea typeface="Arial Unicode MS"/>
              <a:cs typeface="Arial" pitchFamily="34" charset="0"/>
            </a:endParaRPr>
          </a:p>
        </p:txBody>
      </p:sp>
      <p:sp>
        <p:nvSpPr>
          <p:cNvPr id="86" name="Text Box 90">
            <a:extLst>
              <a:ext uri="{FF2B5EF4-FFF2-40B4-BE49-F238E27FC236}">
                <a16:creationId xmlns:a16="http://schemas.microsoft.com/office/drawing/2014/main" id="{5B8B8AB2-DA9A-4A4A-91D3-686A9A342857}"/>
              </a:ext>
            </a:extLst>
          </p:cNvPr>
          <p:cNvSpPr txBox="1">
            <a:spLocks noChangeArrowheads="1"/>
          </p:cNvSpPr>
          <p:nvPr/>
        </p:nvSpPr>
        <p:spPr bwMode="gray">
          <a:xfrm>
            <a:off x="3406805" y="4945790"/>
            <a:ext cx="2700000" cy="123031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44000" tIns="72000" rIns="144000" bIns="72000" anchor="b">
            <a:spAutoFit/>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defRPr/>
            </a:pPr>
            <a:r>
              <a:rPr lang="en-US" altLang="de-DE" sz="1600" b="1" dirty="0">
                <a:solidFill>
                  <a:srgbClr val="00FFB9"/>
                </a:solidFill>
                <a:latin typeface="+mn-lt"/>
                <a:ea typeface="Arial Unicode MS"/>
              </a:rPr>
              <a:t>Nullam nulla eros, ultricies sit amet</a:t>
            </a:r>
          </a:p>
          <a:p>
            <a:pPr marL="0" lvl="1" algn="l">
              <a:spcBef>
                <a:spcPts val="300"/>
              </a:spcBef>
              <a:buClr>
                <a:srgbClr val="3C464B"/>
              </a:buClr>
              <a:defRPr/>
            </a:pPr>
            <a:r>
              <a:rPr lang="en-US" sz="1200" dirty="0">
                <a:solidFill>
                  <a:srgbClr val="9999A9"/>
                </a:solidFill>
                <a:latin typeface="+mn-lt"/>
              </a:rPr>
              <a:t>Nullam dictum felis eu pede mollis pretium tellus eget condimentum rhoncus, sem quam</a:t>
            </a:r>
            <a:endParaRPr lang="en-US" altLang="de-DE" sz="1200" dirty="0">
              <a:solidFill>
                <a:srgbClr val="9999A9"/>
              </a:solidFill>
              <a:latin typeface="+mn-lt"/>
              <a:ea typeface="Arial Unicode MS"/>
              <a:cs typeface="Arial" pitchFamily="34" charset="0"/>
            </a:endParaRPr>
          </a:p>
        </p:txBody>
      </p:sp>
      <p:sp>
        <p:nvSpPr>
          <p:cNvPr id="9" name="Titel 8">
            <a:extLst>
              <a:ext uri="{FF2B5EF4-FFF2-40B4-BE49-F238E27FC236}">
                <a16:creationId xmlns:a16="http://schemas.microsoft.com/office/drawing/2014/main" id="{30916218-0FE7-DA40-850A-7231E8C46B1B}"/>
              </a:ext>
            </a:extLst>
          </p:cNvPr>
          <p:cNvSpPr>
            <a:spLocks noGrp="1"/>
          </p:cNvSpPr>
          <p:nvPr>
            <p:ph type="title"/>
          </p:nvPr>
        </p:nvSpPr>
        <p:spPr/>
        <p:txBody>
          <a:bodyPr/>
          <a:lstStyle/>
          <a:p>
            <a:r>
              <a:rPr lang="en-US" dirty="0"/>
              <a:t>Roadmap</a:t>
            </a:r>
            <a:endParaRPr lang="de-DE" dirty="0"/>
          </a:p>
        </p:txBody>
      </p:sp>
      <p:sp>
        <p:nvSpPr>
          <p:cNvPr id="2" name="Fußzeilenplatzhalter 1">
            <a:extLst>
              <a:ext uri="{FF2B5EF4-FFF2-40B4-BE49-F238E27FC236}">
                <a16:creationId xmlns:a16="http://schemas.microsoft.com/office/drawing/2014/main" id="{B6CCAFED-DB21-9F42-8899-2CC52FF29F2E}"/>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3" name="Foliennummernplatzhalter 2">
            <a:extLst>
              <a:ext uri="{FF2B5EF4-FFF2-40B4-BE49-F238E27FC236}">
                <a16:creationId xmlns:a16="http://schemas.microsoft.com/office/drawing/2014/main" id="{F735936B-C854-8B47-A5D9-DD0428A75FF9}"/>
              </a:ext>
            </a:extLst>
          </p:cNvPr>
          <p:cNvSpPr>
            <a:spLocks noGrp="1"/>
          </p:cNvSpPr>
          <p:nvPr>
            <p:ph type="sldNum" sz="quarter" idx="11"/>
          </p:nvPr>
        </p:nvSpPr>
        <p:spPr/>
        <p:txBody>
          <a:bodyPr/>
          <a:lstStyle/>
          <a:p>
            <a:r>
              <a:rPr lang="en-US" dirty="0"/>
              <a:t>Page </a:t>
            </a:r>
            <a:fld id="{15EBE321-CBB1-4E91-BD14-37C8D44326FB}" type="slidenum">
              <a:rPr lang="en-US" smtClean="0"/>
              <a:pPr/>
              <a:t>65</a:t>
            </a:fld>
            <a:endParaRPr lang="en-US" dirty="0"/>
          </a:p>
        </p:txBody>
      </p:sp>
      <p:cxnSp>
        <p:nvCxnSpPr>
          <p:cNvPr id="22" name="Gerade Verbindung 52">
            <a:extLst>
              <a:ext uri="{FF2B5EF4-FFF2-40B4-BE49-F238E27FC236}">
                <a16:creationId xmlns:a16="http://schemas.microsoft.com/office/drawing/2014/main" id="{70D7F7B6-C5FB-8B46-861D-D27C1AD2BF44}"/>
              </a:ext>
            </a:extLst>
          </p:cNvPr>
          <p:cNvCxnSpPr>
            <a:stCxn id="72" idx="0"/>
          </p:cNvCxnSpPr>
          <p:nvPr/>
        </p:nvCxnSpPr>
        <p:spPr bwMode="gray">
          <a:xfrm>
            <a:off x="9586106" y="3480714"/>
            <a:ext cx="518" cy="2695395"/>
          </a:xfrm>
          <a:prstGeom prst="line">
            <a:avLst/>
          </a:prstGeom>
          <a:solidFill>
            <a:schemeClr val="tx2"/>
          </a:solidFill>
          <a:ln w="12700" cap="flat" cmpd="sng" algn="ctr">
            <a:solidFill>
              <a:srgbClr val="9999A9"/>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Gerade Verbindung 52">
            <a:extLst>
              <a:ext uri="{FF2B5EF4-FFF2-40B4-BE49-F238E27FC236}">
                <a16:creationId xmlns:a16="http://schemas.microsoft.com/office/drawing/2014/main" id="{C88757CC-7896-8144-9D17-944234C2263F}"/>
              </a:ext>
            </a:extLst>
          </p:cNvPr>
          <p:cNvCxnSpPr/>
          <p:nvPr/>
        </p:nvCxnSpPr>
        <p:spPr bwMode="gray">
          <a:xfrm>
            <a:off x="6687989" y="4154188"/>
            <a:ext cx="383" cy="2021921"/>
          </a:xfrm>
          <a:prstGeom prst="line">
            <a:avLst/>
          </a:prstGeom>
          <a:solidFill>
            <a:schemeClr val="tx2"/>
          </a:solidFill>
          <a:ln w="12700" cap="flat" cmpd="sng" algn="ctr">
            <a:solidFill>
              <a:srgbClr val="9999A9"/>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52">
            <a:extLst>
              <a:ext uri="{FF2B5EF4-FFF2-40B4-BE49-F238E27FC236}">
                <a16:creationId xmlns:a16="http://schemas.microsoft.com/office/drawing/2014/main" id="{AE1D304A-93B8-584E-BBCA-D5FEF4E8E29F}"/>
              </a:ext>
            </a:extLst>
          </p:cNvPr>
          <p:cNvCxnSpPr/>
          <p:nvPr/>
        </p:nvCxnSpPr>
        <p:spPr bwMode="gray">
          <a:xfrm>
            <a:off x="3406806" y="4742889"/>
            <a:ext cx="0" cy="1433220"/>
          </a:xfrm>
          <a:prstGeom prst="line">
            <a:avLst/>
          </a:prstGeom>
          <a:solidFill>
            <a:schemeClr val="tx2"/>
          </a:solidFill>
          <a:ln w="12700" cap="flat" cmpd="sng" algn="ctr">
            <a:solidFill>
              <a:srgbClr val="9999A9"/>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Gerade Verbindung 52">
            <a:extLst>
              <a:ext uri="{FF2B5EF4-FFF2-40B4-BE49-F238E27FC236}">
                <a16:creationId xmlns:a16="http://schemas.microsoft.com/office/drawing/2014/main" id="{9A68F6AA-ABA5-FF4F-8DD0-86B83AE99BEC}"/>
              </a:ext>
            </a:extLst>
          </p:cNvPr>
          <p:cNvCxnSpPr>
            <a:endCxn id="53" idx="0"/>
          </p:cNvCxnSpPr>
          <p:nvPr/>
        </p:nvCxnSpPr>
        <p:spPr bwMode="gray">
          <a:xfrm flipH="1">
            <a:off x="7576171" y="1422792"/>
            <a:ext cx="1663" cy="1993346"/>
          </a:xfrm>
          <a:prstGeom prst="line">
            <a:avLst/>
          </a:prstGeom>
          <a:solidFill>
            <a:schemeClr val="tx2"/>
          </a:solidFill>
          <a:ln w="12700" cap="flat" cmpd="sng" algn="ctr">
            <a:solidFill>
              <a:srgbClr val="9999A9"/>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Gerade Verbindung 52">
            <a:extLst>
              <a:ext uri="{FF2B5EF4-FFF2-40B4-BE49-F238E27FC236}">
                <a16:creationId xmlns:a16="http://schemas.microsoft.com/office/drawing/2014/main" id="{D867D07B-6404-1744-AE60-3955EBA69E18}"/>
              </a:ext>
            </a:extLst>
          </p:cNvPr>
          <p:cNvCxnSpPr/>
          <p:nvPr/>
        </p:nvCxnSpPr>
        <p:spPr bwMode="gray">
          <a:xfrm>
            <a:off x="4265845" y="1414801"/>
            <a:ext cx="0" cy="2315716"/>
          </a:xfrm>
          <a:prstGeom prst="line">
            <a:avLst/>
          </a:prstGeom>
          <a:solidFill>
            <a:schemeClr val="tx2"/>
          </a:solidFill>
          <a:ln w="12700" cap="flat" cmpd="sng" algn="ctr">
            <a:solidFill>
              <a:srgbClr val="9999A9"/>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8" name="Gerade Verbindung 27">
            <a:extLst>
              <a:ext uri="{FF2B5EF4-FFF2-40B4-BE49-F238E27FC236}">
                <a16:creationId xmlns:a16="http://schemas.microsoft.com/office/drawing/2014/main" id="{F4890CFC-74CB-9B46-8661-65A754EA8041}"/>
              </a:ext>
            </a:extLst>
          </p:cNvPr>
          <p:cNvCxnSpPr/>
          <p:nvPr/>
        </p:nvCxnSpPr>
        <p:spPr bwMode="gray">
          <a:xfrm flipH="1">
            <a:off x="1107766" y="1414801"/>
            <a:ext cx="18530" cy="3228914"/>
          </a:xfrm>
          <a:prstGeom prst="line">
            <a:avLst/>
          </a:prstGeom>
          <a:solidFill>
            <a:schemeClr val="tx2"/>
          </a:solidFill>
          <a:ln w="12700" cap="flat" cmpd="sng" algn="ctr">
            <a:solidFill>
              <a:srgbClr val="9999A9"/>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87" name="Text Box 90">
            <a:extLst>
              <a:ext uri="{FF2B5EF4-FFF2-40B4-BE49-F238E27FC236}">
                <a16:creationId xmlns:a16="http://schemas.microsoft.com/office/drawing/2014/main" id="{FB7490FA-DDE6-1547-BA4E-5C1AB7981174}"/>
              </a:ext>
            </a:extLst>
          </p:cNvPr>
          <p:cNvSpPr txBox="1">
            <a:spLocks noChangeArrowheads="1"/>
          </p:cNvSpPr>
          <p:nvPr/>
        </p:nvSpPr>
        <p:spPr bwMode="gray">
          <a:xfrm>
            <a:off x="6687988" y="4945790"/>
            <a:ext cx="2340000" cy="123031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44000" tIns="72000" rIns="144000" bIns="72000" anchor="b">
            <a:spAutoFit/>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defRPr/>
            </a:pPr>
            <a:r>
              <a:rPr lang="en-US" altLang="de-DE" sz="1600" b="1" dirty="0">
                <a:solidFill>
                  <a:srgbClr val="00FFB9"/>
                </a:solidFill>
                <a:latin typeface="+mn-lt"/>
                <a:ea typeface="Arial Unicode MS"/>
              </a:rPr>
              <a:t>Sed aliquam ultrices mauris</a:t>
            </a:r>
          </a:p>
          <a:p>
            <a:pPr marL="0" lvl="1" algn="l">
              <a:spcBef>
                <a:spcPts val="300"/>
              </a:spcBef>
              <a:buClr>
                <a:srgbClr val="3C464B"/>
              </a:buClr>
              <a:defRPr/>
            </a:pPr>
            <a:r>
              <a:rPr lang="en-US" sz="1200" dirty="0">
                <a:solidFill>
                  <a:srgbClr val="9999A9"/>
                </a:solidFill>
                <a:latin typeface="+mn-lt"/>
              </a:rPr>
              <a:t>Cras ultricies mi eu turpis hendrerit fringilla consectetuer lacinia. Nam pretium et arcu</a:t>
            </a:r>
            <a:endParaRPr lang="en-US" altLang="de-DE" sz="1200" dirty="0">
              <a:solidFill>
                <a:srgbClr val="9999A9"/>
              </a:solidFill>
              <a:latin typeface="+mn-lt"/>
              <a:ea typeface="Arial Unicode MS"/>
              <a:cs typeface="Arial" pitchFamily="34" charset="0"/>
            </a:endParaRPr>
          </a:p>
        </p:txBody>
      </p:sp>
      <p:sp>
        <p:nvSpPr>
          <p:cNvPr id="88" name="Text Box 90">
            <a:extLst>
              <a:ext uri="{FF2B5EF4-FFF2-40B4-BE49-F238E27FC236}">
                <a16:creationId xmlns:a16="http://schemas.microsoft.com/office/drawing/2014/main" id="{2D11EC4E-282F-2B4D-8D99-1AB961B5A167}"/>
              </a:ext>
            </a:extLst>
          </p:cNvPr>
          <p:cNvSpPr txBox="1">
            <a:spLocks noChangeArrowheads="1"/>
          </p:cNvSpPr>
          <p:nvPr/>
        </p:nvSpPr>
        <p:spPr bwMode="gray">
          <a:xfrm>
            <a:off x="9590400" y="5007345"/>
            <a:ext cx="2196000" cy="116876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44000" tIns="72000" rIns="144000" bIns="72000" anchor="b">
            <a:spAutoFit/>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defRPr/>
            </a:pPr>
            <a:r>
              <a:rPr lang="en-US" altLang="de-DE" sz="1600" b="1" dirty="0">
                <a:solidFill>
                  <a:srgbClr val="00FFB9"/>
                </a:solidFill>
                <a:latin typeface="+mn-lt"/>
                <a:ea typeface="Arial Unicode MS"/>
              </a:rPr>
              <a:t>Etiam rhoncus</a:t>
            </a:r>
          </a:p>
          <a:p>
            <a:pPr marL="0" lvl="1" algn="l">
              <a:spcBef>
                <a:spcPts val="300"/>
              </a:spcBef>
              <a:buClr>
                <a:srgbClr val="3C464B"/>
              </a:buClr>
              <a:defRPr/>
            </a:pPr>
            <a:r>
              <a:rPr lang="en-US" sz="1200" dirty="0">
                <a:solidFill>
                  <a:srgbClr val="9999A9"/>
                </a:solidFill>
                <a:latin typeface="+mn-lt"/>
              </a:rPr>
              <a:t>Nullam nulla eros, ultricies dui quis mi consectetuer lacinia. Namarcu sit amet, non, imperdiet feugiat, pede</a:t>
            </a:r>
            <a:endParaRPr lang="en-US" altLang="de-DE" sz="1200" dirty="0">
              <a:solidFill>
                <a:srgbClr val="9999A9"/>
              </a:solidFill>
              <a:latin typeface="+mn-lt"/>
              <a:ea typeface="Arial Unicode MS"/>
              <a:cs typeface="Arial" pitchFamily="34" charset="0"/>
            </a:endParaRPr>
          </a:p>
        </p:txBody>
      </p:sp>
      <p:grpSp>
        <p:nvGrpSpPr>
          <p:cNvPr id="58" name="Group 17">
            <a:extLst>
              <a:ext uri="{FF2B5EF4-FFF2-40B4-BE49-F238E27FC236}">
                <a16:creationId xmlns:a16="http://schemas.microsoft.com/office/drawing/2014/main" id="{A7EB058F-FF9B-45F4-A893-185B405E8F14}"/>
              </a:ext>
            </a:extLst>
          </p:cNvPr>
          <p:cNvGrpSpPr/>
          <p:nvPr/>
        </p:nvGrpSpPr>
        <p:grpSpPr>
          <a:xfrm>
            <a:off x="658178" y="3512393"/>
            <a:ext cx="900112" cy="1274439"/>
            <a:chOff x="734378" y="3537591"/>
            <a:chExt cx="900112" cy="1274439"/>
          </a:xfrm>
        </p:grpSpPr>
        <p:sp>
          <p:nvSpPr>
            <p:cNvPr id="59" name="Oval 58">
              <a:extLst>
                <a:ext uri="{FF2B5EF4-FFF2-40B4-BE49-F238E27FC236}">
                  <a16:creationId xmlns:a16="http://schemas.microsoft.com/office/drawing/2014/main" id="{3204C759-2AA2-4AF6-AFEF-36DD6AF56E20}"/>
                </a:ext>
              </a:extLst>
            </p:cNvPr>
            <p:cNvSpPr/>
            <p:nvPr/>
          </p:nvSpPr>
          <p:spPr bwMode="auto">
            <a:xfrm>
              <a:off x="734378" y="4552964"/>
              <a:ext cx="900112" cy="259066"/>
            </a:xfrm>
            <a:prstGeom prst="ellipse">
              <a:avLst/>
            </a:prstGeom>
            <a:solidFill>
              <a:srgbClr val="333353"/>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ea typeface="Arial Unicode MS" panose="020B0604020202020204" pitchFamily="34" charset="-128"/>
                <a:cs typeface="Arial Unicode MS" panose="020B0604020202020204" pitchFamily="34" charset="-128"/>
              </a:endParaRPr>
            </a:p>
          </p:txBody>
        </p:sp>
        <p:grpSp>
          <p:nvGrpSpPr>
            <p:cNvPr id="60" name="Group 12">
              <a:extLst>
                <a:ext uri="{FF2B5EF4-FFF2-40B4-BE49-F238E27FC236}">
                  <a16:creationId xmlns:a16="http://schemas.microsoft.com/office/drawing/2014/main" id="{6CA7AD17-037E-42F5-8B63-0AB0C631BE3A}"/>
                </a:ext>
              </a:extLst>
            </p:cNvPr>
            <p:cNvGrpSpPr/>
            <p:nvPr/>
          </p:nvGrpSpPr>
          <p:grpSpPr>
            <a:xfrm>
              <a:off x="794963" y="3537591"/>
              <a:ext cx="778943" cy="1131322"/>
              <a:chOff x="115998" y="4766494"/>
              <a:chExt cx="778943" cy="1131322"/>
            </a:xfrm>
          </p:grpSpPr>
          <p:sp>
            <p:nvSpPr>
              <p:cNvPr id="62" name="Oval 61">
                <a:extLst>
                  <a:ext uri="{FF2B5EF4-FFF2-40B4-BE49-F238E27FC236}">
                    <a16:creationId xmlns:a16="http://schemas.microsoft.com/office/drawing/2014/main" id="{E306C5D4-A094-4520-8915-E37F7BDF6488}"/>
                  </a:ext>
                </a:extLst>
              </p:cNvPr>
              <p:cNvSpPr/>
              <p:nvPr/>
            </p:nvSpPr>
            <p:spPr bwMode="auto">
              <a:xfrm>
                <a:off x="268923" y="4905416"/>
                <a:ext cx="495212" cy="495212"/>
              </a:xfrm>
              <a:prstGeom prst="ellipse">
                <a:avLst/>
              </a:prstGeom>
              <a:solidFill>
                <a:schemeClr val="accent6"/>
              </a:solidFill>
              <a:ln w="9525">
                <a:noFill/>
                <a:miter lim="800000"/>
                <a:headEnd/>
                <a:tailEnd/>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ea typeface="Arial Unicode MS" panose="020B0604020202020204" pitchFamily="34" charset="-128"/>
                  <a:cs typeface="Arial Unicode MS" panose="020B0604020202020204" pitchFamily="34" charset="-128"/>
                </a:endParaRPr>
              </a:p>
            </p:txBody>
          </p:sp>
          <p:sp>
            <p:nvSpPr>
              <p:cNvPr id="63" name="Freeform 26">
                <a:extLst>
                  <a:ext uri="{FF2B5EF4-FFF2-40B4-BE49-F238E27FC236}">
                    <a16:creationId xmlns:a16="http://schemas.microsoft.com/office/drawing/2014/main" id="{097A8953-1539-4333-9D6C-240F82E7BC9F}"/>
                  </a:ext>
                </a:extLst>
              </p:cNvPr>
              <p:cNvSpPr>
                <a:spLocks noEditPoints="1"/>
              </p:cNvSpPr>
              <p:nvPr/>
            </p:nvSpPr>
            <p:spPr bwMode="auto">
              <a:xfrm>
                <a:off x="115998" y="4766494"/>
                <a:ext cx="778943" cy="1131322"/>
              </a:xfrm>
              <a:custGeom>
                <a:avLst/>
                <a:gdLst>
                  <a:gd name="T0" fmla="*/ 415 w 831"/>
                  <a:gd name="T1" fmla="*/ 1210 h 1210"/>
                  <a:gd name="T2" fmla="*/ 771 w 831"/>
                  <a:gd name="T3" fmla="*/ 632 h 1210"/>
                  <a:gd name="T4" fmla="*/ 831 w 831"/>
                  <a:gd name="T5" fmla="*/ 416 h 1210"/>
                  <a:gd name="T6" fmla="*/ 415 w 831"/>
                  <a:gd name="T7" fmla="*/ 0 h 1210"/>
                  <a:gd name="T8" fmla="*/ 0 w 831"/>
                  <a:gd name="T9" fmla="*/ 416 h 1210"/>
                  <a:gd name="T10" fmla="*/ 60 w 831"/>
                  <a:gd name="T11" fmla="*/ 632 h 1210"/>
                  <a:gd name="T12" fmla="*/ 415 w 831"/>
                  <a:gd name="T13" fmla="*/ 1210 h 1210"/>
                  <a:gd name="T14" fmla="*/ 415 w 831"/>
                  <a:gd name="T15" fmla="*/ 227 h 1210"/>
                  <a:gd name="T16" fmla="*/ 604 w 831"/>
                  <a:gd name="T17" fmla="*/ 416 h 1210"/>
                  <a:gd name="T18" fmla="*/ 415 w 831"/>
                  <a:gd name="T19" fmla="*/ 605 h 1210"/>
                  <a:gd name="T20" fmla="*/ 226 w 831"/>
                  <a:gd name="T21" fmla="*/ 416 h 1210"/>
                  <a:gd name="T22" fmla="*/ 415 w 831"/>
                  <a:gd name="T23" fmla="*/ 227 h 1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1" h="1210">
                    <a:moveTo>
                      <a:pt x="415" y="1210"/>
                    </a:moveTo>
                    <a:cubicBezTo>
                      <a:pt x="771" y="632"/>
                      <a:pt x="771" y="632"/>
                      <a:pt x="771" y="632"/>
                    </a:cubicBezTo>
                    <a:cubicBezTo>
                      <a:pt x="809" y="569"/>
                      <a:pt x="831" y="495"/>
                      <a:pt x="831" y="416"/>
                    </a:cubicBezTo>
                    <a:cubicBezTo>
                      <a:pt x="831" y="186"/>
                      <a:pt x="645" y="0"/>
                      <a:pt x="415" y="0"/>
                    </a:cubicBezTo>
                    <a:cubicBezTo>
                      <a:pt x="186" y="0"/>
                      <a:pt x="0" y="186"/>
                      <a:pt x="0" y="416"/>
                    </a:cubicBezTo>
                    <a:cubicBezTo>
                      <a:pt x="0" y="495"/>
                      <a:pt x="22" y="569"/>
                      <a:pt x="60" y="632"/>
                    </a:cubicBezTo>
                    <a:lnTo>
                      <a:pt x="415" y="1210"/>
                    </a:lnTo>
                    <a:close/>
                    <a:moveTo>
                      <a:pt x="415" y="227"/>
                    </a:moveTo>
                    <a:cubicBezTo>
                      <a:pt x="520" y="227"/>
                      <a:pt x="604" y="312"/>
                      <a:pt x="604" y="416"/>
                    </a:cubicBezTo>
                    <a:cubicBezTo>
                      <a:pt x="604" y="520"/>
                      <a:pt x="520" y="605"/>
                      <a:pt x="415" y="605"/>
                    </a:cubicBezTo>
                    <a:cubicBezTo>
                      <a:pt x="311" y="605"/>
                      <a:pt x="226" y="520"/>
                      <a:pt x="226" y="416"/>
                    </a:cubicBezTo>
                    <a:cubicBezTo>
                      <a:pt x="226" y="312"/>
                      <a:pt x="311" y="227"/>
                      <a:pt x="415" y="227"/>
                    </a:cubicBezTo>
                    <a:close/>
                  </a:path>
                </a:pathLst>
              </a:custGeom>
              <a:solidFill>
                <a:srgbClr val="E5E5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64" name="Group 72">
            <a:extLst>
              <a:ext uri="{FF2B5EF4-FFF2-40B4-BE49-F238E27FC236}">
                <a16:creationId xmlns:a16="http://schemas.microsoft.com/office/drawing/2014/main" id="{3F4C8D83-D0E4-41B4-98E3-5A15C2D50334}"/>
              </a:ext>
            </a:extLst>
          </p:cNvPr>
          <p:cNvGrpSpPr/>
          <p:nvPr/>
        </p:nvGrpSpPr>
        <p:grpSpPr>
          <a:xfrm>
            <a:off x="2957218" y="3611567"/>
            <a:ext cx="900112" cy="1274439"/>
            <a:chOff x="734378" y="3537591"/>
            <a:chExt cx="900112" cy="1274439"/>
          </a:xfrm>
        </p:grpSpPr>
        <p:sp>
          <p:nvSpPr>
            <p:cNvPr id="65" name="Oval 64">
              <a:extLst>
                <a:ext uri="{FF2B5EF4-FFF2-40B4-BE49-F238E27FC236}">
                  <a16:creationId xmlns:a16="http://schemas.microsoft.com/office/drawing/2014/main" id="{1C507568-9AF4-4BFA-8DD0-842D8DF0126C}"/>
                </a:ext>
              </a:extLst>
            </p:cNvPr>
            <p:cNvSpPr/>
            <p:nvPr/>
          </p:nvSpPr>
          <p:spPr bwMode="auto">
            <a:xfrm>
              <a:off x="734378" y="4552964"/>
              <a:ext cx="900112" cy="259066"/>
            </a:xfrm>
            <a:prstGeom prst="ellipse">
              <a:avLst/>
            </a:prstGeom>
            <a:solidFill>
              <a:srgbClr val="333353"/>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ea typeface="Arial Unicode MS" panose="020B0604020202020204" pitchFamily="34" charset="-128"/>
                <a:cs typeface="Arial Unicode MS" panose="020B0604020202020204" pitchFamily="34" charset="-128"/>
              </a:endParaRPr>
            </a:p>
          </p:txBody>
        </p:sp>
        <p:grpSp>
          <p:nvGrpSpPr>
            <p:cNvPr id="66" name="Group 74">
              <a:extLst>
                <a:ext uri="{FF2B5EF4-FFF2-40B4-BE49-F238E27FC236}">
                  <a16:creationId xmlns:a16="http://schemas.microsoft.com/office/drawing/2014/main" id="{253C010D-4562-4AC9-942F-954768A1F6CC}"/>
                </a:ext>
              </a:extLst>
            </p:cNvPr>
            <p:cNvGrpSpPr/>
            <p:nvPr/>
          </p:nvGrpSpPr>
          <p:grpSpPr>
            <a:xfrm>
              <a:off x="794963" y="3537591"/>
              <a:ext cx="778943" cy="1131322"/>
              <a:chOff x="115998" y="4766494"/>
              <a:chExt cx="778943" cy="1131322"/>
            </a:xfrm>
          </p:grpSpPr>
          <p:sp>
            <p:nvSpPr>
              <p:cNvPr id="67" name="Oval 66">
                <a:extLst>
                  <a:ext uri="{FF2B5EF4-FFF2-40B4-BE49-F238E27FC236}">
                    <a16:creationId xmlns:a16="http://schemas.microsoft.com/office/drawing/2014/main" id="{D59C5F01-04A1-4551-A03C-36A026BAF84B}"/>
                  </a:ext>
                </a:extLst>
              </p:cNvPr>
              <p:cNvSpPr/>
              <p:nvPr/>
            </p:nvSpPr>
            <p:spPr bwMode="auto">
              <a:xfrm>
                <a:off x="268923" y="4905416"/>
                <a:ext cx="495212" cy="495212"/>
              </a:xfrm>
              <a:prstGeom prst="ellipse">
                <a:avLst/>
              </a:prstGeom>
              <a:solidFill>
                <a:schemeClr val="accent6"/>
              </a:solidFill>
              <a:ln w="9525">
                <a:noFill/>
                <a:miter lim="800000"/>
                <a:headEnd/>
                <a:tailEnd/>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ea typeface="Arial Unicode MS" panose="020B0604020202020204" pitchFamily="34" charset="-128"/>
                  <a:cs typeface="Arial Unicode MS" panose="020B0604020202020204" pitchFamily="34" charset="-128"/>
                </a:endParaRPr>
              </a:p>
            </p:txBody>
          </p:sp>
          <p:sp>
            <p:nvSpPr>
              <p:cNvPr id="89" name="Freeform 26">
                <a:extLst>
                  <a:ext uri="{FF2B5EF4-FFF2-40B4-BE49-F238E27FC236}">
                    <a16:creationId xmlns:a16="http://schemas.microsoft.com/office/drawing/2014/main" id="{293B6DC7-6562-4B95-A24D-3948469D18F7}"/>
                  </a:ext>
                </a:extLst>
              </p:cNvPr>
              <p:cNvSpPr>
                <a:spLocks noEditPoints="1"/>
              </p:cNvSpPr>
              <p:nvPr/>
            </p:nvSpPr>
            <p:spPr bwMode="auto">
              <a:xfrm>
                <a:off x="115998" y="4766494"/>
                <a:ext cx="778943" cy="1131322"/>
              </a:xfrm>
              <a:custGeom>
                <a:avLst/>
                <a:gdLst>
                  <a:gd name="T0" fmla="*/ 415 w 831"/>
                  <a:gd name="T1" fmla="*/ 1210 h 1210"/>
                  <a:gd name="T2" fmla="*/ 771 w 831"/>
                  <a:gd name="T3" fmla="*/ 632 h 1210"/>
                  <a:gd name="T4" fmla="*/ 831 w 831"/>
                  <a:gd name="T5" fmla="*/ 416 h 1210"/>
                  <a:gd name="T6" fmla="*/ 415 w 831"/>
                  <a:gd name="T7" fmla="*/ 0 h 1210"/>
                  <a:gd name="T8" fmla="*/ 0 w 831"/>
                  <a:gd name="T9" fmla="*/ 416 h 1210"/>
                  <a:gd name="T10" fmla="*/ 60 w 831"/>
                  <a:gd name="T11" fmla="*/ 632 h 1210"/>
                  <a:gd name="T12" fmla="*/ 415 w 831"/>
                  <a:gd name="T13" fmla="*/ 1210 h 1210"/>
                  <a:gd name="T14" fmla="*/ 415 w 831"/>
                  <a:gd name="T15" fmla="*/ 227 h 1210"/>
                  <a:gd name="T16" fmla="*/ 604 w 831"/>
                  <a:gd name="T17" fmla="*/ 416 h 1210"/>
                  <a:gd name="T18" fmla="*/ 415 w 831"/>
                  <a:gd name="T19" fmla="*/ 605 h 1210"/>
                  <a:gd name="T20" fmla="*/ 226 w 831"/>
                  <a:gd name="T21" fmla="*/ 416 h 1210"/>
                  <a:gd name="T22" fmla="*/ 415 w 831"/>
                  <a:gd name="T23" fmla="*/ 227 h 1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1" h="1210">
                    <a:moveTo>
                      <a:pt x="415" y="1210"/>
                    </a:moveTo>
                    <a:cubicBezTo>
                      <a:pt x="771" y="632"/>
                      <a:pt x="771" y="632"/>
                      <a:pt x="771" y="632"/>
                    </a:cubicBezTo>
                    <a:cubicBezTo>
                      <a:pt x="809" y="569"/>
                      <a:pt x="831" y="495"/>
                      <a:pt x="831" y="416"/>
                    </a:cubicBezTo>
                    <a:cubicBezTo>
                      <a:pt x="831" y="186"/>
                      <a:pt x="645" y="0"/>
                      <a:pt x="415" y="0"/>
                    </a:cubicBezTo>
                    <a:cubicBezTo>
                      <a:pt x="186" y="0"/>
                      <a:pt x="0" y="186"/>
                      <a:pt x="0" y="416"/>
                    </a:cubicBezTo>
                    <a:cubicBezTo>
                      <a:pt x="0" y="495"/>
                      <a:pt x="22" y="569"/>
                      <a:pt x="60" y="632"/>
                    </a:cubicBezTo>
                    <a:lnTo>
                      <a:pt x="415" y="1210"/>
                    </a:lnTo>
                    <a:close/>
                    <a:moveTo>
                      <a:pt x="415" y="227"/>
                    </a:moveTo>
                    <a:cubicBezTo>
                      <a:pt x="520" y="227"/>
                      <a:pt x="604" y="312"/>
                      <a:pt x="604" y="416"/>
                    </a:cubicBezTo>
                    <a:cubicBezTo>
                      <a:pt x="604" y="520"/>
                      <a:pt x="520" y="605"/>
                      <a:pt x="415" y="605"/>
                    </a:cubicBezTo>
                    <a:cubicBezTo>
                      <a:pt x="311" y="605"/>
                      <a:pt x="226" y="520"/>
                      <a:pt x="226" y="416"/>
                    </a:cubicBezTo>
                    <a:cubicBezTo>
                      <a:pt x="226" y="312"/>
                      <a:pt x="311" y="227"/>
                      <a:pt x="415" y="227"/>
                    </a:cubicBezTo>
                    <a:close/>
                  </a:path>
                </a:pathLst>
              </a:custGeom>
              <a:solidFill>
                <a:srgbClr val="E5E5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90" name="Group 77">
            <a:extLst>
              <a:ext uri="{FF2B5EF4-FFF2-40B4-BE49-F238E27FC236}">
                <a16:creationId xmlns:a16="http://schemas.microsoft.com/office/drawing/2014/main" id="{88225A8B-19DC-43D0-B041-89158346EA17}"/>
              </a:ext>
            </a:extLst>
          </p:cNvPr>
          <p:cNvGrpSpPr/>
          <p:nvPr/>
        </p:nvGrpSpPr>
        <p:grpSpPr>
          <a:xfrm>
            <a:off x="3898518" y="2806188"/>
            <a:ext cx="735423" cy="1041261"/>
            <a:chOff x="734378" y="3537591"/>
            <a:chExt cx="900112" cy="1274439"/>
          </a:xfrm>
        </p:grpSpPr>
        <p:sp>
          <p:nvSpPr>
            <p:cNvPr id="91" name="Oval 90">
              <a:extLst>
                <a:ext uri="{FF2B5EF4-FFF2-40B4-BE49-F238E27FC236}">
                  <a16:creationId xmlns:a16="http://schemas.microsoft.com/office/drawing/2014/main" id="{41DB4E81-B331-4F9F-9DD5-F328F4161FB3}"/>
                </a:ext>
              </a:extLst>
            </p:cNvPr>
            <p:cNvSpPr/>
            <p:nvPr/>
          </p:nvSpPr>
          <p:spPr bwMode="auto">
            <a:xfrm>
              <a:off x="734378" y="4552964"/>
              <a:ext cx="900112" cy="259066"/>
            </a:xfrm>
            <a:prstGeom prst="ellipse">
              <a:avLst/>
            </a:prstGeom>
            <a:solidFill>
              <a:srgbClr val="333353"/>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ea typeface="Arial Unicode MS" panose="020B0604020202020204" pitchFamily="34" charset="-128"/>
                <a:cs typeface="Arial Unicode MS" panose="020B0604020202020204" pitchFamily="34" charset="-128"/>
              </a:endParaRPr>
            </a:p>
          </p:txBody>
        </p:sp>
        <p:grpSp>
          <p:nvGrpSpPr>
            <p:cNvPr id="92" name="Group 79">
              <a:extLst>
                <a:ext uri="{FF2B5EF4-FFF2-40B4-BE49-F238E27FC236}">
                  <a16:creationId xmlns:a16="http://schemas.microsoft.com/office/drawing/2014/main" id="{C84CD24D-ABB0-42BD-9ADD-235DE5735D8F}"/>
                </a:ext>
              </a:extLst>
            </p:cNvPr>
            <p:cNvGrpSpPr/>
            <p:nvPr/>
          </p:nvGrpSpPr>
          <p:grpSpPr>
            <a:xfrm>
              <a:off x="794961" y="3537591"/>
              <a:ext cx="778943" cy="1131322"/>
              <a:chOff x="115996" y="4766494"/>
              <a:chExt cx="778943" cy="1131322"/>
            </a:xfrm>
          </p:grpSpPr>
          <p:sp>
            <p:nvSpPr>
              <p:cNvPr id="93" name="Oval 92">
                <a:extLst>
                  <a:ext uri="{FF2B5EF4-FFF2-40B4-BE49-F238E27FC236}">
                    <a16:creationId xmlns:a16="http://schemas.microsoft.com/office/drawing/2014/main" id="{7E4EED5D-9B17-472A-B003-61A6C8807C39}"/>
                  </a:ext>
                </a:extLst>
              </p:cNvPr>
              <p:cNvSpPr/>
              <p:nvPr/>
            </p:nvSpPr>
            <p:spPr bwMode="auto">
              <a:xfrm>
                <a:off x="268923" y="4905416"/>
                <a:ext cx="495212" cy="495212"/>
              </a:xfrm>
              <a:prstGeom prst="ellipse">
                <a:avLst/>
              </a:prstGeom>
              <a:solidFill>
                <a:schemeClr val="accent6"/>
              </a:solidFill>
              <a:ln w="9525">
                <a:noFill/>
                <a:miter lim="800000"/>
                <a:headEnd/>
                <a:tailEnd/>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ea typeface="Arial Unicode MS" panose="020B0604020202020204" pitchFamily="34" charset="-128"/>
                  <a:cs typeface="Arial Unicode MS" panose="020B0604020202020204" pitchFamily="34" charset="-128"/>
                </a:endParaRPr>
              </a:p>
            </p:txBody>
          </p:sp>
          <p:sp>
            <p:nvSpPr>
              <p:cNvPr id="94" name="Freeform 26">
                <a:extLst>
                  <a:ext uri="{FF2B5EF4-FFF2-40B4-BE49-F238E27FC236}">
                    <a16:creationId xmlns:a16="http://schemas.microsoft.com/office/drawing/2014/main" id="{47F05637-96B2-4B38-ABE0-41A8F370ED05}"/>
                  </a:ext>
                </a:extLst>
              </p:cNvPr>
              <p:cNvSpPr>
                <a:spLocks noEditPoints="1"/>
              </p:cNvSpPr>
              <p:nvPr/>
            </p:nvSpPr>
            <p:spPr bwMode="auto">
              <a:xfrm>
                <a:off x="115996" y="4766494"/>
                <a:ext cx="778943" cy="1131322"/>
              </a:xfrm>
              <a:custGeom>
                <a:avLst/>
                <a:gdLst>
                  <a:gd name="T0" fmla="*/ 415 w 831"/>
                  <a:gd name="T1" fmla="*/ 1210 h 1210"/>
                  <a:gd name="T2" fmla="*/ 771 w 831"/>
                  <a:gd name="T3" fmla="*/ 632 h 1210"/>
                  <a:gd name="T4" fmla="*/ 831 w 831"/>
                  <a:gd name="T5" fmla="*/ 416 h 1210"/>
                  <a:gd name="T6" fmla="*/ 415 w 831"/>
                  <a:gd name="T7" fmla="*/ 0 h 1210"/>
                  <a:gd name="T8" fmla="*/ 0 w 831"/>
                  <a:gd name="T9" fmla="*/ 416 h 1210"/>
                  <a:gd name="T10" fmla="*/ 60 w 831"/>
                  <a:gd name="T11" fmla="*/ 632 h 1210"/>
                  <a:gd name="T12" fmla="*/ 415 w 831"/>
                  <a:gd name="T13" fmla="*/ 1210 h 1210"/>
                  <a:gd name="T14" fmla="*/ 415 w 831"/>
                  <a:gd name="T15" fmla="*/ 227 h 1210"/>
                  <a:gd name="T16" fmla="*/ 604 w 831"/>
                  <a:gd name="T17" fmla="*/ 416 h 1210"/>
                  <a:gd name="T18" fmla="*/ 415 w 831"/>
                  <a:gd name="T19" fmla="*/ 605 h 1210"/>
                  <a:gd name="T20" fmla="*/ 226 w 831"/>
                  <a:gd name="T21" fmla="*/ 416 h 1210"/>
                  <a:gd name="T22" fmla="*/ 415 w 831"/>
                  <a:gd name="T23" fmla="*/ 227 h 1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1" h="1210">
                    <a:moveTo>
                      <a:pt x="415" y="1210"/>
                    </a:moveTo>
                    <a:cubicBezTo>
                      <a:pt x="771" y="632"/>
                      <a:pt x="771" y="632"/>
                      <a:pt x="771" y="632"/>
                    </a:cubicBezTo>
                    <a:cubicBezTo>
                      <a:pt x="809" y="569"/>
                      <a:pt x="831" y="495"/>
                      <a:pt x="831" y="416"/>
                    </a:cubicBezTo>
                    <a:cubicBezTo>
                      <a:pt x="831" y="186"/>
                      <a:pt x="645" y="0"/>
                      <a:pt x="415" y="0"/>
                    </a:cubicBezTo>
                    <a:cubicBezTo>
                      <a:pt x="186" y="0"/>
                      <a:pt x="0" y="186"/>
                      <a:pt x="0" y="416"/>
                    </a:cubicBezTo>
                    <a:cubicBezTo>
                      <a:pt x="0" y="495"/>
                      <a:pt x="22" y="569"/>
                      <a:pt x="60" y="632"/>
                    </a:cubicBezTo>
                    <a:lnTo>
                      <a:pt x="415" y="1210"/>
                    </a:lnTo>
                    <a:close/>
                    <a:moveTo>
                      <a:pt x="415" y="227"/>
                    </a:moveTo>
                    <a:cubicBezTo>
                      <a:pt x="520" y="227"/>
                      <a:pt x="604" y="312"/>
                      <a:pt x="604" y="416"/>
                    </a:cubicBezTo>
                    <a:cubicBezTo>
                      <a:pt x="604" y="520"/>
                      <a:pt x="520" y="605"/>
                      <a:pt x="415" y="605"/>
                    </a:cubicBezTo>
                    <a:cubicBezTo>
                      <a:pt x="311" y="605"/>
                      <a:pt x="226" y="520"/>
                      <a:pt x="226" y="416"/>
                    </a:cubicBezTo>
                    <a:cubicBezTo>
                      <a:pt x="226" y="312"/>
                      <a:pt x="311" y="227"/>
                      <a:pt x="415" y="227"/>
                    </a:cubicBezTo>
                    <a:close/>
                  </a:path>
                </a:pathLst>
              </a:custGeom>
              <a:solidFill>
                <a:srgbClr val="CCCC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95" name="Group 82">
            <a:extLst>
              <a:ext uri="{FF2B5EF4-FFF2-40B4-BE49-F238E27FC236}">
                <a16:creationId xmlns:a16="http://schemas.microsoft.com/office/drawing/2014/main" id="{3DCBE370-459C-4777-A8F8-B4892CB17D95}"/>
              </a:ext>
            </a:extLst>
          </p:cNvPr>
          <p:cNvGrpSpPr/>
          <p:nvPr/>
        </p:nvGrpSpPr>
        <p:grpSpPr>
          <a:xfrm>
            <a:off x="6320661" y="3229858"/>
            <a:ext cx="735423" cy="1041262"/>
            <a:chOff x="734379" y="3537591"/>
            <a:chExt cx="900112" cy="1274440"/>
          </a:xfrm>
        </p:grpSpPr>
        <p:sp>
          <p:nvSpPr>
            <p:cNvPr id="96" name="Oval 95">
              <a:extLst>
                <a:ext uri="{FF2B5EF4-FFF2-40B4-BE49-F238E27FC236}">
                  <a16:creationId xmlns:a16="http://schemas.microsoft.com/office/drawing/2014/main" id="{FFA55F68-44F1-478E-A16E-15E68A6DDC7F}"/>
                </a:ext>
              </a:extLst>
            </p:cNvPr>
            <p:cNvSpPr/>
            <p:nvPr/>
          </p:nvSpPr>
          <p:spPr bwMode="auto">
            <a:xfrm>
              <a:off x="734379" y="4552965"/>
              <a:ext cx="900112" cy="259066"/>
            </a:xfrm>
            <a:prstGeom prst="ellipse">
              <a:avLst/>
            </a:prstGeom>
            <a:solidFill>
              <a:srgbClr val="333353"/>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ea typeface="Arial Unicode MS" panose="020B0604020202020204" pitchFamily="34" charset="-128"/>
                <a:cs typeface="Arial Unicode MS" panose="020B0604020202020204" pitchFamily="34" charset="-128"/>
              </a:endParaRPr>
            </a:p>
          </p:txBody>
        </p:sp>
        <p:grpSp>
          <p:nvGrpSpPr>
            <p:cNvPr id="97" name="Group 84">
              <a:extLst>
                <a:ext uri="{FF2B5EF4-FFF2-40B4-BE49-F238E27FC236}">
                  <a16:creationId xmlns:a16="http://schemas.microsoft.com/office/drawing/2014/main" id="{AD73D1D9-2B7C-45DD-949D-4E6AEA0850A4}"/>
                </a:ext>
              </a:extLst>
            </p:cNvPr>
            <p:cNvGrpSpPr/>
            <p:nvPr/>
          </p:nvGrpSpPr>
          <p:grpSpPr>
            <a:xfrm>
              <a:off x="794963" y="3537591"/>
              <a:ext cx="778943" cy="1131322"/>
              <a:chOff x="115998" y="4766494"/>
              <a:chExt cx="778943" cy="1131322"/>
            </a:xfrm>
          </p:grpSpPr>
          <p:sp>
            <p:nvSpPr>
              <p:cNvPr id="98" name="Oval 97">
                <a:extLst>
                  <a:ext uri="{FF2B5EF4-FFF2-40B4-BE49-F238E27FC236}">
                    <a16:creationId xmlns:a16="http://schemas.microsoft.com/office/drawing/2014/main" id="{B02A10CB-F786-40A3-9FCE-C992C605DCE3}"/>
                  </a:ext>
                </a:extLst>
              </p:cNvPr>
              <p:cNvSpPr/>
              <p:nvPr/>
            </p:nvSpPr>
            <p:spPr bwMode="auto">
              <a:xfrm>
                <a:off x="268923" y="4905416"/>
                <a:ext cx="495212" cy="495212"/>
              </a:xfrm>
              <a:prstGeom prst="ellipse">
                <a:avLst/>
              </a:prstGeom>
              <a:solidFill>
                <a:schemeClr val="accent6"/>
              </a:solidFill>
              <a:ln w="9525">
                <a:noFill/>
                <a:miter lim="800000"/>
                <a:headEnd/>
                <a:tailEnd/>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ea typeface="Arial Unicode MS" panose="020B0604020202020204" pitchFamily="34" charset="-128"/>
                  <a:cs typeface="Arial Unicode MS" panose="020B0604020202020204" pitchFamily="34" charset="-128"/>
                </a:endParaRPr>
              </a:p>
            </p:txBody>
          </p:sp>
          <p:sp>
            <p:nvSpPr>
              <p:cNvPr id="99" name="Freeform 26">
                <a:extLst>
                  <a:ext uri="{FF2B5EF4-FFF2-40B4-BE49-F238E27FC236}">
                    <a16:creationId xmlns:a16="http://schemas.microsoft.com/office/drawing/2014/main" id="{D596FD4C-93F5-4A10-AD0E-F8C01CEA7FEA}"/>
                  </a:ext>
                </a:extLst>
              </p:cNvPr>
              <p:cNvSpPr>
                <a:spLocks noEditPoints="1"/>
              </p:cNvSpPr>
              <p:nvPr/>
            </p:nvSpPr>
            <p:spPr bwMode="auto">
              <a:xfrm>
                <a:off x="115998" y="4766494"/>
                <a:ext cx="778943" cy="1131322"/>
              </a:xfrm>
              <a:custGeom>
                <a:avLst/>
                <a:gdLst>
                  <a:gd name="T0" fmla="*/ 415 w 831"/>
                  <a:gd name="T1" fmla="*/ 1210 h 1210"/>
                  <a:gd name="T2" fmla="*/ 771 w 831"/>
                  <a:gd name="T3" fmla="*/ 632 h 1210"/>
                  <a:gd name="T4" fmla="*/ 831 w 831"/>
                  <a:gd name="T5" fmla="*/ 416 h 1210"/>
                  <a:gd name="T6" fmla="*/ 415 w 831"/>
                  <a:gd name="T7" fmla="*/ 0 h 1210"/>
                  <a:gd name="T8" fmla="*/ 0 w 831"/>
                  <a:gd name="T9" fmla="*/ 416 h 1210"/>
                  <a:gd name="T10" fmla="*/ 60 w 831"/>
                  <a:gd name="T11" fmla="*/ 632 h 1210"/>
                  <a:gd name="T12" fmla="*/ 415 w 831"/>
                  <a:gd name="T13" fmla="*/ 1210 h 1210"/>
                  <a:gd name="T14" fmla="*/ 415 w 831"/>
                  <a:gd name="T15" fmla="*/ 227 h 1210"/>
                  <a:gd name="T16" fmla="*/ 604 w 831"/>
                  <a:gd name="T17" fmla="*/ 416 h 1210"/>
                  <a:gd name="T18" fmla="*/ 415 w 831"/>
                  <a:gd name="T19" fmla="*/ 605 h 1210"/>
                  <a:gd name="T20" fmla="*/ 226 w 831"/>
                  <a:gd name="T21" fmla="*/ 416 h 1210"/>
                  <a:gd name="T22" fmla="*/ 415 w 831"/>
                  <a:gd name="T23" fmla="*/ 227 h 1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1" h="1210">
                    <a:moveTo>
                      <a:pt x="415" y="1210"/>
                    </a:moveTo>
                    <a:cubicBezTo>
                      <a:pt x="771" y="632"/>
                      <a:pt x="771" y="632"/>
                      <a:pt x="771" y="632"/>
                    </a:cubicBezTo>
                    <a:cubicBezTo>
                      <a:pt x="809" y="569"/>
                      <a:pt x="831" y="495"/>
                      <a:pt x="831" y="416"/>
                    </a:cubicBezTo>
                    <a:cubicBezTo>
                      <a:pt x="831" y="186"/>
                      <a:pt x="645" y="0"/>
                      <a:pt x="415" y="0"/>
                    </a:cubicBezTo>
                    <a:cubicBezTo>
                      <a:pt x="186" y="0"/>
                      <a:pt x="0" y="186"/>
                      <a:pt x="0" y="416"/>
                    </a:cubicBezTo>
                    <a:cubicBezTo>
                      <a:pt x="0" y="495"/>
                      <a:pt x="22" y="569"/>
                      <a:pt x="60" y="632"/>
                    </a:cubicBezTo>
                    <a:lnTo>
                      <a:pt x="415" y="1210"/>
                    </a:lnTo>
                    <a:close/>
                    <a:moveTo>
                      <a:pt x="415" y="227"/>
                    </a:moveTo>
                    <a:cubicBezTo>
                      <a:pt x="520" y="227"/>
                      <a:pt x="604" y="312"/>
                      <a:pt x="604" y="416"/>
                    </a:cubicBezTo>
                    <a:cubicBezTo>
                      <a:pt x="604" y="520"/>
                      <a:pt x="520" y="605"/>
                      <a:pt x="415" y="605"/>
                    </a:cubicBezTo>
                    <a:cubicBezTo>
                      <a:pt x="311" y="605"/>
                      <a:pt x="226" y="520"/>
                      <a:pt x="226" y="416"/>
                    </a:cubicBezTo>
                    <a:cubicBezTo>
                      <a:pt x="226" y="312"/>
                      <a:pt x="311" y="227"/>
                      <a:pt x="415" y="227"/>
                    </a:cubicBezTo>
                    <a:close/>
                  </a:path>
                </a:pathLst>
              </a:custGeom>
              <a:solidFill>
                <a:srgbClr val="CCCC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00" name="Group 87">
            <a:extLst>
              <a:ext uri="{FF2B5EF4-FFF2-40B4-BE49-F238E27FC236}">
                <a16:creationId xmlns:a16="http://schemas.microsoft.com/office/drawing/2014/main" id="{8721C03A-FA30-4766-B786-0266FF9B0676}"/>
              </a:ext>
            </a:extLst>
          </p:cNvPr>
          <p:cNvGrpSpPr/>
          <p:nvPr/>
        </p:nvGrpSpPr>
        <p:grpSpPr>
          <a:xfrm>
            <a:off x="7305608" y="2629272"/>
            <a:ext cx="541778" cy="852272"/>
            <a:chOff x="805109" y="3537591"/>
            <a:chExt cx="778943" cy="1225360"/>
          </a:xfrm>
        </p:grpSpPr>
        <p:sp>
          <p:nvSpPr>
            <p:cNvPr id="101" name="Oval 100">
              <a:extLst>
                <a:ext uri="{FF2B5EF4-FFF2-40B4-BE49-F238E27FC236}">
                  <a16:creationId xmlns:a16="http://schemas.microsoft.com/office/drawing/2014/main" id="{920D29E7-D1D7-48D7-8F4F-D0B7EE26DCF0}"/>
                </a:ext>
              </a:extLst>
            </p:cNvPr>
            <p:cNvSpPr/>
            <p:nvPr/>
          </p:nvSpPr>
          <p:spPr bwMode="auto">
            <a:xfrm>
              <a:off x="915048" y="4602042"/>
              <a:ext cx="559066" cy="160909"/>
            </a:xfrm>
            <a:prstGeom prst="ellipse">
              <a:avLst/>
            </a:prstGeom>
            <a:solidFill>
              <a:srgbClr val="333353"/>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ea typeface="Arial Unicode MS" panose="020B0604020202020204" pitchFamily="34" charset="-128"/>
                <a:cs typeface="Arial Unicode MS" panose="020B0604020202020204" pitchFamily="34" charset="-128"/>
              </a:endParaRPr>
            </a:p>
          </p:txBody>
        </p:sp>
        <p:grpSp>
          <p:nvGrpSpPr>
            <p:cNvPr id="102" name="Group 89">
              <a:extLst>
                <a:ext uri="{FF2B5EF4-FFF2-40B4-BE49-F238E27FC236}">
                  <a16:creationId xmlns:a16="http://schemas.microsoft.com/office/drawing/2014/main" id="{9FC7D714-96F2-4D88-AF9E-05CB675100F6}"/>
                </a:ext>
              </a:extLst>
            </p:cNvPr>
            <p:cNvGrpSpPr/>
            <p:nvPr/>
          </p:nvGrpSpPr>
          <p:grpSpPr>
            <a:xfrm>
              <a:off x="805109" y="3537591"/>
              <a:ext cx="778943" cy="1131322"/>
              <a:chOff x="126144" y="4766494"/>
              <a:chExt cx="778943" cy="1131322"/>
            </a:xfrm>
          </p:grpSpPr>
          <p:sp>
            <p:nvSpPr>
              <p:cNvPr id="103" name="Oval 102">
                <a:extLst>
                  <a:ext uri="{FF2B5EF4-FFF2-40B4-BE49-F238E27FC236}">
                    <a16:creationId xmlns:a16="http://schemas.microsoft.com/office/drawing/2014/main" id="{76A2AE7B-6BB3-498C-BB57-E53DF543E4F9}"/>
                  </a:ext>
                </a:extLst>
              </p:cNvPr>
              <p:cNvSpPr/>
              <p:nvPr/>
            </p:nvSpPr>
            <p:spPr bwMode="auto">
              <a:xfrm>
                <a:off x="268923" y="4905416"/>
                <a:ext cx="495212" cy="495212"/>
              </a:xfrm>
              <a:prstGeom prst="ellipse">
                <a:avLst/>
              </a:prstGeom>
              <a:solidFill>
                <a:schemeClr val="accent6"/>
              </a:solidFill>
              <a:ln w="9525">
                <a:noFill/>
                <a:miter lim="800000"/>
                <a:headEnd/>
                <a:tailEnd/>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ea typeface="Arial Unicode MS" panose="020B0604020202020204" pitchFamily="34" charset="-128"/>
                  <a:cs typeface="Arial Unicode MS" panose="020B0604020202020204" pitchFamily="34" charset="-128"/>
                </a:endParaRPr>
              </a:p>
            </p:txBody>
          </p:sp>
          <p:sp>
            <p:nvSpPr>
              <p:cNvPr id="104" name="Freeform 26">
                <a:extLst>
                  <a:ext uri="{FF2B5EF4-FFF2-40B4-BE49-F238E27FC236}">
                    <a16:creationId xmlns:a16="http://schemas.microsoft.com/office/drawing/2014/main" id="{9B293583-5E55-4A26-9267-2F6F98FC98DE}"/>
                  </a:ext>
                </a:extLst>
              </p:cNvPr>
              <p:cNvSpPr>
                <a:spLocks noEditPoints="1"/>
              </p:cNvSpPr>
              <p:nvPr/>
            </p:nvSpPr>
            <p:spPr bwMode="auto">
              <a:xfrm>
                <a:off x="126144" y="4766494"/>
                <a:ext cx="778943" cy="1131322"/>
              </a:xfrm>
              <a:custGeom>
                <a:avLst/>
                <a:gdLst>
                  <a:gd name="T0" fmla="*/ 415 w 831"/>
                  <a:gd name="T1" fmla="*/ 1210 h 1210"/>
                  <a:gd name="T2" fmla="*/ 771 w 831"/>
                  <a:gd name="T3" fmla="*/ 632 h 1210"/>
                  <a:gd name="T4" fmla="*/ 831 w 831"/>
                  <a:gd name="T5" fmla="*/ 416 h 1210"/>
                  <a:gd name="T6" fmla="*/ 415 w 831"/>
                  <a:gd name="T7" fmla="*/ 0 h 1210"/>
                  <a:gd name="T8" fmla="*/ 0 w 831"/>
                  <a:gd name="T9" fmla="*/ 416 h 1210"/>
                  <a:gd name="T10" fmla="*/ 60 w 831"/>
                  <a:gd name="T11" fmla="*/ 632 h 1210"/>
                  <a:gd name="T12" fmla="*/ 415 w 831"/>
                  <a:gd name="T13" fmla="*/ 1210 h 1210"/>
                  <a:gd name="T14" fmla="*/ 415 w 831"/>
                  <a:gd name="T15" fmla="*/ 227 h 1210"/>
                  <a:gd name="T16" fmla="*/ 604 w 831"/>
                  <a:gd name="T17" fmla="*/ 416 h 1210"/>
                  <a:gd name="T18" fmla="*/ 415 w 831"/>
                  <a:gd name="T19" fmla="*/ 605 h 1210"/>
                  <a:gd name="T20" fmla="*/ 226 w 831"/>
                  <a:gd name="T21" fmla="*/ 416 h 1210"/>
                  <a:gd name="T22" fmla="*/ 415 w 831"/>
                  <a:gd name="T23" fmla="*/ 227 h 1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1" h="1210">
                    <a:moveTo>
                      <a:pt x="415" y="1210"/>
                    </a:moveTo>
                    <a:cubicBezTo>
                      <a:pt x="771" y="632"/>
                      <a:pt x="771" y="632"/>
                      <a:pt x="771" y="632"/>
                    </a:cubicBezTo>
                    <a:cubicBezTo>
                      <a:pt x="809" y="569"/>
                      <a:pt x="831" y="495"/>
                      <a:pt x="831" y="416"/>
                    </a:cubicBezTo>
                    <a:cubicBezTo>
                      <a:pt x="831" y="186"/>
                      <a:pt x="645" y="0"/>
                      <a:pt x="415" y="0"/>
                    </a:cubicBezTo>
                    <a:cubicBezTo>
                      <a:pt x="186" y="0"/>
                      <a:pt x="0" y="186"/>
                      <a:pt x="0" y="416"/>
                    </a:cubicBezTo>
                    <a:cubicBezTo>
                      <a:pt x="0" y="495"/>
                      <a:pt x="22" y="569"/>
                      <a:pt x="60" y="632"/>
                    </a:cubicBezTo>
                    <a:lnTo>
                      <a:pt x="415" y="1210"/>
                    </a:lnTo>
                    <a:close/>
                    <a:moveTo>
                      <a:pt x="415" y="227"/>
                    </a:moveTo>
                    <a:cubicBezTo>
                      <a:pt x="520" y="227"/>
                      <a:pt x="604" y="312"/>
                      <a:pt x="604" y="416"/>
                    </a:cubicBezTo>
                    <a:cubicBezTo>
                      <a:pt x="604" y="520"/>
                      <a:pt x="520" y="605"/>
                      <a:pt x="415" y="605"/>
                    </a:cubicBezTo>
                    <a:cubicBezTo>
                      <a:pt x="311" y="605"/>
                      <a:pt x="226" y="520"/>
                      <a:pt x="226" y="416"/>
                    </a:cubicBezTo>
                    <a:cubicBezTo>
                      <a:pt x="226" y="312"/>
                      <a:pt x="311" y="227"/>
                      <a:pt x="415" y="227"/>
                    </a:cubicBezTo>
                    <a:close/>
                  </a:path>
                </a:pathLst>
              </a:custGeom>
              <a:solidFill>
                <a:srgbClr val="9999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05" name="Group 92">
            <a:extLst>
              <a:ext uri="{FF2B5EF4-FFF2-40B4-BE49-F238E27FC236}">
                <a16:creationId xmlns:a16="http://schemas.microsoft.com/office/drawing/2014/main" id="{FDC82DF8-01BD-4578-8B64-F9BCAF7E056F}"/>
              </a:ext>
            </a:extLst>
          </p:cNvPr>
          <p:cNvGrpSpPr/>
          <p:nvPr/>
        </p:nvGrpSpPr>
        <p:grpSpPr>
          <a:xfrm>
            <a:off x="9315543" y="2693848"/>
            <a:ext cx="541778" cy="852272"/>
            <a:chOff x="805109" y="3537591"/>
            <a:chExt cx="778943" cy="1225360"/>
          </a:xfrm>
        </p:grpSpPr>
        <p:sp>
          <p:nvSpPr>
            <p:cNvPr id="106" name="Oval 105">
              <a:extLst>
                <a:ext uri="{FF2B5EF4-FFF2-40B4-BE49-F238E27FC236}">
                  <a16:creationId xmlns:a16="http://schemas.microsoft.com/office/drawing/2014/main" id="{85D07D04-820B-4041-A5B2-797650B8AA01}"/>
                </a:ext>
              </a:extLst>
            </p:cNvPr>
            <p:cNvSpPr/>
            <p:nvPr/>
          </p:nvSpPr>
          <p:spPr bwMode="auto">
            <a:xfrm>
              <a:off x="915048" y="4602042"/>
              <a:ext cx="559066" cy="160909"/>
            </a:xfrm>
            <a:prstGeom prst="ellipse">
              <a:avLst/>
            </a:prstGeom>
            <a:solidFill>
              <a:srgbClr val="333353"/>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ea typeface="Arial Unicode MS" panose="020B0604020202020204" pitchFamily="34" charset="-128"/>
                <a:cs typeface="Arial Unicode MS" panose="020B0604020202020204" pitchFamily="34" charset="-128"/>
              </a:endParaRPr>
            </a:p>
          </p:txBody>
        </p:sp>
        <p:grpSp>
          <p:nvGrpSpPr>
            <p:cNvPr id="107" name="Group 94">
              <a:extLst>
                <a:ext uri="{FF2B5EF4-FFF2-40B4-BE49-F238E27FC236}">
                  <a16:creationId xmlns:a16="http://schemas.microsoft.com/office/drawing/2014/main" id="{9E933FF4-2C07-4554-9635-B8B32E61FFB1}"/>
                </a:ext>
              </a:extLst>
            </p:cNvPr>
            <p:cNvGrpSpPr/>
            <p:nvPr/>
          </p:nvGrpSpPr>
          <p:grpSpPr>
            <a:xfrm>
              <a:off x="805109" y="3537591"/>
              <a:ext cx="778943" cy="1131322"/>
              <a:chOff x="126144" y="4766494"/>
              <a:chExt cx="778943" cy="1131322"/>
            </a:xfrm>
          </p:grpSpPr>
          <p:sp>
            <p:nvSpPr>
              <p:cNvPr id="108" name="Oval 107">
                <a:extLst>
                  <a:ext uri="{FF2B5EF4-FFF2-40B4-BE49-F238E27FC236}">
                    <a16:creationId xmlns:a16="http://schemas.microsoft.com/office/drawing/2014/main" id="{18D31875-C177-4CB2-A304-65AE10EEF121}"/>
                  </a:ext>
                </a:extLst>
              </p:cNvPr>
              <p:cNvSpPr/>
              <p:nvPr/>
            </p:nvSpPr>
            <p:spPr bwMode="auto">
              <a:xfrm>
                <a:off x="268923" y="4905416"/>
                <a:ext cx="495212" cy="495212"/>
              </a:xfrm>
              <a:prstGeom prst="ellipse">
                <a:avLst/>
              </a:prstGeom>
              <a:solidFill>
                <a:schemeClr val="accent6"/>
              </a:solidFill>
              <a:ln w="9525">
                <a:noFill/>
                <a:miter lim="800000"/>
                <a:headEnd/>
                <a:tailEnd/>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ea typeface="Arial Unicode MS" panose="020B0604020202020204" pitchFamily="34" charset="-128"/>
                  <a:cs typeface="Arial Unicode MS" panose="020B0604020202020204" pitchFamily="34" charset="-128"/>
                </a:endParaRPr>
              </a:p>
            </p:txBody>
          </p:sp>
          <p:sp>
            <p:nvSpPr>
              <p:cNvPr id="109" name="Freeform 26">
                <a:extLst>
                  <a:ext uri="{FF2B5EF4-FFF2-40B4-BE49-F238E27FC236}">
                    <a16:creationId xmlns:a16="http://schemas.microsoft.com/office/drawing/2014/main" id="{B26F2613-3130-43B0-8E5C-C4EEAB0B234D}"/>
                  </a:ext>
                </a:extLst>
              </p:cNvPr>
              <p:cNvSpPr>
                <a:spLocks noEditPoints="1"/>
              </p:cNvSpPr>
              <p:nvPr/>
            </p:nvSpPr>
            <p:spPr bwMode="auto">
              <a:xfrm>
                <a:off x="126144" y="4766494"/>
                <a:ext cx="778943" cy="1131322"/>
              </a:xfrm>
              <a:custGeom>
                <a:avLst/>
                <a:gdLst>
                  <a:gd name="T0" fmla="*/ 415 w 831"/>
                  <a:gd name="T1" fmla="*/ 1210 h 1210"/>
                  <a:gd name="T2" fmla="*/ 771 w 831"/>
                  <a:gd name="T3" fmla="*/ 632 h 1210"/>
                  <a:gd name="T4" fmla="*/ 831 w 831"/>
                  <a:gd name="T5" fmla="*/ 416 h 1210"/>
                  <a:gd name="T6" fmla="*/ 415 w 831"/>
                  <a:gd name="T7" fmla="*/ 0 h 1210"/>
                  <a:gd name="T8" fmla="*/ 0 w 831"/>
                  <a:gd name="T9" fmla="*/ 416 h 1210"/>
                  <a:gd name="T10" fmla="*/ 60 w 831"/>
                  <a:gd name="T11" fmla="*/ 632 h 1210"/>
                  <a:gd name="T12" fmla="*/ 415 w 831"/>
                  <a:gd name="T13" fmla="*/ 1210 h 1210"/>
                  <a:gd name="T14" fmla="*/ 415 w 831"/>
                  <a:gd name="T15" fmla="*/ 227 h 1210"/>
                  <a:gd name="T16" fmla="*/ 604 w 831"/>
                  <a:gd name="T17" fmla="*/ 416 h 1210"/>
                  <a:gd name="T18" fmla="*/ 415 w 831"/>
                  <a:gd name="T19" fmla="*/ 605 h 1210"/>
                  <a:gd name="T20" fmla="*/ 226 w 831"/>
                  <a:gd name="T21" fmla="*/ 416 h 1210"/>
                  <a:gd name="T22" fmla="*/ 415 w 831"/>
                  <a:gd name="T23" fmla="*/ 227 h 1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1" h="1210">
                    <a:moveTo>
                      <a:pt x="415" y="1210"/>
                    </a:moveTo>
                    <a:cubicBezTo>
                      <a:pt x="771" y="632"/>
                      <a:pt x="771" y="632"/>
                      <a:pt x="771" y="632"/>
                    </a:cubicBezTo>
                    <a:cubicBezTo>
                      <a:pt x="809" y="569"/>
                      <a:pt x="831" y="495"/>
                      <a:pt x="831" y="416"/>
                    </a:cubicBezTo>
                    <a:cubicBezTo>
                      <a:pt x="831" y="186"/>
                      <a:pt x="645" y="0"/>
                      <a:pt x="415" y="0"/>
                    </a:cubicBezTo>
                    <a:cubicBezTo>
                      <a:pt x="186" y="0"/>
                      <a:pt x="0" y="186"/>
                      <a:pt x="0" y="416"/>
                    </a:cubicBezTo>
                    <a:cubicBezTo>
                      <a:pt x="0" y="495"/>
                      <a:pt x="22" y="569"/>
                      <a:pt x="60" y="632"/>
                    </a:cubicBezTo>
                    <a:lnTo>
                      <a:pt x="415" y="1210"/>
                    </a:lnTo>
                    <a:close/>
                    <a:moveTo>
                      <a:pt x="415" y="227"/>
                    </a:moveTo>
                    <a:cubicBezTo>
                      <a:pt x="520" y="227"/>
                      <a:pt x="604" y="312"/>
                      <a:pt x="604" y="416"/>
                    </a:cubicBezTo>
                    <a:cubicBezTo>
                      <a:pt x="604" y="520"/>
                      <a:pt x="520" y="605"/>
                      <a:pt x="415" y="605"/>
                    </a:cubicBezTo>
                    <a:cubicBezTo>
                      <a:pt x="311" y="605"/>
                      <a:pt x="226" y="520"/>
                      <a:pt x="226" y="416"/>
                    </a:cubicBezTo>
                    <a:cubicBezTo>
                      <a:pt x="226" y="312"/>
                      <a:pt x="311" y="227"/>
                      <a:pt x="415" y="227"/>
                    </a:cubicBezTo>
                    <a:close/>
                  </a:path>
                </a:pathLst>
              </a:custGeom>
              <a:solidFill>
                <a:srgbClr val="9999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10" name="Group 97">
            <a:extLst>
              <a:ext uri="{FF2B5EF4-FFF2-40B4-BE49-F238E27FC236}">
                <a16:creationId xmlns:a16="http://schemas.microsoft.com/office/drawing/2014/main" id="{17C4C33B-00D4-4FCD-A855-C3AFEB5AEBB7}"/>
              </a:ext>
            </a:extLst>
          </p:cNvPr>
          <p:cNvGrpSpPr/>
          <p:nvPr/>
        </p:nvGrpSpPr>
        <p:grpSpPr>
          <a:xfrm>
            <a:off x="9719593" y="1686737"/>
            <a:ext cx="318572" cy="501146"/>
            <a:chOff x="805109" y="3537591"/>
            <a:chExt cx="778943" cy="1225360"/>
          </a:xfrm>
        </p:grpSpPr>
        <p:sp>
          <p:nvSpPr>
            <p:cNvPr id="111" name="Oval 110">
              <a:extLst>
                <a:ext uri="{FF2B5EF4-FFF2-40B4-BE49-F238E27FC236}">
                  <a16:creationId xmlns:a16="http://schemas.microsoft.com/office/drawing/2014/main" id="{2C87E847-9A72-449C-A8E0-59AB2DA1197F}"/>
                </a:ext>
              </a:extLst>
            </p:cNvPr>
            <p:cNvSpPr/>
            <p:nvPr/>
          </p:nvSpPr>
          <p:spPr bwMode="auto">
            <a:xfrm>
              <a:off x="915048" y="4602043"/>
              <a:ext cx="559067" cy="160908"/>
            </a:xfrm>
            <a:prstGeom prst="ellipse">
              <a:avLst/>
            </a:prstGeom>
            <a:solidFill>
              <a:srgbClr val="333353"/>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ea typeface="Arial Unicode MS" panose="020B0604020202020204" pitchFamily="34" charset="-128"/>
                <a:cs typeface="Arial Unicode MS" panose="020B0604020202020204" pitchFamily="34" charset="-128"/>
              </a:endParaRPr>
            </a:p>
          </p:txBody>
        </p:sp>
        <p:grpSp>
          <p:nvGrpSpPr>
            <p:cNvPr id="112" name="Group 99">
              <a:extLst>
                <a:ext uri="{FF2B5EF4-FFF2-40B4-BE49-F238E27FC236}">
                  <a16:creationId xmlns:a16="http://schemas.microsoft.com/office/drawing/2014/main" id="{03DBD9F6-9D9F-4D23-BF22-D6CCD7B70BD9}"/>
                </a:ext>
              </a:extLst>
            </p:cNvPr>
            <p:cNvGrpSpPr/>
            <p:nvPr/>
          </p:nvGrpSpPr>
          <p:grpSpPr>
            <a:xfrm>
              <a:off x="805109" y="3537591"/>
              <a:ext cx="778943" cy="1131322"/>
              <a:chOff x="126144" y="4766494"/>
              <a:chExt cx="778943" cy="1131322"/>
            </a:xfrm>
          </p:grpSpPr>
          <p:sp>
            <p:nvSpPr>
              <p:cNvPr id="113" name="Oval 112">
                <a:extLst>
                  <a:ext uri="{FF2B5EF4-FFF2-40B4-BE49-F238E27FC236}">
                    <a16:creationId xmlns:a16="http://schemas.microsoft.com/office/drawing/2014/main" id="{BD94EF6D-BFBC-4817-ADB6-F62058127BE5}"/>
                  </a:ext>
                </a:extLst>
              </p:cNvPr>
              <p:cNvSpPr/>
              <p:nvPr/>
            </p:nvSpPr>
            <p:spPr bwMode="auto">
              <a:xfrm>
                <a:off x="268923" y="4905416"/>
                <a:ext cx="495212" cy="495212"/>
              </a:xfrm>
              <a:prstGeom prst="ellipse">
                <a:avLst/>
              </a:prstGeom>
              <a:solidFill>
                <a:schemeClr val="accent6"/>
              </a:solidFill>
              <a:ln w="9525">
                <a:noFill/>
                <a:miter lim="800000"/>
                <a:headEnd/>
                <a:tailEnd/>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ea typeface="Arial Unicode MS" panose="020B0604020202020204" pitchFamily="34" charset="-128"/>
                  <a:cs typeface="Arial Unicode MS" panose="020B0604020202020204" pitchFamily="34" charset="-128"/>
                </a:endParaRPr>
              </a:p>
            </p:txBody>
          </p:sp>
          <p:sp>
            <p:nvSpPr>
              <p:cNvPr id="114" name="Freeform 26">
                <a:extLst>
                  <a:ext uri="{FF2B5EF4-FFF2-40B4-BE49-F238E27FC236}">
                    <a16:creationId xmlns:a16="http://schemas.microsoft.com/office/drawing/2014/main" id="{5E02A2A8-D34B-49D9-8346-D0E57A29160A}"/>
                  </a:ext>
                </a:extLst>
              </p:cNvPr>
              <p:cNvSpPr>
                <a:spLocks noEditPoints="1"/>
              </p:cNvSpPr>
              <p:nvPr/>
            </p:nvSpPr>
            <p:spPr bwMode="auto">
              <a:xfrm>
                <a:off x="126144" y="4766494"/>
                <a:ext cx="778943" cy="1131322"/>
              </a:xfrm>
              <a:custGeom>
                <a:avLst/>
                <a:gdLst>
                  <a:gd name="T0" fmla="*/ 415 w 831"/>
                  <a:gd name="T1" fmla="*/ 1210 h 1210"/>
                  <a:gd name="T2" fmla="*/ 771 w 831"/>
                  <a:gd name="T3" fmla="*/ 632 h 1210"/>
                  <a:gd name="T4" fmla="*/ 831 w 831"/>
                  <a:gd name="T5" fmla="*/ 416 h 1210"/>
                  <a:gd name="T6" fmla="*/ 415 w 831"/>
                  <a:gd name="T7" fmla="*/ 0 h 1210"/>
                  <a:gd name="T8" fmla="*/ 0 w 831"/>
                  <a:gd name="T9" fmla="*/ 416 h 1210"/>
                  <a:gd name="T10" fmla="*/ 60 w 831"/>
                  <a:gd name="T11" fmla="*/ 632 h 1210"/>
                  <a:gd name="T12" fmla="*/ 415 w 831"/>
                  <a:gd name="T13" fmla="*/ 1210 h 1210"/>
                  <a:gd name="T14" fmla="*/ 415 w 831"/>
                  <a:gd name="T15" fmla="*/ 227 h 1210"/>
                  <a:gd name="T16" fmla="*/ 604 w 831"/>
                  <a:gd name="T17" fmla="*/ 416 h 1210"/>
                  <a:gd name="T18" fmla="*/ 415 w 831"/>
                  <a:gd name="T19" fmla="*/ 605 h 1210"/>
                  <a:gd name="T20" fmla="*/ 226 w 831"/>
                  <a:gd name="T21" fmla="*/ 416 h 1210"/>
                  <a:gd name="T22" fmla="*/ 415 w 831"/>
                  <a:gd name="T23" fmla="*/ 227 h 1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1" h="1210">
                    <a:moveTo>
                      <a:pt x="415" y="1210"/>
                    </a:moveTo>
                    <a:cubicBezTo>
                      <a:pt x="771" y="632"/>
                      <a:pt x="771" y="632"/>
                      <a:pt x="771" y="632"/>
                    </a:cubicBezTo>
                    <a:cubicBezTo>
                      <a:pt x="809" y="569"/>
                      <a:pt x="831" y="495"/>
                      <a:pt x="831" y="416"/>
                    </a:cubicBezTo>
                    <a:cubicBezTo>
                      <a:pt x="831" y="186"/>
                      <a:pt x="645" y="0"/>
                      <a:pt x="415" y="0"/>
                    </a:cubicBezTo>
                    <a:cubicBezTo>
                      <a:pt x="186" y="0"/>
                      <a:pt x="0" y="186"/>
                      <a:pt x="0" y="416"/>
                    </a:cubicBezTo>
                    <a:cubicBezTo>
                      <a:pt x="0" y="495"/>
                      <a:pt x="22" y="569"/>
                      <a:pt x="60" y="632"/>
                    </a:cubicBezTo>
                    <a:lnTo>
                      <a:pt x="415" y="1210"/>
                    </a:lnTo>
                    <a:close/>
                    <a:moveTo>
                      <a:pt x="415" y="227"/>
                    </a:moveTo>
                    <a:cubicBezTo>
                      <a:pt x="520" y="227"/>
                      <a:pt x="604" y="312"/>
                      <a:pt x="604" y="416"/>
                    </a:cubicBezTo>
                    <a:cubicBezTo>
                      <a:pt x="604" y="520"/>
                      <a:pt x="520" y="605"/>
                      <a:pt x="415" y="605"/>
                    </a:cubicBezTo>
                    <a:cubicBezTo>
                      <a:pt x="311" y="605"/>
                      <a:pt x="226" y="520"/>
                      <a:pt x="226" y="416"/>
                    </a:cubicBezTo>
                    <a:cubicBezTo>
                      <a:pt x="226" y="312"/>
                      <a:pt x="311" y="227"/>
                      <a:pt x="415" y="227"/>
                    </a:cubicBezTo>
                    <a:close/>
                  </a:path>
                </a:pathLst>
              </a:custGeom>
              <a:solidFill>
                <a:srgbClr val="6666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15" name="Group 102">
            <a:extLst>
              <a:ext uri="{FF2B5EF4-FFF2-40B4-BE49-F238E27FC236}">
                <a16:creationId xmlns:a16="http://schemas.microsoft.com/office/drawing/2014/main" id="{E6D3AA5F-1E26-4B33-88AC-B5E6F061AEC9}"/>
              </a:ext>
            </a:extLst>
          </p:cNvPr>
          <p:cNvGrpSpPr/>
          <p:nvPr/>
        </p:nvGrpSpPr>
        <p:grpSpPr>
          <a:xfrm>
            <a:off x="10667880" y="2134296"/>
            <a:ext cx="318572" cy="501146"/>
            <a:chOff x="805109" y="3537591"/>
            <a:chExt cx="778943" cy="1225360"/>
          </a:xfrm>
        </p:grpSpPr>
        <p:sp>
          <p:nvSpPr>
            <p:cNvPr id="116" name="Oval 115">
              <a:extLst>
                <a:ext uri="{FF2B5EF4-FFF2-40B4-BE49-F238E27FC236}">
                  <a16:creationId xmlns:a16="http://schemas.microsoft.com/office/drawing/2014/main" id="{AE068974-7E31-4D76-8AD7-6E10F48CA41F}"/>
                </a:ext>
              </a:extLst>
            </p:cNvPr>
            <p:cNvSpPr/>
            <p:nvPr/>
          </p:nvSpPr>
          <p:spPr bwMode="auto">
            <a:xfrm>
              <a:off x="915048" y="4602043"/>
              <a:ext cx="559067" cy="160908"/>
            </a:xfrm>
            <a:prstGeom prst="ellipse">
              <a:avLst/>
            </a:prstGeom>
            <a:solidFill>
              <a:srgbClr val="333353"/>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ea typeface="Arial Unicode MS" panose="020B0604020202020204" pitchFamily="34" charset="-128"/>
                <a:cs typeface="Arial Unicode MS" panose="020B0604020202020204" pitchFamily="34" charset="-128"/>
              </a:endParaRPr>
            </a:p>
          </p:txBody>
        </p:sp>
        <p:grpSp>
          <p:nvGrpSpPr>
            <p:cNvPr id="117" name="Group 104">
              <a:extLst>
                <a:ext uri="{FF2B5EF4-FFF2-40B4-BE49-F238E27FC236}">
                  <a16:creationId xmlns:a16="http://schemas.microsoft.com/office/drawing/2014/main" id="{247D9429-2169-4F1A-9695-53607BBDE8B3}"/>
                </a:ext>
              </a:extLst>
            </p:cNvPr>
            <p:cNvGrpSpPr/>
            <p:nvPr/>
          </p:nvGrpSpPr>
          <p:grpSpPr>
            <a:xfrm>
              <a:off x="805109" y="3537591"/>
              <a:ext cx="778943" cy="1131322"/>
              <a:chOff x="126144" y="4766494"/>
              <a:chExt cx="778943" cy="1131322"/>
            </a:xfrm>
          </p:grpSpPr>
          <p:sp>
            <p:nvSpPr>
              <p:cNvPr id="118" name="Oval 117">
                <a:extLst>
                  <a:ext uri="{FF2B5EF4-FFF2-40B4-BE49-F238E27FC236}">
                    <a16:creationId xmlns:a16="http://schemas.microsoft.com/office/drawing/2014/main" id="{1C534355-D89D-4B00-B7A4-8F24EE2BADC3}"/>
                  </a:ext>
                </a:extLst>
              </p:cNvPr>
              <p:cNvSpPr/>
              <p:nvPr/>
            </p:nvSpPr>
            <p:spPr bwMode="auto">
              <a:xfrm>
                <a:off x="268923" y="4905416"/>
                <a:ext cx="495212" cy="495212"/>
              </a:xfrm>
              <a:prstGeom prst="ellipse">
                <a:avLst/>
              </a:prstGeom>
              <a:solidFill>
                <a:schemeClr val="accent6"/>
              </a:solidFill>
              <a:ln w="9525">
                <a:noFill/>
                <a:miter lim="800000"/>
                <a:headEnd/>
                <a:tailEnd/>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ea typeface="Arial Unicode MS" panose="020B0604020202020204" pitchFamily="34" charset="-128"/>
                  <a:cs typeface="Arial Unicode MS" panose="020B0604020202020204" pitchFamily="34" charset="-128"/>
                </a:endParaRPr>
              </a:p>
            </p:txBody>
          </p:sp>
          <p:sp>
            <p:nvSpPr>
              <p:cNvPr id="119" name="Freeform 26">
                <a:extLst>
                  <a:ext uri="{FF2B5EF4-FFF2-40B4-BE49-F238E27FC236}">
                    <a16:creationId xmlns:a16="http://schemas.microsoft.com/office/drawing/2014/main" id="{AD155BF2-152B-452D-8DA1-E6673C68CEC0}"/>
                  </a:ext>
                </a:extLst>
              </p:cNvPr>
              <p:cNvSpPr>
                <a:spLocks noEditPoints="1"/>
              </p:cNvSpPr>
              <p:nvPr/>
            </p:nvSpPr>
            <p:spPr bwMode="auto">
              <a:xfrm>
                <a:off x="126144" y="4766494"/>
                <a:ext cx="778943" cy="1131322"/>
              </a:xfrm>
              <a:custGeom>
                <a:avLst/>
                <a:gdLst>
                  <a:gd name="T0" fmla="*/ 415 w 831"/>
                  <a:gd name="T1" fmla="*/ 1210 h 1210"/>
                  <a:gd name="T2" fmla="*/ 771 w 831"/>
                  <a:gd name="T3" fmla="*/ 632 h 1210"/>
                  <a:gd name="T4" fmla="*/ 831 w 831"/>
                  <a:gd name="T5" fmla="*/ 416 h 1210"/>
                  <a:gd name="T6" fmla="*/ 415 w 831"/>
                  <a:gd name="T7" fmla="*/ 0 h 1210"/>
                  <a:gd name="T8" fmla="*/ 0 w 831"/>
                  <a:gd name="T9" fmla="*/ 416 h 1210"/>
                  <a:gd name="T10" fmla="*/ 60 w 831"/>
                  <a:gd name="T11" fmla="*/ 632 h 1210"/>
                  <a:gd name="T12" fmla="*/ 415 w 831"/>
                  <a:gd name="T13" fmla="*/ 1210 h 1210"/>
                  <a:gd name="T14" fmla="*/ 415 w 831"/>
                  <a:gd name="T15" fmla="*/ 227 h 1210"/>
                  <a:gd name="T16" fmla="*/ 604 w 831"/>
                  <a:gd name="T17" fmla="*/ 416 h 1210"/>
                  <a:gd name="T18" fmla="*/ 415 w 831"/>
                  <a:gd name="T19" fmla="*/ 605 h 1210"/>
                  <a:gd name="T20" fmla="*/ 226 w 831"/>
                  <a:gd name="T21" fmla="*/ 416 h 1210"/>
                  <a:gd name="T22" fmla="*/ 415 w 831"/>
                  <a:gd name="T23" fmla="*/ 227 h 1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1" h="1210">
                    <a:moveTo>
                      <a:pt x="415" y="1210"/>
                    </a:moveTo>
                    <a:cubicBezTo>
                      <a:pt x="771" y="632"/>
                      <a:pt x="771" y="632"/>
                      <a:pt x="771" y="632"/>
                    </a:cubicBezTo>
                    <a:cubicBezTo>
                      <a:pt x="809" y="569"/>
                      <a:pt x="831" y="495"/>
                      <a:pt x="831" y="416"/>
                    </a:cubicBezTo>
                    <a:cubicBezTo>
                      <a:pt x="831" y="186"/>
                      <a:pt x="645" y="0"/>
                      <a:pt x="415" y="0"/>
                    </a:cubicBezTo>
                    <a:cubicBezTo>
                      <a:pt x="186" y="0"/>
                      <a:pt x="0" y="186"/>
                      <a:pt x="0" y="416"/>
                    </a:cubicBezTo>
                    <a:cubicBezTo>
                      <a:pt x="0" y="495"/>
                      <a:pt x="22" y="569"/>
                      <a:pt x="60" y="632"/>
                    </a:cubicBezTo>
                    <a:lnTo>
                      <a:pt x="415" y="1210"/>
                    </a:lnTo>
                    <a:close/>
                    <a:moveTo>
                      <a:pt x="415" y="227"/>
                    </a:moveTo>
                    <a:cubicBezTo>
                      <a:pt x="520" y="227"/>
                      <a:pt x="604" y="312"/>
                      <a:pt x="604" y="416"/>
                    </a:cubicBezTo>
                    <a:cubicBezTo>
                      <a:pt x="604" y="520"/>
                      <a:pt x="520" y="605"/>
                      <a:pt x="415" y="605"/>
                    </a:cubicBezTo>
                    <a:cubicBezTo>
                      <a:pt x="311" y="605"/>
                      <a:pt x="226" y="520"/>
                      <a:pt x="226" y="416"/>
                    </a:cubicBezTo>
                    <a:cubicBezTo>
                      <a:pt x="226" y="312"/>
                      <a:pt x="311" y="227"/>
                      <a:pt x="415" y="227"/>
                    </a:cubicBezTo>
                    <a:close/>
                  </a:path>
                </a:pathLst>
              </a:custGeom>
              <a:solidFill>
                <a:srgbClr val="6666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397673600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ee diagram (vertical)</a:t>
            </a:r>
          </a:p>
        </p:txBody>
      </p:sp>
      <p:sp>
        <p:nvSpPr>
          <p:cNvPr id="4" name="Rechteck 3"/>
          <p:cNvSpPr>
            <a:spLocks/>
          </p:cNvSpPr>
          <p:nvPr/>
        </p:nvSpPr>
        <p:spPr>
          <a:xfrm>
            <a:off x="5198400" y="1415849"/>
            <a:ext cx="1799063" cy="899531"/>
          </a:xfrm>
          <a:prstGeom prst="rect">
            <a:avLst/>
          </a:prstGeom>
          <a:solidFill>
            <a:srgbClr val="00FFB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107944"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599" b="1" dirty="0">
                <a:solidFill>
                  <a:schemeClr val="tx2"/>
                </a:solidFill>
              </a:rPr>
              <a:t>At vero eos et accusam</a:t>
            </a:r>
          </a:p>
        </p:txBody>
      </p:sp>
      <p:sp>
        <p:nvSpPr>
          <p:cNvPr id="84" name="Rechteck 3"/>
          <p:cNvSpPr>
            <a:spLocks/>
          </p:cNvSpPr>
          <p:nvPr/>
        </p:nvSpPr>
        <p:spPr>
          <a:xfrm>
            <a:off x="1922400" y="2818800"/>
            <a:ext cx="1799063" cy="899531"/>
          </a:xfrm>
          <a:prstGeom prst="rect">
            <a:avLst/>
          </a:prstGeom>
          <a:solidFill>
            <a:srgbClr val="00646E"/>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107944"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599" b="1" dirty="0">
                <a:solidFill>
                  <a:schemeClr val="bg1"/>
                </a:solidFill>
              </a:rPr>
              <a:t>Duis arcu tortor</a:t>
            </a:r>
          </a:p>
        </p:txBody>
      </p:sp>
      <p:sp>
        <p:nvSpPr>
          <p:cNvPr id="101" name="Text Box 3"/>
          <p:cNvSpPr txBox="1">
            <a:spLocks noChangeArrowheads="1"/>
          </p:cNvSpPr>
          <p:nvPr>
            <p:custDataLst>
              <p:tags r:id="rId1"/>
            </p:custDataLst>
          </p:nvPr>
        </p:nvSpPr>
        <p:spPr bwMode="auto">
          <a:xfrm>
            <a:off x="1922400" y="3718799"/>
            <a:ext cx="1799063" cy="2448000"/>
          </a:xfrm>
          <a:prstGeom prst="rect">
            <a:avLst/>
          </a:prstGeom>
          <a:noFill/>
          <a:ln w="12700">
            <a:noFill/>
          </a:ln>
          <a:effectLst/>
        </p:spPr>
        <p:txBody>
          <a:bodyPr lIns="0" tIns="108000" rIns="0" bIns="0">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180000" indent="-180000" defTabSz="913943" eaLnBrk="1" hangingPunct="1">
              <a:spcBef>
                <a:spcPts val="300"/>
              </a:spcBef>
              <a:buClr>
                <a:srgbClr val="009999"/>
              </a:buClr>
              <a:buSzPct val="100000"/>
              <a:buFont typeface="Arial" pitchFamily="34" charset="0"/>
              <a:buChar char="•"/>
              <a:defRPr/>
            </a:pPr>
            <a:r>
              <a:rPr lang="en-US" sz="1399" dirty="0">
                <a:solidFill>
                  <a:srgbClr val="66667E"/>
                </a:solidFill>
                <a:latin typeface="+mn-lt"/>
              </a:rPr>
              <a:t>Consetetur sadipscing elitr, seddiam nonumy</a:t>
            </a:r>
          </a:p>
        </p:txBody>
      </p:sp>
      <p:sp>
        <p:nvSpPr>
          <p:cNvPr id="20" name="Rechteck 3"/>
          <p:cNvSpPr>
            <a:spLocks/>
          </p:cNvSpPr>
          <p:nvPr/>
        </p:nvSpPr>
        <p:spPr>
          <a:xfrm>
            <a:off x="5198400" y="2818800"/>
            <a:ext cx="1799063" cy="899531"/>
          </a:xfrm>
          <a:prstGeom prst="rect">
            <a:avLst/>
          </a:prstGeom>
          <a:solidFill>
            <a:srgbClr val="00646E"/>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107944"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599" b="1" dirty="0">
                <a:solidFill>
                  <a:schemeClr val="bg1"/>
                </a:solidFill>
              </a:rPr>
              <a:t>Phasellus nec sem</a:t>
            </a:r>
          </a:p>
        </p:txBody>
      </p:sp>
      <p:sp>
        <p:nvSpPr>
          <p:cNvPr id="21" name="Rechteck 3"/>
          <p:cNvSpPr>
            <a:spLocks/>
          </p:cNvSpPr>
          <p:nvPr/>
        </p:nvSpPr>
        <p:spPr>
          <a:xfrm>
            <a:off x="8474400" y="2818800"/>
            <a:ext cx="1799063" cy="899531"/>
          </a:xfrm>
          <a:prstGeom prst="rect">
            <a:avLst/>
          </a:prstGeom>
          <a:solidFill>
            <a:srgbClr val="00646E"/>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107944"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599" b="1" dirty="0">
                <a:solidFill>
                  <a:schemeClr val="bg1"/>
                </a:solidFill>
              </a:rPr>
              <a:t>Maecenas nec odio</a:t>
            </a:r>
          </a:p>
        </p:txBody>
      </p:sp>
      <p:cxnSp>
        <p:nvCxnSpPr>
          <p:cNvPr id="11" name="Straight Connector 10"/>
          <p:cNvCxnSpPr>
            <a:stCxn id="4" idx="2"/>
            <a:endCxn id="20" idx="0"/>
          </p:cNvCxnSpPr>
          <p:nvPr/>
        </p:nvCxnSpPr>
        <p:spPr bwMode="auto">
          <a:xfrm>
            <a:off x="6097932" y="2315380"/>
            <a:ext cx="0" cy="503420"/>
          </a:xfrm>
          <a:prstGeom prst="line">
            <a:avLst/>
          </a:prstGeom>
          <a:solidFill>
            <a:schemeClr val="tx2"/>
          </a:solidFill>
          <a:ln w="12700" cap="flat" cmpd="sng" algn="ctr">
            <a:solidFill>
              <a:srgbClr val="66667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 name="Connector: Elbow 5">
            <a:extLst>
              <a:ext uri="{FF2B5EF4-FFF2-40B4-BE49-F238E27FC236}">
                <a16:creationId xmlns:a16="http://schemas.microsoft.com/office/drawing/2014/main" id="{80802819-C211-4DBE-A5F3-080B77B3E0E0}"/>
              </a:ext>
            </a:extLst>
          </p:cNvPr>
          <p:cNvCxnSpPr>
            <a:stCxn id="84" idx="0"/>
            <a:endCxn id="21" idx="0"/>
          </p:cNvCxnSpPr>
          <p:nvPr/>
        </p:nvCxnSpPr>
        <p:spPr bwMode="auto">
          <a:xfrm rot="5400000" flipH="1" flipV="1">
            <a:off x="6097932" y="-457200"/>
            <a:ext cx="12700" cy="6552000"/>
          </a:xfrm>
          <a:prstGeom prst="bentConnector3">
            <a:avLst>
              <a:gd name="adj1" fmla="val 1800000"/>
            </a:avLst>
          </a:prstGeom>
          <a:solidFill>
            <a:schemeClr val="tx2"/>
          </a:solidFill>
          <a:ln w="12700" cap="flat" cmpd="sng" algn="ctr">
            <a:solidFill>
              <a:srgbClr val="66667E"/>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7" name="Text Box 3">
            <a:extLst>
              <a:ext uri="{FF2B5EF4-FFF2-40B4-BE49-F238E27FC236}">
                <a16:creationId xmlns:a16="http://schemas.microsoft.com/office/drawing/2014/main" id="{4BEB84C6-5659-4396-A593-0A921B43A7A0}"/>
              </a:ext>
            </a:extLst>
          </p:cNvPr>
          <p:cNvSpPr txBox="1">
            <a:spLocks noChangeArrowheads="1"/>
          </p:cNvSpPr>
          <p:nvPr>
            <p:custDataLst>
              <p:tags r:id="rId2"/>
            </p:custDataLst>
          </p:nvPr>
        </p:nvSpPr>
        <p:spPr bwMode="auto">
          <a:xfrm>
            <a:off x="8474400" y="3718799"/>
            <a:ext cx="1799063" cy="2448000"/>
          </a:xfrm>
          <a:prstGeom prst="rect">
            <a:avLst/>
          </a:prstGeom>
          <a:noFill/>
          <a:ln w="12700">
            <a:noFill/>
          </a:ln>
          <a:effectLst/>
        </p:spPr>
        <p:txBody>
          <a:bodyPr lIns="0" tIns="108000" rIns="0" bIns="0">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180000" indent="-180000" defTabSz="913943" eaLnBrk="1" hangingPunct="1">
              <a:spcBef>
                <a:spcPts val="300"/>
              </a:spcBef>
              <a:buClr>
                <a:srgbClr val="009999"/>
              </a:buClr>
              <a:buSzPct val="100000"/>
              <a:buFont typeface="Arial" pitchFamily="34" charset="0"/>
              <a:buChar char="•"/>
              <a:defRPr/>
            </a:pPr>
            <a:r>
              <a:rPr lang="en-US" sz="1399" dirty="0">
                <a:solidFill>
                  <a:srgbClr val="66667E"/>
                </a:solidFill>
                <a:latin typeface="+mn-lt"/>
              </a:rPr>
              <a:t>Phasellus nec sem</a:t>
            </a:r>
          </a:p>
          <a:p>
            <a:pPr marL="180000" indent="-180000" defTabSz="913943" eaLnBrk="1" hangingPunct="1">
              <a:spcBef>
                <a:spcPts val="300"/>
              </a:spcBef>
              <a:buClr>
                <a:srgbClr val="009999"/>
              </a:buClr>
              <a:buSzPct val="100000"/>
              <a:buFont typeface="Arial" pitchFamily="34" charset="0"/>
              <a:buChar char="•"/>
              <a:defRPr/>
            </a:pPr>
            <a:r>
              <a:rPr lang="en-US" sz="1399" dirty="0">
                <a:solidFill>
                  <a:srgbClr val="66667E"/>
                </a:solidFill>
                <a:latin typeface="+mn-lt"/>
              </a:rPr>
              <a:t>Duis arcu tortor</a:t>
            </a:r>
          </a:p>
        </p:txBody>
      </p:sp>
      <p:sp>
        <p:nvSpPr>
          <p:cNvPr id="18" name="Text Box 3">
            <a:extLst>
              <a:ext uri="{FF2B5EF4-FFF2-40B4-BE49-F238E27FC236}">
                <a16:creationId xmlns:a16="http://schemas.microsoft.com/office/drawing/2014/main" id="{FF92884B-C276-4DA6-B50C-874B777D4E8F}"/>
              </a:ext>
            </a:extLst>
          </p:cNvPr>
          <p:cNvSpPr txBox="1">
            <a:spLocks noChangeArrowheads="1"/>
          </p:cNvSpPr>
          <p:nvPr>
            <p:custDataLst>
              <p:tags r:id="rId3"/>
            </p:custDataLst>
          </p:nvPr>
        </p:nvSpPr>
        <p:spPr bwMode="auto">
          <a:xfrm>
            <a:off x="5198400" y="3718799"/>
            <a:ext cx="1799063" cy="2448000"/>
          </a:xfrm>
          <a:prstGeom prst="rect">
            <a:avLst/>
          </a:prstGeom>
          <a:noFill/>
          <a:ln w="12700">
            <a:noFill/>
          </a:ln>
          <a:effectLst/>
        </p:spPr>
        <p:txBody>
          <a:bodyPr lIns="0" tIns="108000" rIns="0" bIns="0">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180000" indent="-180000" defTabSz="913943" eaLnBrk="1" hangingPunct="1">
              <a:spcBef>
                <a:spcPts val="300"/>
              </a:spcBef>
              <a:buClr>
                <a:srgbClr val="009999"/>
              </a:buClr>
              <a:buSzPct val="100000"/>
              <a:buFont typeface="Arial" pitchFamily="34" charset="0"/>
              <a:buChar char="•"/>
              <a:defRPr/>
            </a:pPr>
            <a:r>
              <a:rPr lang="en-US" sz="1399" dirty="0">
                <a:solidFill>
                  <a:srgbClr val="66667E"/>
                </a:solidFill>
                <a:latin typeface="+mn-lt"/>
              </a:rPr>
              <a:t>At vero eos et accusam</a:t>
            </a:r>
          </a:p>
        </p:txBody>
      </p:sp>
      <p:sp>
        <p:nvSpPr>
          <p:cNvPr id="3" name="Footer Placeholder 2">
            <a:extLst>
              <a:ext uri="{FF2B5EF4-FFF2-40B4-BE49-F238E27FC236}">
                <a16:creationId xmlns:a16="http://schemas.microsoft.com/office/drawing/2014/main" id="{76C0440E-56F5-42D0-8F0C-932281516BCC}"/>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5" name="Slide Number Placeholder 4">
            <a:extLst>
              <a:ext uri="{FF2B5EF4-FFF2-40B4-BE49-F238E27FC236}">
                <a16:creationId xmlns:a16="http://schemas.microsoft.com/office/drawing/2014/main" id="{708BF60D-2597-47C4-AB28-0ECD32C7E835}"/>
              </a:ext>
            </a:extLst>
          </p:cNvPr>
          <p:cNvSpPr>
            <a:spLocks noGrp="1"/>
          </p:cNvSpPr>
          <p:nvPr>
            <p:ph type="sldNum" sz="quarter" idx="11"/>
          </p:nvPr>
        </p:nvSpPr>
        <p:spPr/>
        <p:txBody>
          <a:bodyPr/>
          <a:lstStyle/>
          <a:p>
            <a:r>
              <a:rPr lang="en-US" dirty="0"/>
              <a:t>Page </a:t>
            </a:r>
            <a:fld id="{15EBE321-CBB1-4E91-BD14-37C8D44326FB}" type="slidenum">
              <a:rPr lang="en-US" smtClean="0"/>
              <a:pPr/>
              <a:t>66</a:t>
            </a:fld>
            <a:endParaRPr lang="en-US" dirty="0"/>
          </a:p>
        </p:txBody>
      </p:sp>
    </p:spTree>
    <p:extLst>
      <p:ext uri="{BB962C8B-B14F-4D97-AF65-F5344CB8AC3E}">
        <p14:creationId xmlns:p14="http://schemas.microsoft.com/office/powerpoint/2010/main" val="271001731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ee diagram (vertical)</a:t>
            </a:r>
          </a:p>
        </p:txBody>
      </p:sp>
      <p:sp>
        <p:nvSpPr>
          <p:cNvPr id="4" name="Rechteck 3"/>
          <p:cNvSpPr>
            <a:spLocks/>
          </p:cNvSpPr>
          <p:nvPr/>
        </p:nvSpPr>
        <p:spPr>
          <a:xfrm>
            <a:off x="5198400" y="1415849"/>
            <a:ext cx="1799063" cy="899531"/>
          </a:xfrm>
          <a:prstGeom prst="rect">
            <a:avLst/>
          </a:prstGeom>
          <a:solidFill>
            <a:srgbClr val="00FFB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107944"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599" b="1" dirty="0">
                <a:solidFill>
                  <a:schemeClr val="bg2"/>
                </a:solidFill>
              </a:rPr>
              <a:t>At vero eos et accusam</a:t>
            </a:r>
          </a:p>
        </p:txBody>
      </p:sp>
      <p:sp>
        <p:nvSpPr>
          <p:cNvPr id="84" name="Rechteck 3"/>
          <p:cNvSpPr>
            <a:spLocks/>
          </p:cNvSpPr>
          <p:nvPr/>
        </p:nvSpPr>
        <p:spPr>
          <a:xfrm>
            <a:off x="1922400" y="2818800"/>
            <a:ext cx="1799063" cy="899531"/>
          </a:xfrm>
          <a:prstGeom prst="rect">
            <a:avLst/>
          </a:prstGeom>
          <a:solidFill>
            <a:srgbClr val="00646E"/>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107944"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599" b="1" dirty="0">
                <a:solidFill>
                  <a:srgbClr val="FFFFFF"/>
                </a:solidFill>
              </a:rPr>
              <a:t>Duis arcu tortor</a:t>
            </a:r>
          </a:p>
        </p:txBody>
      </p:sp>
      <p:sp>
        <p:nvSpPr>
          <p:cNvPr id="101" name="Text Box 3"/>
          <p:cNvSpPr txBox="1">
            <a:spLocks noChangeArrowheads="1"/>
          </p:cNvSpPr>
          <p:nvPr>
            <p:custDataLst>
              <p:tags r:id="rId1"/>
            </p:custDataLst>
          </p:nvPr>
        </p:nvSpPr>
        <p:spPr bwMode="auto">
          <a:xfrm>
            <a:off x="1922400" y="3718799"/>
            <a:ext cx="1799063" cy="2448000"/>
          </a:xfrm>
          <a:prstGeom prst="rect">
            <a:avLst/>
          </a:prstGeom>
          <a:noFill/>
          <a:ln w="12700">
            <a:noFill/>
          </a:ln>
          <a:effectLst/>
        </p:spPr>
        <p:txBody>
          <a:bodyPr lIns="0" tIns="108000" rIns="0" bIns="0">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180000" indent="-180000" defTabSz="913943" eaLnBrk="1" hangingPunct="1">
              <a:spcBef>
                <a:spcPts val="300"/>
              </a:spcBef>
              <a:buClr>
                <a:srgbClr val="009999"/>
              </a:buClr>
              <a:buSzPct val="100000"/>
              <a:buFont typeface="Arial" pitchFamily="34" charset="0"/>
              <a:buChar char="•"/>
              <a:defRPr/>
            </a:pPr>
            <a:r>
              <a:rPr lang="en-US" sz="1399" dirty="0">
                <a:solidFill>
                  <a:srgbClr val="9999A9"/>
                </a:solidFill>
                <a:latin typeface="+mn-lt"/>
              </a:rPr>
              <a:t>Consetetur sadipscing elitr, seddiam nonumy</a:t>
            </a:r>
          </a:p>
        </p:txBody>
      </p:sp>
      <p:sp>
        <p:nvSpPr>
          <p:cNvPr id="20" name="Rechteck 3"/>
          <p:cNvSpPr>
            <a:spLocks/>
          </p:cNvSpPr>
          <p:nvPr/>
        </p:nvSpPr>
        <p:spPr>
          <a:xfrm>
            <a:off x="5198400" y="2818800"/>
            <a:ext cx="1799063" cy="899531"/>
          </a:xfrm>
          <a:prstGeom prst="rect">
            <a:avLst/>
          </a:prstGeom>
          <a:solidFill>
            <a:srgbClr val="00646E"/>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107944"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599" b="1" dirty="0">
                <a:solidFill>
                  <a:srgbClr val="FFFFFF"/>
                </a:solidFill>
              </a:rPr>
              <a:t>Phasellus nec sem</a:t>
            </a:r>
          </a:p>
        </p:txBody>
      </p:sp>
      <p:sp>
        <p:nvSpPr>
          <p:cNvPr id="21" name="Rechteck 3"/>
          <p:cNvSpPr>
            <a:spLocks/>
          </p:cNvSpPr>
          <p:nvPr/>
        </p:nvSpPr>
        <p:spPr>
          <a:xfrm>
            <a:off x="8474400" y="2818800"/>
            <a:ext cx="1799063" cy="899531"/>
          </a:xfrm>
          <a:prstGeom prst="rect">
            <a:avLst/>
          </a:prstGeom>
          <a:solidFill>
            <a:srgbClr val="00646E"/>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107944"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599" b="1" dirty="0">
                <a:solidFill>
                  <a:srgbClr val="FFFFFF"/>
                </a:solidFill>
              </a:rPr>
              <a:t>Maecenas nec odio</a:t>
            </a:r>
          </a:p>
        </p:txBody>
      </p:sp>
      <p:cxnSp>
        <p:nvCxnSpPr>
          <p:cNvPr id="11" name="Straight Connector 10"/>
          <p:cNvCxnSpPr>
            <a:stCxn id="4" idx="2"/>
            <a:endCxn id="20" idx="0"/>
          </p:cNvCxnSpPr>
          <p:nvPr/>
        </p:nvCxnSpPr>
        <p:spPr bwMode="auto">
          <a:xfrm>
            <a:off x="6097932" y="2315380"/>
            <a:ext cx="0" cy="503420"/>
          </a:xfrm>
          <a:prstGeom prst="line">
            <a:avLst/>
          </a:prstGeom>
          <a:solidFill>
            <a:schemeClr val="tx2"/>
          </a:solidFill>
          <a:ln w="12700" cap="flat" cmpd="sng" algn="ctr">
            <a:solidFill>
              <a:srgbClr val="9999A9"/>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 name="Connector: Elbow 5">
            <a:extLst>
              <a:ext uri="{FF2B5EF4-FFF2-40B4-BE49-F238E27FC236}">
                <a16:creationId xmlns:a16="http://schemas.microsoft.com/office/drawing/2014/main" id="{80802819-C211-4DBE-A5F3-080B77B3E0E0}"/>
              </a:ext>
            </a:extLst>
          </p:cNvPr>
          <p:cNvCxnSpPr>
            <a:stCxn id="84" idx="0"/>
            <a:endCxn id="21" idx="0"/>
          </p:cNvCxnSpPr>
          <p:nvPr/>
        </p:nvCxnSpPr>
        <p:spPr bwMode="auto">
          <a:xfrm rot="5400000" flipH="1" flipV="1">
            <a:off x="6097932" y="-457200"/>
            <a:ext cx="12700" cy="6552000"/>
          </a:xfrm>
          <a:prstGeom prst="bentConnector3">
            <a:avLst>
              <a:gd name="adj1" fmla="val 1800000"/>
            </a:avLst>
          </a:prstGeom>
          <a:solidFill>
            <a:schemeClr val="tx2"/>
          </a:solidFill>
          <a:ln w="12700" cap="flat" cmpd="sng" algn="ctr">
            <a:solidFill>
              <a:srgbClr val="9999A9"/>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7" name="Text Box 3">
            <a:extLst>
              <a:ext uri="{FF2B5EF4-FFF2-40B4-BE49-F238E27FC236}">
                <a16:creationId xmlns:a16="http://schemas.microsoft.com/office/drawing/2014/main" id="{4BEB84C6-5659-4396-A593-0A921B43A7A0}"/>
              </a:ext>
            </a:extLst>
          </p:cNvPr>
          <p:cNvSpPr txBox="1">
            <a:spLocks noChangeArrowheads="1"/>
          </p:cNvSpPr>
          <p:nvPr>
            <p:custDataLst>
              <p:tags r:id="rId2"/>
            </p:custDataLst>
          </p:nvPr>
        </p:nvSpPr>
        <p:spPr bwMode="auto">
          <a:xfrm>
            <a:off x="8474400" y="3718799"/>
            <a:ext cx="1799063" cy="2448000"/>
          </a:xfrm>
          <a:prstGeom prst="rect">
            <a:avLst/>
          </a:prstGeom>
          <a:noFill/>
          <a:ln w="12700">
            <a:noFill/>
          </a:ln>
          <a:effectLst/>
        </p:spPr>
        <p:txBody>
          <a:bodyPr lIns="0" tIns="108000" rIns="0" bIns="0">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180000" indent="-180000" defTabSz="913943" eaLnBrk="1" hangingPunct="1">
              <a:spcBef>
                <a:spcPts val="300"/>
              </a:spcBef>
              <a:buClr>
                <a:srgbClr val="009999"/>
              </a:buClr>
              <a:buSzPct val="100000"/>
              <a:buFont typeface="Arial" pitchFamily="34" charset="0"/>
              <a:buChar char="•"/>
              <a:defRPr/>
            </a:pPr>
            <a:r>
              <a:rPr lang="en-US" sz="1399" dirty="0">
                <a:solidFill>
                  <a:srgbClr val="9999A9"/>
                </a:solidFill>
                <a:latin typeface="+mn-lt"/>
              </a:rPr>
              <a:t>Phasellus nec sem</a:t>
            </a:r>
          </a:p>
          <a:p>
            <a:pPr marL="180000" indent="-180000" defTabSz="913943" eaLnBrk="1" hangingPunct="1">
              <a:spcBef>
                <a:spcPts val="300"/>
              </a:spcBef>
              <a:buClr>
                <a:srgbClr val="009999"/>
              </a:buClr>
              <a:buSzPct val="100000"/>
              <a:buFont typeface="Arial" pitchFamily="34" charset="0"/>
              <a:buChar char="•"/>
              <a:defRPr/>
            </a:pPr>
            <a:r>
              <a:rPr lang="en-US" sz="1399" dirty="0">
                <a:solidFill>
                  <a:srgbClr val="9999A9"/>
                </a:solidFill>
                <a:latin typeface="+mn-lt"/>
              </a:rPr>
              <a:t>Duis arcu tortor</a:t>
            </a:r>
          </a:p>
        </p:txBody>
      </p:sp>
      <p:sp>
        <p:nvSpPr>
          <p:cNvPr id="18" name="Text Box 3">
            <a:extLst>
              <a:ext uri="{FF2B5EF4-FFF2-40B4-BE49-F238E27FC236}">
                <a16:creationId xmlns:a16="http://schemas.microsoft.com/office/drawing/2014/main" id="{FF92884B-C276-4DA6-B50C-874B777D4E8F}"/>
              </a:ext>
            </a:extLst>
          </p:cNvPr>
          <p:cNvSpPr txBox="1">
            <a:spLocks noChangeArrowheads="1"/>
          </p:cNvSpPr>
          <p:nvPr>
            <p:custDataLst>
              <p:tags r:id="rId3"/>
            </p:custDataLst>
          </p:nvPr>
        </p:nvSpPr>
        <p:spPr bwMode="auto">
          <a:xfrm>
            <a:off x="5198400" y="3718799"/>
            <a:ext cx="1799063" cy="2448000"/>
          </a:xfrm>
          <a:prstGeom prst="rect">
            <a:avLst/>
          </a:prstGeom>
          <a:noFill/>
          <a:ln w="12700">
            <a:noFill/>
          </a:ln>
          <a:effectLst/>
        </p:spPr>
        <p:txBody>
          <a:bodyPr lIns="0" tIns="108000" rIns="0" bIns="0">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180000" indent="-180000" defTabSz="913943" eaLnBrk="1" hangingPunct="1">
              <a:spcBef>
                <a:spcPts val="300"/>
              </a:spcBef>
              <a:buClr>
                <a:srgbClr val="009999"/>
              </a:buClr>
              <a:buSzPct val="100000"/>
              <a:buFont typeface="Arial" pitchFamily="34" charset="0"/>
              <a:buChar char="•"/>
              <a:defRPr/>
            </a:pPr>
            <a:r>
              <a:rPr lang="en-US" sz="1399" dirty="0">
                <a:solidFill>
                  <a:srgbClr val="9999A9"/>
                </a:solidFill>
                <a:latin typeface="+mn-lt"/>
              </a:rPr>
              <a:t>At vero eos et accusam</a:t>
            </a:r>
          </a:p>
        </p:txBody>
      </p:sp>
      <p:sp>
        <p:nvSpPr>
          <p:cNvPr id="3" name="Footer Placeholder 2">
            <a:extLst>
              <a:ext uri="{FF2B5EF4-FFF2-40B4-BE49-F238E27FC236}">
                <a16:creationId xmlns:a16="http://schemas.microsoft.com/office/drawing/2014/main" id="{7BFA62D8-9B21-489B-AF33-B301143D6C1C}"/>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5" name="Slide Number Placeholder 4">
            <a:extLst>
              <a:ext uri="{FF2B5EF4-FFF2-40B4-BE49-F238E27FC236}">
                <a16:creationId xmlns:a16="http://schemas.microsoft.com/office/drawing/2014/main" id="{F96D75B2-4800-4544-A8A6-C132CEF010EC}"/>
              </a:ext>
            </a:extLst>
          </p:cNvPr>
          <p:cNvSpPr>
            <a:spLocks noGrp="1"/>
          </p:cNvSpPr>
          <p:nvPr>
            <p:ph type="sldNum" sz="quarter" idx="11"/>
          </p:nvPr>
        </p:nvSpPr>
        <p:spPr/>
        <p:txBody>
          <a:bodyPr/>
          <a:lstStyle/>
          <a:p>
            <a:r>
              <a:rPr lang="en-US" dirty="0"/>
              <a:t>Page </a:t>
            </a:r>
            <a:fld id="{15EBE321-CBB1-4E91-BD14-37C8D44326FB}" type="slidenum">
              <a:rPr lang="en-US" smtClean="0"/>
              <a:pPr/>
              <a:t>67</a:t>
            </a:fld>
            <a:endParaRPr lang="en-US" dirty="0"/>
          </a:p>
        </p:txBody>
      </p:sp>
    </p:spTree>
    <p:extLst>
      <p:ext uri="{BB962C8B-B14F-4D97-AF65-F5344CB8AC3E}">
        <p14:creationId xmlns:p14="http://schemas.microsoft.com/office/powerpoint/2010/main" val="381985613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ee diagram (vertical) – subsections</a:t>
            </a:r>
          </a:p>
        </p:txBody>
      </p:sp>
      <p:sp>
        <p:nvSpPr>
          <p:cNvPr id="4" name="Rechteck 3"/>
          <p:cNvSpPr>
            <a:spLocks/>
          </p:cNvSpPr>
          <p:nvPr/>
        </p:nvSpPr>
        <p:spPr>
          <a:xfrm>
            <a:off x="4658400" y="1415849"/>
            <a:ext cx="2878501" cy="899531"/>
          </a:xfrm>
          <a:prstGeom prst="rect">
            <a:avLst/>
          </a:prstGeom>
          <a:solidFill>
            <a:srgbClr val="00646E"/>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107944"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599" b="1" dirty="0">
                <a:solidFill>
                  <a:schemeClr val="bg1"/>
                </a:solidFill>
              </a:rPr>
              <a:t>Duis arcu ultricies mi eu</a:t>
            </a:r>
          </a:p>
        </p:txBody>
      </p:sp>
      <p:sp>
        <p:nvSpPr>
          <p:cNvPr id="84" name="Rechteck 3"/>
          <p:cNvSpPr>
            <a:spLocks/>
          </p:cNvSpPr>
          <p:nvPr/>
        </p:nvSpPr>
        <p:spPr>
          <a:xfrm>
            <a:off x="842962" y="2818800"/>
            <a:ext cx="2878501" cy="899531"/>
          </a:xfrm>
          <a:prstGeom prst="rect">
            <a:avLst/>
          </a:prstGeom>
          <a:solidFill>
            <a:srgbClr val="00FFB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107944"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599" b="1" dirty="0">
                <a:solidFill>
                  <a:schemeClr val="tx2"/>
                </a:solidFill>
              </a:rPr>
              <a:t>At vero eos et accusam</a:t>
            </a:r>
          </a:p>
        </p:txBody>
      </p:sp>
      <p:sp>
        <p:nvSpPr>
          <p:cNvPr id="101" name="Text Box 3"/>
          <p:cNvSpPr txBox="1">
            <a:spLocks noChangeArrowheads="1"/>
          </p:cNvSpPr>
          <p:nvPr>
            <p:custDataLst>
              <p:tags r:id="rId1"/>
            </p:custDataLst>
          </p:nvPr>
        </p:nvSpPr>
        <p:spPr bwMode="auto">
          <a:xfrm>
            <a:off x="842962" y="4762800"/>
            <a:ext cx="2878501" cy="1044000"/>
          </a:xfrm>
          <a:prstGeom prst="rect">
            <a:avLst/>
          </a:prstGeom>
          <a:noFill/>
          <a:ln w="12700">
            <a:noFill/>
          </a:ln>
          <a:effectLst/>
        </p:spPr>
        <p:txBody>
          <a:bodyPr lIns="0" tIns="108000" rIns="0" bIns="0">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180000" indent="-180000" defTabSz="913943" eaLnBrk="1" hangingPunct="1">
              <a:spcBef>
                <a:spcPts val="300"/>
              </a:spcBef>
              <a:buClr>
                <a:srgbClr val="009999"/>
              </a:buClr>
              <a:buSzPct val="100000"/>
              <a:buFont typeface="Arial" pitchFamily="34" charset="0"/>
              <a:buChar char="•"/>
              <a:defRPr/>
            </a:pPr>
            <a:r>
              <a:rPr lang="en-US" sz="1399" dirty="0">
                <a:solidFill>
                  <a:srgbClr val="66667E"/>
                </a:solidFill>
                <a:latin typeface="+mn-lt"/>
              </a:rPr>
              <a:t>Phasellus nec sem</a:t>
            </a:r>
          </a:p>
        </p:txBody>
      </p:sp>
      <p:sp>
        <p:nvSpPr>
          <p:cNvPr id="20" name="Rechteck 3"/>
          <p:cNvSpPr>
            <a:spLocks/>
          </p:cNvSpPr>
          <p:nvPr/>
        </p:nvSpPr>
        <p:spPr>
          <a:xfrm>
            <a:off x="4658400" y="2818800"/>
            <a:ext cx="2878501" cy="899531"/>
          </a:xfrm>
          <a:prstGeom prst="rect">
            <a:avLst/>
          </a:prstGeom>
          <a:solidFill>
            <a:srgbClr val="00FFB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107944"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599" b="1" dirty="0">
                <a:solidFill>
                  <a:schemeClr val="tx2"/>
                </a:solidFill>
              </a:rPr>
              <a:t>Duis arcu tortor</a:t>
            </a:r>
          </a:p>
        </p:txBody>
      </p:sp>
      <p:sp>
        <p:nvSpPr>
          <p:cNvPr id="21" name="Rechteck 3"/>
          <p:cNvSpPr>
            <a:spLocks/>
          </p:cNvSpPr>
          <p:nvPr/>
        </p:nvSpPr>
        <p:spPr>
          <a:xfrm>
            <a:off x="8474400" y="2818800"/>
            <a:ext cx="2878501" cy="899531"/>
          </a:xfrm>
          <a:prstGeom prst="rect">
            <a:avLst/>
          </a:prstGeom>
          <a:solidFill>
            <a:srgbClr val="00FFB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107944"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599" b="1" dirty="0">
                <a:solidFill>
                  <a:schemeClr val="tx2"/>
                </a:solidFill>
              </a:rPr>
              <a:t>Consetetur sadipscing elitr, seddiam nonumy</a:t>
            </a:r>
          </a:p>
        </p:txBody>
      </p:sp>
      <p:sp>
        <p:nvSpPr>
          <p:cNvPr id="23" name="Text Box 3"/>
          <p:cNvSpPr txBox="1">
            <a:spLocks noChangeArrowheads="1"/>
          </p:cNvSpPr>
          <p:nvPr>
            <p:custDataLst>
              <p:tags r:id="rId2"/>
            </p:custDataLst>
          </p:nvPr>
        </p:nvSpPr>
        <p:spPr bwMode="auto">
          <a:xfrm>
            <a:off x="4658400" y="3718800"/>
            <a:ext cx="2878501" cy="2088000"/>
          </a:xfrm>
          <a:prstGeom prst="rect">
            <a:avLst/>
          </a:prstGeom>
          <a:noFill/>
          <a:ln w="12700">
            <a:noFill/>
          </a:ln>
          <a:effectLst/>
        </p:spPr>
        <p:txBody>
          <a:bodyPr lIns="0" tIns="108000" rIns="0" bIns="0">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180000" indent="-180000" defTabSz="913943" eaLnBrk="1" hangingPunct="1">
              <a:spcBef>
                <a:spcPts val="300"/>
              </a:spcBef>
              <a:buClr>
                <a:srgbClr val="009999"/>
              </a:buClr>
              <a:buSzPct val="100000"/>
              <a:buFont typeface="Arial" pitchFamily="34" charset="0"/>
              <a:buChar char="•"/>
              <a:defRPr/>
            </a:pPr>
            <a:r>
              <a:rPr lang="en-US" sz="1399" dirty="0">
                <a:solidFill>
                  <a:srgbClr val="66667E"/>
                </a:solidFill>
                <a:latin typeface="+mn-lt"/>
              </a:rPr>
              <a:t>Consetetur sadipscing elitr, seddiam nonumy</a:t>
            </a:r>
          </a:p>
          <a:p>
            <a:pPr marL="180000" indent="-180000" defTabSz="913943" eaLnBrk="1" hangingPunct="1">
              <a:spcBef>
                <a:spcPts val="300"/>
              </a:spcBef>
              <a:buClr>
                <a:srgbClr val="009999"/>
              </a:buClr>
              <a:buSzPct val="100000"/>
              <a:buFont typeface="Arial" pitchFamily="34" charset="0"/>
              <a:buChar char="•"/>
              <a:defRPr/>
            </a:pPr>
            <a:r>
              <a:rPr lang="en-US" sz="1399" dirty="0">
                <a:solidFill>
                  <a:srgbClr val="66667E"/>
                </a:solidFill>
                <a:latin typeface="+mn-lt"/>
              </a:rPr>
              <a:t>Duis arcu tortor</a:t>
            </a:r>
          </a:p>
        </p:txBody>
      </p:sp>
      <p:cxnSp>
        <p:nvCxnSpPr>
          <p:cNvPr id="11" name="Straight Connector 10"/>
          <p:cNvCxnSpPr>
            <a:stCxn id="4" idx="2"/>
            <a:endCxn id="20" idx="0"/>
          </p:cNvCxnSpPr>
          <p:nvPr/>
        </p:nvCxnSpPr>
        <p:spPr bwMode="auto">
          <a:xfrm>
            <a:off x="6097651" y="2315380"/>
            <a:ext cx="0" cy="503420"/>
          </a:xfrm>
          <a:prstGeom prst="line">
            <a:avLst/>
          </a:prstGeom>
          <a:solidFill>
            <a:schemeClr val="tx2"/>
          </a:solidFill>
          <a:ln w="12700" cap="flat" cmpd="sng" algn="ctr">
            <a:solidFill>
              <a:srgbClr val="66667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3" name="Rechteck 3"/>
          <p:cNvSpPr>
            <a:spLocks/>
          </p:cNvSpPr>
          <p:nvPr/>
        </p:nvSpPr>
        <p:spPr>
          <a:xfrm>
            <a:off x="842962" y="3898800"/>
            <a:ext cx="863550" cy="864000"/>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107944"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spcBef>
                <a:spcPts val="300"/>
              </a:spcBef>
            </a:pPr>
            <a:r>
              <a:rPr lang="en-US" sz="1199" dirty="0">
                <a:solidFill>
                  <a:srgbClr val="333353"/>
                </a:solidFill>
              </a:rPr>
              <a:t>Cras ultricies mi eu</a:t>
            </a:r>
          </a:p>
        </p:txBody>
      </p:sp>
      <p:sp>
        <p:nvSpPr>
          <p:cNvPr id="14" name="Rechteck 3"/>
          <p:cNvSpPr>
            <a:spLocks/>
          </p:cNvSpPr>
          <p:nvPr/>
        </p:nvSpPr>
        <p:spPr>
          <a:xfrm>
            <a:off x="1850438" y="3898800"/>
            <a:ext cx="863550" cy="864000"/>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107944"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spcBef>
                <a:spcPts val="300"/>
              </a:spcBef>
            </a:pPr>
            <a:r>
              <a:rPr lang="en-US" sz="1199" dirty="0">
                <a:solidFill>
                  <a:srgbClr val="333353"/>
                </a:solidFill>
              </a:rPr>
              <a:t>Duis arcu tortor</a:t>
            </a:r>
          </a:p>
        </p:txBody>
      </p:sp>
      <p:sp>
        <p:nvSpPr>
          <p:cNvPr id="15" name="Rechteck 3"/>
          <p:cNvSpPr>
            <a:spLocks/>
          </p:cNvSpPr>
          <p:nvPr/>
        </p:nvSpPr>
        <p:spPr>
          <a:xfrm>
            <a:off x="2857913" y="3898800"/>
            <a:ext cx="863550" cy="864000"/>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107944"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spcBef>
                <a:spcPts val="300"/>
              </a:spcBef>
            </a:pPr>
            <a:r>
              <a:rPr lang="en-US" sz="1199" dirty="0">
                <a:solidFill>
                  <a:srgbClr val="333353"/>
                </a:solidFill>
              </a:rPr>
              <a:t>At vero eos et accusam</a:t>
            </a:r>
          </a:p>
        </p:txBody>
      </p:sp>
      <p:cxnSp>
        <p:nvCxnSpPr>
          <p:cNvPr id="6" name="Connector: Elbow 5">
            <a:extLst>
              <a:ext uri="{FF2B5EF4-FFF2-40B4-BE49-F238E27FC236}">
                <a16:creationId xmlns:a16="http://schemas.microsoft.com/office/drawing/2014/main" id="{62BEA24C-1498-483C-95C1-48982DC87DBF}"/>
              </a:ext>
            </a:extLst>
          </p:cNvPr>
          <p:cNvCxnSpPr>
            <a:cxnSpLocks/>
            <a:stCxn id="84" idx="0"/>
            <a:endCxn id="21" idx="0"/>
          </p:cNvCxnSpPr>
          <p:nvPr/>
        </p:nvCxnSpPr>
        <p:spPr bwMode="auto">
          <a:xfrm rot="5400000" flipH="1" flipV="1">
            <a:off x="6097932" y="-996919"/>
            <a:ext cx="12700" cy="7631438"/>
          </a:xfrm>
          <a:prstGeom prst="bentConnector3">
            <a:avLst>
              <a:gd name="adj1" fmla="val 1800000"/>
            </a:avLst>
          </a:prstGeom>
          <a:solidFill>
            <a:schemeClr val="tx2"/>
          </a:solidFill>
          <a:ln w="12700" cap="flat" cmpd="sng" algn="ctr">
            <a:solidFill>
              <a:srgbClr val="66667E"/>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7" name="Text Box 3">
            <a:extLst>
              <a:ext uri="{FF2B5EF4-FFF2-40B4-BE49-F238E27FC236}">
                <a16:creationId xmlns:a16="http://schemas.microsoft.com/office/drawing/2014/main" id="{ACAC85B6-CCD2-489B-ACF5-8F968772B3EA}"/>
              </a:ext>
            </a:extLst>
          </p:cNvPr>
          <p:cNvSpPr txBox="1">
            <a:spLocks noChangeArrowheads="1"/>
          </p:cNvSpPr>
          <p:nvPr>
            <p:custDataLst>
              <p:tags r:id="rId3"/>
            </p:custDataLst>
          </p:nvPr>
        </p:nvSpPr>
        <p:spPr bwMode="auto">
          <a:xfrm>
            <a:off x="8474400" y="3718800"/>
            <a:ext cx="2878501" cy="2088000"/>
          </a:xfrm>
          <a:prstGeom prst="rect">
            <a:avLst/>
          </a:prstGeom>
          <a:noFill/>
          <a:ln w="12700">
            <a:noFill/>
          </a:ln>
          <a:effectLst/>
        </p:spPr>
        <p:txBody>
          <a:bodyPr lIns="0" tIns="108000" rIns="0" bIns="0">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180000" indent="-180000" defTabSz="913943" eaLnBrk="1" hangingPunct="1">
              <a:spcBef>
                <a:spcPts val="300"/>
              </a:spcBef>
              <a:buClr>
                <a:srgbClr val="009999"/>
              </a:buClr>
              <a:buSzPct val="100000"/>
              <a:buFont typeface="Arial" pitchFamily="34" charset="0"/>
              <a:buChar char="•"/>
              <a:defRPr/>
            </a:pPr>
            <a:r>
              <a:rPr lang="en-US" sz="1399" dirty="0">
                <a:solidFill>
                  <a:srgbClr val="66667E"/>
                </a:solidFill>
                <a:latin typeface="+mn-lt"/>
              </a:rPr>
              <a:t>At vero eos et accusam</a:t>
            </a:r>
          </a:p>
        </p:txBody>
      </p:sp>
      <p:sp>
        <p:nvSpPr>
          <p:cNvPr id="3" name="Footer Placeholder 2">
            <a:extLst>
              <a:ext uri="{FF2B5EF4-FFF2-40B4-BE49-F238E27FC236}">
                <a16:creationId xmlns:a16="http://schemas.microsoft.com/office/drawing/2014/main" id="{5767369B-5ACE-4C47-8264-085252BFB9F4}"/>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5" name="Slide Number Placeholder 4">
            <a:extLst>
              <a:ext uri="{FF2B5EF4-FFF2-40B4-BE49-F238E27FC236}">
                <a16:creationId xmlns:a16="http://schemas.microsoft.com/office/drawing/2014/main" id="{85F5FDA1-D971-4695-962F-AA23075A2392}"/>
              </a:ext>
            </a:extLst>
          </p:cNvPr>
          <p:cNvSpPr>
            <a:spLocks noGrp="1"/>
          </p:cNvSpPr>
          <p:nvPr>
            <p:ph type="sldNum" sz="quarter" idx="11"/>
          </p:nvPr>
        </p:nvSpPr>
        <p:spPr/>
        <p:txBody>
          <a:bodyPr/>
          <a:lstStyle/>
          <a:p>
            <a:r>
              <a:rPr lang="en-US" dirty="0"/>
              <a:t>Page </a:t>
            </a:r>
            <a:fld id="{15EBE321-CBB1-4E91-BD14-37C8D44326FB}" type="slidenum">
              <a:rPr lang="en-US" smtClean="0"/>
              <a:pPr/>
              <a:t>68</a:t>
            </a:fld>
            <a:endParaRPr lang="en-US" dirty="0"/>
          </a:p>
        </p:txBody>
      </p:sp>
    </p:spTree>
    <p:extLst>
      <p:ext uri="{BB962C8B-B14F-4D97-AF65-F5344CB8AC3E}">
        <p14:creationId xmlns:p14="http://schemas.microsoft.com/office/powerpoint/2010/main" val="296338331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ee diagram (vertical) – subsections</a:t>
            </a:r>
          </a:p>
        </p:txBody>
      </p:sp>
      <p:sp>
        <p:nvSpPr>
          <p:cNvPr id="4" name="Rechteck 3"/>
          <p:cNvSpPr>
            <a:spLocks/>
          </p:cNvSpPr>
          <p:nvPr/>
        </p:nvSpPr>
        <p:spPr>
          <a:xfrm>
            <a:off x="4658400" y="1415849"/>
            <a:ext cx="2878501" cy="899531"/>
          </a:xfrm>
          <a:prstGeom prst="rect">
            <a:avLst/>
          </a:prstGeom>
          <a:solidFill>
            <a:srgbClr val="00646E"/>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107944"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599" b="1" dirty="0">
                <a:solidFill>
                  <a:schemeClr val="tx1"/>
                </a:solidFill>
              </a:rPr>
              <a:t>Duis arcu ultricies mi eu</a:t>
            </a:r>
          </a:p>
        </p:txBody>
      </p:sp>
      <p:sp>
        <p:nvSpPr>
          <p:cNvPr id="84" name="Rechteck 3"/>
          <p:cNvSpPr>
            <a:spLocks/>
          </p:cNvSpPr>
          <p:nvPr/>
        </p:nvSpPr>
        <p:spPr>
          <a:xfrm>
            <a:off x="842962" y="2818800"/>
            <a:ext cx="2878501" cy="899531"/>
          </a:xfrm>
          <a:prstGeom prst="rect">
            <a:avLst/>
          </a:prstGeom>
          <a:solidFill>
            <a:srgbClr val="00FFB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107944"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599" b="1" dirty="0">
                <a:solidFill>
                  <a:schemeClr val="bg2"/>
                </a:solidFill>
              </a:rPr>
              <a:t>At vero eos et accusam</a:t>
            </a:r>
          </a:p>
        </p:txBody>
      </p:sp>
      <p:sp>
        <p:nvSpPr>
          <p:cNvPr id="101" name="Text Box 3"/>
          <p:cNvSpPr txBox="1">
            <a:spLocks noChangeArrowheads="1"/>
          </p:cNvSpPr>
          <p:nvPr>
            <p:custDataLst>
              <p:tags r:id="rId1"/>
            </p:custDataLst>
          </p:nvPr>
        </p:nvSpPr>
        <p:spPr bwMode="auto">
          <a:xfrm>
            <a:off x="842962" y="4762800"/>
            <a:ext cx="2878501" cy="1044000"/>
          </a:xfrm>
          <a:prstGeom prst="rect">
            <a:avLst/>
          </a:prstGeom>
          <a:noFill/>
          <a:ln w="12700">
            <a:noFill/>
          </a:ln>
          <a:effectLst/>
        </p:spPr>
        <p:txBody>
          <a:bodyPr lIns="0" tIns="108000" rIns="0" bIns="0">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180000" indent="-180000" defTabSz="913943" eaLnBrk="1" hangingPunct="1">
              <a:spcBef>
                <a:spcPts val="300"/>
              </a:spcBef>
              <a:buClr>
                <a:srgbClr val="009999"/>
              </a:buClr>
              <a:buSzPct val="100000"/>
              <a:buFont typeface="Arial" pitchFamily="34" charset="0"/>
              <a:buChar char="•"/>
              <a:defRPr/>
            </a:pPr>
            <a:r>
              <a:rPr lang="en-US" sz="1399" dirty="0">
                <a:solidFill>
                  <a:srgbClr val="9999A9"/>
                </a:solidFill>
                <a:latin typeface="+mn-lt"/>
              </a:rPr>
              <a:t>Phasellus nec sem</a:t>
            </a:r>
          </a:p>
        </p:txBody>
      </p:sp>
      <p:sp>
        <p:nvSpPr>
          <p:cNvPr id="20" name="Rechteck 3"/>
          <p:cNvSpPr>
            <a:spLocks/>
          </p:cNvSpPr>
          <p:nvPr/>
        </p:nvSpPr>
        <p:spPr>
          <a:xfrm>
            <a:off x="4658400" y="2818800"/>
            <a:ext cx="2878501" cy="899531"/>
          </a:xfrm>
          <a:prstGeom prst="rect">
            <a:avLst/>
          </a:prstGeom>
          <a:solidFill>
            <a:srgbClr val="00FFB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107944"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599" b="1" dirty="0">
                <a:solidFill>
                  <a:schemeClr val="bg2"/>
                </a:solidFill>
              </a:rPr>
              <a:t>Duis arcu tortor</a:t>
            </a:r>
          </a:p>
        </p:txBody>
      </p:sp>
      <p:sp>
        <p:nvSpPr>
          <p:cNvPr id="21" name="Rechteck 3"/>
          <p:cNvSpPr>
            <a:spLocks/>
          </p:cNvSpPr>
          <p:nvPr/>
        </p:nvSpPr>
        <p:spPr>
          <a:xfrm>
            <a:off x="8474400" y="2818800"/>
            <a:ext cx="2878501" cy="899531"/>
          </a:xfrm>
          <a:prstGeom prst="rect">
            <a:avLst/>
          </a:prstGeom>
          <a:solidFill>
            <a:srgbClr val="00FFB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107944"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599" b="1" dirty="0">
                <a:solidFill>
                  <a:schemeClr val="bg2"/>
                </a:solidFill>
              </a:rPr>
              <a:t>Consetetur sadipscing elitr, seddiam nonumy</a:t>
            </a:r>
          </a:p>
        </p:txBody>
      </p:sp>
      <p:sp>
        <p:nvSpPr>
          <p:cNvPr id="23" name="Text Box 3"/>
          <p:cNvSpPr txBox="1">
            <a:spLocks noChangeArrowheads="1"/>
          </p:cNvSpPr>
          <p:nvPr>
            <p:custDataLst>
              <p:tags r:id="rId2"/>
            </p:custDataLst>
          </p:nvPr>
        </p:nvSpPr>
        <p:spPr bwMode="auto">
          <a:xfrm>
            <a:off x="4658400" y="3718800"/>
            <a:ext cx="2878501" cy="2088000"/>
          </a:xfrm>
          <a:prstGeom prst="rect">
            <a:avLst/>
          </a:prstGeom>
          <a:noFill/>
          <a:ln w="12700">
            <a:noFill/>
          </a:ln>
          <a:effectLst/>
        </p:spPr>
        <p:txBody>
          <a:bodyPr lIns="0" tIns="108000" rIns="0" bIns="0">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180000" indent="-180000" defTabSz="913943" eaLnBrk="1" hangingPunct="1">
              <a:spcBef>
                <a:spcPts val="300"/>
              </a:spcBef>
              <a:buClr>
                <a:srgbClr val="009999"/>
              </a:buClr>
              <a:buSzPct val="100000"/>
              <a:buFont typeface="Arial" pitchFamily="34" charset="0"/>
              <a:buChar char="•"/>
              <a:defRPr/>
            </a:pPr>
            <a:r>
              <a:rPr lang="en-US" sz="1399" dirty="0">
                <a:solidFill>
                  <a:srgbClr val="9999A9"/>
                </a:solidFill>
                <a:latin typeface="+mn-lt"/>
              </a:rPr>
              <a:t>Consetetur sadipscing elitr, seddiam nonumy</a:t>
            </a:r>
          </a:p>
          <a:p>
            <a:pPr marL="180000" indent="-180000" defTabSz="913943" eaLnBrk="1" hangingPunct="1">
              <a:spcBef>
                <a:spcPts val="300"/>
              </a:spcBef>
              <a:buClr>
                <a:srgbClr val="009999"/>
              </a:buClr>
              <a:buSzPct val="100000"/>
              <a:buFont typeface="Arial" pitchFamily="34" charset="0"/>
              <a:buChar char="•"/>
              <a:defRPr/>
            </a:pPr>
            <a:r>
              <a:rPr lang="en-US" sz="1399" dirty="0">
                <a:solidFill>
                  <a:srgbClr val="9999A9"/>
                </a:solidFill>
                <a:latin typeface="+mn-lt"/>
              </a:rPr>
              <a:t>Duis arcu tortor</a:t>
            </a:r>
          </a:p>
        </p:txBody>
      </p:sp>
      <p:cxnSp>
        <p:nvCxnSpPr>
          <p:cNvPr id="11" name="Straight Connector 10"/>
          <p:cNvCxnSpPr>
            <a:stCxn id="4" idx="2"/>
            <a:endCxn id="20" idx="0"/>
          </p:cNvCxnSpPr>
          <p:nvPr/>
        </p:nvCxnSpPr>
        <p:spPr bwMode="auto">
          <a:xfrm>
            <a:off x="6097651" y="2315380"/>
            <a:ext cx="0" cy="503420"/>
          </a:xfrm>
          <a:prstGeom prst="line">
            <a:avLst/>
          </a:prstGeom>
          <a:solidFill>
            <a:schemeClr val="tx2"/>
          </a:solidFill>
          <a:ln w="12700" cap="flat" cmpd="sng" algn="ctr">
            <a:solidFill>
              <a:srgbClr val="9999A9"/>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3" name="Rechteck 3"/>
          <p:cNvSpPr>
            <a:spLocks/>
          </p:cNvSpPr>
          <p:nvPr/>
        </p:nvSpPr>
        <p:spPr>
          <a:xfrm>
            <a:off x="842962" y="3898800"/>
            <a:ext cx="863550" cy="864000"/>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107944"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spcBef>
                <a:spcPts val="300"/>
              </a:spcBef>
            </a:pPr>
            <a:r>
              <a:rPr lang="en-US" sz="1199" dirty="0">
                <a:solidFill>
                  <a:schemeClr val="tx2"/>
                </a:solidFill>
              </a:rPr>
              <a:t>Cras ultricies mi eu</a:t>
            </a:r>
          </a:p>
        </p:txBody>
      </p:sp>
      <p:sp>
        <p:nvSpPr>
          <p:cNvPr id="14" name="Rechteck 3"/>
          <p:cNvSpPr>
            <a:spLocks/>
          </p:cNvSpPr>
          <p:nvPr/>
        </p:nvSpPr>
        <p:spPr>
          <a:xfrm>
            <a:off x="1850438" y="3898800"/>
            <a:ext cx="863550" cy="864000"/>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107944"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spcBef>
                <a:spcPts val="300"/>
              </a:spcBef>
            </a:pPr>
            <a:r>
              <a:rPr lang="en-US" sz="1199" dirty="0">
                <a:solidFill>
                  <a:schemeClr val="tx2"/>
                </a:solidFill>
              </a:rPr>
              <a:t>Duis arcu tortor</a:t>
            </a:r>
          </a:p>
        </p:txBody>
      </p:sp>
      <p:sp>
        <p:nvSpPr>
          <p:cNvPr id="15" name="Rechteck 3"/>
          <p:cNvSpPr>
            <a:spLocks/>
          </p:cNvSpPr>
          <p:nvPr/>
        </p:nvSpPr>
        <p:spPr>
          <a:xfrm>
            <a:off x="2857913" y="3898800"/>
            <a:ext cx="863550" cy="864000"/>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107944"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spcBef>
                <a:spcPts val="300"/>
              </a:spcBef>
            </a:pPr>
            <a:r>
              <a:rPr lang="en-US" sz="1199" dirty="0">
                <a:solidFill>
                  <a:schemeClr val="tx2"/>
                </a:solidFill>
              </a:rPr>
              <a:t>At vero eos et accusam</a:t>
            </a:r>
          </a:p>
        </p:txBody>
      </p:sp>
      <p:cxnSp>
        <p:nvCxnSpPr>
          <p:cNvPr id="6" name="Connector: Elbow 5">
            <a:extLst>
              <a:ext uri="{FF2B5EF4-FFF2-40B4-BE49-F238E27FC236}">
                <a16:creationId xmlns:a16="http://schemas.microsoft.com/office/drawing/2014/main" id="{62BEA24C-1498-483C-95C1-48982DC87DBF}"/>
              </a:ext>
            </a:extLst>
          </p:cNvPr>
          <p:cNvCxnSpPr>
            <a:cxnSpLocks/>
            <a:stCxn id="84" idx="0"/>
            <a:endCxn id="21" idx="0"/>
          </p:cNvCxnSpPr>
          <p:nvPr/>
        </p:nvCxnSpPr>
        <p:spPr bwMode="auto">
          <a:xfrm rot="5400000" flipH="1" flipV="1">
            <a:off x="6097932" y="-996919"/>
            <a:ext cx="12700" cy="7631438"/>
          </a:xfrm>
          <a:prstGeom prst="bentConnector3">
            <a:avLst>
              <a:gd name="adj1" fmla="val 1800000"/>
            </a:avLst>
          </a:prstGeom>
          <a:solidFill>
            <a:schemeClr val="tx2"/>
          </a:solidFill>
          <a:ln w="12700" cap="flat" cmpd="sng" algn="ctr">
            <a:solidFill>
              <a:srgbClr val="9999A9"/>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7" name="Text Box 3">
            <a:extLst>
              <a:ext uri="{FF2B5EF4-FFF2-40B4-BE49-F238E27FC236}">
                <a16:creationId xmlns:a16="http://schemas.microsoft.com/office/drawing/2014/main" id="{ACAC85B6-CCD2-489B-ACF5-8F968772B3EA}"/>
              </a:ext>
            </a:extLst>
          </p:cNvPr>
          <p:cNvSpPr txBox="1">
            <a:spLocks noChangeArrowheads="1"/>
          </p:cNvSpPr>
          <p:nvPr>
            <p:custDataLst>
              <p:tags r:id="rId3"/>
            </p:custDataLst>
          </p:nvPr>
        </p:nvSpPr>
        <p:spPr bwMode="auto">
          <a:xfrm>
            <a:off x="8474400" y="3718800"/>
            <a:ext cx="2878501" cy="2088000"/>
          </a:xfrm>
          <a:prstGeom prst="rect">
            <a:avLst/>
          </a:prstGeom>
          <a:noFill/>
          <a:ln w="12700">
            <a:noFill/>
          </a:ln>
          <a:effectLst/>
        </p:spPr>
        <p:txBody>
          <a:bodyPr lIns="0" tIns="108000" rIns="0" bIns="0">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180000" indent="-180000" defTabSz="913943" eaLnBrk="1" hangingPunct="1">
              <a:spcBef>
                <a:spcPts val="300"/>
              </a:spcBef>
              <a:buClr>
                <a:srgbClr val="009999"/>
              </a:buClr>
              <a:buSzPct val="100000"/>
              <a:buFont typeface="Arial" pitchFamily="34" charset="0"/>
              <a:buChar char="•"/>
              <a:defRPr/>
            </a:pPr>
            <a:r>
              <a:rPr lang="en-US" sz="1399" dirty="0">
                <a:solidFill>
                  <a:srgbClr val="9999A9"/>
                </a:solidFill>
                <a:latin typeface="+mn-lt"/>
              </a:rPr>
              <a:t>At vero eos et accusam</a:t>
            </a:r>
          </a:p>
        </p:txBody>
      </p:sp>
      <p:sp>
        <p:nvSpPr>
          <p:cNvPr id="3" name="Footer Placeholder 2">
            <a:extLst>
              <a:ext uri="{FF2B5EF4-FFF2-40B4-BE49-F238E27FC236}">
                <a16:creationId xmlns:a16="http://schemas.microsoft.com/office/drawing/2014/main" id="{2576C6F0-D651-4C7B-98A9-9EEB049AA059}"/>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5" name="Slide Number Placeholder 4">
            <a:extLst>
              <a:ext uri="{FF2B5EF4-FFF2-40B4-BE49-F238E27FC236}">
                <a16:creationId xmlns:a16="http://schemas.microsoft.com/office/drawing/2014/main" id="{E13D9B2A-540B-4F52-B74F-0B0A88DE6177}"/>
              </a:ext>
            </a:extLst>
          </p:cNvPr>
          <p:cNvSpPr>
            <a:spLocks noGrp="1"/>
          </p:cNvSpPr>
          <p:nvPr>
            <p:ph type="sldNum" sz="quarter" idx="11"/>
          </p:nvPr>
        </p:nvSpPr>
        <p:spPr/>
        <p:txBody>
          <a:bodyPr/>
          <a:lstStyle/>
          <a:p>
            <a:r>
              <a:rPr lang="en-US" dirty="0"/>
              <a:t>Page </a:t>
            </a:r>
            <a:fld id="{15EBE321-CBB1-4E91-BD14-37C8D44326FB}" type="slidenum">
              <a:rPr lang="en-US" smtClean="0"/>
              <a:pPr/>
              <a:t>69</a:t>
            </a:fld>
            <a:endParaRPr lang="en-US" dirty="0"/>
          </a:p>
        </p:txBody>
      </p:sp>
    </p:spTree>
    <p:extLst>
      <p:ext uri="{BB962C8B-B14F-4D97-AF65-F5344CB8AC3E}">
        <p14:creationId xmlns:p14="http://schemas.microsoft.com/office/powerpoint/2010/main" val="25402161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FA780292-C0CC-4592-821D-49442EB402A4}"/>
              </a:ext>
            </a:extLst>
          </p:cNvPr>
          <p:cNvSpPr>
            <a:spLocks noGrp="1"/>
          </p:cNvSpPr>
          <p:nvPr>
            <p:ph type="title"/>
          </p:nvPr>
        </p:nvSpPr>
        <p:spPr/>
        <p:txBody>
          <a:bodyPr/>
          <a:lstStyle/>
          <a:p>
            <a:r>
              <a:rPr lang="en-US" dirty="0"/>
              <a:t>Table of contents</a:t>
            </a:r>
            <a:br>
              <a:rPr lang="en-US" dirty="0"/>
            </a:br>
            <a:r>
              <a:rPr lang="en-US" b="0" dirty="0"/>
              <a:t>Summary zoom</a:t>
            </a:r>
          </a:p>
        </p:txBody>
      </p:sp>
      <mc:AlternateContent xmlns:mc="http://schemas.openxmlformats.org/markup-compatibility/2006">
        <mc:Choice xmlns:psuz="http://schemas.microsoft.com/office/powerpoint/2016/summaryzoom" Requires="psuz">
          <p:graphicFrame>
            <p:nvGraphicFramePr>
              <p:cNvPr id="7" name="Summary Zoom">
                <a:extLst>
                  <a:ext uri="{FF2B5EF4-FFF2-40B4-BE49-F238E27FC236}">
                    <a16:creationId xmlns:a16="http://schemas.microsoft.com/office/drawing/2014/main" id="{894F39BB-9840-4FB8-A9D1-94250FBE0564}"/>
                  </a:ext>
                </a:extLst>
              </p:cNvPr>
              <p:cNvGraphicFramePr>
                <a:graphicFrameLocks noChangeAspect="1"/>
              </p:cNvGraphicFramePr>
              <p:nvPr>
                <p:extLst>
                  <p:ext uri="{D42A27DB-BD31-4B8C-83A1-F6EECF244321}">
                    <p14:modId xmlns:p14="http://schemas.microsoft.com/office/powerpoint/2010/main" val="1259446452"/>
                  </p:ext>
                </p:extLst>
              </p:nvPr>
            </p:nvGraphicFramePr>
            <p:xfrm>
              <a:off x="0" y="1414464"/>
              <a:ext cx="11232000" cy="4752974"/>
            </p:xfrm>
            <a:graphic>
              <a:graphicData uri="http://schemas.microsoft.com/office/powerpoint/2016/summaryzoom">
                <psuz:summaryZm>
                  <psuz:summaryZmObj sectionId="{82EB00F8-8AD4-49DC-AE0F-0697B7A55BEB}">
                    <psuz:zmPr id="{D9FEA4D0-59BC-4546-A961-9689BF2B2059}" transitionDur="1000">
                      <p166:blipFill xmlns:p166="http://schemas.microsoft.com/office/powerpoint/2016/6/main">
                        <a:blip r:embed="rId2"/>
                        <a:stretch>
                          <a:fillRect/>
                        </a:stretch>
                      </p166:blipFill>
                      <p166:spPr xmlns:p166="http://schemas.microsoft.com/office/powerpoint/2016/6/main">
                        <a:xfrm>
                          <a:off x="419445" y="149392"/>
                          <a:ext cx="2527200" cy="1421550"/>
                        </a:xfrm>
                        <a:prstGeom prst="rect">
                          <a:avLst/>
                        </a:prstGeom>
                        <a:ln w="3175">
                          <a:solidFill>
                            <a:prstClr val="ltGray"/>
                          </a:solidFill>
                        </a:ln>
                      </p166:spPr>
                    </psuz:zmPr>
                  </psuz:summaryZmObj>
                  <psuz:summaryZmObj sectionId="{7F354361-FF90-4124-96AC-C4B45EDD16A4}">
                    <psuz:zmPr id="{D4D450E8-C267-42A7-B7E1-321F5DC2C120}" transitionDur="1000">
                      <p166:blipFill xmlns:p166="http://schemas.microsoft.com/office/powerpoint/2016/6/main">
                        <a:blip r:embed="rId3"/>
                        <a:stretch>
                          <a:fillRect/>
                        </a:stretch>
                      </p166:blipFill>
                      <p166:spPr xmlns:p166="http://schemas.microsoft.com/office/powerpoint/2016/6/main">
                        <a:xfrm>
                          <a:off x="3041415" y="149392"/>
                          <a:ext cx="2527200" cy="1421550"/>
                        </a:xfrm>
                        <a:prstGeom prst="rect">
                          <a:avLst/>
                        </a:prstGeom>
                        <a:ln w="3175">
                          <a:solidFill>
                            <a:prstClr val="ltGray"/>
                          </a:solidFill>
                        </a:ln>
                      </p166:spPr>
                    </psuz:zmPr>
                  </psuz:summaryZmObj>
                  <psuz:summaryZmObj sectionId="{0353CE42-E203-4E4E-9A10-2F75C4EFBF7D}">
                    <psuz:zmPr id="{F57A043E-DD75-4563-8637-61F4508089BF}" transitionDur="1000">
                      <p166:blipFill xmlns:p166="http://schemas.microsoft.com/office/powerpoint/2016/6/main">
                        <a:blip r:embed="rId4"/>
                        <a:stretch>
                          <a:fillRect/>
                        </a:stretch>
                      </p166:blipFill>
                      <p166:spPr xmlns:p166="http://schemas.microsoft.com/office/powerpoint/2016/6/main">
                        <a:xfrm>
                          <a:off x="5663385" y="149392"/>
                          <a:ext cx="2527200" cy="1421550"/>
                        </a:xfrm>
                        <a:prstGeom prst="rect">
                          <a:avLst/>
                        </a:prstGeom>
                        <a:ln w="3175">
                          <a:solidFill>
                            <a:prstClr val="ltGray"/>
                          </a:solidFill>
                        </a:ln>
                      </p166:spPr>
                    </psuz:zmPr>
                  </psuz:summaryZmObj>
                  <psuz:summaryZmObj sectionId="{01432623-D2A1-4A73-98CB-3E6442AAA95F}">
                    <psuz:zmPr id="{4F2BDCEE-4799-4220-85D3-1416B6E4691C}" transitionDur="1000">
                      <p166:blipFill xmlns:p166="http://schemas.microsoft.com/office/powerpoint/2016/6/main">
                        <a:blip r:embed="rId5"/>
                        <a:stretch>
                          <a:fillRect/>
                        </a:stretch>
                      </p166:blipFill>
                      <p166:spPr xmlns:p166="http://schemas.microsoft.com/office/powerpoint/2016/6/main">
                        <a:xfrm>
                          <a:off x="8285355" y="149392"/>
                          <a:ext cx="2527200" cy="1421550"/>
                        </a:xfrm>
                        <a:prstGeom prst="rect">
                          <a:avLst/>
                        </a:prstGeom>
                        <a:ln w="3175">
                          <a:solidFill>
                            <a:prstClr val="ltGray"/>
                          </a:solidFill>
                        </a:ln>
                      </p166:spPr>
                    </psuz:zmPr>
                  </psuz:summaryZmObj>
                  <psuz:summaryZmObj sectionId="{35A22F6D-2F21-4260-BA10-36552A5BD63C}">
                    <psuz:zmPr id="{A3D4BEFF-5F07-411D-9419-97274138C5CE}" transitionDur="1000">
                      <p166:blipFill xmlns:p166="http://schemas.microsoft.com/office/powerpoint/2016/6/main">
                        <a:blip r:embed="rId6"/>
                        <a:stretch>
                          <a:fillRect/>
                        </a:stretch>
                      </p166:blipFill>
                      <p166:spPr xmlns:p166="http://schemas.microsoft.com/office/powerpoint/2016/6/main">
                        <a:xfrm>
                          <a:off x="419445" y="1665712"/>
                          <a:ext cx="2527200" cy="1421550"/>
                        </a:xfrm>
                        <a:prstGeom prst="rect">
                          <a:avLst/>
                        </a:prstGeom>
                        <a:ln w="3175">
                          <a:solidFill>
                            <a:prstClr val="ltGray"/>
                          </a:solidFill>
                        </a:ln>
                      </p166:spPr>
                    </psuz:zmPr>
                  </psuz:summaryZmObj>
                  <psuz:summaryZmObj sectionId="{0353BAA8-9090-4EB5-9F7B-FC2640975D11}">
                    <psuz:zmPr id="{F9F8E0D4-945B-4912-968D-1D8C4B3DE636}" transitionDur="1000">
                      <p166:blipFill xmlns:p166="http://schemas.microsoft.com/office/powerpoint/2016/6/main">
                        <a:blip r:embed="rId7"/>
                        <a:stretch>
                          <a:fillRect/>
                        </a:stretch>
                      </p166:blipFill>
                      <p166:spPr xmlns:p166="http://schemas.microsoft.com/office/powerpoint/2016/6/main">
                        <a:xfrm>
                          <a:off x="3041415" y="1665712"/>
                          <a:ext cx="2527200" cy="1421550"/>
                        </a:xfrm>
                        <a:prstGeom prst="rect">
                          <a:avLst/>
                        </a:prstGeom>
                        <a:ln w="3175">
                          <a:solidFill>
                            <a:prstClr val="ltGray"/>
                          </a:solidFill>
                        </a:ln>
                      </p166:spPr>
                    </psuz:zmPr>
                  </psuz:summaryZmObj>
                  <psuz:summaryZmObj sectionId="{EF40A544-055D-4D51-BA7E-864194FA4EA5}">
                    <psuz:zmPr id="{04AF24B0-AD00-4CD8-863E-2995366D915C}" transitionDur="1000">
                      <p166:blipFill xmlns:p166="http://schemas.microsoft.com/office/powerpoint/2016/6/main">
                        <a:blip r:embed="rId8"/>
                        <a:stretch>
                          <a:fillRect/>
                        </a:stretch>
                      </p166:blipFill>
                      <p166:spPr xmlns:p166="http://schemas.microsoft.com/office/powerpoint/2016/6/main">
                        <a:xfrm>
                          <a:off x="5663385" y="1665712"/>
                          <a:ext cx="2527200" cy="1421550"/>
                        </a:xfrm>
                        <a:prstGeom prst="rect">
                          <a:avLst/>
                        </a:prstGeom>
                        <a:ln w="3175">
                          <a:solidFill>
                            <a:prstClr val="ltGray"/>
                          </a:solidFill>
                        </a:ln>
                      </p166:spPr>
                    </psuz:zmPr>
                  </psuz:summaryZmObj>
                  <psuz:summaryZmObj sectionId="{DAAA8786-9344-4C12-AF84-7EAE7E033BF8}">
                    <psuz:zmPr id="{A65F7A37-F0C8-4380-B4CE-58125C278916}" transitionDur="1000">
                      <p166:blipFill xmlns:p166="http://schemas.microsoft.com/office/powerpoint/2016/6/main">
                        <a:blip r:embed="rId9"/>
                        <a:stretch>
                          <a:fillRect/>
                        </a:stretch>
                      </p166:blipFill>
                      <p166:spPr xmlns:p166="http://schemas.microsoft.com/office/powerpoint/2016/6/main">
                        <a:xfrm>
                          <a:off x="8285355" y="1665712"/>
                          <a:ext cx="2527200" cy="1421550"/>
                        </a:xfrm>
                        <a:prstGeom prst="rect">
                          <a:avLst/>
                        </a:prstGeom>
                        <a:ln w="3175">
                          <a:solidFill>
                            <a:prstClr val="ltGray"/>
                          </a:solidFill>
                        </a:ln>
                      </p166:spPr>
                    </psuz:zmPr>
                  </psuz:summaryZmObj>
                  <psuz:summaryZmObj sectionId="{E63355BD-47AE-4C30-876D-7EDE4EA41504}">
                    <psuz:zmPr id="{509CFC5B-C6B7-4BEF-8B44-FE6CC2DA4499}" transitionDur="1000">
                      <p166:blipFill xmlns:p166="http://schemas.microsoft.com/office/powerpoint/2016/6/main">
                        <a:blip r:embed="rId10"/>
                        <a:stretch>
                          <a:fillRect/>
                        </a:stretch>
                      </p166:blipFill>
                      <p166:spPr xmlns:p166="http://schemas.microsoft.com/office/powerpoint/2016/6/main">
                        <a:xfrm>
                          <a:off x="419445" y="3182032"/>
                          <a:ext cx="2527200" cy="1421550"/>
                        </a:xfrm>
                        <a:prstGeom prst="rect">
                          <a:avLst/>
                        </a:prstGeom>
                        <a:ln w="3175">
                          <a:solidFill>
                            <a:prstClr val="ltGray"/>
                          </a:solidFill>
                        </a:ln>
                      </p166:spPr>
                    </psuz:zmPr>
                  </psuz:summaryZmObj>
                  <psuz:summaryZmObj sectionId="{0D568892-780D-4C8E-9447-F21546C88527}">
                    <psuz:zmPr id="{25A42D7E-FB99-42CB-8CB3-4864993FAB8E}" transitionDur="1000">
                      <p166:blipFill xmlns:p166="http://schemas.microsoft.com/office/powerpoint/2016/6/main">
                        <a:blip r:embed="rId11"/>
                        <a:stretch>
                          <a:fillRect/>
                        </a:stretch>
                      </p166:blipFill>
                      <p166:spPr xmlns:p166="http://schemas.microsoft.com/office/powerpoint/2016/6/main">
                        <a:xfrm>
                          <a:off x="3041415" y="3182032"/>
                          <a:ext cx="2527200" cy="1421550"/>
                        </a:xfrm>
                        <a:prstGeom prst="rect">
                          <a:avLst/>
                        </a:prstGeom>
                        <a:ln w="3175">
                          <a:solidFill>
                            <a:schemeClr val="accent2"/>
                          </a:solidFill>
                        </a:ln>
                        <a:effectLst/>
                      </p166:spPr>
                    </psuz:zmPr>
                  </psuz:summaryZmObj>
                  <psuz:gridLayout/>
                </psuz:summaryZm>
              </a:graphicData>
            </a:graphic>
          </p:graphicFrame>
        </mc:Choice>
        <mc:Fallback>
          <p:grpSp>
            <p:nvGrpSpPr>
              <p:cNvPr id="7" name="Summary Zoom">
                <a:extLst>
                  <a:ext uri="{FF2B5EF4-FFF2-40B4-BE49-F238E27FC236}">
                    <a16:creationId xmlns:a16="http://schemas.microsoft.com/office/drawing/2014/main" id="{894F39BB-9840-4FB8-A9D1-94250FBE0564}"/>
                  </a:ext>
                </a:extLst>
              </p:cNvPr>
              <p:cNvGrpSpPr>
                <a:grpSpLocks noGrp="1" noUngrp="1" noRot="1" noChangeAspect="1" noMove="1" noResize="1"/>
              </p:cNvGrpSpPr>
              <p:nvPr/>
            </p:nvGrpSpPr>
            <p:grpSpPr>
              <a:xfrm>
                <a:off x="0" y="1414464"/>
                <a:ext cx="11232000" cy="4752974"/>
                <a:chOff x="0" y="1414464"/>
                <a:chExt cx="11232000" cy="4752974"/>
              </a:xfrm>
            </p:grpSpPr>
            <p:pic>
              <p:nvPicPr>
                <p:cNvPr id="5" name="Grafik 5">
                  <a:hlinkClick r:id="rId12" action="ppaction://hlinksldjump"/>
                </p:cNvPr>
                <p:cNvPicPr>
                  <a:picLocks noSelect="1" noRot="1" noChangeAspect="1" noMove="1" noResize="1" noEditPoints="1" noAdjustHandles="1" noChangeArrowheads="1" noChangeShapeType="1"/>
                </p:cNvPicPr>
                <p:nvPr/>
              </p:nvPicPr>
              <p:blipFill>
                <a:blip r:embed="rId2"/>
                <a:stretch>
                  <a:fillRect/>
                </a:stretch>
              </p:blipFill>
              <p:spPr>
                <a:xfrm>
                  <a:off x="419445" y="1563856"/>
                  <a:ext cx="2527200" cy="1421550"/>
                </a:xfrm>
                <a:prstGeom prst="rect">
                  <a:avLst/>
                </a:prstGeom>
                <a:ln w="3175">
                  <a:solidFill>
                    <a:prstClr val="ltGray"/>
                  </a:solidFill>
                </a:ln>
              </p:spPr>
            </p:pic>
            <p:pic>
              <p:nvPicPr>
                <p:cNvPr id="6" name="Grafik 6">
                  <a:hlinkClick r:id="rId13" action="ppaction://hlinksldjump"/>
                </p:cNvPr>
                <p:cNvPicPr>
                  <a:picLocks noSelect="1" noRot="1" noChangeAspect="1" noMove="1" noResize="1" noEditPoints="1" noAdjustHandles="1" noChangeArrowheads="1" noChangeShapeType="1"/>
                </p:cNvPicPr>
                <p:nvPr/>
              </p:nvPicPr>
              <p:blipFill>
                <a:blip r:embed="rId3"/>
                <a:stretch>
                  <a:fillRect/>
                </a:stretch>
              </p:blipFill>
              <p:spPr>
                <a:xfrm>
                  <a:off x="3041415" y="1563856"/>
                  <a:ext cx="2527200" cy="1421550"/>
                </a:xfrm>
                <a:prstGeom prst="rect">
                  <a:avLst/>
                </a:prstGeom>
                <a:ln w="3175">
                  <a:solidFill>
                    <a:prstClr val="ltGray"/>
                  </a:solidFill>
                </a:ln>
              </p:spPr>
            </p:pic>
            <p:pic>
              <p:nvPicPr>
                <p:cNvPr id="9" name="Grafik 9">
                  <a:hlinkClick r:id="rId14" action="ppaction://hlinksldjump"/>
                </p:cNvPr>
                <p:cNvPicPr>
                  <a:picLocks noSelect="1" noRot="1" noChangeAspect="1" noMove="1" noResize="1" noEditPoints="1" noAdjustHandles="1" noChangeArrowheads="1" noChangeShapeType="1"/>
                </p:cNvPicPr>
                <p:nvPr/>
              </p:nvPicPr>
              <p:blipFill>
                <a:blip r:embed="rId4"/>
                <a:stretch>
                  <a:fillRect/>
                </a:stretch>
              </p:blipFill>
              <p:spPr>
                <a:xfrm>
                  <a:off x="5663385" y="1563856"/>
                  <a:ext cx="2527200" cy="1421550"/>
                </a:xfrm>
                <a:prstGeom prst="rect">
                  <a:avLst/>
                </a:prstGeom>
                <a:ln w="3175">
                  <a:solidFill>
                    <a:prstClr val="ltGray"/>
                  </a:solidFill>
                </a:ln>
              </p:spPr>
            </p:pic>
            <p:pic>
              <p:nvPicPr>
                <p:cNvPr id="10" name="Grafik 10">
                  <a:hlinkClick r:id="rId15" action="ppaction://hlinksldjump"/>
                </p:cNvPr>
                <p:cNvPicPr>
                  <a:picLocks noSelect="1" noRot="1" noChangeAspect="1" noMove="1" noResize="1" noEditPoints="1" noAdjustHandles="1" noChangeArrowheads="1" noChangeShapeType="1"/>
                </p:cNvPicPr>
                <p:nvPr/>
              </p:nvPicPr>
              <p:blipFill>
                <a:blip r:embed="rId5"/>
                <a:stretch>
                  <a:fillRect/>
                </a:stretch>
              </p:blipFill>
              <p:spPr>
                <a:xfrm>
                  <a:off x="8285355" y="1563856"/>
                  <a:ext cx="2527200" cy="1421550"/>
                </a:xfrm>
                <a:prstGeom prst="rect">
                  <a:avLst/>
                </a:prstGeom>
                <a:ln w="3175">
                  <a:solidFill>
                    <a:prstClr val="ltGray"/>
                  </a:solidFill>
                </a:ln>
              </p:spPr>
            </p:pic>
            <p:pic>
              <p:nvPicPr>
                <p:cNvPr id="11" name="Grafik 11">
                  <a:hlinkClick r:id="rId16" action="ppaction://hlinksldjump"/>
                </p:cNvPr>
                <p:cNvPicPr>
                  <a:picLocks noSelect="1" noRot="1" noChangeAspect="1" noMove="1" noResize="1" noEditPoints="1" noAdjustHandles="1" noChangeArrowheads="1" noChangeShapeType="1"/>
                </p:cNvPicPr>
                <p:nvPr/>
              </p:nvPicPr>
              <p:blipFill>
                <a:blip r:embed="rId6"/>
                <a:stretch>
                  <a:fillRect/>
                </a:stretch>
              </p:blipFill>
              <p:spPr>
                <a:xfrm>
                  <a:off x="419445" y="3080176"/>
                  <a:ext cx="2527200" cy="1421550"/>
                </a:xfrm>
                <a:prstGeom prst="rect">
                  <a:avLst/>
                </a:prstGeom>
                <a:ln w="3175">
                  <a:solidFill>
                    <a:prstClr val="ltGray"/>
                  </a:solidFill>
                </a:ln>
              </p:spPr>
            </p:pic>
            <p:pic>
              <p:nvPicPr>
                <p:cNvPr id="12" name="Grafik 12">
                  <a:hlinkClick r:id="rId17" action="ppaction://hlinksldjump"/>
                </p:cNvPr>
                <p:cNvPicPr>
                  <a:picLocks noSelect="1" noRot="1" noChangeAspect="1" noMove="1" noResize="1" noEditPoints="1" noAdjustHandles="1" noChangeArrowheads="1" noChangeShapeType="1"/>
                </p:cNvPicPr>
                <p:nvPr/>
              </p:nvPicPr>
              <p:blipFill>
                <a:blip r:embed="rId7"/>
                <a:stretch>
                  <a:fillRect/>
                </a:stretch>
              </p:blipFill>
              <p:spPr>
                <a:xfrm>
                  <a:off x="3041415" y="3080176"/>
                  <a:ext cx="2527200" cy="1421550"/>
                </a:xfrm>
                <a:prstGeom prst="rect">
                  <a:avLst/>
                </a:prstGeom>
                <a:ln w="3175">
                  <a:solidFill>
                    <a:prstClr val="ltGray"/>
                  </a:solidFill>
                </a:ln>
              </p:spPr>
            </p:pic>
            <p:pic>
              <p:nvPicPr>
                <p:cNvPr id="13" name="Grafik 13">
                  <a:hlinkClick r:id="rId18" action="ppaction://hlinksldjump"/>
                </p:cNvPr>
                <p:cNvPicPr>
                  <a:picLocks noSelect="1" noRot="1" noChangeAspect="1" noMove="1" noResize="1" noEditPoints="1" noAdjustHandles="1" noChangeArrowheads="1" noChangeShapeType="1"/>
                </p:cNvPicPr>
                <p:nvPr/>
              </p:nvPicPr>
              <p:blipFill>
                <a:blip r:embed="rId8"/>
                <a:stretch>
                  <a:fillRect/>
                </a:stretch>
              </p:blipFill>
              <p:spPr>
                <a:xfrm>
                  <a:off x="5663385" y="3080176"/>
                  <a:ext cx="2527200" cy="1421550"/>
                </a:xfrm>
                <a:prstGeom prst="rect">
                  <a:avLst/>
                </a:prstGeom>
                <a:ln w="3175">
                  <a:solidFill>
                    <a:prstClr val="ltGray"/>
                  </a:solidFill>
                </a:ln>
              </p:spPr>
            </p:pic>
            <p:pic>
              <p:nvPicPr>
                <p:cNvPr id="14" name="Grafik 14">
                  <a:hlinkClick r:id="rId19" action="ppaction://hlinksldjump"/>
                </p:cNvPr>
                <p:cNvPicPr>
                  <a:picLocks noSelect="1" noRot="1" noChangeAspect="1" noMove="1" noResize="1" noEditPoints="1" noAdjustHandles="1" noChangeArrowheads="1" noChangeShapeType="1"/>
                </p:cNvPicPr>
                <p:nvPr/>
              </p:nvPicPr>
              <p:blipFill>
                <a:blip r:embed="rId9"/>
                <a:stretch>
                  <a:fillRect/>
                </a:stretch>
              </p:blipFill>
              <p:spPr>
                <a:xfrm>
                  <a:off x="8285355" y="3080176"/>
                  <a:ext cx="2527200" cy="1421550"/>
                </a:xfrm>
                <a:prstGeom prst="rect">
                  <a:avLst/>
                </a:prstGeom>
                <a:ln w="3175">
                  <a:solidFill>
                    <a:prstClr val="ltGray"/>
                  </a:solidFill>
                </a:ln>
              </p:spPr>
            </p:pic>
            <p:pic>
              <p:nvPicPr>
                <p:cNvPr id="15" name="Grafik 15">
                  <a:hlinkClick r:id="rId20" action="ppaction://hlinksldjump"/>
                </p:cNvPr>
                <p:cNvPicPr>
                  <a:picLocks noSelect="1" noRot="1" noChangeAspect="1" noMove="1" noResize="1" noEditPoints="1" noAdjustHandles="1" noChangeArrowheads="1" noChangeShapeType="1"/>
                </p:cNvPicPr>
                <p:nvPr/>
              </p:nvPicPr>
              <p:blipFill>
                <a:blip r:embed="rId10"/>
                <a:stretch>
                  <a:fillRect/>
                </a:stretch>
              </p:blipFill>
              <p:spPr>
                <a:xfrm>
                  <a:off x="419445" y="4596496"/>
                  <a:ext cx="2527200" cy="1421550"/>
                </a:xfrm>
                <a:prstGeom prst="rect">
                  <a:avLst/>
                </a:prstGeom>
                <a:ln w="3175">
                  <a:solidFill>
                    <a:prstClr val="ltGray"/>
                  </a:solidFill>
                </a:ln>
              </p:spPr>
            </p:pic>
            <p:pic>
              <p:nvPicPr>
                <p:cNvPr id="16" name="Grafik 16">
                  <a:hlinkClick r:id="rId21" action="ppaction://hlinksldjump"/>
                </p:cNvPr>
                <p:cNvPicPr>
                  <a:picLocks noSelect="1" noRot="1" noChangeAspect="1" noMove="1" noResize="1" noEditPoints="1" noAdjustHandles="1" noChangeArrowheads="1" noChangeShapeType="1"/>
                </p:cNvPicPr>
                <p:nvPr/>
              </p:nvPicPr>
              <p:blipFill>
                <a:blip r:embed="rId11"/>
                <a:stretch>
                  <a:fillRect/>
                </a:stretch>
              </p:blipFill>
              <p:spPr>
                <a:xfrm>
                  <a:off x="3041415" y="4596496"/>
                  <a:ext cx="2527200" cy="1421550"/>
                </a:xfrm>
                <a:prstGeom prst="rect">
                  <a:avLst/>
                </a:prstGeom>
                <a:ln w="3175">
                  <a:solidFill>
                    <a:schemeClr val="accent2"/>
                  </a:solidFill>
                </a:ln>
                <a:effectLst/>
              </p:spPr>
            </p:pic>
          </p:grpSp>
        </mc:Fallback>
      </mc:AlternateContent>
      <p:sp>
        <p:nvSpPr>
          <p:cNvPr id="4" name="Footer Placeholder">
            <a:extLst>
              <a:ext uri="{FF2B5EF4-FFF2-40B4-BE49-F238E27FC236}">
                <a16:creationId xmlns:a16="http://schemas.microsoft.com/office/drawing/2014/main" id="{8BD53B96-555B-4A23-B598-D2DC9CBA86C8}"/>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2" name="Slide Number Placeholder">
            <a:extLst>
              <a:ext uri="{FF2B5EF4-FFF2-40B4-BE49-F238E27FC236}">
                <a16:creationId xmlns:a16="http://schemas.microsoft.com/office/drawing/2014/main" id="{CF54B220-2AAE-4BF4-B719-B55F4D3786D0}"/>
              </a:ext>
            </a:extLst>
          </p:cNvPr>
          <p:cNvSpPr>
            <a:spLocks noGrp="1"/>
          </p:cNvSpPr>
          <p:nvPr>
            <p:ph type="sldNum" sz="quarter" idx="11"/>
          </p:nvPr>
        </p:nvSpPr>
        <p:spPr/>
        <p:txBody>
          <a:bodyPr/>
          <a:lstStyle/>
          <a:p>
            <a:r>
              <a:rPr lang="en-US" dirty="0"/>
              <a:t>Page </a:t>
            </a:r>
            <a:fld id="{15EBE321-CBB1-4E91-BD14-37C8D44326FB}" type="slidenum">
              <a:rPr lang="en-US" smtClean="0"/>
              <a:pPr/>
              <a:t>7</a:t>
            </a:fld>
            <a:endParaRPr lang="en-US" dirty="0"/>
          </a:p>
        </p:txBody>
      </p:sp>
      <p:sp>
        <p:nvSpPr>
          <p:cNvPr id="8" name="Information - please remove!">
            <a:extLst>
              <a:ext uri="{FF2B5EF4-FFF2-40B4-BE49-F238E27FC236}">
                <a16:creationId xmlns:a16="http://schemas.microsoft.com/office/drawing/2014/main" id="{3A159D1C-1ED6-4A0A-95C3-4E6498720294}"/>
              </a:ext>
            </a:extLst>
          </p:cNvPr>
          <p:cNvSpPr/>
          <p:nvPr/>
        </p:nvSpPr>
        <p:spPr bwMode="auto">
          <a:xfrm rot="-600000">
            <a:off x="9359708" y="3525754"/>
            <a:ext cx="2448000" cy="2448000"/>
          </a:xfrm>
          <a:prstGeom prst="ellipse">
            <a:avLst/>
          </a:prstGeom>
          <a:solidFill>
            <a:srgbClr val="65CEFF"/>
          </a:solidFill>
          <a:ln w="57150">
            <a:noFill/>
            <a:prstDash val="dash"/>
          </a:ln>
          <a:effectLst/>
        </p:spPr>
        <p:txBody>
          <a:bodyPr wrap="square" lIns="0" tIns="0" rIns="0" bIns="0" numCol="1" spcCol="72000" rtlCol="0" anchor="ctr">
            <a:noAutofit/>
          </a:bodyPr>
          <a:lstStyle/>
          <a:p>
            <a:pPr algn="ctr">
              <a:lnSpc>
                <a:spcPct val="110000"/>
              </a:lnSpc>
              <a:spcBef>
                <a:spcPct val="0"/>
              </a:spcBef>
            </a:pPr>
            <a:r>
              <a:rPr lang="en-US" sz="1300" dirty="0">
                <a:solidFill>
                  <a:schemeClr val="bg1"/>
                </a:solidFill>
              </a:rPr>
              <a:t>The table of contents </a:t>
            </a:r>
            <a:br>
              <a:rPr lang="en-US" sz="1300" dirty="0">
                <a:solidFill>
                  <a:schemeClr val="bg1"/>
                </a:solidFill>
              </a:rPr>
            </a:br>
            <a:r>
              <a:rPr lang="en-US" sz="1300" dirty="0">
                <a:solidFill>
                  <a:schemeClr val="bg1"/>
                </a:solidFill>
              </a:rPr>
              <a:t>is created with </a:t>
            </a:r>
            <a:br>
              <a:rPr lang="en-US" sz="1300" dirty="0">
                <a:solidFill>
                  <a:schemeClr val="bg1"/>
                </a:solidFill>
              </a:rPr>
            </a:br>
            <a:r>
              <a:rPr lang="en-US" sz="1300" dirty="0">
                <a:solidFill>
                  <a:schemeClr val="bg1"/>
                </a:solidFill>
              </a:rPr>
              <a:t>the function Insert &gt; Summary Zoom. </a:t>
            </a:r>
            <a:br>
              <a:rPr lang="en-US" sz="1300" dirty="0">
                <a:solidFill>
                  <a:schemeClr val="bg1"/>
                </a:solidFill>
              </a:rPr>
            </a:br>
            <a:r>
              <a:rPr lang="en-US" sz="1300" dirty="0">
                <a:solidFill>
                  <a:schemeClr val="bg1"/>
                </a:solidFill>
              </a:rPr>
              <a:t>To edit, click on </a:t>
            </a:r>
            <a:br>
              <a:rPr lang="en-US" sz="1300" dirty="0">
                <a:solidFill>
                  <a:schemeClr val="bg1"/>
                </a:solidFill>
              </a:rPr>
            </a:br>
            <a:r>
              <a:rPr lang="en-US" sz="1300" dirty="0">
                <a:solidFill>
                  <a:schemeClr val="bg1"/>
                </a:solidFill>
              </a:rPr>
              <a:t>“Edit Summary” in the context menu.</a:t>
            </a:r>
          </a:p>
        </p:txBody>
      </p:sp>
    </p:spTree>
    <p:extLst>
      <p:ext uri="{BB962C8B-B14F-4D97-AF65-F5344CB8AC3E}">
        <p14:creationId xmlns:p14="http://schemas.microsoft.com/office/powerpoint/2010/main" val="182494493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ee diagram (vertical) – with detail box</a:t>
            </a:r>
          </a:p>
        </p:txBody>
      </p:sp>
      <p:sp>
        <p:nvSpPr>
          <p:cNvPr id="101" name="Text Box 3"/>
          <p:cNvSpPr txBox="1">
            <a:spLocks noChangeArrowheads="1"/>
          </p:cNvSpPr>
          <p:nvPr>
            <p:custDataLst>
              <p:tags r:id="rId1"/>
            </p:custDataLst>
          </p:nvPr>
        </p:nvSpPr>
        <p:spPr bwMode="auto">
          <a:xfrm>
            <a:off x="1922399" y="4546800"/>
            <a:ext cx="1800000" cy="1620000"/>
          </a:xfrm>
          <a:prstGeom prst="rect">
            <a:avLst/>
          </a:prstGeom>
          <a:noFill/>
          <a:ln w="12700">
            <a:noFill/>
          </a:ln>
          <a:effectLst/>
        </p:spPr>
        <p:txBody>
          <a:bodyPr lIns="0" tIns="108000" rIns="0" bIns="0">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180000" indent="-180000" defTabSz="913943" eaLnBrk="1" hangingPunct="1">
              <a:spcBef>
                <a:spcPts val="300"/>
              </a:spcBef>
              <a:buClr>
                <a:srgbClr val="009999"/>
              </a:buClr>
              <a:buSzPct val="100000"/>
              <a:buFont typeface="Arial" pitchFamily="34" charset="0"/>
              <a:buChar char="•"/>
              <a:defRPr/>
            </a:pPr>
            <a:r>
              <a:rPr lang="en-US" sz="1399" dirty="0">
                <a:solidFill>
                  <a:srgbClr val="66667E"/>
                </a:solidFill>
                <a:latin typeface="+mn-lt"/>
              </a:rPr>
              <a:t>Duis arcu tortor </a:t>
            </a:r>
          </a:p>
          <a:p>
            <a:pPr marL="180000" indent="-180000" defTabSz="913943" eaLnBrk="1" hangingPunct="1">
              <a:spcBef>
                <a:spcPts val="300"/>
              </a:spcBef>
              <a:buClr>
                <a:srgbClr val="009999"/>
              </a:buClr>
              <a:buSzPct val="100000"/>
              <a:buFont typeface="Arial" pitchFamily="34" charset="0"/>
              <a:buChar char="•"/>
              <a:defRPr/>
            </a:pPr>
            <a:r>
              <a:rPr lang="en-US" sz="1399" dirty="0">
                <a:solidFill>
                  <a:srgbClr val="66667E"/>
                </a:solidFill>
                <a:latin typeface="+mn-lt"/>
              </a:rPr>
              <a:t>Phasellus nec sem</a:t>
            </a:r>
          </a:p>
        </p:txBody>
      </p:sp>
      <p:sp>
        <p:nvSpPr>
          <p:cNvPr id="23" name="Text Box 3"/>
          <p:cNvSpPr txBox="1">
            <a:spLocks noChangeArrowheads="1"/>
          </p:cNvSpPr>
          <p:nvPr>
            <p:custDataLst>
              <p:tags r:id="rId2"/>
            </p:custDataLst>
          </p:nvPr>
        </p:nvSpPr>
        <p:spPr bwMode="auto">
          <a:xfrm>
            <a:off x="5198399" y="4546800"/>
            <a:ext cx="1800000" cy="1620000"/>
          </a:xfrm>
          <a:prstGeom prst="rect">
            <a:avLst/>
          </a:prstGeom>
          <a:noFill/>
          <a:ln w="12700">
            <a:noFill/>
          </a:ln>
          <a:effectLst/>
        </p:spPr>
        <p:txBody>
          <a:bodyPr lIns="0" tIns="108000" rIns="0" bIns="0">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180000" indent="-180000" defTabSz="913943" eaLnBrk="1" hangingPunct="1">
              <a:spcBef>
                <a:spcPts val="300"/>
              </a:spcBef>
              <a:buClr>
                <a:srgbClr val="009999"/>
              </a:buClr>
              <a:buSzPct val="100000"/>
              <a:buFont typeface="Arial" pitchFamily="34" charset="0"/>
              <a:buChar char="•"/>
              <a:defRPr/>
            </a:pPr>
            <a:r>
              <a:rPr lang="en-US" sz="1399" dirty="0">
                <a:solidFill>
                  <a:srgbClr val="66667E"/>
                </a:solidFill>
                <a:latin typeface="+mn-lt"/>
              </a:rPr>
              <a:t>Consetetur sadipscing elitr, seddiam nonumy</a:t>
            </a:r>
          </a:p>
          <a:p>
            <a:pPr marL="180000" indent="-180000" defTabSz="913943" eaLnBrk="1" hangingPunct="1">
              <a:spcBef>
                <a:spcPts val="300"/>
              </a:spcBef>
              <a:buClr>
                <a:srgbClr val="009999"/>
              </a:buClr>
              <a:buSzPct val="100000"/>
              <a:buFont typeface="Arial" pitchFamily="34" charset="0"/>
              <a:buChar char="•"/>
              <a:defRPr/>
            </a:pPr>
            <a:r>
              <a:rPr lang="en-US" sz="1399" dirty="0">
                <a:solidFill>
                  <a:srgbClr val="66667E"/>
                </a:solidFill>
                <a:latin typeface="+mn-lt"/>
              </a:rPr>
              <a:t>At vero eos et accusam</a:t>
            </a:r>
          </a:p>
        </p:txBody>
      </p:sp>
      <p:sp>
        <p:nvSpPr>
          <p:cNvPr id="24" name="Text Box 3"/>
          <p:cNvSpPr txBox="1">
            <a:spLocks noChangeArrowheads="1"/>
          </p:cNvSpPr>
          <p:nvPr>
            <p:custDataLst>
              <p:tags r:id="rId3"/>
            </p:custDataLst>
          </p:nvPr>
        </p:nvSpPr>
        <p:spPr bwMode="auto">
          <a:xfrm>
            <a:off x="8474399" y="4546800"/>
            <a:ext cx="1800000" cy="1620000"/>
          </a:xfrm>
          <a:prstGeom prst="rect">
            <a:avLst/>
          </a:prstGeom>
          <a:noFill/>
          <a:ln w="12700">
            <a:noFill/>
          </a:ln>
          <a:effectLst/>
        </p:spPr>
        <p:txBody>
          <a:bodyPr lIns="0" tIns="108000" rIns="0" bIns="0">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180000" indent="-180000" defTabSz="913943" eaLnBrk="1" hangingPunct="1">
              <a:spcBef>
                <a:spcPts val="300"/>
              </a:spcBef>
              <a:buClr>
                <a:srgbClr val="009999"/>
              </a:buClr>
              <a:buSzPct val="100000"/>
              <a:buFont typeface="Arial" pitchFamily="34" charset="0"/>
              <a:buChar char="•"/>
              <a:defRPr/>
            </a:pPr>
            <a:r>
              <a:rPr lang="en-US" sz="1399" dirty="0">
                <a:solidFill>
                  <a:srgbClr val="66667E"/>
                </a:solidFill>
                <a:latin typeface="+mn-lt"/>
              </a:rPr>
              <a:t>Maecenas nec odio</a:t>
            </a:r>
          </a:p>
        </p:txBody>
      </p:sp>
      <p:sp>
        <p:nvSpPr>
          <p:cNvPr id="4" name="Rechteck 3"/>
          <p:cNvSpPr>
            <a:spLocks/>
          </p:cNvSpPr>
          <p:nvPr/>
        </p:nvSpPr>
        <p:spPr>
          <a:xfrm>
            <a:off x="5198400" y="1415848"/>
            <a:ext cx="1799063" cy="395794"/>
          </a:xfrm>
          <a:prstGeom prst="rect">
            <a:avLst/>
          </a:prstGeom>
          <a:solidFill>
            <a:srgbClr val="00646E"/>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107944"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599" b="1" dirty="0">
                <a:solidFill>
                  <a:schemeClr val="bg1"/>
                </a:solidFill>
              </a:rPr>
              <a:t>Phasellus</a:t>
            </a:r>
          </a:p>
        </p:txBody>
      </p:sp>
      <p:sp>
        <p:nvSpPr>
          <p:cNvPr id="13" name="Rechteck 3"/>
          <p:cNvSpPr>
            <a:spLocks/>
          </p:cNvSpPr>
          <p:nvPr/>
        </p:nvSpPr>
        <p:spPr>
          <a:xfrm>
            <a:off x="5198400" y="1882800"/>
            <a:ext cx="1799063" cy="899531"/>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107944"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spcBef>
                <a:spcPts val="300"/>
              </a:spcBef>
            </a:pPr>
            <a:r>
              <a:rPr lang="en-US" sz="1199" dirty="0">
                <a:solidFill>
                  <a:srgbClr val="333353"/>
                </a:solidFill>
              </a:rPr>
              <a:t>At vero eos et accusam</a:t>
            </a:r>
          </a:p>
        </p:txBody>
      </p:sp>
      <p:sp>
        <p:nvSpPr>
          <p:cNvPr id="84" name="Rechteck 3"/>
          <p:cNvSpPr>
            <a:spLocks/>
          </p:cNvSpPr>
          <p:nvPr/>
        </p:nvSpPr>
        <p:spPr>
          <a:xfrm>
            <a:off x="1922400" y="3178800"/>
            <a:ext cx="1799063" cy="395794"/>
          </a:xfrm>
          <a:prstGeom prst="rect">
            <a:avLst/>
          </a:prstGeom>
          <a:solidFill>
            <a:srgbClr val="00FFB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107944"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599" b="1" dirty="0">
                <a:solidFill>
                  <a:schemeClr val="tx2"/>
                </a:solidFill>
              </a:rPr>
              <a:t>Donec sodales</a:t>
            </a:r>
          </a:p>
        </p:txBody>
      </p:sp>
      <p:sp>
        <p:nvSpPr>
          <p:cNvPr id="20" name="Rechteck 3"/>
          <p:cNvSpPr>
            <a:spLocks/>
          </p:cNvSpPr>
          <p:nvPr/>
        </p:nvSpPr>
        <p:spPr>
          <a:xfrm>
            <a:off x="5198400" y="3178800"/>
            <a:ext cx="1799063" cy="395794"/>
          </a:xfrm>
          <a:prstGeom prst="rect">
            <a:avLst/>
          </a:prstGeom>
          <a:solidFill>
            <a:srgbClr val="00FFB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107944"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599" b="1" dirty="0">
                <a:solidFill>
                  <a:schemeClr val="tx2"/>
                </a:solidFill>
              </a:rPr>
              <a:t>Duis arcu tortor</a:t>
            </a:r>
          </a:p>
        </p:txBody>
      </p:sp>
      <p:sp>
        <p:nvSpPr>
          <p:cNvPr id="21" name="Rechteck 3"/>
          <p:cNvSpPr>
            <a:spLocks/>
          </p:cNvSpPr>
          <p:nvPr/>
        </p:nvSpPr>
        <p:spPr>
          <a:xfrm>
            <a:off x="8474400" y="3178800"/>
            <a:ext cx="1799063" cy="395794"/>
          </a:xfrm>
          <a:prstGeom prst="rect">
            <a:avLst/>
          </a:prstGeom>
          <a:solidFill>
            <a:srgbClr val="00FFB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107944"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599" b="1" dirty="0">
                <a:solidFill>
                  <a:schemeClr val="tx2"/>
                </a:solidFill>
              </a:rPr>
              <a:t>Sagittis magna</a:t>
            </a:r>
          </a:p>
        </p:txBody>
      </p:sp>
      <p:sp>
        <p:nvSpPr>
          <p:cNvPr id="14" name="Rechteck 3"/>
          <p:cNvSpPr>
            <a:spLocks/>
          </p:cNvSpPr>
          <p:nvPr/>
        </p:nvSpPr>
        <p:spPr>
          <a:xfrm>
            <a:off x="5198400" y="3646800"/>
            <a:ext cx="1799063" cy="899531"/>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107944"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spcBef>
                <a:spcPts val="300"/>
              </a:spcBef>
            </a:pPr>
            <a:r>
              <a:rPr lang="en-US" sz="1199" dirty="0">
                <a:solidFill>
                  <a:srgbClr val="333353"/>
                </a:solidFill>
              </a:rPr>
              <a:t>Phasellus nec sem</a:t>
            </a:r>
          </a:p>
        </p:txBody>
      </p:sp>
      <p:sp>
        <p:nvSpPr>
          <p:cNvPr id="15" name="Rechteck 3"/>
          <p:cNvSpPr>
            <a:spLocks/>
          </p:cNvSpPr>
          <p:nvPr/>
        </p:nvSpPr>
        <p:spPr>
          <a:xfrm>
            <a:off x="1922400" y="3646800"/>
            <a:ext cx="1799063" cy="899531"/>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107944"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spcBef>
                <a:spcPts val="300"/>
              </a:spcBef>
            </a:pPr>
            <a:r>
              <a:rPr lang="en-US" sz="1199" dirty="0">
                <a:solidFill>
                  <a:srgbClr val="333353"/>
                </a:solidFill>
              </a:rPr>
              <a:t>At vero eos et accusam</a:t>
            </a:r>
          </a:p>
        </p:txBody>
      </p:sp>
      <p:sp>
        <p:nvSpPr>
          <p:cNvPr id="16" name="Rechteck 3"/>
          <p:cNvSpPr>
            <a:spLocks/>
          </p:cNvSpPr>
          <p:nvPr/>
        </p:nvSpPr>
        <p:spPr>
          <a:xfrm>
            <a:off x="8474400" y="3646800"/>
            <a:ext cx="1799063" cy="899531"/>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107944"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spcBef>
                <a:spcPts val="300"/>
              </a:spcBef>
            </a:pPr>
            <a:r>
              <a:rPr lang="en-US" sz="1199" dirty="0">
                <a:solidFill>
                  <a:srgbClr val="333353"/>
                </a:solidFill>
              </a:rPr>
              <a:t>Consetetur sadipscing elitr, seddiam nonumy</a:t>
            </a:r>
          </a:p>
        </p:txBody>
      </p:sp>
      <p:cxnSp>
        <p:nvCxnSpPr>
          <p:cNvPr id="18" name="Straight Connector 17"/>
          <p:cNvCxnSpPr>
            <a:stCxn id="13" idx="2"/>
            <a:endCxn id="20" idx="0"/>
          </p:cNvCxnSpPr>
          <p:nvPr/>
        </p:nvCxnSpPr>
        <p:spPr bwMode="auto">
          <a:xfrm>
            <a:off x="6097932" y="2782331"/>
            <a:ext cx="0" cy="396469"/>
          </a:xfrm>
          <a:prstGeom prst="line">
            <a:avLst/>
          </a:prstGeom>
          <a:solidFill>
            <a:schemeClr val="tx2"/>
          </a:solidFill>
          <a:ln w="12700" cap="flat" cmpd="sng" algn="ctr">
            <a:solidFill>
              <a:srgbClr val="66667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 name="Connector: Elbow 5">
            <a:extLst>
              <a:ext uri="{FF2B5EF4-FFF2-40B4-BE49-F238E27FC236}">
                <a16:creationId xmlns:a16="http://schemas.microsoft.com/office/drawing/2014/main" id="{071348DE-4541-4CE9-BB09-F84BEB118F9A}"/>
              </a:ext>
            </a:extLst>
          </p:cNvPr>
          <p:cNvCxnSpPr>
            <a:stCxn id="84" idx="0"/>
            <a:endCxn id="21" idx="0"/>
          </p:cNvCxnSpPr>
          <p:nvPr/>
        </p:nvCxnSpPr>
        <p:spPr bwMode="auto">
          <a:xfrm rot="5400000" flipH="1" flipV="1">
            <a:off x="6097932" y="-97200"/>
            <a:ext cx="12700" cy="6552000"/>
          </a:xfrm>
          <a:prstGeom prst="bentConnector3">
            <a:avLst>
              <a:gd name="adj1" fmla="val 1800000"/>
            </a:avLst>
          </a:prstGeom>
          <a:solidFill>
            <a:schemeClr val="tx2"/>
          </a:solidFill>
          <a:ln w="12700" cap="flat" cmpd="sng" algn="ctr">
            <a:solidFill>
              <a:srgbClr val="66667E"/>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 name="Footer Placeholder 2">
            <a:extLst>
              <a:ext uri="{FF2B5EF4-FFF2-40B4-BE49-F238E27FC236}">
                <a16:creationId xmlns:a16="http://schemas.microsoft.com/office/drawing/2014/main" id="{5674FEDD-7993-4015-B2CF-3475B186B2BF}"/>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5" name="Slide Number Placeholder 4">
            <a:extLst>
              <a:ext uri="{FF2B5EF4-FFF2-40B4-BE49-F238E27FC236}">
                <a16:creationId xmlns:a16="http://schemas.microsoft.com/office/drawing/2014/main" id="{AF98EF98-8F1D-441F-A6D5-6E7FC20D9042}"/>
              </a:ext>
            </a:extLst>
          </p:cNvPr>
          <p:cNvSpPr>
            <a:spLocks noGrp="1"/>
          </p:cNvSpPr>
          <p:nvPr>
            <p:ph type="sldNum" sz="quarter" idx="11"/>
          </p:nvPr>
        </p:nvSpPr>
        <p:spPr/>
        <p:txBody>
          <a:bodyPr/>
          <a:lstStyle/>
          <a:p>
            <a:r>
              <a:rPr lang="en-US" dirty="0"/>
              <a:t>Page </a:t>
            </a:r>
            <a:fld id="{15EBE321-CBB1-4E91-BD14-37C8D44326FB}" type="slidenum">
              <a:rPr lang="en-US" smtClean="0"/>
              <a:pPr/>
              <a:t>70</a:t>
            </a:fld>
            <a:endParaRPr lang="en-US" dirty="0"/>
          </a:p>
        </p:txBody>
      </p:sp>
    </p:spTree>
    <p:extLst>
      <p:ext uri="{BB962C8B-B14F-4D97-AF65-F5344CB8AC3E}">
        <p14:creationId xmlns:p14="http://schemas.microsoft.com/office/powerpoint/2010/main" val="64822024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ee diagram (vertical) – with detail box</a:t>
            </a:r>
          </a:p>
        </p:txBody>
      </p:sp>
      <p:sp>
        <p:nvSpPr>
          <p:cNvPr id="101" name="Text Box 3"/>
          <p:cNvSpPr txBox="1">
            <a:spLocks noChangeArrowheads="1"/>
          </p:cNvSpPr>
          <p:nvPr>
            <p:custDataLst>
              <p:tags r:id="rId1"/>
            </p:custDataLst>
          </p:nvPr>
        </p:nvSpPr>
        <p:spPr bwMode="auto">
          <a:xfrm>
            <a:off x="1922399" y="4546800"/>
            <a:ext cx="1800000" cy="1620000"/>
          </a:xfrm>
          <a:prstGeom prst="rect">
            <a:avLst/>
          </a:prstGeom>
          <a:noFill/>
          <a:ln w="12700">
            <a:noFill/>
          </a:ln>
          <a:effectLst/>
        </p:spPr>
        <p:txBody>
          <a:bodyPr lIns="0" tIns="108000" rIns="0" bIns="0">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180000" indent="-180000" defTabSz="913943" eaLnBrk="1" hangingPunct="1">
              <a:spcBef>
                <a:spcPts val="300"/>
              </a:spcBef>
              <a:buClr>
                <a:srgbClr val="009999"/>
              </a:buClr>
              <a:buSzPct val="100000"/>
              <a:buFont typeface="Arial" pitchFamily="34" charset="0"/>
              <a:buChar char="•"/>
              <a:defRPr/>
            </a:pPr>
            <a:r>
              <a:rPr lang="en-US" sz="1399" dirty="0">
                <a:solidFill>
                  <a:srgbClr val="9999A9"/>
                </a:solidFill>
                <a:latin typeface="+mn-lt"/>
              </a:rPr>
              <a:t>Duis arcu tortor </a:t>
            </a:r>
          </a:p>
          <a:p>
            <a:pPr marL="180000" indent="-180000" defTabSz="913943" eaLnBrk="1" hangingPunct="1">
              <a:spcBef>
                <a:spcPts val="300"/>
              </a:spcBef>
              <a:buClr>
                <a:srgbClr val="009999"/>
              </a:buClr>
              <a:buSzPct val="100000"/>
              <a:buFont typeface="Arial" pitchFamily="34" charset="0"/>
              <a:buChar char="•"/>
              <a:defRPr/>
            </a:pPr>
            <a:r>
              <a:rPr lang="en-US" sz="1399" dirty="0">
                <a:solidFill>
                  <a:srgbClr val="9999A9"/>
                </a:solidFill>
                <a:latin typeface="+mn-lt"/>
              </a:rPr>
              <a:t>Phasellus nec sem</a:t>
            </a:r>
          </a:p>
        </p:txBody>
      </p:sp>
      <p:sp>
        <p:nvSpPr>
          <p:cNvPr id="23" name="Text Box 3"/>
          <p:cNvSpPr txBox="1">
            <a:spLocks noChangeArrowheads="1"/>
          </p:cNvSpPr>
          <p:nvPr>
            <p:custDataLst>
              <p:tags r:id="rId2"/>
            </p:custDataLst>
          </p:nvPr>
        </p:nvSpPr>
        <p:spPr bwMode="auto">
          <a:xfrm>
            <a:off x="5198399" y="4546800"/>
            <a:ext cx="1800000" cy="1620000"/>
          </a:xfrm>
          <a:prstGeom prst="rect">
            <a:avLst/>
          </a:prstGeom>
          <a:noFill/>
          <a:ln w="12700">
            <a:noFill/>
          </a:ln>
          <a:effectLst/>
        </p:spPr>
        <p:txBody>
          <a:bodyPr lIns="0" tIns="108000" rIns="0" bIns="0">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180000" indent="-180000" defTabSz="913943" eaLnBrk="1" hangingPunct="1">
              <a:spcBef>
                <a:spcPts val="300"/>
              </a:spcBef>
              <a:buClr>
                <a:srgbClr val="009999"/>
              </a:buClr>
              <a:buSzPct val="100000"/>
              <a:buFont typeface="Arial" pitchFamily="34" charset="0"/>
              <a:buChar char="•"/>
              <a:defRPr/>
            </a:pPr>
            <a:r>
              <a:rPr lang="en-US" sz="1399" dirty="0">
                <a:solidFill>
                  <a:srgbClr val="9999A9"/>
                </a:solidFill>
                <a:latin typeface="+mn-lt"/>
              </a:rPr>
              <a:t>Consetetur sadipscing elitr, seddiam nonumy</a:t>
            </a:r>
          </a:p>
          <a:p>
            <a:pPr marL="180000" indent="-180000" defTabSz="913943" eaLnBrk="1" hangingPunct="1">
              <a:spcBef>
                <a:spcPts val="300"/>
              </a:spcBef>
              <a:buClr>
                <a:srgbClr val="009999"/>
              </a:buClr>
              <a:buSzPct val="100000"/>
              <a:buFont typeface="Arial" pitchFamily="34" charset="0"/>
              <a:buChar char="•"/>
              <a:defRPr/>
            </a:pPr>
            <a:r>
              <a:rPr lang="en-US" sz="1399" dirty="0">
                <a:solidFill>
                  <a:srgbClr val="9999A9"/>
                </a:solidFill>
                <a:latin typeface="+mn-lt"/>
              </a:rPr>
              <a:t>At vero eos et accusam</a:t>
            </a:r>
          </a:p>
        </p:txBody>
      </p:sp>
      <p:sp>
        <p:nvSpPr>
          <p:cNvPr id="24" name="Text Box 3"/>
          <p:cNvSpPr txBox="1">
            <a:spLocks noChangeArrowheads="1"/>
          </p:cNvSpPr>
          <p:nvPr>
            <p:custDataLst>
              <p:tags r:id="rId3"/>
            </p:custDataLst>
          </p:nvPr>
        </p:nvSpPr>
        <p:spPr bwMode="auto">
          <a:xfrm>
            <a:off x="8474399" y="4546800"/>
            <a:ext cx="1800000" cy="1620000"/>
          </a:xfrm>
          <a:prstGeom prst="rect">
            <a:avLst/>
          </a:prstGeom>
          <a:noFill/>
          <a:ln w="12700">
            <a:noFill/>
          </a:ln>
          <a:effectLst/>
        </p:spPr>
        <p:txBody>
          <a:bodyPr lIns="0" tIns="108000" rIns="0" bIns="0">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180000" indent="-180000" defTabSz="913943" eaLnBrk="1" hangingPunct="1">
              <a:spcBef>
                <a:spcPts val="300"/>
              </a:spcBef>
              <a:buClr>
                <a:srgbClr val="009999"/>
              </a:buClr>
              <a:buSzPct val="100000"/>
              <a:buFont typeface="Arial" pitchFamily="34" charset="0"/>
              <a:buChar char="•"/>
              <a:defRPr/>
            </a:pPr>
            <a:r>
              <a:rPr lang="en-US" sz="1399" dirty="0">
                <a:solidFill>
                  <a:srgbClr val="9999A9"/>
                </a:solidFill>
                <a:latin typeface="+mn-lt"/>
              </a:rPr>
              <a:t>Maecenas nec odio</a:t>
            </a:r>
          </a:p>
        </p:txBody>
      </p:sp>
      <p:sp>
        <p:nvSpPr>
          <p:cNvPr id="4" name="Rechteck 3"/>
          <p:cNvSpPr>
            <a:spLocks/>
          </p:cNvSpPr>
          <p:nvPr/>
        </p:nvSpPr>
        <p:spPr>
          <a:xfrm>
            <a:off x="5198400" y="1415848"/>
            <a:ext cx="1799063" cy="395794"/>
          </a:xfrm>
          <a:prstGeom prst="rect">
            <a:avLst/>
          </a:prstGeom>
          <a:solidFill>
            <a:srgbClr val="00646E"/>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107944"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599" b="1" dirty="0">
                <a:solidFill>
                  <a:schemeClr val="tx1"/>
                </a:solidFill>
              </a:rPr>
              <a:t>Phasellus</a:t>
            </a:r>
          </a:p>
        </p:txBody>
      </p:sp>
      <p:sp>
        <p:nvSpPr>
          <p:cNvPr id="13" name="Rechteck 3"/>
          <p:cNvSpPr>
            <a:spLocks/>
          </p:cNvSpPr>
          <p:nvPr/>
        </p:nvSpPr>
        <p:spPr>
          <a:xfrm>
            <a:off x="5198400" y="1882800"/>
            <a:ext cx="1799063" cy="899531"/>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107944"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spcBef>
                <a:spcPts val="300"/>
              </a:spcBef>
            </a:pPr>
            <a:r>
              <a:rPr lang="en-US" sz="1199" dirty="0">
                <a:solidFill>
                  <a:schemeClr val="tx2"/>
                </a:solidFill>
              </a:rPr>
              <a:t>At vero eos et accusam</a:t>
            </a:r>
          </a:p>
        </p:txBody>
      </p:sp>
      <p:sp>
        <p:nvSpPr>
          <p:cNvPr id="84" name="Rechteck 3"/>
          <p:cNvSpPr>
            <a:spLocks/>
          </p:cNvSpPr>
          <p:nvPr/>
        </p:nvSpPr>
        <p:spPr>
          <a:xfrm>
            <a:off x="1922400" y="3178800"/>
            <a:ext cx="1799063" cy="395794"/>
          </a:xfrm>
          <a:prstGeom prst="rect">
            <a:avLst/>
          </a:prstGeom>
          <a:solidFill>
            <a:srgbClr val="00FFB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107944"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599" b="1" dirty="0">
                <a:solidFill>
                  <a:schemeClr val="bg2"/>
                </a:solidFill>
              </a:rPr>
              <a:t>Donec sodales</a:t>
            </a:r>
          </a:p>
        </p:txBody>
      </p:sp>
      <p:sp>
        <p:nvSpPr>
          <p:cNvPr id="20" name="Rechteck 3"/>
          <p:cNvSpPr>
            <a:spLocks/>
          </p:cNvSpPr>
          <p:nvPr/>
        </p:nvSpPr>
        <p:spPr>
          <a:xfrm>
            <a:off x="5198400" y="3178800"/>
            <a:ext cx="1799063" cy="395794"/>
          </a:xfrm>
          <a:prstGeom prst="rect">
            <a:avLst/>
          </a:prstGeom>
          <a:solidFill>
            <a:srgbClr val="00FFB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107944"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599" b="1" dirty="0">
                <a:solidFill>
                  <a:schemeClr val="bg2"/>
                </a:solidFill>
              </a:rPr>
              <a:t>Duis arcu tortor</a:t>
            </a:r>
          </a:p>
        </p:txBody>
      </p:sp>
      <p:sp>
        <p:nvSpPr>
          <p:cNvPr id="21" name="Rechteck 3"/>
          <p:cNvSpPr>
            <a:spLocks/>
          </p:cNvSpPr>
          <p:nvPr/>
        </p:nvSpPr>
        <p:spPr>
          <a:xfrm>
            <a:off x="8474400" y="3178800"/>
            <a:ext cx="1799063" cy="395794"/>
          </a:xfrm>
          <a:prstGeom prst="rect">
            <a:avLst/>
          </a:prstGeom>
          <a:solidFill>
            <a:srgbClr val="00FFB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107944"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599" b="1" dirty="0">
                <a:solidFill>
                  <a:schemeClr val="bg2"/>
                </a:solidFill>
              </a:rPr>
              <a:t>Sagittis magna</a:t>
            </a:r>
          </a:p>
        </p:txBody>
      </p:sp>
      <p:sp>
        <p:nvSpPr>
          <p:cNvPr id="14" name="Rechteck 3"/>
          <p:cNvSpPr>
            <a:spLocks/>
          </p:cNvSpPr>
          <p:nvPr/>
        </p:nvSpPr>
        <p:spPr>
          <a:xfrm>
            <a:off x="5198400" y="3646800"/>
            <a:ext cx="1799063" cy="899531"/>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107944"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spcBef>
                <a:spcPts val="300"/>
              </a:spcBef>
            </a:pPr>
            <a:r>
              <a:rPr lang="en-US" sz="1199" dirty="0">
                <a:solidFill>
                  <a:schemeClr val="tx2"/>
                </a:solidFill>
              </a:rPr>
              <a:t>Phasellus nec sem</a:t>
            </a:r>
          </a:p>
        </p:txBody>
      </p:sp>
      <p:sp>
        <p:nvSpPr>
          <p:cNvPr id="15" name="Rechteck 3"/>
          <p:cNvSpPr>
            <a:spLocks/>
          </p:cNvSpPr>
          <p:nvPr/>
        </p:nvSpPr>
        <p:spPr>
          <a:xfrm>
            <a:off x="1922400" y="3646800"/>
            <a:ext cx="1799063" cy="899531"/>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107944"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spcBef>
                <a:spcPts val="300"/>
              </a:spcBef>
            </a:pPr>
            <a:r>
              <a:rPr lang="en-US" sz="1199" dirty="0">
                <a:solidFill>
                  <a:schemeClr val="tx2"/>
                </a:solidFill>
              </a:rPr>
              <a:t>At vero eos et accusam</a:t>
            </a:r>
          </a:p>
        </p:txBody>
      </p:sp>
      <p:sp>
        <p:nvSpPr>
          <p:cNvPr id="16" name="Rechteck 3"/>
          <p:cNvSpPr>
            <a:spLocks/>
          </p:cNvSpPr>
          <p:nvPr/>
        </p:nvSpPr>
        <p:spPr>
          <a:xfrm>
            <a:off x="8474400" y="3646800"/>
            <a:ext cx="1799063" cy="899531"/>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107944"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spcBef>
                <a:spcPts val="300"/>
              </a:spcBef>
            </a:pPr>
            <a:r>
              <a:rPr lang="en-US" sz="1199" dirty="0">
                <a:solidFill>
                  <a:schemeClr val="tx2"/>
                </a:solidFill>
              </a:rPr>
              <a:t>Consetetur sadipscing elitr, seddiam nonumy</a:t>
            </a:r>
          </a:p>
        </p:txBody>
      </p:sp>
      <p:cxnSp>
        <p:nvCxnSpPr>
          <p:cNvPr id="18" name="Straight Connector 17"/>
          <p:cNvCxnSpPr>
            <a:stCxn id="13" idx="2"/>
            <a:endCxn id="20" idx="0"/>
          </p:cNvCxnSpPr>
          <p:nvPr/>
        </p:nvCxnSpPr>
        <p:spPr bwMode="auto">
          <a:xfrm>
            <a:off x="6097932" y="2782331"/>
            <a:ext cx="0" cy="396469"/>
          </a:xfrm>
          <a:prstGeom prst="line">
            <a:avLst/>
          </a:prstGeom>
          <a:solidFill>
            <a:schemeClr val="tx2"/>
          </a:solidFill>
          <a:ln w="12700" cap="flat" cmpd="sng" algn="ctr">
            <a:solidFill>
              <a:srgbClr val="9999A9"/>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 name="Connector: Elbow 5">
            <a:extLst>
              <a:ext uri="{FF2B5EF4-FFF2-40B4-BE49-F238E27FC236}">
                <a16:creationId xmlns:a16="http://schemas.microsoft.com/office/drawing/2014/main" id="{071348DE-4541-4CE9-BB09-F84BEB118F9A}"/>
              </a:ext>
            </a:extLst>
          </p:cNvPr>
          <p:cNvCxnSpPr>
            <a:stCxn id="84" idx="0"/>
            <a:endCxn id="21" idx="0"/>
          </p:cNvCxnSpPr>
          <p:nvPr/>
        </p:nvCxnSpPr>
        <p:spPr bwMode="auto">
          <a:xfrm rot="5400000" flipH="1" flipV="1">
            <a:off x="6097932" y="-97200"/>
            <a:ext cx="12700" cy="6552000"/>
          </a:xfrm>
          <a:prstGeom prst="bentConnector3">
            <a:avLst>
              <a:gd name="adj1" fmla="val 1800000"/>
            </a:avLst>
          </a:prstGeom>
          <a:solidFill>
            <a:schemeClr val="tx2"/>
          </a:solidFill>
          <a:ln w="12700" cap="flat" cmpd="sng" algn="ctr">
            <a:solidFill>
              <a:srgbClr val="9999A9"/>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 name="Footer Placeholder 2">
            <a:extLst>
              <a:ext uri="{FF2B5EF4-FFF2-40B4-BE49-F238E27FC236}">
                <a16:creationId xmlns:a16="http://schemas.microsoft.com/office/drawing/2014/main" id="{886BB13D-736B-49DE-B0EC-EE081C92B607}"/>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5" name="Slide Number Placeholder 4">
            <a:extLst>
              <a:ext uri="{FF2B5EF4-FFF2-40B4-BE49-F238E27FC236}">
                <a16:creationId xmlns:a16="http://schemas.microsoft.com/office/drawing/2014/main" id="{85331D2D-057D-46C8-AE9B-056D5F8A1299}"/>
              </a:ext>
            </a:extLst>
          </p:cNvPr>
          <p:cNvSpPr>
            <a:spLocks noGrp="1"/>
          </p:cNvSpPr>
          <p:nvPr>
            <p:ph type="sldNum" sz="quarter" idx="11"/>
          </p:nvPr>
        </p:nvSpPr>
        <p:spPr/>
        <p:txBody>
          <a:bodyPr/>
          <a:lstStyle/>
          <a:p>
            <a:r>
              <a:rPr lang="en-US" dirty="0"/>
              <a:t>Page </a:t>
            </a:r>
            <a:fld id="{15EBE321-CBB1-4E91-BD14-37C8D44326FB}" type="slidenum">
              <a:rPr lang="en-US" smtClean="0"/>
              <a:pPr/>
              <a:t>71</a:t>
            </a:fld>
            <a:endParaRPr lang="en-US" dirty="0"/>
          </a:p>
        </p:txBody>
      </p:sp>
    </p:spTree>
    <p:extLst>
      <p:ext uri="{BB962C8B-B14F-4D97-AF65-F5344CB8AC3E}">
        <p14:creationId xmlns:p14="http://schemas.microsoft.com/office/powerpoint/2010/main" val="120188941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30916218-0FE7-DA40-850A-7231E8C46B1B}"/>
              </a:ext>
            </a:extLst>
          </p:cNvPr>
          <p:cNvSpPr>
            <a:spLocks noGrp="1"/>
          </p:cNvSpPr>
          <p:nvPr>
            <p:ph type="title"/>
          </p:nvPr>
        </p:nvSpPr>
        <p:spPr/>
        <p:txBody>
          <a:bodyPr anchor="t"/>
          <a:lstStyle/>
          <a:p>
            <a:r>
              <a:rPr lang="en-US" dirty="0"/>
              <a:t>Organigram – one main level</a:t>
            </a:r>
            <a:endParaRPr lang="de-DE" dirty="0"/>
          </a:p>
        </p:txBody>
      </p:sp>
      <p:sp>
        <p:nvSpPr>
          <p:cNvPr id="62" name="Textfeld 61">
            <a:extLst>
              <a:ext uri="{FF2B5EF4-FFF2-40B4-BE49-F238E27FC236}">
                <a16:creationId xmlns:a16="http://schemas.microsoft.com/office/drawing/2014/main" id="{A07CFD30-A6FA-AD4C-8E99-0EEA69B1AE63}"/>
              </a:ext>
            </a:extLst>
          </p:cNvPr>
          <p:cNvSpPr txBox="1">
            <a:spLocks/>
          </p:cNvSpPr>
          <p:nvPr/>
        </p:nvSpPr>
        <p:spPr bwMode="gray">
          <a:xfrm>
            <a:off x="411163" y="1414800"/>
            <a:ext cx="11376024" cy="865155"/>
          </a:xfrm>
          <a:prstGeom prst="rect">
            <a:avLst/>
          </a:prstGeom>
          <a:solidFill>
            <a:srgbClr val="E5E5E9"/>
          </a:solidFill>
          <a:ln>
            <a:noFill/>
          </a:ln>
        </p:spPr>
        <p:txBody>
          <a:bodyPr wrap="square" lIns="108000" tIns="72000" rIns="108000" bIns="72000" rtlCol="0" anchor="ctr">
            <a:noAutofit/>
          </a:bodyPr>
          <a:lstStyle>
            <a:defPPr>
              <a:defRPr lang="de-DE"/>
            </a:defPPr>
            <a:lvl1pPr algn="ctr">
              <a:spcBef>
                <a:spcPts val="0"/>
              </a:spcBef>
              <a:defRPr sz="1200" b="1">
                <a:solidFill>
                  <a:schemeClr val="bg1"/>
                </a:solidFill>
                <a:latin typeface="+mj-lt"/>
                <a:ea typeface="Arial Unicode MS" panose="020B0604020202020204" pitchFamily="34" charset="-128"/>
                <a:cs typeface="Arial Unicode MS" panose="020B0604020202020204" pitchFamily="34" charset="-128"/>
              </a:defRPr>
            </a:lvl1pPr>
          </a:lstStyle>
          <a:p>
            <a:r>
              <a:rPr lang="en-US" dirty="0">
                <a:solidFill>
                  <a:srgbClr val="333353"/>
                </a:solidFill>
                <a:latin typeface="+mn-lt"/>
              </a:rPr>
              <a:t>Consetetur sadipscing elitr, seddiam nonumy</a:t>
            </a:r>
          </a:p>
          <a:p>
            <a:pPr>
              <a:spcBef>
                <a:spcPts val="300"/>
              </a:spcBef>
            </a:pPr>
            <a:r>
              <a:rPr lang="en-US" b="0" dirty="0">
                <a:solidFill>
                  <a:srgbClr val="333353"/>
                </a:solidFill>
                <a:latin typeface="+mn-lt"/>
              </a:rPr>
              <a:t>Duis arcu tortor, suscipit eget</a:t>
            </a:r>
          </a:p>
        </p:txBody>
      </p:sp>
      <p:sp>
        <p:nvSpPr>
          <p:cNvPr id="92" name="Textfeld 91">
            <a:extLst>
              <a:ext uri="{FF2B5EF4-FFF2-40B4-BE49-F238E27FC236}">
                <a16:creationId xmlns:a16="http://schemas.microsoft.com/office/drawing/2014/main" id="{B240F257-4985-FE48-AC89-461F19F81BFA}"/>
              </a:ext>
            </a:extLst>
          </p:cNvPr>
          <p:cNvSpPr txBox="1">
            <a:spLocks/>
          </p:cNvSpPr>
          <p:nvPr/>
        </p:nvSpPr>
        <p:spPr bwMode="gray">
          <a:xfrm>
            <a:off x="554472" y="2602800"/>
            <a:ext cx="1584000" cy="540000"/>
          </a:xfrm>
          <a:prstGeom prst="rect">
            <a:avLst/>
          </a:prstGeom>
          <a:solidFill>
            <a:srgbClr val="00646E"/>
          </a:solidFill>
          <a:ln>
            <a:noFill/>
          </a:ln>
        </p:spPr>
        <p:txBody>
          <a:bodyPr wrap="square" lIns="144000" tIns="72000" rIns="72000" bIns="72000" rtlCol="0" anchor="t">
            <a:noAutofit/>
          </a:bodyPr>
          <a:lstStyle>
            <a:defPPr>
              <a:defRPr lang="de-DE"/>
            </a:defPPr>
            <a:lvl1pPr algn="ctr">
              <a:spcBef>
                <a:spcPts val="0"/>
              </a:spcBef>
              <a:defRPr sz="1400" b="1">
                <a:solidFill>
                  <a:srgbClr val="000000"/>
                </a:solidFill>
                <a:latin typeface="Arial"/>
                <a:ea typeface="Arial Unicode MS" panose="020B0604020202020204" pitchFamily="34" charset="-128"/>
                <a:cs typeface="Arial Unicode MS" panose="020B0604020202020204" pitchFamily="34" charset="-128"/>
              </a:defRPr>
            </a:lvl1pPr>
          </a:lstStyle>
          <a:p>
            <a:pPr algn="l"/>
            <a:r>
              <a:rPr lang="en-US" sz="1200" b="0" dirty="0">
                <a:solidFill>
                  <a:schemeClr val="bg1"/>
                </a:solidFill>
                <a:latin typeface="+mn-lt"/>
              </a:rPr>
              <a:t>At vero eos et accusam</a:t>
            </a:r>
          </a:p>
        </p:txBody>
      </p:sp>
      <p:sp>
        <p:nvSpPr>
          <p:cNvPr id="96" name="Textfeld 95">
            <a:extLst>
              <a:ext uri="{FF2B5EF4-FFF2-40B4-BE49-F238E27FC236}">
                <a16:creationId xmlns:a16="http://schemas.microsoft.com/office/drawing/2014/main" id="{D3117FDC-8517-FB4C-9607-26DE28E696A1}"/>
              </a:ext>
            </a:extLst>
          </p:cNvPr>
          <p:cNvSpPr txBox="1">
            <a:spLocks/>
          </p:cNvSpPr>
          <p:nvPr/>
        </p:nvSpPr>
        <p:spPr bwMode="gray">
          <a:xfrm>
            <a:off x="8273444" y="2602800"/>
            <a:ext cx="1584000" cy="540000"/>
          </a:xfrm>
          <a:prstGeom prst="rect">
            <a:avLst/>
          </a:prstGeom>
          <a:solidFill>
            <a:srgbClr val="00AF8E"/>
          </a:solidFill>
          <a:ln>
            <a:noFill/>
          </a:ln>
        </p:spPr>
        <p:txBody>
          <a:bodyPr wrap="square" lIns="144000" tIns="72000" rIns="72000" bIns="72000" rtlCol="0" anchor="t">
            <a:noAutofit/>
          </a:bodyPr>
          <a:lstStyle>
            <a:defPPr>
              <a:defRPr lang="de-DE"/>
            </a:defPPr>
            <a:lvl1pPr algn="ctr">
              <a:spcBef>
                <a:spcPts val="0"/>
              </a:spcBef>
              <a:defRPr sz="1400" b="1">
                <a:solidFill>
                  <a:srgbClr val="000000"/>
                </a:solidFill>
                <a:latin typeface="Arial"/>
                <a:ea typeface="Arial Unicode MS" panose="020B0604020202020204" pitchFamily="34" charset="-128"/>
                <a:cs typeface="Arial Unicode MS" panose="020B0604020202020204" pitchFamily="34" charset="-128"/>
              </a:defRPr>
            </a:lvl1pPr>
          </a:lstStyle>
          <a:p>
            <a:pPr algn="l"/>
            <a:r>
              <a:rPr lang="en-US" sz="1200" b="0" dirty="0">
                <a:solidFill>
                  <a:schemeClr val="tx2"/>
                </a:solidFill>
                <a:latin typeface="+mn-lt"/>
              </a:rPr>
              <a:t>Phasellus nec sem</a:t>
            </a:r>
          </a:p>
        </p:txBody>
      </p:sp>
      <p:sp>
        <p:nvSpPr>
          <p:cNvPr id="100" name="Textfeld 99">
            <a:extLst>
              <a:ext uri="{FF2B5EF4-FFF2-40B4-BE49-F238E27FC236}">
                <a16:creationId xmlns:a16="http://schemas.microsoft.com/office/drawing/2014/main" id="{A4A5488D-F95F-6E45-9D40-6D425DC70704}"/>
              </a:ext>
            </a:extLst>
          </p:cNvPr>
          <p:cNvSpPr txBox="1">
            <a:spLocks/>
          </p:cNvSpPr>
          <p:nvPr/>
        </p:nvSpPr>
        <p:spPr bwMode="gray">
          <a:xfrm>
            <a:off x="554472" y="3322800"/>
            <a:ext cx="1584000" cy="540000"/>
          </a:xfrm>
          <a:prstGeom prst="rect">
            <a:avLst/>
          </a:prstGeom>
          <a:solidFill>
            <a:srgbClr val="00646E"/>
          </a:solidFill>
          <a:ln>
            <a:noFill/>
          </a:ln>
        </p:spPr>
        <p:txBody>
          <a:bodyPr wrap="square" lIns="144000" tIns="72000" rIns="72000" bIns="72000" rtlCol="0" anchor="t">
            <a:noAutofit/>
          </a:bodyPr>
          <a:lstStyle>
            <a:defPPr>
              <a:defRPr lang="de-DE"/>
            </a:defPPr>
            <a:lvl1pPr algn="ctr">
              <a:spcBef>
                <a:spcPts val="0"/>
              </a:spcBef>
              <a:defRPr sz="1400" b="1">
                <a:solidFill>
                  <a:srgbClr val="000000"/>
                </a:solidFill>
                <a:latin typeface="Arial"/>
                <a:ea typeface="Arial Unicode MS" panose="020B0604020202020204" pitchFamily="34" charset="-128"/>
                <a:cs typeface="Arial Unicode MS" panose="020B0604020202020204" pitchFamily="34" charset="-128"/>
              </a:defRPr>
            </a:lvl1pPr>
          </a:lstStyle>
          <a:p>
            <a:pPr algn="l"/>
            <a:r>
              <a:rPr lang="en-US" sz="1200" b="0" dirty="0">
                <a:solidFill>
                  <a:schemeClr val="bg1"/>
                </a:solidFill>
                <a:latin typeface="+mn-lt"/>
              </a:rPr>
              <a:t>Duis arcu tortor, suscipit eget</a:t>
            </a:r>
          </a:p>
        </p:txBody>
      </p:sp>
      <p:sp>
        <p:nvSpPr>
          <p:cNvPr id="105" name="Textfeld 104">
            <a:extLst>
              <a:ext uri="{FF2B5EF4-FFF2-40B4-BE49-F238E27FC236}">
                <a16:creationId xmlns:a16="http://schemas.microsoft.com/office/drawing/2014/main" id="{2E56A56D-85D2-2542-8EC5-9884BEE7E41D}"/>
              </a:ext>
            </a:extLst>
          </p:cNvPr>
          <p:cNvSpPr txBox="1">
            <a:spLocks/>
          </p:cNvSpPr>
          <p:nvPr/>
        </p:nvSpPr>
        <p:spPr bwMode="gray">
          <a:xfrm>
            <a:off x="8273444" y="3322800"/>
            <a:ext cx="1584000" cy="540000"/>
          </a:xfrm>
          <a:prstGeom prst="rect">
            <a:avLst/>
          </a:prstGeom>
          <a:solidFill>
            <a:srgbClr val="00AF8E"/>
          </a:solidFill>
          <a:ln>
            <a:noFill/>
          </a:ln>
        </p:spPr>
        <p:txBody>
          <a:bodyPr wrap="square" lIns="144000" tIns="72000" rIns="72000" bIns="72000" rtlCol="0" anchor="t">
            <a:noAutofit/>
          </a:bodyPr>
          <a:lstStyle>
            <a:defPPr>
              <a:defRPr lang="de-DE"/>
            </a:defPPr>
            <a:lvl1pPr algn="ctr">
              <a:spcBef>
                <a:spcPts val="0"/>
              </a:spcBef>
              <a:defRPr sz="1400" b="1">
                <a:solidFill>
                  <a:srgbClr val="000000"/>
                </a:solidFill>
                <a:latin typeface="Arial"/>
                <a:ea typeface="Arial Unicode MS" panose="020B0604020202020204" pitchFamily="34" charset="-128"/>
                <a:cs typeface="Arial Unicode MS" panose="020B0604020202020204" pitchFamily="34" charset="-128"/>
              </a:defRPr>
            </a:lvl1pPr>
          </a:lstStyle>
          <a:p>
            <a:pPr algn="l"/>
            <a:r>
              <a:rPr lang="en-US" sz="1200" b="0" dirty="0">
                <a:solidFill>
                  <a:schemeClr val="tx2"/>
                </a:solidFill>
                <a:latin typeface="+mn-lt"/>
              </a:rPr>
              <a:t>At vero eos et accusam</a:t>
            </a:r>
          </a:p>
        </p:txBody>
      </p:sp>
      <p:sp>
        <p:nvSpPr>
          <p:cNvPr id="113" name="Textfeld 112">
            <a:extLst>
              <a:ext uri="{FF2B5EF4-FFF2-40B4-BE49-F238E27FC236}">
                <a16:creationId xmlns:a16="http://schemas.microsoft.com/office/drawing/2014/main" id="{B53B6304-5522-4148-9D94-CAE833B846BF}"/>
              </a:ext>
            </a:extLst>
          </p:cNvPr>
          <p:cNvSpPr txBox="1">
            <a:spLocks/>
          </p:cNvSpPr>
          <p:nvPr/>
        </p:nvSpPr>
        <p:spPr bwMode="gray">
          <a:xfrm>
            <a:off x="554472" y="4042800"/>
            <a:ext cx="1584000" cy="540000"/>
          </a:xfrm>
          <a:prstGeom prst="rect">
            <a:avLst/>
          </a:prstGeom>
          <a:solidFill>
            <a:srgbClr val="00AF8E"/>
          </a:solidFill>
          <a:ln>
            <a:noFill/>
          </a:ln>
        </p:spPr>
        <p:txBody>
          <a:bodyPr wrap="square" lIns="144000" tIns="72000" rIns="72000" bIns="72000" rtlCol="0" anchor="t">
            <a:noAutofit/>
          </a:bodyPr>
          <a:lstStyle>
            <a:defPPr>
              <a:defRPr lang="de-DE"/>
            </a:defPPr>
            <a:lvl1pPr algn="ctr">
              <a:spcBef>
                <a:spcPts val="0"/>
              </a:spcBef>
              <a:defRPr sz="1400" b="1">
                <a:solidFill>
                  <a:srgbClr val="000000"/>
                </a:solidFill>
                <a:latin typeface="Arial"/>
                <a:ea typeface="Arial Unicode MS" panose="020B0604020202020204" pitchFamily="34" charset="-128"/>
                <a:cs typeface="Arial Unicode MS" panose="020B0604020202020204" pitchFamily="34" charset="-128"/>
              </a:defRPr>
            </a:lvl1pPr>
          </a:lstStyle>
          <a:p>
            <a:pPr algn="l"/>
            <a:r>
              <a:rPr lang="en-US" sz="1200" b="0" dirty="0">
                <a:solidFill>
                  <a:schemeClr val="tx2"/>
                </a:solidFill>
                <a:latin typeface="+mn-lt"/>
              </a:rPr>
              <a:t>Maecenas nec odio</a:t>
            </a:r>
          </a:p>
        </p:txBody>
      </p:sp>
      <p:sp>
        <p:nvSpPr>
          <p:cNvPr id="117" name="Textfeld 116">
            <a:extLst>
              <a:ext uri="{FF2B5EF4-FFF2-40B4-BE49-F238E27FC236}">
                <a16:creationId xmlns:a16="http://schemas.microsoft.com/office/drawing/2014/main" id="{D9812884-D10E-084B-9148-E7F09C8A7FD9}"/>
              </a:ext>
            </a:extLst>
          </p:cNvPr>
          <p:cNvSpPr txBox="1">
            <a:spLocks/>
          </p:cNvSpPr>
          <p:nvPr/>
        </p:nvSpPr>
        <p:spPr bwMode="gray">
          <a:xfrm>
            <a:off x="8273444" y="4042800"/>
            <a:ext cx="1584000" cy="540000"/>
          </a:xfrm>
          <a:prstGeom prst="rect">
            <a:avLst/>
          </a:prstGeom>
          <a:solidFill>
            <a:srgbClr val="00AF8E"/>
          </a:solidFill>
          <a:ln>
            <a:noFill/>
          </a:ln>
        </p:spPr>
        <p:txBody>
          <a:bodyPr wrap="square" lIns="144000" tIns="72000" rIns="72000" bIns="72000" rtlCol="0" anchor="t">
            <a:noAutofit/>
          </a:bodyPr>
          <a:lstStyle>
            <a:defPPr>
              <a:defRPr lang="de-DE"/>
            </a:defPPr>
            <a:lvl1pPr algn="ctr">
              <a:spcBef>
                <a:spcPts val="0"/>
              </a:spcBef>
              <a:defRPr sz="1400" b="1">
                <a:solidFill>
                  <a:srgbClr val="000000"/>
                </a:solidFill>
                <a:latin typeface="Arial"/>
                <a:ea typeface="Arial Unicode MS" panose="020B0604020202020204" pitchFamily="34" charset="-128"/>
                <a:cs typeface="Arial Unicode MS" panose="020B0604020202020204" pitchFamily="34" charset="-128"/>
              </a:defRPr>
            </a:lvl1pPr>
          </a:lstStyle>
          <a:p>
            <a:pPr algn="l"/>
            <a:r>
              <a:rPr lang="en-US" sz="1200" b="0" dirty="0">
                <a:solidFill>
                  <a:schemeClr val="tx2"/>
                </a:solidFill>
                <a:latin typeface="+mn-lt"/>
              </a:rPr>
              <a:t>Duis arcu tortor, suscipit eget</a:t>
            </a:r>
          </a:p>
        </p:txBody>
      </p:sp>
      <p:sp>
        <p:nvSpPr>
          <p:cNvPr id="63" name="Textfeld 62">
            <a:extLst>
              <a:ext uri="{FF2B5EF4-FFF2-40B4-BE49-F238E27FC236}">
                <a16:creationId xmlns:a16="http://schemas.microsoft.com/office/drawing/2014/main" id="{11C819EB-87FD-AF47-8B02-D92872DD412C}"/>
              </a:ext>
            </a:extLst>
          </p:cNvPr>
          <p:cNvSpPr txBox="1">
            <a:spLocks/>
          </p:cNvSpPr>
          <p:nvPr/>
        </p:nvSpPr>
        <p:spPr bwMode="gray">
          <a:xfrm>
            <a:off x="2484215" y="4762800"/>
            <a:ext cx="1584000" cy="540000"/>
          </a:xfrm>
          <a:prstGeom prst="rect">
            <a:avLst/>
          </a:prstGeom>
          <a:solidFill>
            <a:srgbClr val="E5E5E9"/>
          </a:solidFill>
          <a:ln>
            <a:noFill/>
          </a:ln>
        </p:spPr>
        <p:txBody>
          <a:bodyPr wrap="square" lIns="144000" tIns="72000" rIns="72000" bIns="72000" rtlCol="0" anchor="t">
            <a:noAutofit/>
          </a:bodyPr>
          <a:lstStyle/>
          <a:p>
            <a:pPr>
              <a:spcBef>
                <a:spcPts val="0"/>
              </a:spcBef>
            </a:pPr>
            <a:r>
              <a:rPr lang="en-US" sz="1200" dirty="0">
                <a:solidFill>
                  <a:srgbClr val="333353"/>
                </a:solidFill>
                <a:ea typeface="Arial Unicode MS" panose="020B0604020202020204" pitchFamily="34" charset="-128"/>
                <a:cs typeface="Arial Unicode MS" panose="020B0604020202020204" pitchFamily="34" charset="-128"/>
              </a:rPr>
              <a:t>At vero eos et accusam</a:t>
            </a:r>
          </a:p>
        </p:txBody>
      </p:sp>
      <p:sp>
        <p:nvSpPr>
          <p:cNvPr id="64" name="Textfeld 63">
            <a:extLst>
              <a:ext uri="{FF2B5EF4-FFF2-40B4-BE49-F238E27FC236}">
                <a16:creationId xmlns:a16="http://schemas.microsoft.com/office/drawing/2014/main" id="{83695D8E-63E8-0045-9C12-65C03E1AA950}"/>
              </a:ext>
            </a:extLst>
          </p:cNvPr>
          <p:cNvSpPr txBox="1">
            <a:spLocks/>
          </p:cNvSpPr>
          <p:nvPr/>
        </p:nvSpPr>
        <p:spPr bwMode="gray">
          <a:xfrm>
            <a:off x="554470" y="4762800"/>
            <a:ext cx="1584000" cy="540000"/>
          </a:xfrm>
          <a:prstGeom prst="rect">
            <a:avLst/>
          </a:prstGeom>
          <a:solidFill>
            <a:srgbClr val="00AF8E"/>
          </a:solidFill>
          <a:ln>
            <a:noFill/>
          </a:ln>
        </p:spPr>
        <p:txBody>
          <a:bodyPr wrap="square" lIns="144000" tIns="72000" rIns="72000" bIns="72000" rtlCol="0" anchor="t">
            <a:noAutofit/>
          </a:bodyPr>
          <a:lstStyle>
            <a:defPPr>
              <a:defRPr lang="de-DE"/>
            </a:defPPr>
            <a:lvl1pPr algn="ctr">
              <a:spcBef>
                <a:spcPts val="0"/>
              </a:spcBef>
              <a:defRPr sz="1400" b="1">
                <a:solidFill>
                  <a:srgbClr val="000000"/>
                </a:solidFill>
                <a:latin typeface="Arial"/>
                <a:ea typeface="Arial Unicode MS" panose="020B0604020202020204" pitchFamily="34" charset="-128"/>
                <a:cs typeface="Arial Unicode MS" panose="020B0604020202020204" pitchFamily="34" charset="-128"/>
              </a:defRPr>
            </a:lvl1pPr>
          </a:lstStyle>
          <a:p>
            <a:pPr algn="l"/>
            <a:r>
              <a:rPr lang="en-US" sz="1200" b="0" dirty="0">
                <a:solidFill>
                  <a:schemeClr val="tx2"/>
                </a:solidFill>
                <a:latin typeface="+mn-lt"/>
              </a:rPr>
              <a:t>Phasellus nec sem</a:t>
            </a:r>
          </a:p>
        </p:txBody>
      </p:sp>
      <p:sp>
        <p:nvSpPr>
          <p:cNvPr id="93" name="Textfeld 92">
            <a:extLst>
              <a:ext uri="{FF2B5EF4-FFF2-40B4-BE49-F238E27FC236}">
                <a16:creationId xmlns:a16="http://schemas.microsoft.com/office/drawing/2014/main" id="{49A26E3D-753F-6243-B7AB-4E000D5CD61A}"/>
              </a:ext>
            </a:extLst>
          </p:cNvPr>
          <p:cNvSpPr txBox="1">
            <a:spLocks/>
          </p:cNvSpPr>
          <p:nvPr/>
        </p:nvSpPr>
        <p:spPr bwMode="gray">
          <a:xfrm>
            <a:off x="2484215" y="2602800"/>
            <a:ext cx="1584000" cy="540000"/>
          </a:xfrm>
          <a:prstGeom prst="rect">
            <a:avLst/>
          </a:prstGeom>
          <a:solidFill>
            <a:srgbClr val="E5E5E9"/>
          </a:solidFill>
          <a:ln>
            <a:noFill/>
          </a:ln>
        </p:spPr>
        <p:txBody>
          <a:bodyPr wrap="square" lIns="144000" tIns="72000" rIns="72000" bIns="72000" rtlCol="0" anchor="t">
            <a:noAutofit/>
          </a:bodyPr>
          <a:lstStyle>
            <a:defPPr>
              <a:defRPr lang="de-DE"/>
            </a:defPPr>
            <a:lvl1pPr algn="ctr">
              <a:spcBef>
                <a:spcPts val="0"/>
              </a:spcBef>
              <a:defRPr sz="1400" b="1">
                <a:solidFill>
                  <a:srgbClr val="000000"/>
                </a:solidFill>
                <a:latin typeface="Arial"/>
                <a:ea typeface="Arial Unicode MS" panose="020B0604020202020204" pitchFamily="34" charset="-128"/>
                <a:cs typeface="Arial Unicode MS" panose="020B0604020202020204" pitchFamily="34" charset="-128"/>
              </a:defRPr>
            </a:lvl1pPr>
          </a:lstStyle>
          <a:p>
            <a:pPr algn="l"/>
            <a:r>
              <a:rPr lang="en-US" sz="1200" b="0" dirty="0">
                <a:solidFill>
                  <a:srgbClr val="333353"/>
                </a:solidFill>
                <a:latin typeface="+mn-lt"/>
              </a:rPr>
              <a:t>Duis arcu tortor, suscipit eget</a:t>
            </a:r>
          </a:p>
        </p:txBody>
      </p:sp>
      <p:sp>
        <p:nvSpPr>
          <p:cNvPr id="94" name="Textfeld 93">
            <a:extLst>
              <a:ext uri="{FF2B5EF4-FFF2-40B4-BE49-F238E27FC236}">
                <a16:creationId xmlns:a16="http://schemas.microsoft.com/office/drawing/2014/main" id="{61B4F7D0-E018-464C-994A-DD90C24BB6AF}"/>
              </a:ext>
            </a:extLst>
          </p:cNvPr>
          <p:cNvSpPr txBox="1">
            <a:spLocks/>
          </p:cNvSpPr>
          <p:nvPr/>
        </p:nvSpPr>
        <p:spPr bwMode="gray">
          <a:xfrm>
            <a:off x="4413958" y="2602800"/>
            <a:ext cx="1584000" cy="540000"/>
          </a:xfrm>
          <a:prstGeom prst="rect">
            <a:avLst/>
          </a:prstGeom>
          <a:solidFill>
            <a:srgbClr val="CCCCD4"/>
          </a:solidFill>
          <a:ln>
            <a:noFill/>
          </a:ln>
        </p:spPr>
        <p:txBody>
          <a:bodyPr wrap="square" lIns="144000" tIns="72000" rIns="72000" bIns="72000" rtlCol="0" anchor="t">
            <a:noAutofit/>
          </a:bodyPr>
          <a:lstStyle>
            <a:defPPr>
              <a:defRPr lang="de-DE"/>
            </a:defPPr>
            <a:lvl1pPr algn="ctr">
              <a:spcBef>
                <a:spcPts val="0"/>
              </a:spcBef>
              <a:defRPr sz="1400" b="1">
                <a:solidFill>
                  <a:srgbClr val="000000"/>
                </a:solidFill>
                <a:latin typeface="Arial"/>
                <a:ea typeface="Arial Unicode MS" panose="020B0604020202020204" pitchFamily="34" charset="-128"/>
                <a:cs typeface="Arial Unicode MS" panose="020B0604020202020204" pitchFamily="34" charset="-128"/>
              </a:defRPr>
            </a:lvl1pPr>
          </a:lstStyle>
          <a:p>
            <a:pPr algn="l"/>
            <a:r>
              <a:rPr lang="en-US" sz="1200" b="0" dirty="0">
                <a:solidFill>
                  <a:schemeClr val="tx2"/>
                </a:solidFill>
                <a:latin typeface="+mn-lt"/>
              </a:rPr>
              <a:t>Maecenas nec odio</a:t>
            </a:r>
          </a:p>
        </p:txBody>
      </p:sp>
      <p:sp>
        <p:nvSpPr>
          <p:cNvPr id="95" name="Textfeld 94">
            <a:extLst>
              <a:ext uri="{FF2B5EF4-FFF2-40B4-BE49-F238E27FC236}">
                <a16:creationId xmlns:a16="http://schemas.microsoft.com/office/drawing/2014/main" id="{FA4000A9-01EC-DD4F-BA0F-A3BE083C4458}"/>
              </a:ext>
            </a:extLst>
          </p:cNvPr>
          <p:cNvSpPr txBox="1">
            <a:spLocks/>
          </p:cNvSpPr>
          <p:nvPr/>
        </p:nvSpPr>
        <p:spPr bwMode="gray">
          <a:xfrm>
            <a:off x="6343701" y="2602800"/>
            <a:ext cx="1584000" cy="540000"/>
          </a:xfrm>
          <a:prstGeom prst="rect">
            <a:avLst/>
          </a:prstGeom>
          <a:solidFill>
            <a:srgbClr val="E5E5E9"/>
          </a:solidFill>
          <a:ln>
            <a:noFill/>
          </a:ln>
        </p:spPr>
        <p:txBody>
          <a:bodyPr wrap="square" lIns="144000" tIns="72000" rIns="72000" bIns="72000" rtlCol="0" anchor="t">
            <a:noAutofit/>
          </a:bodyPr>
          <a:lstStyle>
            <a:defPPr>
              <a:defRPr lang="de-DE"/>
            </a:defPPr>
            <a:lvl1pPr algn="ctr">
              <a:spcBef>
                <a:spcPts val="0"/>
              </a:spcBef>
              <a:defRPr sz="1400" b="1">
                <a:solidFill>
                  <a:srgbClr val="000000"/>
                </a:solidFill>
                <a:latin typeface="Arial"/>
                <a:ea typeface="Arial Unicode MS" panose="020B0604020202020204" pitchFamily="34" charset="-128"/>
                <a:cs typeface="Arial Unicode MS" panose="020B0604020202020204" pitchFamily="34" charset="-128"/>
              </a:defRPr>
            </a:lvl1pPr>
          </a:lstStyle>
          <a:p>
            <a:pPr algn="l"/>
            <a:r>
              <a:rPr lang="en-US" sz="1200" b="0" dirty="0">
                <a:solidFill>
                  <a:srgbClr val="333353"/>
                </a:solidFill>
                <a:latin typeface="+mn-lt"/>
              </a:rPr>
              <a:t>Donec sodales sagittis magna</a:t>
            </a:r>
          </a:p>
        </p:txBody>
      </p:sp>
      <p:sp>
        <p:nvSpPr>
          <p:cNvPr id="97" name="Textfeld 96">
            <a:extLst>
              <a:ext uri="{FF2B5EF4-FFF2-40B4-BE49-F238E27FC236}">
                <a16:creationId xmlns:a16="http://schemas.microsoft.com/office/drawing/2014/main" id="{FBEE66BE-EA88-1A45-98CC-0D58B7AB9BCF}"/>
              </a:ext>
            </a:extLst>
          </p:cNvPr>
          <p:cNvSpPr txBox="1">
            <a:spLocks/>
          </p:cNvSpPr>
          <p:nvPr/>
        </p:nvSpPr>
        <p:spPr bwMode="gray">
          <a:xfrm>
            <a:off x="10203187" y="2602800"/>
            <a:ext cx="1584000" cy="540000"/>
          </a:xfrm>
          <a:prstGeom prst="rect">
            <a:avLst/>
          </a:prstGeom>
          <a:solidFill>
            <a:srgbClr val="00AF8E"/>
          </a:solidFill>
          <a:ln>
            <a:noFill/>
          </a:ln>
        </p:spPr>
        <p:txBody>
          <a:bodyPr wrap="square" lIns="144000" tIns="72000" rIns="72000" bIns="72000" rtlCol="0" anchor="t">
            <a:noAutofit/>
          </a:bodyPr>
          <a:lstStyle>
            <a:defPPr>
              <a:defRPr lang="de-DE"/>
            </a:defPPr>
            <a:lvl1pPr algn="ctr">
              <a:spcBef>
                <a:spcPts val="0"/>
              </a:spcBef>
              <a:defRPr sz="1400" b="1">
                <a:solidFill>
                  <a:srgbClr val="000000"/>
                </a:solidFill>
                <a:latin typeface="Arial"/>
                <a:ea typeface="Arial Unicode MS" panose="020B0604020202020204" pitchFamily="34" charset="-128"/>
                <a:cs typeface="Arial Unicode MS" panose="020B0604020202020204" pitchFamily="34" charset="-128"/>
              </a:defRPr>
            </a:lvl1pPr>
          </a:lstStyle>
          <a:p>
            <a:pPr algn="l"/>
            <a:r>
              <a:rPr lang="en-US" sz="1200" b="0" dirty="0">
                <a:solidFill>
                  <a:schemeClr val="tx2"/>
                </a:solidFill>
                <a:latin typeface="+mn-lt"/>
              </a:rPr>
              <a:t>Duis arcu tortor, suscipit eget</a:t>
            </a:r>
          </a:p>
        </p:txBody>
      </p:sp>
      <p:sp>
        <p:nvSpPr>
          <p:cNvPr id="101" name="Textfeld 100">
            <a:extLst>
              <a:ext uri="{FF2B5EF4-FFF2-40B4-BE49-F238E27FC236}">
                <a16:creationId xmlns:a16="http://schemas.microsoft.com/office/drawing/2014/main" id="{1368B41C-DF4C-864D-9AFD-F79E61A05DFB}"/>
              </a:ext>
            </a:extLst>
          </p:cNvPr>
          <p:cNvSpPr txBox="1">
            <a:spLocks/>
          </p:cNvSpPr>
          <p:nvPr/>
        </p:nvSpPr>
        <p:spPr bwMode="gray">
          <a:xfrm>
            <a:off x="2484215" y="3322800"/>
            <a:ext cx="1584000" cy="540000"/>
          </a:xfrm>
          <a:prstGeom prst="rect">
            <a:avLst/>
          </a:prstGeom>
          <a:solidFill>
            <a:srgbClr val="E5E5E9"/>
          </a:solidFill>
          <a:ln>
            <a:noFill/>
          </a:ln>
        </p:spPr>
        <p:txBody>
          <a:bodyPr wrap="square" lIns="144000" tIns="72000" rIns="72000" bIns="72000" rtlCol="0" anchor="t">
            <a:noAutofit/>
          </a:bodyPr>
          <a:lstStyle>
            <a:defPPr>
              <a:defRPr lang="de-DE"/>
            </a:defPPr>
            <a:lvl1pPr algn="ctr">
              <a:spcBef>
                <a:spcPts val="0"/>
              </a:spcBef>
              <a:defRPr sz="1400" b="1">
                <a:solidFill>
                  <a:srgbClr val="000000"/>
                </a:solidFill>
                <a:latin typeface="Arial"/>
                <a:ea typeface="Arial Unicode MS" panose="020B0604020202020204" pitchFamily="34" charset="-128"/>
                <a:cs typeface="Arial Unicode MS" panose="020B0604020202020204" pitchFamily="34" charset="-128"/>
              </a:defRPr>
            </a:lvl1pPr>
          </a:lstStyle>
          <a:p>
            <a:pPr algn="l"/>
            <a:r>
              <a:rPr lang="en-US" sz="1200" b="0" dirty="0">
                <a:solidFill>
                  <a:srgbClr val="333353"/>
                </a:solidFill>
                <a:latin typeface="+mn-lt"/>
              </a:rPr>
              <a:t>Phasellus nec sem</a:t>
            </a:r>
          </a:p>
        </p:txBody>
      </p:sp>
      <p:sp>
        <p:nvSpPr>
          <p:cNvPr id="102" name="Textfeld 101">
            <a:extLst>
              <a:ext uri="{FF2B5EF4-FFF2-40B4-BE49-F238E27FC236}">
                <a16:creationId xmlns:a16="http://schemas.microsoft.com/office/drawing/2014/main" id="{50D44B93-929C-9743-989D-51FDB3F83664}"/>
              </a:ext>
            </a:extLst>
          </p:cNvPr>
          <p:cNvSpPr txBox="1">
            <a:spLocks/>
          </p:cNvSpPr>
          <p:nvPr/>
        </p:nvSpPr>
        <p:spPr bwMode="gray">
          <a:xfrm>
            <a:off x="6343701" y="3322800"/>
            <a:ext cx="1584000" cy="540000"/>
          </a:xfrm>
          <a:prstGeom prst="rect">
            <a:avLst/>
          </a:prstGeom>
          <a:solidFill>
            <a:srgbClr val="E5E5E9"/>
          </a:solidFill>
          <a:ln>
            <a:noFill/>
          </a:ln>
        </p:spPr>
        <p:txBody>
          <a:bodyPr wrap="square" lIns="144000" tIns="72000" rIns="72000" bIns="72000" rtlCol="0" anchor="t">
            <a:noAutofit/>
          </a:bodyPr>
          <a:lstStyle>
            <a:defPPr>
              <a:defRPr lang="de-DE"/>
            </a:defPPr>
            <a:lvl1pPr algn="ctr">
              <a:spcBef>
                <a:spcPts val="0"/>
              </a:spcBef>
              <a:defRPr sz="1400" b="1">
                <a:solidFill>
                  <a:srgbClr val="000000"/>
                </a:solidFill>
                <a:latin typeface="Arial"/>
                <a:ea typeface="Arial Unicode MS" panose="020B0604020202020204" pitchFamily="34" charset="-128"/>
                <a:cs typeface="Arial Unicode MS" panose="020B0604020202020204" pitchFamily="34" charset="-128"/>
              </a:defRPr>
            </a:lvl1pPr>
          </a:lstStyle>
          <a:p>
            <a:pPr algn="l"/>
            <a:r>
              <a:rPr lang="en-US" sz="1200" b="0" dirty="0">
                <a:solidFill>
                  <a:srgbClr val="333353"/>
                </a:solidFill>
                <a:latin typeface="+mn-lt"/>
              </a:rPr>
              <a:t>Duis arcu tortor, suscipit eget</a:t>
            </a:r>
          </a:p>
        </p:txBody>
      </p:sp>
      <p:sp>
        <p:nvSpPr>
          <p:cNvPr id="103" name="Textfeld 102">
            <a:extLst>
              <a:ext uri="{FF2B5EF4-FFF2-40B4-BE49-F238E27FC236}">
                <a16:creationId xmlns:a16="http://schemas.microsoft.com/office/drawing/2014/main" id="{214D9363-4D98-284B-B974-E3537F0948DD}"/>
              </a:ext>
            </a:extLst>
          </p:cNvPr>
          <p:cNvSpPr txBox="1">
            <a:spLocks/>
          </p:cNvSpPr>
          <p:nvPr/>
        </p:nvSpPr>
        <p:spPr bwMode="gray">
          <a:xfrm>
            <a:off x="4413958" y="3322800"/>
            <a:ext cx="1584000" cy="540000"/>
          </a:xfrm>
          <a:prstGeom prst="rect">
            <a:avLst/>
          </a:prstGeom>
          <a:solidFill>
            <a:srgbClr val="CCCCD4"/>
          </a:solidFill>
          <a:ln>
            <a:noFill/>
          </a:ln>
        </p:spPr>
        <p:txBody>
          <a:bodyPr wrap="square" lIns="144000" tIns="72000" rIns="72000" bIns="72000" rtlCol="0" anchor="t">
            <a:noAutofit/>
          </a:bodyPr>
          <a:lstStyle>
            <a:defPPr>
              <a:defRPr lang="de-DE"/>
            </a:defPPr>
            <a:lvl1pPr algn="ctr">
              <a:spcBef>
                <a:spcPts val="0"/>
              </a:spcBef>
              <a:defRPr sz="1400" b="1">
                <a:solidFill>
                  <a:srgbClr val="000000"/>
                </a:solidFill>
                <a:latin typeface="Arial"/>
                <a:ea typeface="Arial Unicode MS" panose="020B0604020202020204" pitchFamily="34" charset="-128"/>
                <a:cs typeface="Arial Unicode MS" panose="020B0604020202020204" pitchFamily="34" charset="-128"/>
              </a:defRPr>
            </a:lvl1pPr>
          </a:lstStyle>
          <a:p>
            <a:pPr algn="l"/>
            <a:r>
              <a:rPr lang="en-US" sz="1200" b="0" dirty="0">
                <a:solidFill>
                  <a:schemeClr val="tx2"/>
                </a:solidFill>
                <a:latin typeface="+mn-lt"/>
              </a:rPr>
              <a:t>At vero eos et accusam</a:t>
            </a:r>
          </a:p>
        </p:txBody>
      </p:sp>
      <p:sp>
        <p:nvSpPr>
          <p:cNvPr id="104" name="Textfeld 103">
            <a:extLst>
              <a:ext uri="{FF2B5EF4-FFF2-40B4-BE49-F238E27FC236}">
                <a16:creationId xmlns:a16="http://schemas.microsoft.com/office/drawing/2014/main" id="{1ADABAF0-D782-D045-A866-FC7BC279725E}"/>
              </a:ext>
            </a:extLst>
          </p:cNvPr>
          <p:cNvSpPr txBox="1">
            <a:spLocks/>
          </p:cNvSpPr>
          <p:nvPr/>
        </p:nvSpPr>
        <p:spPr bwMode="gray">
          <a:xfrm>
            <a:off x="10203187" y="3322800"/>
            <a:ext cx="1584000" cy="540000"/>
          </a:xfrm>
          <a:prstGeom prst="rect">
            <a:avLst/>
          </a:prstGeom>
          <a:solidFill>
            <a:srgbClr val="00AF8E"/>
          </a:solidFill>
          <a:ln>
            <a:noFill/>
          </a:ln>
        </p:spPr>
        <p:txBody>
          <a:bodyPr wrap="square" lIns="144000" tIns="72000" rIns="72000" bIns="72000" rtlCol="0" anchor="t">
            <a:noAutofit/>
          </a:bodyPr>
          <a:lstStyle>
            <a:defPPr>
              <a:defRPr lang="de-DE"/>
            </a:defPPr>
            <a:lvl1pPr algn="ctr">
              <a:spcBef>
                <a:spcPts val="0"/>
              </a:spcBef>
              <a:defRPr sz="1400" b="1">
                <a:solidFill>
                  <a:srgbClr val="000000"/>
                </a:solidFill>
                <a:latin typeface="Arial"/>
                <a:ea typeface="Arial Unicode MS" panose="020B0604020202020204" pitchFamily="34" charset="-128"/>
                <a:cs typeface="Arial Unicode MS" panose="020B0604020202020204" pitchFamily="34" charset="-128"/>
              </a:defRPr>
            </a:lvl1pPr>
          </a:lstStyle>
          <a:p>
            <a:pPr algn="l"/>
            <a:r>
              <a:rPr lang="en-US" sz="1200" b="0" dirty="0">
                <a:solidFill>
                  <a:schemeClr val="tx2"/>
                </a:solidFill>
                <a:latin typeface="+mn-lt"/>
              </a:rPr>
              <a:t>Phasellus nec sem</a:t>
            </a:r>
          </a:p>
        </p:txBody>
      </p:sp>
      <p:sp>
        <p:nvSpPr>
          <p:cNvPr id="112" name="Textfeld 111">
            <a:extLst>
              <a:ext uri="{FF2B5EF4-FFF2-40B4-BE49-F238E27FC236}">
                <a16:creationId xmlns:a16="http://schemas.microsoft.com/office/drawing/2014/main" id="{E1F343D3-BA6B-8D45-81C2-5DC2CC02C770}"/>
              </a:ext>
            </a:extLst>
          </p:cNvPr>
          <p:cNvSpPr txBox="1">
            <a:spLocks/>
          </p:cNvSpPr>
          <p:nvPr/>
        </p:nvSpPr>
        <p:spPr bwMode="gray">
          <a:xfrm>
            <a:off x="2484215" y="4042800"/>
            <a:ext cx="1584000" cy="540000"/>
          </a:xfrm>
          <a:prstGeom prst="rect">
            <a:avLst/>
          </a:prstGeom>
          <a:solidFill>
            <a:srgbClr val="E5E5E9"/>
          </a:solidFill>
          <a:ln>
            <a:noFill/>
          </a:ln>
        </p:spPr>
        <p:txBody>
          <a:bodyPr wrap="square" lIns="144000" tIns="72000" rIns="72000" bIns="72000" rtlCol="0" anchor="t">
            <a:noAutofit/>
          </a:bodyPr>
          <a:lstStyle>
            <a:defPPr>
              <a:defRPr lang="de-DE"/>
            </a:defPPr>
            <a:lvl1pPr algn="ctr">
              <a:spcBef>
                <a:spcPts val="0"/>
              </a:spcBef>
              <a:defRPr sz="1400" b="1">
                <a:solidFill>
                  <a:srgbClr val="000000"/>
                </a:solidFill>
                <a:latin typeface="Arial"/>
                <a:ea typeface="Arial Unicode MS" panose="020B0604020202020204" pitchFamily="34" charset="-128"/>
                <a:cs typeface="Arial Unicode MS" panose="020B0604020202020204" pitchFamily="34" charset="-128"/>
              </a:defRPr>
            </a:lvl1pPr>
          </a:lstStyle>
          <a:p>
            <a:pPr algn="l"/>
            <a:r>
              <a:rPr lang="en-US" sz="1200" b="0" dirty="0">
                <a:solidFill>
                  <a:srgbClr val="333353"/>
                </a:solidFill>
                <a:latin typeface="+mn-lt"/>
              </a:rPr>
              <a:t>Donec sodales sagittis magna</a:t>
            </a:r>
          </a:p>
        </p:txBody>
      </p:sp>
      <p:sp>
        <p:nvSpPr>
          <p:cNvPr id="114" name="Textfeld 113">
            <a:extLst>
              <a:ext uri="{FF2B5EF4-FFF2-40B4-BE49-F238E27FC236}">
                <a16:creationId xmlns:a16="http://schemas.microsoft.com/office/drawing/2014/main" id="{B4717C9E-75AE-E64A-9C11-E9055A1115F2}"/>
              </a:ext>
            </a:extLst>
          </p:cNvPr>
          <p:cNvSpPr txBox="1">
            <a:spLocks/>
          </p:cNvSpPr>
          <p:nvPr/>
        </p:nvSpPr>
        <p:spPr bwMode="gray">
          <a:xfrm>
            <a:off x="6343701" y="4042800"/>
            <a:ext cx="1584000" cy="540000"/>
          </a:xfrm>
          <a:prstGeom prst="rect">
            <a:avLst/>
          </a:prstGeom>
          <a:solidFill>
            <a:srgbClr val="E5E5E9"/>
          </a:solidFill>
          <a:ln>
            <a:noFill/>
          </a:ln>
        </p:spPr>
        <p:txBody>
          <a:bodyPr wrap="square" lIns="144000" tIns="72000" rIns="72000" bIns="72000" rtlCol="0" anchor="t">
            <a:noAutofit/>
          </a:bodyPr>
          <a:lstStyle>
            <a:defPPr>
              <a:defRPr lang="de-DE"/>
            </a:defPPr>
            <a:lvl1pPr algn="ctr">
              <a:spcBef>
                <a:spcPts val="0"/>
              </a:spcBef>
              <a:defRPr sz="1400" b="1">
                <a:solidFill>
                  <a:srgbClr val="000000"/>
                </a:solidFill>
                <a:latin typeface="Arial"/>
                <a:ea typeface="Arial Unicode MS" panose="020B0604020202020204" pitchFamily="34" charset="-128"/>
                <a:cs typeface="Arial Unicode MS" panose="020B0604020202020204" pitchFamily="34" charset="-128"/>
              </a:defRPr>
            </a:lvl1pPr>
          </a:lstStyle>
          <a:p>
            <a:pPr algn="l"/>
            <a:r>
              <a:rPr lang="en-US" sz="1200" b="0" dirty="0">
                <a:solidFill>
                  <a:srgbClr val="333353"/>
                </a:solidFill>
                <a:latin typeface="+mn-lt"/>
              </a:rPr>
              <a:t>Lorem ipsum</a:t>
            </a:r>
            <a:br>
              <a:rPr lang="en-US" sz="1200" b="0" dirty="0">
                <a:solidFill>
                  <a:srgbClr val="333353"/>
                </a:solidFill>
                <a:latin typeface="+mn-lt"/>
              </a:rPr>
            </a:br>
            <a:r>
              <a:rPr lang="en-US" sz="1200" b="0" dirty="0">
                <a:solidFill>
                  <a:srgbClr val="333353"/>
                </a:solidFill>
                <a:latin typeface="+mn-lt"/>
              </a:rPr>
              <a:t>Maecenas nec odio</a:t>
            </a:r>
          </a:p>
        </p:txBody>
      </p:sp>
      <p:sp>
        <p:nvSpPr>
          <p:cNvPr id="115" name="Textfeld 114">
            <a:extLst>
              <a:ext uri="{FF2B5EF4-FFF2-40B4-BE49-F238E27FC236}">
                <a16:creationId xmlns:a16="http://schemas.microsoft.com/office/drawing/2014/main" id="{22C31370-9E44-A34C-9FEA-4DB7CC501171}"/>
              </a:ext>
            </a:extLst>
          </p:cNvPr>
          <p:cNvSpPr txBox="1">
            <a:spLocks/>
          </p:cNvSpPr>
          <p:nvPr/>
        </p:nvSpPr>
        <p:spPr bwMode="gray">
          <a:xfrm>
            <a:off x="4413958" y="4042800"/>
            <a:ext cx="1584000" cy="540000"/>
          </a:xfrm>
          <a:prstGeom prst="rect">
            <a:avLst/>
          </a:prstGeom>
          <a:solidFill>
            <a:srgbClr val="CCCCD4"/>
          </a:solidFill>
          <a:ln>
            <a:noFill/>
          </a:ln>
        </p:spPr>
        <p:txBody>
          <a:bodyPr wrap="square" lIns="144000" tIns="72000" rIns="72000" bIns="72000" rtlCol="0" anchor="t">
            <a:noAutofit/>
          </a:bodyPr>
          <a:lstStyle>
            <a:defPPr>
              <a:defRPr lang="de-DE"/>
            </a:defPPr>
            <a:lvl1pPr algn="ctr">
              <a:spcBef>
                <a:spcPts val="0"/>
              </a:spcBef>
              <a:defRPr sz="1400" b="1">
                <a:solidFill>
                  <a:srgbClr val="000000"/>
                </a:solidFill>
                <a:latin typeface="Arial"/>
                <a:ea typeface="Arial Unicode MS" panose="020B0604020202020204" pitchFamily="34" charset="-128"/>
                <a:cs typeface="Arial Unicode MS" panose="020B0604020202020204" pitchFamily="34" charset="-128"/>
              </a:defRPr>
            </a:lvl1pPr>
          </a:lstStyle>
          <a:p>
            <a:pPr algn="l"/>
            <a:r>
              <a:rPr lang="en-US" sz="1200" b="0" dirty="0">
                <a:solidFill>
                  <a:schemeClr val="tx2"/>
                </a:solidFill>
                <a:latin typeface="+mn-lt"/>
              </a:rPr>
              <a:t>Duis arcu tortor, suscipit eget</a:t>
            </a:r>
          </a:p>
        </p:txBody>
      </p:sp>
      <p:sp>
        <p:nvSpPr>
          <p:cNvPr id="116" name="Textfeld 115">
            <a:extLst>
              <a:ext uri="{FF2B5EF4-FFF2-40B4-BE49-F238E27FC236}">
                <a16:creationId xmlns:a16="http://schemas.microsoft.com/office/drawing/2014/main" id="{9EDC3B86-58C6-CC43-9413-4BFBD84C354F}"/>
              </a:ext>
            </a:extLst>
          </p:cNvPr>
          <p:cNvSpPr txBox="1">
            <a:spLocks/>
          </p:cNvSpPr>
          <p:nvPr/>
        </p:nvSpPr>
        <p:spPr bwMode="gray">
          <a:xfrm>
            <a:off x="10203187" y="4042800"/>
            <a:ext cx="1584000" cy="540000"/>
          </a:xfrm>
          <a:prstGeom prst="rect">
            <a:avLst/>
          </a:prstGeom>
          <a:solidFill>
            <a:srgbClr val="E5E5E9"/>
          </a:solidFill>
          <a:ln>
            <a:noFill/>
          </a:ln>
        </p:spPr>
        <p:txBody>
          <a:bodyPr wrap="square" lIns="144000" tIns="72000" rIns="72000" bIns="72000" rtlCol="0" anchor="t">
            <a:noAutofit/>
          </a:bodyPr>
          <a:lstStyle>
            <a:defPPr>
              <a:defRPr lang="de-DE"/>
            </a:defPPr>
            <a:lvl1pPr algn="ctr">
              <a:spcBef>
                <a:spcPts val="0"/>
              </a:spcBef>
              <a:defRPr sz="1400" b="1">
                <a:solidFill>
                  <a:srgbClr val="000000"/>
                </a:solidFill>
                <a:latin typeface="Arial"/>
                <a:ea typeface="Arial Unicode MS" panose="020B0604020202020204" pitchFamily="34" charset="-128"/>
                <a:cs typeface="Arial Unicode MS" panose="020B0604020202020204" pitchFamily="34" charset="-128"/>
              </a:defRPr>
            </a:lvl1pPr>
          </a:lstStyle>
          <a:p>
            <a:pPr algn="l"/>
            <a:r>
              <a:rPr lang="en-US" sz="1200" b="0" dirty="0">
                <a:solidFill>
                  <a:srgbClr val="333353"/>
                </a:solidFill>
                <a:latin typeface="+mn-lt"/>
              </a:rPr>
              <a:t>At vero eos et accusam</a:t>
            </a:r>
          </a:p>
        </p:txBody>
      </p:sp>
      <p:sp>
        <p:nvSpPr>
          <p:cNvPr id="124" name="Textfeld 123">
            <a:extLst>
              <a:ext uri="{FF2B5EF4-FFF2-40B4-BE49-F238E27FC236}">
                <a16:creationId xmlns:a16="http://schemas.microsoft.com/office/drawing/2014/main" id="{1D3A44DA-C446-B142-B1E0-A1ADC59A7F1B}"/>
              </a:ext>
            </a:extLst>
          </p:cNvPr>
          <p:cNvSpPr txBox="1">
            <a:spLocks/>
          </p:cNvSpPr>
          <p:nvPr/>
        </p:nvSpPr>
        <p:spPr bwMode="gray">
          <a:xfrm>
            <a:off x="2484215" y="5482800"/>
            <a:ext cx="1584000" cy="540000"/>
          </a:xfrm>
          <a:prstGeom prst="rect">
            <a:avLst/>
          </a:prstGeom>
          <a:solidFill>
            <a:srgbClr val="E5E5E9"/>
          </a:solidFill>
          <a:ln>
            <a:noFill/>
          </a:ln>
        </p:spPr>
        <p:txBody>
          <a:bodyPr wrap="square" lIns="144000" tIns="72000" rIns="72000" bIns="72000" rtlCol="0" anchor="t">
            <a:noAutofit/>
          </a:bodyPr>
          <a:lstStyle/>
          <a:p>
            <a:pPr>
              <a:spcBef>
                <a:spcPts val="0"/>
              </a:spcBef>
            </a:pPr>
            <a:r>
              <a:rPr lang="en-US" sz="1200" dirty="0">
                <a:solidFill>
                  <a:srgbClr val="333353"/>
                </a:solidFill>
                <a:ea typeface="Arial Unicode MS" panose="020B0604020202020204" pitchFamily="34" charset="-128"/>
                <a:cs typeface="Arial Unicode MS" panose="020B0604020202020204" pitchFamily="34" charset="-128"/>
              </a:rPr>
              <a:t>Duis arcu tortor, suscipit eget</a:t>
            </a:r>
          </a:p>
        </p:txBody>
      </p:sp>
      <p:sp>
        <p:nvSpPr>
          <p:cNvPr id="125" name="Textfeld 124">
            <a:extLst>
              <a:ext uri="{FF2B5EF4-FFF2-40B4-BE49-F238E27FC236}">
                <a16:creationId xmlns:a16="http://schemas.microsoft.com/office/drawing/2014/main" id="{F8F4A5C4-48C8-7B4C-9A26-9DAC86B12D91}"/>
              </a:ext>
            </a:extLst>
          </p:cNvPr>
          <p:cNvSpPr txBox="1">
            <a:spLocks/>
          </p:cNvSpPr>
          <p:nvPr/>
        </p:nvSpPr>
        <p:spPr bwMode="gray">
          <a:xfrm>
            <a:off x="554470" y="5482800"/>
            <a:ext cx="1584000" cy="540000"/>
          </a:xfrm>
          <a:prstGeom prst="rect">
            <a:avLst/>
          </a:prstGeom>
          <a:solidFill>
            <a:srgbClr val="00AF8E"/>
          </a:solidFill>
          <a:ln>
            <a:noFill/>
          </a:ln>
        </p:spPr>
        <p:txBody>
          <a:bodyPr wrap="square" lIns="144000" tIns="72000" rIns="72000" bIns="72000" rtlCol="0" anchor="t">
            <a:noAutofit/>
          </a:bodyPr>
          <a:lstStyle>
            <a:defPPr>
              <a:defRPr lang="de-DE"/>
            </a:defPPr>
            <a:lvl1pPr algn="ctr">
              <a:spcBef>
                <a:spcPts val="0"/>
              </a:spcBef>
              <a:defRPr sz="1400" b="1">
                <a:solidFill>
                  <a:srgbClr val="000000"/>
                </a:solidFill>
                <a:latin typeface="Arial"/>
                <a:ea typeface="Arial Unicode MS" panose="020B0604020202020204" pitchFamily="34" charset="-128"/>
                <a:cs typeface="Arial Unicode MS" panose="020B0604020202020204" pitchFamily="34" charset="-128"/>
              </a:defRPr>
            </a:lvl1pPr>
          </a:lstStyle>
          <a:p>
            <a:pPr algn="l"/>
            <a:r>
              <a:rPr lang="en-US" sz="1200" b="0" dirty="0">
                <a:solidFill>
                  <a:schemeClr val="tx2"/>
                </a:solidFill>
                <a:latin typeface="+mn-lt"/>
              </a:rPr>
              <a:t>At vero eos et accusam</a:t>
            </a:r>
          </a:p>
        </p:txBody>
      </p:sp>
      <p:sp>
        <p:nvSpPr>
          <p:cNvPr id="2" name="Fußzeilenplatzhalter 1">
            <a:extLst>
              <a:ext uri="{FF2B5EF4-FFF2-40B4-BE49-F238E27FC236}">
                <a16:creationId xmlns:a16="http://schemas.microsoft.com/office/drawing/2014/main" id="{DE8F0B98-BEA5-5A4A-865C-3102B9FC1367}"/>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3" name="Foliennummernplatzhalter 2">
            <a:extLst>
              <a:ext uri="{FF2B5EF4-FFF2-40B4-BE49-F238E27FC236}">
                <a16:creationId xmlns:a16="http://schemas.microsoft.com/office/drawing/2014/main" id="{2727BCB3-545F-A546-ACFB-63ABC3F9A30B}"/>
              </a:ext>
            </a:extLst>
          </p:cNvPr>
          <p:cNvSpPr>
            <a:spLocks noGrp="1"/>
          </p:cNvSpPr>
          <p:nvPr>
            <p:ph type="sldNum" sz="quarter" idx="11"/>
          </p:nvPr>
        </p:nvSpPr>
        <p:spPr/>
        <p:txBody>
          <a:bodyPr/>
          <a:lstStyle/>
          <a:p>
            <a:r>
              <a:rPr lang="en-US" dirty="0"/>
              <a:t>Page </a:t>
            </a:r>
            <a:fld id="{15EBE321-CBB1-4E91-BD14-37C8D44326FB}" type="slidenum">
              <a:rPr lang="en-US" smtClean="0"/>
              <a:pPr/>
              <a:t>72</a:t>
            </a:fld>
            <a:endParaRPr lang="en-US" dirty="0"/>
          </a:p>
        </p:txBody>
      </p:sp>
      <p:grpSp>
        <p:nvGrpSpPr>
          <p:cNvPr id="11" name="Group 10">
            <a:extLst>
              <a:ext uri="{FF2B5EF4-FFF2-40B4-BE49-F238E27FC236}">
                <a16:creationId xmlns:a16="http://schemas.microsoft.com/office/drawing/2014/main" id="{C63619FA-6358-4DE6-9ED1-5629F9565741}"/>
              </a:ext>
            </a:extLst>
          </p:cNvPr>
          <p:cNvGrpSpPr/>
          <p:nvPr/>
        </p:nvGrpSpPr>
        <p:grpSpPr>
          <a:xfrm>
            <a:off x="411164" y="2279956"/>
            <a:ext cx="9790544" cy="3472944"/>
            <a:chOff x="411164" y="2279956"/>
            <a:chExt cx="9790544" cy="3472944"/>
          </a:xfrm>
        </p:grpSpPr>
        <p:grpSp>
          <p:nvGrpSpPr>
            <p:cNvPr id="10" name="Group 9">
              <a:extLst>
                <a:ext uri="{FF2B5EF4-FFF2-40B4-BE49-F238E27FC236}">
                  <a16:creationId xmlns:a16="http://schemas.microsoft.com/office/drawing/2014/main" id="{BFDC1BBB-3806-43E2-A4F4-57AD327DDD7E}"/>
                </a:ext>
              </a:extLst>
            </p:cNvPr>
            <p:cNvGrpSpPr/>
            <p:nvPr/>
          </p:nvGrpSpPr>
          <p:grpSpPr>
            <a:xfrm>
              <a:off x="411164" y="2279956"/>
              <a:ext cx="143308" cy="3472944"/>
              <a:chOff x="411164" y="2279956"/>
              <a:chExt cx="143308" cy="3472944"/>
            </a:xfrm>
          </p:grpSpPr>
          <p:sp>
            <p:nvSpPr>
              <p:cNvPr id="68" name="Rechteck 4">
                <a:extLst>
                  <a:ext uri="{FF2B5EF4-FFF2-40B4-BE49-F238E27FC236}">
                    <a16:creationId xmlns:a16="http://schemas.microsoft.com/office/drawing/2014/main" id="{F00DD2B7-C07E-E94F-8CEE-A259CAC48571}"/>
                  </a:ext>
                </a:extLst>
              </p:cNvPr>
              <p:cNvSpPr/>
              <p:nvPr/>
            </p:nvSpPr>
            <p:spPr bwMode="gray">
              <a:xfrm>
                <a:off x="411164" y="4312800"/>
                <a:ext cx="143308" cy="720000"/>
              </a:xfrm>
              <a:custGeom>
                <a:avLst/>
                <a:gdLst>
                  <a:gd name="connsiteX0" fmla="*/ 0 w 211134"/>
                  <a:gd name="connsiteY0" fmla="*/ 0 h 628189"/>
                  <a:gd name="connsiteX1" fmla="*/ 211134 w 211134"/>
                  <a:gd name="connsiteY1" fmla="*/ 0 h 628189"/>
                  <a:gd name="connsiteX2" fmla="*/ 211134 w 211134"/>
                  <a:gd name="connsiteY2" fmla="*/ 628189 h 628189"/>
                  <a:gd name="connsiteX3" fmla="*/ 0 w 211134"/>
                  <a:gd name="connsiteY3" fmla="*/ 628189 h 628189"/>
                  <a:gd name="connsiteX4" fmla="*/ 0 w 211134"/>
                  <a:gd name="connsiteY4" fmla="*/ 0 h 628189"/>
                  <a:gd name="connsiteX0" fmla="*/ 211134 w 302574"/>
                  <a:gd name="connsiteY0" fmla="*/ 628189 h 719629"/>
                  <a:gd name="connsiteX1" fmla="*/ 0 w 302574"/>
                  <a:gd name="connsiteY1" fmla="*/ 628189 h 719629"/>
                  <a:gd name="connsiteX2" fmla="*/ 0 w 302574"/>
                  <a:gd name="connsiteY2" fmla="*/ 0 h 719629"/>
                  <a:gd name="connsiteX3" fmla="*/ 211134 w 302574"/>
                  <a:gd name="connsiteY3" fmla="*/ 0 h 719629"/>
                  <a:gd name="connsiteX4" fmla="*/ 302574 w 302574"/>
                  <a:gd name="connsiteY4" fmla="*/ 719629 h 719629"/>
                  <a:gd name="connsiteX0" fmla="*/ 211134 w 211134"/>
                  <a:gd name="connsiteY0" fmla="*/ 628189 h 628189"/>
                  <a:gd name="connsiteX1" fmla="*/ 0 w 211134"/>
                  <a:gd name="connsiteY1" fmla="*/ 628189 h 628189"/>
                  <a:gd name="connsiteX2" fmla="*/ 0 w 211134"/>
                  <a:gd name="connsiteY2" fmla="*/ 0 h 628189"/>
                  <a:gd name="connsiteX3" fmla="*/ 211134 w 211134"/>
                  <a:gd name="connsiteY3" fmla="*/ 0 h 628189"/>
                  <a:gd name="connsiteX0" fmla="*/ 211134 w 211134"/>
                  <a:gd name="connsiteY0" fmla="*/ 628189 h 628189"/>
                  <a:gd name="connsiteX1" fmla="*/ 0 w 211134"/>
                  <a:gd name="connsiteY1" fmla="*/ 628189 h 628189"/>
                  <a:gd name="connsiteX2" fmla="*/ 0 w 211134"/>
                  <a:gd name="connsiteY2" fmla="*/ 0 h 628189"/>
                </a:gdLst>
                <a:ahLst/>
                <a:cxnLst>
                  <a:cxn ang="0">
                    <a:pos x="connsiteX0" y="connsiteY0"/>
                  </a:cxn>
                  <a:cxn ang="0">
                    <a:pos x="connsiteX1" y="connsiteY1"/>
                  </a:cxn>
                  <a:cxn ang="0">
                    <a:pos x="connsiteX2" y="connsiteY2"/>
                  </a:cxn>
                </a:cxnLst>
                <a:rect l="l" t="t" r="r" b="b"/>
                <a:pathLst>
                  <a:path w="211134" h="628189">
                    <a:moveTo>
                      <a:pt x="211134" y="628189"/>
                    </a:moveTo>
                    <a:lnTo>
                      <a:pt x="0" y="628189"/>
                    </a:lnTo>
                    <a:lnTo>
                      <a:pt x="0" y="0"/>
                    </a:lnTo>
                  </a:path>
                </a:pathLst>
              </a:custGeom>
              <a:noFill/>
              <a:ln w="12700">
                <a:solidFill>
                  <a:srgbClr val="66667E"/>
                </a:solidFill>
                <a:miter lim="800000"/>
                <a:headEnd/>
                <a:tailEnd/>
              </a:ln>
              <a:effectLst/>
            </p:spPr>
            <p:txBody>
              <a:bodyPr wrap="square" lIns="108000" tIns="54000" rIns="108000" bIns="54000" numCol="1" spcCol="72000" rtlCol="0" anchor="ctr">
                <a:noAutofit/>
              </a:bodyPr>
              <a:lstStyle/>
              <a:p>
                <a:pPr algn="ctr">
                  <a:lnSpc>
                    <a:spcPct val="110000"/>
                  </a:lnSpc>
                  <a:spcBef>
                    <a:spcPts val="0"/>
                  </a:spcBef>
                  <a:buFont typeface="Wingdings" charset="0"/>
                  <a:buNone/>
                </a:pPr>
                <a:endParaRPr lang="en-US" sz="2000" dirty="0">
                  <a:ea typeface="Arial Unicode MS" panose="020B0604020202020204" pitchFamily="34" charset="-128"/>
                  <a:cs typeface="Arial Unicode MS" panose="020B0604020202020204" pitchFamily="34" charset="-128"/>
                </a:endParaRPr>
              </a:p>
            </p:txBody>
          </p:sp>
          <p:sp>
            <p:nvSpPr>
              <p:cNvPr id="70" name="Rechteck 4">
                <a:extLst>
                  <a:ext uri="{FF2B5EF4-FFF2-40B4-BE49-F238E27FC236}">
                    <a16:creationId xmlns:a16="http://schemas.microsoft.com/office/drawing/2014/main" id="{B55D029E-D38E-3744-B236-B12FC349553C}"/>
                  </a:ext>
                </a:extLst>
              </p:cNvPr>
              <p:cNvSpPr/>
              <p:nvPr/>
            </p:nvSpPr>
            <p:spPr bwMode="gray">
              <a:xfrm>
                <a:off x="411164" y="2279956"/>
                <a:ext cx="143308" cy="594000"/>
              </a:xfrm>
              <a:custGeom>
                <a:avLst/>
                <a:gdLst>
                  <a:gd name="connsiteX0" fmla="*/ 0 w 211134"/>
                  <a:gd name="connsiteY0" fmla="*/ 0 h 628189"/>
                  <a:gd name="connsiteX1" fmla="*/ 211134 w 211134"/>
                  <a:gd name="connsiteY1" fmla="*/ 0 h 628189"/>
                  <a:gd name="connsiteX2" fmla="*/ 211134 w 211134"/>
                  <a:gd name="connsiteY2" fmla="*/ 628189 h 628189"/>
                  <a:gd name="connsiteX3" fmla="*/ 0 w 211134"/>
                  <a:gd name="connsiteY3" fmla="*/ 628189 h 628189"/>
                  <a:gd name="connsiteX4" fmla="*/ 0 w 211134"/>
                  <a:gd name="connsiteY4" fmla="*/ 0 h 628189"/>
                  <a:gd name="connsiteX0" fmla="*/ 211134 w 302574"/>
                  <a:gd name="connsiteY0" fmla="*/ 628189 h 719629"/>
                  <a:gd name="connsiteX1" fmla="*/ 0 w 302574"/>
                  <a:gd name="connsiteY1" fmla="*/ 628189 h 719629"/>
                  <a:gd name="connsiteX2" fmla="*/ 0 w 302574"/>
                  <a:gd name="connsiteY2" fmla="*/ 0 h 719629"/>
                  <a:gd name="connsiteX3" fmla="*/ 211134 w 302574"/>
                  <a:gd name="connsiteY3" fmla="*/ 0 h 719629"/>
                  <a:gd name="connsiteX4" fmla="*/ 302574 w 302574"/>
                  <a:gd name="connsiteY4" fmla="*/ 719629 h 719629"/>
                  <a:gd name="connsiteX0" fmla="*/ 211134 w 211134"/>
                  <a:gd name="connsiteY0" fmla="*/ 628189 h 628189"/>
                  <a:gd name="connsiteX1" fmla="*/ 0 w 211134"/>
                  <a:gd name="connsiteY1" fmla="*/ 628189 h 628189"/>
                  <a:gd name="connsiteX2" fmla="*/ 0 w 211134"/>
                  <a:gd name="connsiteY2" fmla="*/ 0 h 628189"/>
                  <a:gd name="connsiteX3" fmla="*/ 211134 w 211134"/>
                  <a:gd name="connsiteY3" fmla="*/ 0 h 628189"/>
                  <a:gd name="connsiteX0" fmla="*/ 211134 w 211134"/>
                  <a:gd name="connsiteY0" fmla="*/ 628189 h 628189"/>
                  <a:gd name="connsiteX1" fmla="*/ 0 w 211134"/>
                  <a:gd name="connsiteY1" fmla="*/ 628189 h 628189"/>
                  <a:gd name="connsiteX2" fmla="*/ 0 w 211134"/>
                  <a:gd name="connsiteY2" fmla="*/ 0 h 628189"/>
                </a:gdLst>
                <a:ahLst/>
                <a:cxnLst>
                  <a:cxn ang="0">
                    <a:pos x="connsiteX0" y="connsiteY0"/>
                  </a:cxn>
                  <a:cxn ang="0">
                    <a:pos x="connsiteX1" y="connsiteY1"/>
                  </a:cxn>
                  <a:cxn ang="0">
                    <a:pos x="connsiteX2" y="connsiteY2"/>
                  </a:cxn>
                </a:cxnLst>
                <a:rect l="l" t="t" r="r" b="b"/>
                <a:pathLst>
                  <a:path w="211134" h="628189">
                    <a:moveTo>
                      <a:pt x="211134" y="628189"/>
                    </a:moveTo>
                    <a:lnTo>
                      <a:pt x="0" y="628189"/>
                    </a:lnTo>
                    <a:lnTo>
                      <a:pt x="0" y="0"/>
                    </a:lnTo>
                  </a:path>
                </a:pathLst>
              </a:custGeom>
              <a:noFill/>
              <a:ln w="12700">
                <a:solidFill>
                  <a:srgbClr val="66667E"/>
                </a:solidFill>
                <a:miter lim="800000"/>
                <a:headEnd/>
                <a:tailEnd/>
              </a:ln>
              <a:effectLst/>
            </p:spPr>
            <p:txBody>
              <a:bodyPr wrap="square" lIns="108000" tIns="54000" rIns="108000" bIns="54000" numCol="1" spcCol="72000" rtlCol="0" anchor="ctr">
                <a:noAutofit/>
              </a:bodyPr>
              <a:lstStyle/>
              <a:p>
                <a:pPr algn="ctr">
                  <a:lnSpc>
                    <a:spcPct val="110000"/>
                  </a:lnSpc>
                  <a:spcBef>
                    <a:spcPts val="0"/>
                  </a:spcBef>
                  <a:buFont typeface="Wingdings" charset="0"/>
                  <a:buNone/>
                </a:pPr>
                <a:endParaRPr lang="en-US" sz="2000" dirty="0">
                  <a:solidFill>
                    <a:schemeClr val="tx1"/>
                  </a:solidFill>
                  <a:ea typeface="Arial Unicode MS" panose="020B0604020202020204" pitchFamily="34" charset="-128"/>
                  <a:cs typeface="Arial Unicode MS" panose="020B0604020202020204" pitchFamily="34" charset="-128"/>
                </a:endParaRPr>
              </a:p>
            </p:txBody>
          </p:sp>
          <p:sp>
            <p:nvSpPr>
              <p:cNvPr id="76" name="Rechteck 4">
                <a:extLst>
                  <a:ext uri="{FF2B5EF4-FFF2-40B4-BE49-F238E27FC236}">
                    <a16:creationId xmlns:a16="http://schemas.microsoft.com/office/drawing/2014/main" id="{147741C3-A034-DC4A-A39E-975F2238A48C}"/>
                  </a:ext>
                </a:extLst>
              </p:cNvPr>
              <p:cNvSpPr/>
              <p:nvPr/>
            </p:nvSpPr>
            <p:spPr bwMode="gray">
              <a:xfrm>
                <a:off x="411164" y="2872800"/>
                <a:ext cx="143308" cy="720000"/>
              </a:xfrm>
              <a:custGeom>
                <a:avLst/>
                <a:gdLst>
                  <a:gd name="connsiteX0" fmla="*/ 0 w 211134"/>
                  <a:gd name="connsiteY0" fmla="*/ 0 h 628189"/>
                  <a:gd name="connsiteX1" fmla="*/ 211134 w 211134"/>
                  <a:gd name="connsiteY1" fmla="*/ 0 h 628189"/>
                  <a:gd name="connsiteX2" fmla="*/ 211134 w 211134"/>
                  <a:gd name="connsiteY2" fmla="*/ 628189 h 628189"/>
                  <a:gd name="connsiteX3" fmla="*/ 0 w 211134"/>
                  <a:gd name="connsiteY3" fmla="*/ 628189 h 628189"/>
                  <a:gd name="connsiteX4" fmla="*/ 0 w 211134"/>
                  <a:gd name="connsiteY4" fmla="*/ 0 h 628189"/>
                  <a:gd name="connsiteX0" fmla="*/ 211134 w 302574"/>
                  <a:gd name="connsiteY0" fmla="*/ 628189 h 719629"/>
                  <a:gd name="connsiteX1" fmla="*/ 0 w 302574"/>
                  <a:gd name="connsiteY1" fmla="*/ 628189 h 719629"/>
                  <a:gd name="connsiteX2" fmla="*/ 0 w 302574"/>
                  <a:gd name="connsiteY2" fmla="*/ 0 h 719629"/>
                  <a:gd name="connsiteX3" fmla="*/ 211134 w 302574"/>
                  <a:gd name="connsiteY3" fmla="*/ 0 h 719629"/>
                  <a:gd name="connsiteX4" fmla="*/ 302574 w 302574"/>
                  <a:gd name="connsiteY4" fmla="*/ 719629 h 719629"/>
                  <a:gd name="connsiteX0" fmla="*/ 211134 w 211134"/>
                  <a:gd name="connsiteY0" fmla="*/ 628189 h 628189"/>
                  <a:gd name="connsiteX1" fmla="*/ 0 w 211134"/>
                  <a:gd name="connsiteY1" fmla="*/ 628189 h 628189"/>
                  <a:gd name="connsiteX2" fmla="*/ 0 w 211134"/>
                  <a:gd name="connsiteY2" fmla="*/ 0 h 628189"/>
                  <a:gd name="connsiteX3" fmla="*/ 211134 w 211134"/>
                  <a:gd name="connsiteY3" fmla="*/ 0 h 628189"/>
                  <a:gd name="connsiteX0" fmla="*/ 211134 w 211134"/>
                  <a:gd name="connsiteY0" fmla="*/ 628189 h 628189"/>
                  <a:gd name="connsiteX1" fmla="*/ 0 w 211134"/>
                  <a:gd name="connsiteY1" fmla="*/ 628189 h 628189"/>
                  <a:gd name="connsiteX2" fmla="*/ 0 w 211134"/>
                  <a:gd name="connsiteY2" fmla="*/ 0 h 628189"/>
                </a:gdLst>
                <a:ahLst/>
                <a:cxnLst>
                  <a:cxn ang="0">
                    <a:pos x="connsiteX0" y="connsiteY0"/>
                  </a:cxn>
                  <a:cxn ang="0">
                    <a:pos x="connsiteX1" y="connsiteY1"/>
                  </a:cxn>
                  <a:cxn ang="0">
                    <a:pos x="connsiteX2" y="connsiteY2"/>
                  </a:cxn>
                </a:cxnLst>
                <a:rect l="l" t="t" r="r" b="b"/>
                <a:pathLst>
                  <a:path w="211134" h="628189">
                    <a:moveTo>
                      <a:pt x="211134" y="628189"/>
                    </a:moveTo>
                    <a:lnTo>
                      <a:pt x="0" y="628189"/>
                    </a:lnTo>
                    <a:lnTo>
                      <a:pt x="0" y="0"/>
                    </a:lnTo>
                  </a:path>
                </a:pathLst>
              </a:custGeom>
              <a:noFill/>
              <a:ln w="12700">
                <a:solidFill>
                  <a:srgbClr val="66667E"/>
                </a:solidFill>
                <a:miter lim="800000"/>
                <a:headEnd/>
                <a:tailEnd/>
              </a:ln>
              <a:effectLst/>
            </p:spPr>
            <p:txBody>
              <a:bodyPr wrap="square" lIns="108000" tIns="54000" rIns="108000" bIns="54000" numCol="1" spcCol="72000" rtlCol="0" anchor="ctr">
                <a:noAutofit/>
              </a:bodyPr>
              <a:lstStyle/>
              <a:p>
                <a:pPr algn="ctr">
                  <a:lnSpc>
                    <a:spcPct val="110000"/>
                  </a:lnSpc>
                  <a:spcBef>
                    <a:spcPts val="0"/>
                  </a:spcBef>
                  <a:buFont typeface="Wingdings" charset="0"/>
                  <a:buNone/>
                </a:pPr>
                <a:endParaRPr lang="en-US" sz="2000" dirty="0">
                  <a:ea typeface="Arial Unicode MS" panose="020B0604020202020204" pitchFamily="34" charset="-128"/>
                  <a:cs typeface="Arial Unicode MS" panose="020B0604020202020204" pitchFamily="34" charset="-128"/>
                </a:endParaRPr>
              </a:p>
            </p:txBody>
          </p:sp>
          <p:sp>
            <p:nvSpPr>
              <p:cNvPr id="82" name="Rechteck 4">
                <a:extLst>
                  <a:ext uri="{FF2B5EF4-FFF2-40B4-BE49-F238E27FC236}">
                    <a16:creationId xmlns:a16="http://schemas.microsoft.com/office/drawing/2014/main" id="{89D649C3-35F1-7D45-95F0-E53113EF5D25}"/>
                  </a:ext>
                </a:extLst>
              </p:cNvPr>
              <p:cNvSpPr/>
              <p:nvPr/>
            </p:nvSpPr>
            <p:spPr bwMode="gray">
              <a:xfrm>
                <a:off x="411164" y="3592800"/>
                <a:ext cx="143308" cy="720000"/>
              </a:xfrm>
              <a:custGeom>
                <a:avLst/>
                <a:gdLst>
                  <a:gd name="connsiteX0" fmla="*/ 0 w 211134"/>
                  <a:gd name="connsiteY0" fmla="*/ 0 h 628189"/>
                  <a:gd name="connsiteX1" fmla="*/ 211134 w 211134"/>
                  <a:gd name="connsiteY1" fmla="*/ 0 h 628189"/>
                  <a:gd name="connsiteX2" fmla="*/ 211134 w 211134"/>
                  <a:gd name="connsiteY2" fmla="*/ 628189 h 628189"/>
                  <a:gd name="connsiteX3" fmla="*/ 0 w 211134"/>
                  <a:gd name="connsiteY3" fmla="*/ 628189 h 628189"/>
                  <a:gd name="connsiteX4" fmla="*/ 0 w 211134"/>
                  <a:gd name="connsiteY4" fmla="*/ 0 h 628189"/>
                  <a:gd name="connsiteX0" fmla="*/ 211134 w 302574"/>
                  <a:gd name="connsiteY0" fmla="*/ 628189 h 719629"/>
                  <a:gd name="connsiteX1" fmla="*/ 0 w 302574"/>
                  <a:gd name="connsiteY1" fmla="*/ 628189 h 719629"/>
                  <a:gd name="connsiteX2" fmla="*/ 0 w 302574"/>
                  <a:gd name="connsiteY2" fmla="*/ 0 h 719629"/>
                  <a:gd name="connsiteX3" fmla="*/ 211134 w 302574"/>
                  <a:gd name="connsiteY3" fmla="*/ 0 h 719629"/>
                  <a:gd name="connsiteX4" fmla="*/ 302574 w 302574"/>
                  <a:gd name="connsiteY4" fmla="*/ 719629 h 719629"/>
                  <a:gd name="connsiteX0" fmla="*/ 211134 w 211134"/>
                  <a:gd name="connsiteY0" fmla="*/ 628189 h 628189"/>
                  <a:gd name="connsiteX1" fmla="*/ 0 w 211134"/>
                  <a:gd name="connsiteY1" fmla="*/ 628189 h 628189"/>
                  <a:gd name="connsiteX2" fmla="*/ 0 w 211134"/>
                  <a:gd name="connsiteY2" fmla="*/ 0 h 628189"/>
                  <a:gd name="connsiteX3" fmla="*/ 211134 w 211134"/>
                  <a:gd name="connsiteY3" fmla="*/ 0 h 628189"/>
                  <a:gd name="connsiteX0" fmla="*/ 211134 w 211134"/>
                  <a:gd name="connsiteY0" fmla="*/ 628189 h 628189"/>
                  <a:gd name="connsiteX1" fmla="*/ 0 w 211134"/>
                  <a:gd name="connsiteY1" fmla="*/ 628189 h 628189"/>
                  <a:gd name="connsiteX2" fmla="*/ 0 w 211134"/>
                  <a:gd name="connsiteY2" fmla="*/ 0 h 628189"/>
                </a:gdLst>
                <a:ahLst/>
                <a:cxnLst>
                  <a:cxn ang="0">
                    <a:pos x="connsiteX0" y="connsiteY0"/>
                  </a:cxn>
                  <a:cxn ang="0">
                    <a:pos x="connsiteX1" y="connsiteY1"/>
                  </a:cxn>
                  <a:cxn ang="0">
                    <a:pos x="connsiteX2" y="connsiteY2"/>
                  </a:cxn>
                </a:cxnLst>
                <a:rect l="l" t="t" r="r" b="b"/>
                <a:pathLst>
                  <a:path w="211134" h="628189">
                    <a:moveTo>
                      <a:pt x="211134" y="628189"/>
                    </a:moveTo>
                    <a:lnTo>
                      <a:pt x="0" y="628189"/>
                    </a:lnTo>
                    <a:lnTo>
                      <a:pt x="0" y="0"/>
                    </a:lnTo>
                  </a:path>
                </a:pathLst>
              </a:custGeom>
              <a:noFill/>
              <a:ln w="12700">
                <a:solidFill>
                  <a:srgbClr val="66667E"/>
                </a:solidFill>
                <a:miter lim="800000"/>
                <a:headEnd/>
                <a:tailEnd/>
              </a:ln>
              <a:effectLst/>
            </p:spPr>
            <p:txBody>
              <a:bodyPr wrap="square" lIns="108000" tIns="54000" rIns="108000" bIns="54000" numCol="1" spcCol="72000" rtlCol="0" anchor="ctr">
                <a:noAutofit/>
              </a:bodyPr>
              <a:lstStyle/>
              <a:p>
                <a:pPr algn="ctr">
                  <a:lnSpc>
                    <a:spcPct val="110000"/>
                  </a:lnSpc>
                  <a:spcBef>
                    <a:spcPts val="0"/>
                  </a:spcBef>
                  <a:buFont typeface="Wingdings" charset="0"/>
                  <a:buNone/>
                </a:pPr>
                <a:endParaRPr lang="en-US" sz="2000" dirty="0">
                  <a:ea typeface="Arial Unicode MS" panose="020B0604020202020204" pitchFamily="34" charset="-128"/>
                  <a:cs typeface="Arial Unicode MS" panose="020B0604020202020204" pitchFamily="34" charset="-128"/>
                </a:endParaRPr>
              </a:p>
            </p:txBody>
          </p:sp>
          <p:sp>
            <p:nvSpPr>
              <p:cNvPr id="88" name="Rechteck 4">
                <a:extLst>
                  <a:ext uri="{FF2B5EF4-FFF2-40B4-BE49-F238E27FC236}">
                    <a16:creationId xmlns:a16="http://schemas.microsoft.com/office/drawing/2014/main" id="{54DE2317-7548-DA4E-8CFF-AA49CBE677B2}"/>
                  </a:ext>
                </a:extLst>
              </p:cNvPr>
              <p:cNvSpPr/>
              <p:nvPr/>
            </p:nvSpPr>
            <p:spPr bwMode="gray">
              <a:xfrm>
                <a:off x="411164" y="5032800"/>
                <a:ext cx="143308" cy="720100"/>
              </a:xfrm>
              <a:custGeom>
                <a:avLst/>
                <a:gdLst>
                  <a:gd name="connsiteX0" fmla="*/ 0 w 211134"/>
                  <a:gd name="connsiteY0" fmla="*/ 0 h 628189"/>
                  <a:gd name="connsiteX1" fmla="*/ 211134 w 211134"/>
                  <a:gd name="connsiteY1" fmla="*/ 0 h 628189"/>
                  <a:gd name="connsiteX2" fmla="*/ 211134 w 211134"/>
                  <a:gd name="connsiteY2" fmla="*/ 628189 h 628189"/>
                  <a:gd name="connsiteX3" fmla="*/ 0 w 211134"/>
                  <a:gd name="connsiteY3" fmla="*/ 628189 h 628189"/>
                  <a:gd name="connsiteX4" fmla="*/ 0 w 211134"/>
                  <a:gd name="connsiteY4" fmla="*/ 0 h 628189"/>
                  <a:gd name="connsiteX0" fmla="*/ 211134 w 302574"/>
                  <a:gd name="connsiteY0" fmla="*/ 628189 h 719629"/>
                  <a:gd name="connsiteX1" fmla="*/ 0 w 302574"/>
                  <a:gd name="connsiteY1" fmla="*/ 628189 h 719629"/>
                  <a:gd name="connsiteX2" fmla="*/ 0 w 302574"/>
                  <a:gd name="connsiteY2" fmla="*/ 0 h 719629"/>
                  <a:gd name="connsiteX3" fmla="*/ 211134 w 302574"/>
                  <a:gd name="connsiteY3" fmla="*/ 0 h 719629"/>
                  <a:gd name="connsiteX4" fmla="*/ 302574 w 302574"/>
                  <a:gd name="connsiteY4" fmla="*/ 719629 h 719629"/>
                  <a:gd name="connsiteX0" fmla="*/ 211134 w 211134"/>
                  <a:gd name="connsiteY0" fmla="*/ 628189 h 628189"/>
                  <a:gd name="connsiteX1" fmla="*/ 0 w 211134"/>
                  <a:gd name="connsiteY1" fmla="*/ 628189 h 628189"/>
                  <a:gd name="connsiteX2" fmla="*/ 0 w 211134"/>
                  <a:gd name="connsiteY2" fmla="*/ 0 h 628189"/>
                  <a:gd name="connsiteX3" fmla="*/ 211134 w 211134"/>
                  <a:gd name="connsiteY3" fmla="*/ 0 h 628189"/>
                  <a:gd name="connsiteX0" fmla="*/ 211134 w 211134"/>
                  <a:gd name="connsiteY0" fmla="*/ 628189 h 628189"/>
                  <a:gd name="connsiteX1" fmla="*/ 0 w 211134"/>
                  <a:gd name="connsiteY1" fmla="*/ 628189 h 628189"/>
                  <a:gd name="connsiteX2" fmla="*/ 0 w 211134"/>
                  <a:gd name="connsiteY2" fmla="*/ 0 h 628189"/>
                </a:gdLst>
                <a:ahLst/>
                <a:cxnLst>
                  <a:cxn ang="0">
                    <a:pos x="connsiteX0" y="connsiteY0"/>
                  </a:cxn>
                  <a:cxn ang="0">
                    <a:pos x="connsiteX1" y="connsiteY1"/>
                  </a:cxn>
                  <a:cxn ang="0">
                    <a:pos x="connsiteX2" y="connsiteY2"/>
                  </a:cxn>
                </a:cxnLst>
                <a:rect l="l" t="t" r="r" b="b"/>
                <a:pathLst>
                  <a:path w="211134" h="628189">
                    <a:moveTo>
                      <a:pt x="211134" y="628189"/>
                    </a:moveTo>
                    <a:lnTo>
                      <a:pt x="0" y="628189"/>
                    </a:lnTo>
                    <a:lnTo>
                      <a:pt x="0" y="0"/>
                    </a:lnTo>
                  </a:path>
                </a:pathLst>
              </a:custGeom>
              <a:noFill/>
              <a:ln w="12700">
                <a:solidFill>
                  <a:srgbClr val="66667E"/>
                </a:solidFill>
                <a:miter lim="800000"/>
                <a:headEnd/>
                <a:tailEnd/>
              </a:ln>
              <a:effectLst/>
            </p:spPr>
            <p:txBody>
              <a:bodyPr wrap="square" lIns="108000" tIns="54000" rIns="108000" bIns="54000" numCol="1" spcCol="72000" rtlCol="0" anchor="ctr">
                <a:noAutofit/>
              </a:bodyPr>
              <a:lstStyle/>
              <a:p>
                <a:pPr algn="ctr">
                  <a:lnSpc>
                    <a:spcPct val="110000"/>
                  </a:lnSpc>
                  <a:spcBef>
                    <a:spcPts val="0"/>
                  </a:spcBef>
                  <a:buFont typeface="Wingdings" charset="0"/>
                  <a:buNone/>
                </a:pPr>
                <a:endParaRPr lang="en-US" sz="2000" dirty="0">
                  <a:ea typeface="Arial Unicode MS" panose="020B0604020202020204" pitchFamily="34" charset="-128"/>
                  <a:cs typeface="Arial Unicode MS" panose="020B0604020202020204" pitchFamily="34" charset="-128"/>
                </a:endParaRPr>
              </a:p>
            </p:txBody>
          </p:sp>
        </p:grpSp>
        <p:grpSp>
          <p:nvGrpSpPr>
            <p:cNvPr id="57" name="Group 56">
              <a:extLst>
                <a:ext uri="{FF2B5EF4-FFF2-40B4-BE49-F238E27FC236}">
                  <a16:creationId xmlns:a16="http://schemas.microsoft.com/office/drawing/2014/main" id="{3E61AA06-E64C-43CD-B17A-E6C1F1650E1E}"/>
                </a:ext>
              </a:extLst>
            </p:cNvPr>
            <p:cNvGrpSpPr/>
            <p:nvPr/>
          </p:nvGrpSpPr>
          <p:grpSpPr>
            <a:xfrm>
              <a:off x="2340611" y="2279956"/>
              <a:ext cx="143308" cy="3472944"/>
              <a:chOff x="411164" y="2279956"/>
              <a:chExt cx="143308" cy="3472944"/>
            </a:xfrm>
          </p:grpSpPr>
          <p:sp>
            <p:nvSpPr>
              <p:cNvPr id="58" name="Rechteck 4">
                <a:extLst>
                  <a:ext uri="{FF2B5EF4-FFF2-40B4-BE49-F238E27FC236}">
                    <a16:creationId xmlns:a16="http://schemas.microsoft.com/office/drawing/2014/main" id="{36A0DA9B-9570-4EF2-A52A-D84693C22130}"/>
                  </a:ext>
                </a:extLst>
              </p:cNvPr>
              <p:cNvSpPr/>
              <p:nvPr/>
            </p:nvSpPr>
            <p:spPr bwMode="gray">
              <a:xfrm>
                <a:off x="411164" y="4312800"/>
                <a:ext cx="143308" cy="720000"/>
              </a:xfrm>
              <a:custGeom>
                <a:avLst/>
                <a:gdLst>
                  <a:gd name="connsiteX0" fmla="*/ 0 w 211134"/>
                  <a:gd name="connsiteY0" fmla="*/ 0 h 628189"/>
                  <a:gd name="connsiteX1" fmla="*/ 211134 w 211134"/>
                  <a:gd name="connsiteY1" fmla="*/ 0 h 628189"/>
                  <a:gd name="connsiteX2" fmla="*/ 211134 w 211134"/>
                  <a:gd name="connsiteY2" fmla="*/ 628189 h 628189"/>
                  <a:gd name="connsiteX3" fmla="*/ 0 w 211134"/>
                  <a:gd name="connsiteY3" fmla="*/ 628189 h 628189"/>
                  <a:gd name="connsiteX4" fmla="*/ 0 w 211134"/>
                  <a:gd name="connsiteY4" fmla="*/ 0 h 628189"/>
                  <a:gd name="connsiteX0" fmla="*/ 211134 w 302574"/>
                  <a:gd name="connsiteY0" fmla="*/ 628189 h 719629"/>
                  <a:gd name="connsiteX1" fmla="*/ 0 w 302574"/>
                  <a:gd name="connsiteY1" fmla="*/ 628189 h 719629"/>
                  <a:gd name="connsiteX2" fmla="*/ 0 w 302574"/>
                  <a:gd name="connsiteY2" fmla="*/ 0 h 719629"/>
                  <a:gd name="connsiteX3" fmla="*/ 211134 w 302574"/>
                  <a:gd name="connsiteY3" fmla="*/ 0 h 719629"/>
                  <a:gd name="connsiteX4" fmla="*/ 302574 w 302574"/>
                  <a:gd name="connsiteY4" fmla="*/ 719629 h 719629"/>
                  <a:gd name="connsiteX0" fmla="*/ 211134 w 211134"/>
                  <a:gd name="connsiteY0" fmla="*/ 628189 h 628189"/>
                  <a:gd name="connsiteX1" fmla="*/ 0 w 211134"/>
                  <a:gd name="connsiteY1" fmla="*/ 628189 h 628189"/>
                  <a:gd name="connsiteX2" fmla="*/ 0 w 211134"/>
                  <a:gd name="connsiteY2" fmla="*/ 0 h 628189"/>
                  <a:gd name="connsiteX3" fmla="*/ 211134 w 211134"/>
                  <a:gd name="connsiteY3" fmla="*/ 0 h 628189"/>
                  <a:gd name="connsiteX0" fmla="*/ 211134 w 211134"/>
                  <a:gd name="connsiteY0" fmla="*/ 628189 h 628189"/>
                  <a:gd name="connsiteX1" fmla="*/ 0 w 211134"/>
                  <a:gd name="connsiteY1" fmla="*/ 628189 h 628189"/>
                  <a:gd name="connsiteX2" fmla="*/ 0 w 211134"/>
                  <a:gd name="connsiteY2" fmla="*/ 0 h 628189"/>
                </a:gdLst>
                <a:ahLst/>
                <a:cxnLst>
                  <a:cxn ang="0">
                    <a:pos x="connsiteX0" y="connsiteY0"/>
                  </a:cxn>
                  <a:cxn ang="0">
                    <a:pos x="connsiteX1" y="connsiteY1"/>
                  </a:cxn>
                  <a:cxn ang="0">
                    <a:pos x="connsiteX2" y="connsiteY2"/>
                  </a:cxn>
                </a:cxnLst>
                <a:rect l="l" t="t" r="r" b="b"/>
                <a:pathLst>
                  <a:path w="211134" h="628189">
                    <a:moveTo>
                      <a:pt x="211134" y="628189"/>
                    </a:moveTo>
                    <a:lnTo>
                      <a:pt x="0" y="628189"/>
                    </a:lnTo>
                    <a:lnTo>
                      <a:pt x="0" y="0"/>
                    </a:lnTo>
                  </a:path>
                </a:pathLst>
              </a:custGeom>
              <a:noFill/>
              <a:ln w="12700">
                <a:solidFill>
                  <a:srgbClr val="66667E"/>
                </a:solidFill>
                <a:miter lim="800000"/>
                <a:headEnd/>
                <a:tailEnd/>
              </a:ln>
              <a:effectLst/>
            </p:spPr>
            <p:txBody>
              <a:bodyPr wrap="square" lIns="108000" tIns="54000" rIns="108000" bIns="54000" numCol="1" spcCol="72000" rtlCol="0" anchor="ctr">
                <a:noAutofit/>
              </a:bodyPr>
              <a:lstStyle/>
              <a:p>
                <a:pPr algn="ctr">
                  <a:lnSpc>
                    <a:spcPct val="110000"/>
                  </a:lnSpc>
                  <a:spcBef>
                    <a:spcPts val="0"/>
                  </a:spcBef>
                  <a:buFont typeface="Wingdings" charset="0"/>
                  <a:buNone/>
                </a:pPr>
                <a:endParaRPr lang="en-US" sz="2000" dirty="0">
                  <a:ea typeface="Arial Unicode MS" panose="020B0604020202020204" pitchFamily="34" charset="-128"/>
                  <a:cs typeface="Arial Unicode MS" panose="020B0604020202020204" pitchFamily="34" charset="-128"/>
                </a:endParaRPr>
              </a:p>
            </p:txBody>
          </p:sp>
          <p:sp>
            <p:nvSpPr>
              <p:cNvPr id="59" name="Rechteck 4">
                <a:extLst>
                  <a:ext uri="{FF2B5EF4-FFF2-40B4-BE49-F238E27FC236}">
                    <a16:creationId xmlns:a16="http://schemas.microsoft.com/office/drawing/2014/main" id="{3DFE1C0D-2297-4B2A-9EF1-AE8D0B62F3C6}"/>
                  </a:ext>
                </a:extLst>
              </p:cNvPr>
              <p:cNvSpPr/>
              <p:nvPr/>
            </p:nvSpPr>
            <p:spPr bwMode="gray">
              <a:xfrm>
                <a:off x="411164" y="2279956"/>
                <a:ext cx="143308" cy="594000"/>
              </a:xfrm>
              <a:custGeom>
                <a:avLst/>
                <a:gdLst>
                  <a:gd name="connsiteX0" fmla="*/ 0 w 211134"/>
                  <a:gd name="connsiteY0" fmla="*/ 0 h 628189"/>
                  <a:gd name="connsiteX1" fmla="*/ 211134 w 211134"/>
                  <a:gd name="connsiteY1" fmla="*/ 0 h 628189"/>
                  <a:gd name="connsiteX2" fmla="*/ 211134 w 211134"/>
                  <a:gd name="connsiteY2" fmla="*/ 628189 h 628189"/>
                  <a:gd name="connsiteX3" fmla="*/ 0 w 211134"/>
                  <a:gd name="connsiteY3" fmla="*/ 628189 h 628189"/>
                  <a:gd name="connsiteX4" fmla="*/ 0 w 211134"/>
                  <a:gd name="connsiteY4" fmla="*/ 0 h 628189"/>
                  <a:gd name="connsiteX0" fmla="*/ 211134 w 302574"/>
                  <a:gd name="connsiteY0" fmla="*/ 628189 h 719629"/>
                  <a:gd name="connsiteX1" fmla="*/ 0 w 302574"/>
                  <a:gd name="connsiteY1" fmla="*/ 628189 h 719629"/>
                  <a:gd name="connsiteX2" fmla="*/ 0 w 302574"/>
                  <a:gd name="connsiteY2" fmla="*/ 0 h 719629"/>
                  <a:gd name="connsiteX3" fmla="*/ 211134 w 302574"/>
                  <a:gd name="connsiteY3" fmla="*/ 0 h 719629"/>
                  <a:gd name="connsiteX4" fmla="*/ 302574 w 302574"/>
                  <a:gd name="connsiteY4" fmla="*/ 719629 h 719629"/>
                  <a:gd name="connsiteX0" fmla="*/ 211134 w 211134"/>
                  <a:gd name="connsiteY0" fmla="*/ 628189 h 628189"/>
                  <a:gd name="connsiteX1" fmla="*/ 0 w 211134"/>
                  <a:gd name="connsiteY1" fmla="*/ 628189 h 628189"/>
                  <a:gd name="connsiteX2" fmla="*/ 0 w 211134"/>
                  <a:gd name="connsiteY2" fmla="*/ 0 h 628189"/>
                  <a:gd name="connsiteX3" fmla="*/ 211134 w 211134"/>
                  <a:gd name="connsiteY3" fmla="*/ 0 h 628189"/>
                  <a:gd name="connsiteX0" fmla="*/ 211134 w 211134"/>
                  <a:gd name="connsiteY0" fmla="*/ 628189 h 628189"/>
                  <a:gd name="connsiteX1" fmla="*/ 0 w 211134"/>
                  <a:gd name="connsiteY1" fmla="*/ 628189 h 628189"/>
                  <a:gd name="connsiteX2" fmla="*/ 0 w 211134"/>
                  <a:gd name="connsiteY2" fmla="*/ 0 h 628189"/>
                </a:gdLst>
                <a:ahLst/>
                <a:cxnLst>
                  <a:cxn ang="0">
                    <a:pos x="connsiteX0" y="connsiteY0"/>
                  </a:cxn>
                  <a:cxn ang="0">
                    <a:pos x="connsiteX1" y="connsiteY1"/>
                  </a:cxn>
                  <a:cxn ang="0">
                    <a:pos x="connsiteX2" y="connsiteY2"/>
                  </a:cxn>
                </a:cxnLst>
                <a:rect l="l" t="t" r="r" b="b"/>
                <a:pathLst>
                  <a:path w="211134" h="628189">
                    <a:moveTo>
                      <a:pt x="211134" y="628189"/>
                    </a:moveTo>
                    <a:lnTo>
                      <a:pt x="0" y="628189"/>
                    </a:lnTo>
                    <a:lnTo>
                      <a:pt x="0" y="0"/>
                    </a:lnTo>
                  </a:path>
                </a:pathLst>
              </a:custGeom>
              <a:noFill/>
              <a:ln w="12700">
                <a:solidFill>
                  <a:srgbClr val="66667E"/>
                </a:solidFill>
                <a:miter lim="800000"/>
                <a:headEnd/>
                <a:tailEnd/>
              </a:ln>
              <a:effectLst/>
            </p:spPr>
            <p:txBody>
              <a:bodyPr wrap="square" lIns="108000" tIns="54000" rIns="108000" bIns="54000" numCol="1" spcCol="72000" rtlCol="0" anchor="ctr">
                <a:noAutofit/>
              </a:bodyPr>
              <a:lstStyle/>
              <a:p>
                <a:pPr algn="ctr">
                  <a:lnSpc>
                    <a:spcPct val="110000"/>
                  </a:lnSpc>
                  <a:spcBef>
                    <a:spcPts val="0"/>
                  </a:spcBef>
                  <a:buFont typeface="Wingdings" charset="0"/>
                  <a:buNone/>
                </a:pPr>
                <a:endParaRPr lang="en-US" sz="2000" dirty="0">
                  <a:solidFill>
                    <a:schemeClr val="tx1"/>
                  </a:solidFill>
                  <a:ea typeface="Arial Unicode MS" panose="020B0604020202020204" pitchFamily="34" charset="-128"/>
                  <a:cs typeface="Arial Unicode MS" panose="020B0604020202020204" pitchFamily="34" charset="-128"/>
                </a:endParaRPr>
              </a:p>
            </p:txBody>
          </p:sp>
          <p:sp>
            <p:nvSpPr>
              <p:cNvPr id="60" name="Rechteck 4">
                <a:extLst>
                  <a:ext uri="{FF2B5EF4-FFF2-40B4-BE49-F238E27FC236}">
                    <a16:creationId xmlns:a16="http://schemas.microsoft.com/office/drawing/2014/main" id="{96C1418D-BDA5-4FAE-8659-040CC0D163C9}"/>
                  </a:ext>
                </a:extLst>
              </p:cNvPr>
              <p:cNvSpPr/>
              <p:nvPr/>
            </p:nvSpPr>
            <p:spPr bwMode="gray">
              <a:xfrm>
                <a:off x="411164" y="2872800"/>
                <a:ext cx="143308" cy="720000"/>
              </a:xfrm>
              <a:custGeom>
                <a:avLst/>
                <a:gdLst>
                  <a:gd name="connsiteX0" fmla="*/ 0 w 211134"/>
                  <a:gd name="connsiteY0" fmla="*/ 0 h 628189"/>
                  <a:gd name="connsiteX1" fmla="*/ 211134 w 211134"/>
                  <a:gd name="connsiteY1" fmla="*/ 0 h 628189"/>
                  <a:gd name="connsiteX2" fmla="*/ 211134 w 211134"/>
                  <a:gd name="connsiteY2" fmla="*/ 628189 h 628189"/>
                  <a:gd name="connsiteX3" fmla="*/ 0 w 211134"/>
                  <a:gd name="connsiteY3" fmla="*/ 628189 h 628189"/>
                  <a:gd name="connsiteX4" fmla="*/ 0 w 211134"/>
                  <a:gd name="connsiteY4" fmla="*/ 0 h 628189"/>
                  <a:gd name="connsiteX0" fmla="*/ 211134 w 302574"/>
                  <a:gd name="connsiteY0" fmla="*/ 628189 h 719629"/>
                  <a:gd name="connsiteX1" fmla="*/ 0 w 302574"/>
                  <a:gd name="connsiteY1" fmla="*/ 628189 h 719629"/>
                  <a:gd name="connsiteX2" fmla="*/ 0 w 302574"/>
                  <a:gd name="connsiteY2" fmla="*/ 0 h 719629"/>
                  <a:gd name="connsiteX3" fmla="*/ 211134 w 302574"/>
                  <a:gd name="connsiteY3" fmla="*/ 0 h 719629"/>
                  <a:gd name="connsiteX4" fmla="*/ 302574 w 302574"/>
                  <a:gd name="connsiteY4" fmla="*/ 719629 h 719629"/>
                  <a:gd name="connsiteX0" fmla="*/ 211134 w 211134"/>
                  <a:gd name="connsiteY0" fmla="*/ 628189 h 628189"/>
                  <a:gd name="connsiteX1" fmla="*/ 0 w 211134"/>
                  <a:gd name="connsiteY1" fmla="*/ 628189 h 628189"/>
                  <a:gd name="connsiteX2" fmla="*/ 0 w 211134"/>
                  <a:gd name="connsiteY2" fmla="*/ 0 h 628189"/>
                  <a:gd name="connsiteX3" fmla="*/ 211134 w 211134"/>
                  <a:gd name="connsiteY3" fmla="*/ 0 h 628189"/>
                  <a:gd name="connsiteX0" fmla="*/ 211134 w 211134"/>
                  <a:gd name="connsiteY0" fmla="*/ 628189 h 628189"/>
                  <a:gd name="connsiteX1" fmla="*/ 0 w 211134"/>
                  <a:gd name="connsiteY1" fmla="*/ 628189 h 628189"/>
                  <a:gd name="connsiteX2" fmla="*/ 0 w 211134"/>
                  <a:gd name="connsiteY2" fmla="*/ 0 h 628189"/>
                </a:gdLst>
                <a:ahLst/>
                <a:cxnLst>
                  <a:cxn ang="0">
                    <a:pos x="connsiteX0" y="connsiteY0"/>
                  </a:cxn>
                  <a:cxn ang="0">
                    <a:pos x="connsiteX1" y="connsiteY1"/>
                  </a:cxn>
                  <a:cxn ang="0">
                    <a:pos x="connsiteX2" y="connsiteY2"/>
                  </a:cxn>
                </a:cxnLst>
                <a:rect l="l" t="t" r="r" b="b"/>
                <a:pathLst>
                  <a:path w="211134" h="628189">
                    <a:moveTo>
                      <a:pt x="211134" y="628189"/>
                    </a:moveTo>
                    <a:lnTo>
                      <a:pt x="0" y="628189"/>
                    </a:lnTo>
                    <a:lnTo>
                      <a:pt x="0" y="0"/>
                    </a:lnTo>
                  </a:path>
                </a:pathLst>
              </a:custGeom>
              <a:noFill/>
              <a:ln w="12700">
                <a:solidFill>
                  <a:srgbClr val="66667E"/>
                </a:solidFill>
                <a:miter lim="800000"/>
                <a:headEnd/>
                <a:tailEnd/>
              </a:ln>
              <a:effectLst/>
            </p:spPr>
            <p:txBody>
              <a:bodyPr wrap="square" lIns="108000" tIns="54000" rIns="108000" bIns="54000" numCol="1" spcCol="72000" rtlCol="0" anchor="ctr">
                <a:noAutofit/>
              </a:bodyPr>
              <a:lstStyle/>
              <a:p>
                <a:pPr algn="ctr">
                  <a:lnSpc>
                    <a:spcPct val="110000"/>
                  </a:lnSpc>
                  <a:spcBef>
                    <a:spcPts val="0"/>
                  </a:spcBef>
                  <a:buFont typeface="Wingdings" charset="0"/>
                  <a:buNone/>
                </a:pPr>
                <a:endParaRPr lang="en-US" sz="2000" dirty="0">
                  <a:ea typeface="Arial Unicode MS" panose="020B0604020202020204" pitchFamily="34" charset="-128"/>
                  <a:cs typeface="Arial Unicode MS" panose="020B0604020202020204" pitchFamily="34" charset="-128"/>
                </a:endParaRPr>
              </a:p>
            </p:txBody>
          </p:sp>
          <p:sp>
            <p:nvSpPr>
              <p:cNvPr id="65" name="Rechteck 4">
                <a:extLst>
                  <a:ext uri="{FF2B5EF4-FFF2-40B4-BE49-F238E27FC236}">
                    <a16:creationId xmlns:a16="http://schemas.microsoft.com/office/drawing/2014/main" id="{9C14241C-B5BE-4C45-A4AE-E338D4309B4F}"/>
                  </a:ext>
                </a:extLst>
              </p:cNvPr>
              <p:cNvSpPr/>
              <p:nvPr/>
            </p:nvSpPr>
            <p:spPr bwMode="gray">
              <a:xfrm>
                <a:off x="411164" y="3592800"/>
                <a:ext cx="143308" cy="720000"/>
              </a:xfrm>
              <a:custGeom>
                <a:avLst/>
                <a:gdLst>
                  <a:gd name="connsiteX0" fmla="*/ 0 w 211134"/>
                  <a:gd name="connsiteY0" fmla="*/ 0 h 628189"/>
                  <a:gd name="connsiteX1" fmla="*/ 211134 w 211134"/>
                  <a:gd name="connsiteY1" fmla="*/ 0 h 628189"/>
                  <a:gd name="connsiteX2" fmla="*/ 211134 w 211134"/>
                  <a:gd name="connsiteY2" fmla="*/ 628189 h 628189"/>
                  <a:gd name="connsiteX3" fmla="*/ 0 w 211134"/>
                  <a:gd name="connsiteY3" fmla="*/ 628189 h 628189"/>
                  <a:gd name="connsiteX4" fmla="*/ 0 w 211134"/>
                  <a:gd name="connsiteY4" fmla="*/ 0 h 628189"/>
                  <a:gd name="connsiteX0" fmla="*/ 211134 w 302574"/>
                  <a:gd name="connsiteY0" fmla="*/ 628189 h 719629"/>
                  <a:gd name="connsiteX1" fmla="*/ 0 w 302574"/>
                  <a:gd name="connsiteY1" fmla="*/ 628189 h 719629"/>
                  <a:gd name="connsiteX2" fmla="*/ 0 w 302574"/>
                  <a:gd name="connsiteY2" fmla="*/ 0 h 719629"/>
                  <a:gd name="connsiteX3" fmla="*/ 211134 w 302574"/>
                  <a:gd name="connsiteY3" fmla="*/ 0 h 719629"/>
                  <a:gd name="connsiteX4" fmla="*/ 302574 w 302574"/>
                  <a:gd name="connsiteY4" fmla="*/ 719629 h 719629"/>
                  <a:gd name="connsiteX0" fmla="*/ 211134 w 211134"/>
                  <a:gd name="connsiteY0" fmla="*/ 628189 h 628189"/>
                  <a:gd name="connsiteX1" fmla="*/ 0 w 211134"/>
                  <a:gd name="connsiteY1" fmla="*/ 628189 h 628189"/>
                  <a:gd name="connsiteX2" fmla="*/ 0 w 211134"/>
                  <a:gd name="connsiteY2" fmla="*/ 0 h 628189"/>
                  <a:gd name="connsiteX3" fmla="*/ 211134 w 211134"/>
                  <a:gd name="connsiteY3" fmla="*/ 0 h 628189"/>
                  <a:gd name="connsiteX0" fmla="*/ 211134 w 211134"/>
                  <a:gd name="connsiteY0" fmla="*/ 628189 h 628189"/>
                  <a:gd name="connsiteX1" fmla="*/ 0 w 211134"/>
                  <a:gd name="connsiteY1" fmla="*/ 628189 h 628189"/>
                  <a:gd name="connsiteX2" fmla="*/ 0 w 211134"/>
                  <a:gd name="connsiteY2" fmla="*/ 0 h 628189"/>
                </a:gdLst>
                <a:ahLst/>
                <a:cxnLst>
                  <a:cxn ang="0">
                    <a:pos x="connsiteX0" y="connsiteY0"/>
                  </a:cxn>
                  <a:cxn ang="0">
                    <a:pos x="connsiteX1" y="connsiteY1"/>
                  </a:cxn>
                  <a:cxn ang="0">
                    <a:pos x="connsiteX2" y="connsiteY2"/>
                  </a:cxn>
                </a:cxnLst>
                <a:rect l="l" t="t" r="r" b="b"/>
                <a:pathLst>
                  <a:path w="211134" h="628189">
                    <a:moveTo>
                      <a:pt x="211134" y="628189"/>
                    </a:moveTo>
                    <a:lnTo>
                      <a:pt x="0" y="628189"/>
                    </a:lnTo>
                    <a:lnTo>
                      <a:pt x="0" y="0"/>
                    </a:lnTo>
                  </a:path>
                </a:pathLst>
              </a:custGeom>
              <a:noFill/>
              <a:ln w="12700">
                <a:solidFill>
                  <a:srgbClr val="66667E"/>
                </a:solidFill>
                <a:miter lim="800000"/>
                <a:headEnd/>
                <a:tailEnd/>
              </a:ln>
              <a:effectLst/>
            </p:spPr>
            <p:txBody>
              <a:bodyPr wrap="square" lIns="108000" tIns="54000" rIns="108000" bIns="54000" numCol="1" spcCol="72000" rtlCol="0" anchor="ctr">
                <a:noAutofit/>
              </a:bodyPr>
              <a:lstStyle/>
              <a:p>
                <a:pPr algn="ctr">
                  <a:lnSpc>
                    <a:spcPct val="110000"/>
                  </a:lnSpc>
                  <a:spcBef>
                    <a:spcPts val="0"/>
                  </a:spcBef>
                  <a:buFont typeface="Wingdings" charset="0"/>
                  <a:buNone/>
                </a:pPr>
                <a:endParaRPr lang="en-US" sz="2000" dirty="0">
                  <a:ea typeface="Arial Unicode MS" panose="020B0604020202020204" pitchFamily="34" charset="-128"/>
                  <a:cs typeface="Arial Unicode MS" panose="020B0604020202020204" pitchFamily="34" charset="-128"/>
                </a:endParaRPr>
              </a:p>
            </p:txBody>
          </p:sp>
          <p:sp>
            <p:nvSpPr>
              <p:cNvPr id="66" name="Rechteck 4">
                <a:extLst>
                  <a:ext uri="{FF2B5EF4-FFF2-40B4-BE49-F238E27FC236}">
                    <a16:creationId xmlns:a16="http://schemas.microsoft.com/office/drawing/2014/main" id="{2FD30361-1912-4E64-961E-AE6266490882}"/>
                  </a:ext>
                </a:extLst>
              </p:cNvPr>
              <p:cNvSpPr/>
              <p:nvPr/>
            </p:nvSpPr>
            <p:spPr bwMode="gray">
              <a:xfrm>
                <a:off x="411164" y="5032800"/>
                <a:ext cx="143308" cy="720100"/>
              </a:xfrm>
              <a:custGeom>
                <a:avLst/>
                <a:gdLst>
                  <a:gd name="connsiteX0" fmla="*/ 0 w 211134"/>
                  <a:gd name="connsiteY0" fmla="*/ 0 h 628189"/>
                  <a:gd name="connsiteX1" fmla="*/ 211134 w 211134"/>
                  <a:gd name="connsiteY1" fmla="*/ 0 h 628189"/>
                  <a:gd name="connsiteX2" fmla="*/ 211134 w 211134"/>
                  <a:gd name="connsiteY2" fmla="*/ 628189 h 628189"/>
                  <a:gd name="connsiteX3" fmla="*/ 0 w 211134"/>
                  <a:gd name="connsiteY3" fmla="*/ 628189 h 628189"/>
                  <a:gd name="connsiteX4" fmla="*/ 0 w 211134"/>
                  <a:gd name="connsiteY4" fmla="*/ 0 h 628189"/>
                  <a:gd name="connsiteX0" fmla="*/ 211134 w 302574"/>
                  <a:gd name="connsiteY0" fmla="*/ 628189 h 719629"/>
                  <a:gd name="connsiteX1" fmla="*/ 0 w 302574"/>
                  <a:gd name="connsiteY1" fmla="*/ 628189 h 719629"/>
                  <a:gd name="connsiteX2" fmla="*/ 0 w 302574"/>
                  <a:gd name="connsiteY2" fmla="*/ 0 h 719629"/>
                  <a:gd name="connsiteX3" fmla="*/ 211134 w 302574"/>
                  <a:gd name="connsiteY3" fmla="*/ 0 h 719629"/>
                  <a:gd name="connsiteX4" fmla="*/ 302574 w 302574"/>
                  <a:gd name="connsiteY4" fmla="*/ 719629 h 719629"/>
                  <a:gd name="connsiteX0" fmla="*/ 211134 w 211134"/>
                  <a:gd name="connsiteY0" fmla="*/ 628189 h 628189"/>
                  <a:gd name="connsiteX1" fmla="*/ 0 w 211134"/>
                  <a:gd name="connsiteY1" fmla="*/ 628189 h 628189"/>
                  <a:gd name="connsiteX2" fmla="*/ 0 w 211134"/>
                  <a:gd name="connsiteY2" fmla="*/ 0 h 628189"/>
                  <a:gd name="connsiteX3" fmla="*/ 211134 w 211134"/>
                  <a:gd name="connsiteY3" fmla="*/ 0 h 628189"/>
                  <a:gd name="connsiteX0" fmla="*/ 211134 w 211134"/>
                  <a:gd name="connsiteY0" fmla="*/ 628189 h 628189"/>
                  <a:gd name="connsiteX1" fmla="*/ 0 w 211134"/>
                  <a:gd name="connsiteY1" fmla="*/ 628189 h 628189"/>
                  <a:gd name="connsiteX2" fmla="*/ 0 w 211134"/>
                  <a:gd name="connsiteY2" fmla="*/ 0 h 628189"/>
                </a:gdLst>
                <a:ahLst/>
                <a:cxnLst>
                  <a:cxn ang="0">
                    <a:pos x="connsiteX0" y="connsiteY0"/>
                  </a:cxn>
                  <a:cxn ang="0">
                    <a:pos x="connsiteX1" y="connsiteY1"/>
                  </a:cxn>
                  <a:cxn ang="0">
                    <a:pos x="connsiteX2" y="connsiteY2"/>
                  </a:cxn>
                </a:cxnLst>
                <a:rect l="l" t="t" r="r" b="b"/>
                <a:pathLst>
                  <a:path w="211134" h="628189">
                    <a:moveTo>
                      <a:pt x="211134" y="628189"/>
                    </a:moveTo>
                    <a:lnTo>
                      <a:pt x="0" y="628189"/>
                    </a:lnTo>
                    <a:lnTo>
                      <a:pt x="0" y="0"/>
                    </a:lnTo>
                  </a:path>
                </a:pathLst>
              </a:custGeom>
              <a:noFill/>
              <a:ln w="12700">
                <a:solidFill>
                  <a:srgbClr val="66667E"/>
                </a:solidFill>
                <a:miter lim="800000"/>
                <a:headEnd/>
                <a:tailEnd/>
              </a:ln>
              <a:effectLst/>
            </p:spPr>
            <p:txBody>
              <a:bodyPr wrap="square" lIns="108000" tIns="54000" rIns="108000" bIns="54000" numCol="1" spcCol="72000" rtlCol="0" anchor="ctr">
                <a:noAutofit/>
              </a:bodyPr>
              <a:lstStyle/>
              <a:p>
                <a:pPr algn="ctr">
                  <a:lnSpc>
                    <a:spcPct val="110000"/>
                  </a:lnSpc>
                  <a:spcBef>
                    <a:spcPts val="0"/>
                  </a:spcBef>
                  <a:buFont typeface="Wingdings" charset="0"/>
                  <a:buNone/>
                </a:pPr>
                <a:endParaRPr lang="en-US" sz="2000" dirty="0">
                  <a:ea typeface="Arial Unicode MS" panose="020B0604020202020204" pitchFamily="34" charset="-128"/>
                  <a:cs typeface="Arial Unicode MS" panose="020B0604020202020204" pitchFamily="34" charset="-128"/>
                </a:endParaRPr>
              </a:p>
            </p:txBody>
          </p:sp>
        </p:grpSp>
        <p:grpSp>
          <p:nvGrpSpPr>
            <p:cNvPr id="107" name="Group 106">
              <a:extLst>
                <a:ext uri="{FF2B5EF4-FFF2-40B4-BE49-F238E27FC236}">
                  <a16:creationId xmlns:a16="http://schemas.microsoft.com/office/drawing/2014/main" id="{70A57A1F-C065-40E1-B79D-E5E828B3B398}"/>
                </a:ext>
              </a:extLst>
            </p:cNvPr>
            <p:cNvGrpSpPr/>
            <p:nvPr/>
          </p:nvGrpSpPr>
          <p:grpSpPr>
            <a:xfrm>
              <a:off x="4270058" y="2279956"/>
              <a:ext cx="143308" cy="2032844"/>
              <a:chOff x="411164" y="2279956"/>
              <a:chExt cx="143308" cy="2032844"/>
            </a:xfrm>
          </p:grpSpPr>
          <p:sp>
            <p:nvSpPr>
              <p:cNvPr id="109" name="Rechteck 4">
                <a:extLst>
                  <a:ext uri="{FF2B5EF4-FFF2-40B4-BE49-F238E27FC236}">
                    <a16:creationId xmlns:a16="http://schemas.microsoft.com/office/drawing/2014/main" id="{459420A3-E03B-40FD-A0BC-7A69F0476396}"/>
                  </a:ext>
                </a:extLst>
              </p:cNvPr>
              <p:cNvSpPr/>
              <p:nvPr/>
            </p:nvSpPr>
            <p:spPr bwMode="gray">
              <a:xfrm>
                <a:off x="411164" y="2279956"/>
                <a:ext cx="143308" cy="594000"/>
              </a:xfrm>
              <a:custGeom>
                <a:avLst/>
                <a:gdLst>
                  <a:gd name="connsiteX0" fmla="*/ 0 w 211134"/>
                  <a:gd name="connsiteY0" fmla="*/ 0 h 628189"/>
                  <a:gd name="connsiteX1" fmla="*/ 211134 w 211134"/>
                  <a:gd name="connsiteY1" fmla="*/ 0 h 628189"/>
                  <a:gd name="connsiteX2" fmla="*/ 211134 w 211134"/>
                  <a:gd name="connsiteY2" fmla="*/ 628189 h 628189"/>
                  <a:gd name="connsiteX3" fmla="*/ 0 w 211134"/>
                  <a:gd name="connsiteY3" fmla="*/ 628189 h 628189"/>
                  <a:gd name="connsiteX4" fmla="*/ 0 w 211134"/>
                  <a:gd name="connsiteY4" fmla="*/ 0 h 628189"/>
                  <a:gd name="connsiteX0" fmla="*/ 211134 w 302574"/>
                  <a:gd name="connsiteY0" fmla="*/ 628189 h 719629"/>
                  <a:gd name="connsiteX1" fmla="*/ 0 w 302574"/>
                  <a:gd name="connsiteY1" fmla="*/ 628189 h 719629"/>
                  <a:gd name="connsiteX2" fmla="*/ 0 w 302574"/>
                  <a:gd name="connsiteY2" fmla="*/ 0 h 719629"/>
                  <a:gd name="connsiteX3" fmla="*/ 211134 w 302574"/>
                  <a:gd name="connsiteY3" fmla="*/ 0 h 719629"/>
                  <a:gd name="connsiteX4" fmla="*/ 302574 w 302574"/>
                  <a:gd name="connsiteY4" fmla="*/ 719629 h 719629"/>
                  <a:gd name="connsiteX0" fmla="*/ 211134 w 211134"/>
                  <a:gd name="connsiteY0" fmla="*/ 628189 h 628189"/>
                  <a:gd name="connsiteX1" fmla="*/ 0 w 211134"/>
                  <a:gd name="connsiteY1" fmla="*/ 628189 h 628189"/>
                  <a:gd name="connsiteX2" fmla="*/ 0 w 211134"/>
                  <a:gd name="connsiteY2" fmla="*/ 0 h 628189"/>
                  <a:gd name="connsiteX3" fmla="*/ 211134 w 211134"/>
                  <a:gd name="connsiteY3" fmla="*/ 0 h 628189"/>
                  <a:gd name="connsiteX0" fmla="*/ 211134 w 211134"/>
                  <a:gd name="connsiteY0" fmla="*/ 628189 h 628189"/>
                  <a:gd name="connsiteX1" fmla="*/ 0 w 211134"/>
                  <a:gd name="connsiteY1" fmla="*/ 628189 h 628189"/>
                  <a:gd name="connsiteX2" fmla="*/ 0 w 211134"/>
                  <a:gd name="connsiteY2" fmla="*/ 0 h 628189"/>
                </a:gdLst>
                <a:ahLst/>
                <a:cxnLst>
                  <a:cxn ang="0">
                    <a:pos x="connsiteX0" y="connsiteY0"/>
                  </a:cxn>
                  <a:cxn ang="0">
                    <a:pos x="connsiteX1" y="connsiteY1"/>
                  </a:cxn>
                  <a:cxn ang="0">
                    <a:pos x="connsiteX2" y="connsiteY2"/>
                  </a:cxn>
                </a:cxnLst>
                <a:rect l="l" t="t" r="r" b="b"/>
                <a:pathLst>
                  <a:path w="211134" h="628189">
                    <a:moveTo>
                      <a:pt x="211134" y="628189"/>
                    </a:moveTo>
                    <a:lnTo>
                      <a:pt x="0" y="628189"/>
                    </a:lnTo>
                    <a:lnTo>
                      <a:pt x="0" y="0"/>
                    </a:lnTo>
                  </a:path>
                </a:pathLst>
              </a:custGeom>
              <a:noFill/>
              <a:ln w="12700">
                <a:solidFill>
                  <a:srgbClr val="66667E"/>
                </a:solidFill>
                <a:miter lim="800000"/>
                <a:headEnd/>
                <a:tailEnd/>
              </a:ln>
              <a:effectLst/>
            </p:spPr>
            <p:txBody>
              <a:bodyPr wrap="square" lIns="108000" tIns="54000" rIns="108000" bIns="54000" numCol="1" spcCol="72000" rtlCol="0" anchor="ctr">
                <a:noAutofit/>
              </a:bodyPr>
              <a:lstStyle/>
              <a:p>
                <a:pPr algn="ctr">
                  <a:lnSpc>
                    <a:spcPct val="110000"/>
                  </a:lnSpc>
                  <a:spcBef>
                    <a:spcPts val="0"/>
                  </a:spcBef>
                  <a:buFont typeface="Wingdings" charset="0"/>
                  <a:buNone/>
                </a:pPr>
                <a:endParaRPr lang="en-US" sz="2000" dirty="0">
                  <a:solidFill>
                    <a:schemeClr val="tx1"/>
                  </a:solidFill>
                  <a:ea typeface="Arial Unicode MS" panose="020B0604020202020204" pitchFamily="34" charset="-128"/>
                  <a:cs typeface="Arial Unicode MS" panose="020B0604020202020204" pitchFamily="34" charset="-128"/>
                </a:endParaRPr>
              </a:p>
            </p:txBody>
          </p:sp>
          <p:sp>
            <p:nvSpPr>
              <p:cNvPr id="110" name="Rechteck 4">
                <a:extLst>
                  <a:ext uri="{FF2B5EF4-FFF2-40B4-BE49-F238E27FC236}">
                    <a16:creationId xmlns:a16="http://schemas.microsoft.com/office/drawing/2014/main" id="{729A3DED-1E7E-4B57-906B-601F1BA515FF}"/>
                  </a:ext>
                </a:extLst>
              </p:cNvPr>
              <p:cNvSpPr/>
              <p:nvPr/>
            </p:nvSpPr>
            <p:spPr bwMode="gray">
              <a:xfrm>
                <a:off x="411164" y="2872800"/>
                <a:ext cx="143308" cy="720000"/>
              </a:xfrm>
              <a:custGeom>
                <a:avLst/>
                <a:gdLst>
                  <a:gd name="connsiteX0" fmla="*/ 0 w 211134"/>
                  <a:gd name="connsiteY0" fmla="*/ 0 h 628189"/>
                  <a:gd name="connsiteX1" fmla="*/ 211134 w 211134"/>
                  <a:gd name="connsiteY1" fmla="*/ 0 h 628189"/>
                  <a:gd name="connsiteX2" fmla="*/ 211134 w 211134"/>
                  <a:gd name="connsiteY2" fmla="*/ 628189 h 628189"/>
                  <a:gd name="connsiteX3" fmla="*/ 0 w 211134"/>
                  <a:gd name="connsiteY3" fmla="*/ 628189 h 628189"/>
                  <a:gd name="connsiteX4" fmla="*/ 0 w 211134"/>
                  <a:gd name="connsiteY4" fmla="*/ 0 h 628189"/>
                  <a:gd name="connsiteX0" fmla="*/ 211134 w 302574"/>
                  <a:gd name="connsiteY0" fmla="*/ 628189 h 719629"/>
                  <a:gd name="connsiteX1" fmla="*/ 0 w 302574"/>
                  <a:gd name="connsiteY1" fmla="*/ 628189 h 719629"/>
                  <a:gd name="connsiteX2" fmla="*/ 0 w 302574"/>
                  <a:gd name="connsiteY2" fmla="*/ 0 h 719629"/>
                  <a:gd name="connsiteX3" fmla="*/ 211134 w 302574"/>
                  <a:gd name="connsiteY3" fmla="*/ 0 h 719629"/>
                  <a:gd name="connsiteX4" fmla="*/ 302574 w 302574"/>
                  <a:gd name="connsiteY4" fmla="*/ 719629 h 719629"/>
                  <a:gd name="connsiteX0" fmla="*/ 211134 w 211134"/>
                  <a:gd name="connsiteY0" fmla="*/ 628189 h 628189"/>
                  <a:gd name="connsiteX1" fmla="*/ 0 w 211134"/>
                  <a:gd name="connsiteY1" fmla="*/ 628189 h 628189"/>
                  <a:gd name="connsiteX2" fmla="*/ 0 w 211134"/>
                  <a:gd name="connsiteY2" fmla="*/ 0 h 628189"/>
                  <a:gd name="connsiteX3" fmla="*/ 211134 w 211134"/>
                  <a:gd name="connsiteY3" fmla="*/ 0 h 628189"/>
                  <a:gd name="connsiteX0" fmla="*/ 211134 w 211134"/>
                  <a:gd name="connsiteY0" fmla="*/ 628189 h 628189"/>
                  <a:gd name="connsiteX1" fmla="*/ 0 w 211134"/>
                  <a:gd name="connsiteY1" fmla="*/ 628189 h 628189"/>
                  <a:gd name="connsiteX2" fmla="*/ 0 w 211134"/>
                  <a:gd name="connsiteY2" fmla="*/ 0 h 628189"/>
                </a:gdLst>
                <a:ahLst/>
                <a:cxnLst>
                  <a:cxn ang="0">
                    <a:pos x="connsiteX0" y="connsiteY0"/>
                  </a:cxn>
                  <a:cxn ang="0">
                    <a:pos x="connsiteX1" y="connsiteY1"/>
                  </a:cxn>
                  <a:cxn ang="0">
                    <a:pos x="connsiteX2" y="connsiteY2"/>
                  </a:cxn>
                </a:cxnLst>
                <a:rect l="l" t="t" r="r" b="b"/>
                <a:pathLst>
                  <a:path w="211134" h="628189">
                    <a:moveTo>
                      <a:pt x="211134" y="628189"/>
                    </a:moveTo>
                    <a:lnTo>
                      <a:pt x="0" y="628189"/>
                    </a:lnTo>
                    <a:lnTo>
                      <a:pt x="0" y="0"/>
                    </a:lnTo>
                  </a:path>
                </a:pathLst>
              </a:custGeom>
              <a:noFill/>
              <a:ln w="12700">
                <a:solidFill>
                  <a:srgbClr val="66667E"/>
                </a:solidFill>
                <a:miter lim="800000"/>
                <a:headEnd/>
                <a:tailEnd/>
              </a:ln>
              <a:effectLst/>
            </p:spPr>
            <p:txBody>
              <a:bodyPr wrap="square" lIns="108000" tIns="54000" rIns="108000" bIns="54000" numCol="1" spcCol="72000" rtlCol="0" anchor="ctr">
                <a:noAutofit/>
              </a:bodyPr>
              <a:lstStyle/>
              <a:p>
                <a:pPr algn="ctr">
                  <a:lnSpc>
                    <a:spcPct val="110000"/>
                  </a:lnSpc>
                  <a:spcBef>
                    <a:spcPts val="0"/>
                  </a:spcBef>
                  <a:buFont typeface="Wingdings" charset="0"/>
                  <a:buNone/>
                </a:pPr>
                <a:endParaRPr lang="en-US" sz="2000" dirty="0">
                  <a:ea typeface="Arial Unicode MS" panose="020B0604020202020204" pitchFamily="34" charset="-128"/>
                  <a:cs typeface="Arial Unicode MS" panose="020B0604020202020204" pitchFamily="34" charset="-128"/>
                </a:endParaRPr>
              </a:p>
            </p:txBody>
          </p:sp>
          <p:sp>
            <p:nvSpPr>
              <p:cNvPr id="111" name="Rechteck 4">
                <a:extLst>
                  <a:ext uri="{FF2B5EF4-FFF2-40B4-BE49-F238E27FC236}">
                    <a16:creationId xmlns:a16="http://schemas.microsoft.com/office/drawing/2014/main" id="{4CF6DF96-EDD1-4A38-8A1A-80C95ADEFC80}"/>
                  </a:ext>
                </a:extLst>
              </p:cNvPr>
              <p:cNvSpPr/>
              <p:nvPr/>
            </p:nvSpPr>
            <p:spPr bwMode="gray">
              <a:xfrm>
                <a:off x="411164" y="3592800"/>
                <a:ext cx="143308" cy="720000"/>
              </a:xfrm>
              <a:custGeom>
                <a:avLst/>
                <a:gdLst>
                  <a:gd name="connsiteX0" fmla="*/ 0 w 211134"/>
                  <a:gd name="connsiteY0" fmla="*/ 0 h 628189"/>
                  <a:gd name="connsiteX1" fmla="*/ 211134 w 211134"/>
                  <a:gd name="connsiteY1" fmla="*/ 0 h 628189"/>
                  <a:gd name="connsiteX2" fmla="*/ 211134 w 211134"/>
                  <a:gd name="connsiteY2" fmla="*/ 628189 h 628189"/>
                  <a:gd name="connsiteX3" fmla="*/ 0 w 211134"/>
                  <a:gd name="connsiteY3" fmla="*/ 628189 h 628189"/>
                  <a:gd name="connsiteX4" fmla="*/ 0 w 211134"/>
                  <a:gd name="connsiteY4" fmla="*/ 0 h 628189"/>
                  <a:gd name="connsiteX0" fmla="*/ 211134 w 302574"/>
                  <a:gd name="connsiteY0" fmla="*/ 628189 h 719629"/>
                  <a:gd name="connsiteX1" fmla="*/ 0 w 302574"/>
                  <a:gd name="connsiteY1" fmla="*/ 628189 h 719629"/>
                  <a:gd name="connsiteX2" fmla="*/ 0 w 302574"/>
                  <a:gd name="connsiteY2" fmla="*/ 0 h 719629"/>
                  <a:gd name="connsiteX3" fmla="*/ 211134 w 302574"/>
                  <a:gd name="connsiteY3" fmla="*/ 0 h 719629"/>
                  <a:gd name="connsiteX4" fmla="*/ 302574 w 302574"/>
                  <a:gd name="connsiteY4" fmla="*/ 719629 h 719629"/>
                  <a:gd name="connsiteX0" fmla="*/ 211134 w 211134"/>
                  <a:gd name="connsiteY0" fmla="*/ 628189 h 628189"/>
                  <a:gd name="connsiteX1" fmla="*/ 0 w 211134"/>
                  <a:gd name="connsiteY1" fmla="*/ 628189 h 628189"/>
                  <a:gd name="connsiteX2" fmla="*/ 0 w 211134"/>
                  <a:gd name="connsiteY2" fmla="*/ 0 h 628189"/>
                  <a:gd name="connsiteX3" fmla="*/ 211134 w 211134"/>
                  <a:gd name="connsiteY3" fmla="*/ 0 h 628189"/>
                  <a:gd name="connsiteX0" fmla="*/ 211134 w 211134"/>
                  <a:gd name="connsiteY0" fmla="*/ 628189 h 628189"/>
                  <a:gd name="connsiteX1" fmla="*/ 0 w 211134"/>
                  <a:gd name="connsiteY1" fmla="*/ 628189 h 628189"/>
                  <a:gd name="connsiteX2" fmla="*/ 0 w 211134"/>
                  <a:gd name="connsiteY2" fmla="*/ 0 h 628189"/>
                </a:gdLst>
                <a:ahLst/>
                <a:cxnLst>
                  <a:cxn ang="0">
                    <a:pos x="connsiteX0" y="connsiteY0"/>
                  </a:cxn>
                  <a:cxn ang="0">
                    <a:pos x="connsiteX1" y="connsiteY1"/>
                  </a:cxn>
                  <a:cxn ang="0">
                    <a:pos x="connsiteX2" y="connsiteY2"/>
                  </a:cxn>
                </a:cxnLst>
                <a:rect l="l" t="t" r="r" b="b"/>
                <a:pathLst>
                  <a:path w="211134" h="628189">
                    <a:moveTo>
                      <a:pt x="211134" y="628189"/>
                    </a:moveTo>
                    <a:lnTo>
                      <a:pt x="0" y="628189"/>
                    </a:lnTo>
                    <a:lnTo>
                      <a:pt x="0" y="0"/>
                    </a:lnTo>
                  </a:path>
                </a:pathLst>
              </a:custGeom>
              <a:noFill/>
              <a:ln w="12700">
                <a:solidFill>
                  <a:srgbClr val="66667E"/>
                </a:solidFill>
                <a:miter lim="800000"/>
                <a:headEnd/>
                <a:tailEnd/>
              </a:ln>
              <a:effectLst/>
            </p:spPr>
            <p:txBody>
              <a:bodyPr wrap="square" lIns="108000" tIns="54000" rIns="108000" bIns="54000" numCol="1" spcCol="72000" rtlCol="0" anchor="ctr">
                <a:noAutofit/>
              </a:bodyPr>
              <a:lstStyle/>
              <a:p>
                <a:pPr algn="ctr">
                  <a:lnSpc>
                    <a:spcPct val="110000"/>
                  </a:lnSpc>
                  <a:spcBef>
                    <a:spcPts val="0"/>
                  </a:spcBef>
                  <a:buFont typeface="Wingdings" charset="0"/>
                  <a:buNone/>
                </a:pPr>
                <a:endParaRPr lang="en-US" sz="2000" dirty="0">
                  <a:ea typeface="Arial Unicode MS" panose="020B0604020202020204" pitchFamily="34" charset="-128"/>
                  <a:cs typeface="Arial Unicode MS" panose="020B0604020202020204" pitchFamily="34" charset="-128"/>
                </a:endParaRPr>
              </a:p>
            </p:txBody>
          </p:sp>
        </p:grpSp>
        <p:grpSp>
          <p:nvGrpSpPr>
            <p:cNvPr id="119" name="Group 118">
              <a:extLst>
                <a:ext uri="{FF2B5EF4-FFF2-40B4-BE49-F238E27FC236}">
                  <a16:creationId xmlns:a16="http://schemas.microsoft.com/office/drawing/2014/main" id="{7E7C9A12-9567-46AC-8D06-3D1E70F3DDB6}"/>
                </a:ext>
              </a:extLst>
            </p:cNvPr>
            <p:cNvGrpSpPr/>
            <p:nvPr/>
          </p:nvGrpSpPr>
          <p:grpSpPr>
            <a:xfrm>
              <a:off x="6199505" y="2279956"/>
              <a:ext cx="143308" cy="2032844"/>
              <a:chOff x="411164" y="2279956"/>
              <a:chExt cx="143308" cy="2032844"/>
            </a:xfrm>
          </p:grpSpPr>
          <p:sp>
            <p:nvSpPr>
              <p:cNvPr id="120" name="Rechteck 4">
                <a:extLst>
                  <a:ext uri="{FF2B5EF4-FFF2-40B4-BE49-F238E27FC236}">
                    <a16:creationId xmlns:a16="http://schemas.microsoft.com/office/drawing/2014/main" id="{E576121B-DD00-4CE1-8A63-A80E9C0F4268}"/>
                  </a:ext>
                </a:extLst>
              </p:cNvPr>
              <p:cNvSpPr/>
              <p:nvPr/>
            </p:nvSpPr>
            <p:spPr bwMode="gray">
              <a:xfrm>
                <a:off x="411164" y="2279956"/>
                <a:ext cx="143308" cy="594000"/>
              </a:xfrm>
              <a:custGeom>
                <a:avLst/>
                <a:gdLst>
                  <a:gd name="connsiteX0" fmla="*/ 0 w 211134"/>
                  <a:gd name="connsiteY0" fmla="*/ 0 h 628189"/>
                  <a:gd name="connsiteX1" fmla="*/ 211134 w 211134"/>
                  <a:gd name="connsiteY1" fmla="*/ 0 h 628189"/>
                  <a:gd name="connsiteX2" fmla="*/ 211134 w 211134"/>
                  <a:gd name="connsiteY2" fmla="*/ 628189 h 628189"/>
                  <a:gd name="connsiteX3" fmla="*/ 0 w 211134"/>
                  <a:gd name="connsiteY3" fmla="*/ 628189 h 628189"/>
                  <a:gd name="connsiteX4" fmla="*/ 0 w 211134"/>
                  <a:gd name="connsiteY4" fmla="*/ 0 h 628189"/>
                  <a:gd name="connsiteX0" fmla="*/ 211134 w 302574"/>
                  <a:gd name="connsiteY0" fmla="*/ 628189 h 719629"/>
                  <a:gd name="connsiteX1" fmla="*/ 0 w 302574"/>
                  <a:gd name="connsiteY1" fmla="*/ 628189 h 719629"/>
                  <a:gd name="connsiteX2" fmla="*/ 0 w 302574"/>
                  <a:gd name="connsiteY2" fmla="*/ 0 h 719629"/>
                  <a:gd name="connsiteX3" fmla="*/ 211134 w 302574"/>
                  <a:gd name="connsiteY3" fmla="*/ 0 h 719629"/>
                  <a:gd name="connsiteX4" fmla="*/ 302574 w 302574"/>
                  <a:gd name="connsiteY4" fmla="*/ 719629 h 719629"/>
                  <a:gd name="connsiteX0" fmla="*/ 211134 w 211134"/>
                  <a:gd name="connsiteY0" fmla="*/ 628189 h 628189"/>
                  <a:gd name="connsiteX1" fmla="*/ 0 w 211134"/>
                  <a:gd name="connsiteY1" fmla="*/ 628189 h 628189"/>
                  <a:gd name="connsiteX2" fmla="*/ 0 w 211134"/>
                  <a:gd name="connsiteY2" fmla="*/ 0 h 628189"/>
                  <a:gd name="connsiteX3" fmla="*/ 211134 w 211134"/>
                  <a:gd name="connsiteY3" fmla="*/ 0 h 628189"/>
                  <a:gd name="connsiteX0" fmla="*/ 211134 w 211134"/>
                  <a:gd name="connsiteY0" fmla="*/ 628189 h 628189"/>
                  <a:gd name="connsiteX1" fmla="*/ 0 w 211134"/>
                  <a:gd name="connsiteY1" fmla="*/ 628189 h 628189"/>
                  <a:gd name="connsiteX2" fmla="*/ 0 w 211134"/>
                  <a:gd name="connsiteY2" fmla="*/ 0 h 628189"/>
                </a:gdLst>
                <a:ahLst/>
                <a:cxnLst>
                  <a:cxn ang="0">
                    <a:pos x="connsiteX0" y="connsiteY0"/>
                  </a:cxn>
                  <a:cxn ang="0">
                    <a:pos x="connsiteX1" y="connsiteY1"/>
                  </a:cxn>
                  <a:cxn ang="0">
                    <a:pos x="connsiteX2" y="connsiteY2"/>
                  </a:cxn>
                </a:cxnLst>
                <a:rect l="l" t="t" r="r" b="b"/>
                <a:pathLst>
                  <a:path w="211134" h="628189">
                    <a:moveTo>
                      <a:pt x="211134" y="628189"/>
                    </a:moveTo>
                    <a:lnTo>
                      <a:pt x="0" y="628189"/>
                    </a:lnTo>
                    <a:lnTo>
                      <a:pt x="0" y="0"/>
                    </a:lnTo>
                  </a:path>
                </a:pathLst>
              </a:custGeom>
              <a:noFill/>
              <a:ln w="12700">
                <a:solidFill>
                  <a:srgbClr val="66667E"/>
                </a:solidFill>
                <a:miter lim="800000"/>
                <a:headEnd/>
                <a:tailEnd/>
              </a:ln>
              <a:effectLst/>
            </p:spPr>
            <p:txBody>
              <a:bodyPr wrap="square" lIns="108000" tIns="54000" rIns="108000" bIns="54000" numCol="1" spcCol="72000" rtlCol="0" anchor="ctr">
                <a:noAutofit/>
              </a:bodyPr>
              <a:lstStyle/>
              <a:p>
                <a:pPr algn="ctr">
                  <a:lnSpc>
                    <a:spcPct val="110000"/>
                  </a:lnSpc>
                  <a:spcBef>
                    <a:spcPts val="0"/>
                  </a:spcBef>
                  <a:buFont typeface="Wingdings" charset="0"/>
                  <a:buNone/>
                </a:pPr>
                <a:endParaRPr lang="en-US" sz="2000" dirty="0">
                  <a:solidFill>
                    <a:schemeClr val="tx1"/>
                  </a:solidFill>
                  <a:ea typeface="Arial Unicode MS" panose="020B0604020202020204" pitchFamily="34" charset="-128"/>
                  <a:cs typeface="Arial Unicode MS" panose="020B0604020202020204" pitchFamily="34" charset="-128"/>
                </a:endParaRPr>
              </a:p>
            </p:txBody>
          </p:sp>
          <p:sp>
            <p:nvSpPr>
              <p:cNvPr id="121" name="Rechteck 4">
                <a:extLst>
                  <a:ext uri="{FF2B5EF4-FFF2-40B4-BE49-F238E27FC236}">
                    <a16:creationId xmlns:a16="http://schemas.microsoft.com/office/drawing/2014/main" id="{47368D8C-D3D3-4693-8503-A418C24FA2F5}"/>
                  </a:ext>
                </a:extLst>
              </p:cNvPr>
              <p:cNvSpPr/>
              <p:nvPr/>
            </p:nvSpPr>
            <p:spPr bwMode="gray">
              <a:xfrm>
                <a:off x="411164" y="2872800"/>
                <a:ext cx="143308" cy="720000"/>
              </a:xfrm>
              <a:custGeom>
                <a:avLst/>
                <a:gdLst>
                  <a:gd name="connsiteX0" fmla="*/ 0 w 211134"/>
                  <a:gd name="connsiteY0" fmla="*/ 0 h 628189"/>
                  <a:gd name="connsiteX1" fmla="*/ 211134 w 211134"/>
                  <a:gd name="connsiteY1" fmla="*/ 0 h 628189"/>
                  <a:gd name="connsiteX2" fmla="*/ 211134 w 211134"/>
                  <a:gd name="connsiteY2" fmla="*/ 628189 h 628189"/>
                  <a:gd name="connsiteX3" fmla="*/ 0 w 211134"/>
                  <a:gd name="connsiteY3" fmla="*/ 628189 h 628189"/>
                  <a:gd name="connsiteX4" fmla="*/ 0 w 211134"/>
                  <a:gd name="connsiteY4" fmla="*/ 0 h 628189"/>
                  <a:gd name="connsiteX0" fmla="*/ 211134 w 302574"/>
                  <a:gd name="connsiteY0" fmla="*/ 628189 h 719629"/>
                  <a:gd name="connsiteX1" fmla="*/ 0 w 302574"/>
                  <a:gd name="connsiteY1" fmla="*/ 628189 h 719629"/>
                  <a:gd name="connsiteX2" fmla="*/ 0 w 302574"/>
                  <a:gd name="connsiteY2" fmla="*/ 0 h 719629"/>
                  <a:gd name="connsiteX3" fmla="*/ 211134 w 302574"/>
                  <a:gd name="connsiteY3" fmla="*/ 0 h 719629"/>
                  <a:gd name="connsiteX4" fmla="*/ 302574 w 302574"/>
                  <a:gd name="connsiteY4" fmla="*/ 719629 h 719629"/>
                  <a:gd name="connsiteX0" fmla="*/ 211134 w 211134"/>
                  <a:gd name="connsiteY0" fmla="*/ 628189 h 628189"/>
                  <a:gd name="connsiteX1" fmla="*/ 0 w 211134"/>
                  <a:gd name="connsiteY1" fmla="*/ 628189 h 628189"/>
                  <a:gd name="connsiteX2" fmla="*/ 0 w 211134"/>
                  <a:gd name="connsiteY2" fmla="*/ 0 h 628189"/>
                  <a:gd name="connsiteX3" fmla="*/ 211134 w 211134"/>
                  <a:gd name="connsiteY3" fmla="*/ 0 h 628189"/>
                  <a:gd name="connsiteX0" fmla="*/ 211134 w 211134"/>
                  <a:gd name="connsiteY0" fmla="*/ 628189 h 628189"/>
                  <a:gd name="connsiteX1" fmla="*/ 0 w 211134"/>
                  <a:gd name="connsiteY1" fmla="*/ 628189 h 628189"/>
                  <a:gd name="connsiteX2" fmla="*/ 0 w 211134"/>
                  <a:gd name="connsiteY2" fmla="*/ 0 h 628189"/>
                </a:gdLst>
                <a:ahLst/>
                <a:cxnLst>
                  <a:cxn ang="0">
                    <a:pos x="connsiteX0" y="connsiteY0"/>
                  </a:cxn>
                  <a:cxn ang="0">
                    <a:pos x="connsiteX1" y="connsiteY1"/>
                  </a:cxn>
                  <a:cxn ang="0">
                    <a:pos x="connsiteX2" y="connsiteY2"/>
                  </a:cxn>
                </a:cxnLst>
                <a:rect l="l" t="t" r="r" b="b"/>
                <a:pathLst>
                  <a:path w="211134" h="628189">
                    <a:moveTo>
                      <a:pt x="211134" y="628189"/>
                    </a:moveTo>
                    <a:lnTo>
                      <a:pt x="0" y="628189"/>
                    </a:lnTo>
                    <a:lnTo>
                      <a:pt x="0" y="0"/>
                    </a:lnTo>
                  </a:path>
                </a:pathLst>
              </a:custGeom>
              <a:noFill/>
              <a:ln w="12700">
                <a:solidFill>
                  <a:srgbClr val="66667E"/>
                </a:solidFill>
                <a:miter lim="800000"/>
                <a:headEnd/>
                <a:tailEnd/>
              </a:ln>
              <a:effectLst/>
            </p:spPr>
            <p:txBody>
              <a:bodyPr wrap="square" lIns="108000" tIns="54000" rIns="108000" bIns="54000" numCol="1" spcCol="72000" rtlCol="0" anchor="ctr">
                <a:noAutofit/>
              </a:bodyPr>
              <a:lstStyle/>
              <a:p>
                <a:pPr algn="ctr">
                  <a:lnSpc>
                    <a:spcPct val="110000"/>
                  </a:lnSpc>
                  <a:spcBef>
                    <a:spcPts val="0"/>
                  </a:spcBef>
                  <a:buFont typeface="Wingdings" charset="0"/>
                  <a:buNone/>
                </a:pPr>
                <a:endParaRPr lang="en-US" sz="2000" dirty="0">
                  <a:ea typeface="Arial Unicode MS" panose="020B0604020202020204" pitchFamily="34" charset="-128"/>
                  <a:cs typeface="Arial Unicode MS" panose="020B0604020202020204" pitchFamily="34" charset="-128"/>
                </a:endParaRPr>
              </a:p>
            </p:txBody>
          </p:sp>
          <p:sp>
            <p:nvSpPr>
              <p:cNvPr id="122" name="Rechteck 4">
                <a:extLst>
                  <a:ext uri="{FF2B5EF4-FFF2-40B4-BE49-F238E27FC236}">
                    <a16:creationId xmlns:a16="http://schemas.microsoft.com/office/drawing/2014/main" id="{ABAE578A-63F7-41E3-9E6A-4007C872988E}"/>
                  </a:ext>
                </a:extLst>
              </p:cNvPr>
              <p:cNvSpPr/>
              <p:nvPr/>
            </p:nvSpPr>
            <p:spPr bwMode="gray">
              <a:xfrm>
                <a:off x="411164" y="3592800"/>
                <a:ext cx="143308" cy="720000"/>
              </a:xfrm>
              <a:custGeom>
                <a:avLst/>
                <a:gdLst>
                  <a:gd name="connsiteX0" fmla="*/ 0 w 211134"/>
                  <a:gd name="connsiteY0" fmla="*/ 0 h 628189"/>
                  <a:gd name="connsiteX1" fmla="*/ 211134 w 211134"/>
                  <a:gd name="connsiteY1" fmla="*/ 0 h 628189"/>
                  <a:gd name="connsiteX2" fmla="*/ 211134 w 211134"/>
                  <a:gd name="connsiteY2" fmla="*/ 628189 h 628189"/>
                  <a:gd name="connsiteX3" fmla="*/ 0 w 211134"/>
                  <a:gd name="connsiteY3" fmla="*/ 628189 h 628189"/>
                  <a:gd name="connsiteX4" fmla="*/ 0 w 211134"/>
                  <a:gd name="connsiteY4" fmla="*/ 0 h 628189"/>
                  <a:gd name="connsiteX0" fmla="*/ 211134 w 302574"/>
                  <a:gd name="connsiteY0" fmla="*/ 628189 h 719629"/>
                  <a:gd name="connsiteX1" fmla="*/ 0 w 302574"/>
                  <a:gd name="connsiteY1" fmla="*/ 628189 h 719629"/>
                  <a:gd name="connsiteX2" fmla="*/ 0 w 302574"/>
                  <a:gd name="connsiteY2" fmla="*/ 0 h 719629"/>
                  <a:gd name="connsiteX3" fmla="*/ 211134 w 302574"/>
                  <a:gd name="connsiteY3" fmla="*/ 0 h 719629"/>
                  <a:gd name="connsiteX4" fmla="*/ 302574 w 302574"/>
                  <a:gd name="connsiteY4" fmla="*/ 719629 h 719629"/>
                  <a:gd name="connsiteX0" fmla="*/ 211134 w 211134"/>
                  <a:gd name="connsiteY0" fmla="*/ 628189 h 628189"/>
                  <a:gd name="connsiteX1" fmla="*/ 0 w 211134"/>
                  <a:gd name="connsiteY1" fmla="*/ 628189 h 628189"/>
                  <a:gd name="connsiteX2" fmla="*/ 0 w 211134"/>
                  <a:gd name="connsiteY2" fmla="*/ 0 h 628189"/>
                  <a:gd name="connsiteX3" fmla="*/ 211134 w 211134"/>
                  <a:gd name="connsiteY3" fmla="*/ 0 h 628189"/>
                  <a:gd name="connsiteX0" fmla="*/ 211134 w 211134"/>
                  <a:gd name="connsiteY0" fmla="*/ 628189 h 628189"/>
                  <a:gd name="connsiteX1" fmla="*/ 0 w 211134"/>
                  <a:gd name="connsiteY1" fmla="*/ 628189 h 628189"/>
                  <a:gd name="connsiteX2" fmla="*/ 0 w 211134"/>
                  <a:gd name="connsiteY2" fmla="*/ 0 h 628189"/>
                </a:gdLst>
                <a:ahLst/>
                <a:cxnLst>
                  <a:cxn ang="0">
                    <a:pos x="connsiteX0" y="connsiteY0"/>
                  </a:cxn>
                  <a:cxn ang="0">
                    <a:pos x="connsiteX1" y="connsiteY1"/>
                  </a:cxn>
                  <a:cxn ang="0">
                    <a:pos x="connsiteX2" y="connsiteY2"/>
                  </a:cxn>
                </a:cxnLst>
                <a:rect l="l" t="t" r="r" b="b"/>
                <a:pathLst>
                  <a:path w="211134" h="628189">
                    <a:moveTo>
                      <a:pt x="211134" y="628189"/>
                    </a:moveTo>
                    <a:lnTo>
                      <a:pt x="0" y="628189"/>
                    </a:lnTo>
                    <a:lnTo>
                      <a:pt x="0" y="0"/>
                    </a:lnTo>
                  </a:path>
                </a:pathLst>
              </a:custGeom>
              <a:noFill/>
              <a:ln w="12700">
                <a:solidFill>
                  <a:srgbClr val="66667E"/>
                </a:solidFill>
                <a:miter lim="800000"/>
                <a:headEnd/>
                <a:tailEnd/>
              </a:ln>
              <a:effectLst/>
            </p:spPr>
            <p:txBody>
              <a:bodyPr wrap="square" lIns="108000" tIns="54000" rIns="108000" bIns="54000" numCol="1" spcCol="72000" rtlCol="0" anchor="ctr">
                <a:noAutofit/>
              </a:bodyPr>
              <a:lstStyle/>
              <a:p>
                <a:pPr algn="ctr">
                  <a:lnSpc>
                    <a:spcPct val="110000"/>
                  </a:lnSpc>
                  <a:spcBef>
                    <a:spcPts val="0"/>
                  </a:spcBef>
                  <a:buFont typeface="Wingdings" charset="0"/>
                  <a:buNone/>
                </a:pPr>
                <a:endParaRPr lang="en-US" sz="2000" dirty="0">
                  <a:ea typeface="Arial Unicode MS" panose="020B0604020202020204" pitchFamily="34" charset="-128"/>
                  <a:cs typeface="Arial Unicode MS" panose="020B0604020202020204" pitchFamily="34" charset="-128"/>
                </a:endParaRPr>
              </a:p>
            </p:txBody>
          </p:sp>
        </p:grpSp>
        <p:grpSp>
          <p:nvGrpSpPr>
            <p:cNvPr id="123" name="Group 122">
              <a:extLst>
                <a:ext uri="{FF2B5EF4-FFF2-40B4-BE49-F238E27FC236}">
                  <a16:creationId xmlns:a16="http://schemas.microsoft.com/office/drawing/2014/main" id="{339C2D79-B378-4198-820E-9CD52912DFB1}"/>
                </a:ext>
              </a:extLst>
            </p:cNvPr>
            <p:cNvGrpSpPr/>
            <p:nvPr/>
          </p:nvGrpSpPr>
          <p:grpSpPr>
            <a:xfrm>
              <a:off x="8128952" y="2279956"/>
              <a:ext cx="143308" cy="2032844"/>
              <a:chOff x="411164" y="2279956"/>
              <a:chExt cx="143308" cy="2032844"/>
            </a:xfrm>
          </p:grpSpPr>
          <p:sp>
            <p:nvSpPr>
              <p:cNvPr id="126" name="Rechteck 4">
                <a:extLst>
                  <a:ext uri="{FF2B5EF4-FFF2-40B4-BE49-F238E27FC236}">
                    <a16:creationId xmlns:a16="http://schemas.microsoft.com/office/drawing/2014/main" id="{9D098585-5C71-4D68-87C9-B283962E5337}"/>
                  </a:ext>
                </a:extLst>
              </p:cNvPr>
              <p:cNvSpPr/>
              <p:nvPr/>
            </p:nvSpPr>
            <p:spPr bwMode="gray">
              <a:xfrm>
                <a:off x="411164" y="2279956"/>
                <a:ext cx="143308" cy="594000"/>
              </a:xfrm>
              <a:custGeom>
                <a:avLst/>
                <a:gdLst>
                  <a:gd name="connsiteX0" fmla="*/ 0 w 211134"/>
                  <a:gd name="connsiteY0" fmla="*/ 0 h 628189"/>
                  <a:gd name="connsiteX1" fmla="*/ 211134 w 211134"/>
                  <a:gd name="connsiteY1" fmla="*/ 0 h 628189"/>
                  <a:gd name="connsiteX2" fmla="*/ 211134 w 211134"/>
                  <a:gd name="connsiteY2" fmla="*/ 628189 h 628189"/>
                  <a:gd name="connsiteX3" fmla="*/ 0 w 211134"/>
                  <a:gd name="connsiteY3" fmla="*/ 628189 h 628189"/>
                  <a:gd name="connsiteX4" fmla="*/ 0 w 211134"/>
                  <a:gd name="connsiteY4" fmla="*/ 0 h 628189"/>
                  <a:gd name="connsiteX0" fmla="*/ 211134 w 302574"/>
                  <a:gd name="connsiteY0" fmla="*/ 628189 h 719629"/>
                  <a:gd name="connsiteX1" fmla="*/ 0 w 302574"/>
                  <a:gd name="connsiteY1" fmla="*/ 628189 h 719629"/>
                  <a:gd name="connsiteX2" fmla="*/ 0 w 302574"/>
                  <a:gd name="connsiteY2" fmla="*/ 0 h 719629"/>
                  <a:gd name="connsiteX3" fmla="*/ 211134 w 302574"/>
                  <a:gd name="connsiteY3" fmla="*/ 0 h 719629"/>
                  <a:gd name="connsiteX4" fmla="*/ 302574 w 302574"/>
                  <a:gd name="connsiteY4" fmla="*/ 719629 h 719629"/>
                  <a:gd name="connsiteX0" fmla="*/ 211134 w 211134"/>
                  <a:gd name="connsiteY0" fmla="*/ 628189 h 628189"/>
                  <a:gd name="connsiteX1" fmla="*/ 0 w 211134"/>
                  <a:gd name="connsiteY1" fmla="*/ 628189 h 628189"/>
                  <a:gd name="connsiteX2" fmla="*/ 0 w 211134"/>
                  <a:gd name="connsiteY2" fmla="*/ 0 h 628189"/>
                  <a:gd name="connsiteX3" fmla="*/ 211134 w 211134"/>
                  <a:gd name="connsiteY3" fmla="*/ 0 h 628189"/>
                  <a:gd name="connsiteX0" fmla="*/ 211134 w 211134"/>
                  <a:gd name="connsiteY0" fmla="*/ 628189 h 628189"/>
                  <a:gd name="connsiteX1" fmla="*/ 0 w 211134"/>
                  <a:gd name="connsiteY1" fmla="*/ 628189 h 628189"/>
                  <a:gd name="connsiteX2" fmla="*/ 0 w 211134"/>
                  <a:gd name="connsiteY2" fmla="*/ 0 h 628189"/>
                </a:gdLst>
                <a:ahLst/>
                <a:cxnLst>
                  <a:cxn ang="0">
                    <a:pos x="connsiteX0" y="connsiteY0"/>
                  </a:cxn>
                  <a:cxn ang="0">
                    <a:pos x="connsiteX1" y="connsiteY1"/>
                  </a:cxn>
                  <a:cxn ang="0">
                    <a:pos x="connsiteX2" y="connsiteY2"/>
                  </a:cxn>
                </a:cxnLst>
                <a:rect l="l" t="t" r="r" b="b"/>
                <a:pathLst>
                  <a:path w="211134" h="628189">
                    <a:moveTo>
                      <a:pt x="211134" y="628189"/>
                    </a:moveTo>
                    <a:lnTo>
                      <a:pt x="0" y="628189"/>
                    </a:lnTo>
                    <a:lnTo>
                      <a:pt x="0" y="0"/>
                    </a:lnTo>
                  </a:path>
                </a:pathLst>
              </a:custGeom>
              <a:noFill/>
              <a:ln w="12700">
                <a:solidFill>
                  <a:srgbClr val="66667E"/>
                </a:solidFill>
                <a:miter lim="800000"/>
                <a:headEnd/>
                <a:tailEnd/>
              </a:ln>
              <a:effectLst/>
            </p:spPr>
            <p:txBody>
              <a:bodyPr wrap="square" lIns="108000" tIns="54000" rIns="108000" bIns="54000" numCol="1" spcCol="72000" rtlCol="0" anchor="ctr">
                <a:noAutofit/>
              </a:bodyPr>
              <a:lstStyle/>
              <a:p>
                <a:pPr algn="ctr">
                  <a:lnSpc>
                    <a:spcPct val="110000"/>
                  </a:lnSpc>
                  <a:spcBef>
                    <a:spcPts val="0"/>
                  </a:spcBef>
                  <a:buFont typeface="Wingdings" charset="0"/>
                  <a:buNone/>
                </a:pPr>
                <a:endParaRPr lang="en-US" sz="2000" dirty="0">
                  <a:solidFill>
                    <a:schemeClr val="tx1"/>
                  </a:solidFill>
                  <a:ea typeface="Arial Unicode MS" panose="020B0604020202020204" pitchFamily="34" charset="-128"/>
                  <a:cs typeface="Arial Unicode MS" panose="020B0604020202020204" pitchFamily="34" charset="-128"/>
                </a:endParaRPr>
              </a:p>
            </p:txBody>
          </p:sp>
          <p:sp>
            <p:nvSpPr>
              <p:cNvPr id="127" name="Rechteck 4">
                <a:extLst>
                  <a:ext uri="{FF2B5EF4-FFF2-40B4-BE49-F238E27FC236}">
                    <a16:creationId xmlns:a16="http://schemas.microsoft.com/office/drawing/2014/main" id="{90D9372C-F0E1-4F3E-B532-0BBC6A66F3BA}"/>
                  </a:ext>
                </a:extLst>
              </p:cNvPr>
              <p:cNvSpPr/>
              <p:nvPr/>
            </p:nvSpPr>
            <p:spPr bwMode="gray">
              <a:xfrm>
                <a:off x="411164" y="2872800"/>
                <a:ext cx="143308" cy="720000"/>
              </a:xfrm>
              <a:custGeom>
                <a:avLst/>
                <a:gdLst>
                  <a:gd name="connsiteX0" fmla="*/ 0 w 211134"/>
                  <a:gd name="connsiteY0" fmla="*/ 0 h 628189"/>
                  <a:gd name="connsiteX1" fmla="*/ 211134 w 211134"/>
                  <a:gd name="connsiteY1" fmla="*/ 0 h 628189"/>
                  <a:gd name="connsiteX2" fmla="*/ 211134 w 211134"/>
                  <a:gd name="connsiteY2" fmla="*/ 628189 h 628189"/>
                  <a:gd name="connsiteX3" fmla="*/ 0 w 211134"/>
                  <a:gd name="connsiteY3" fmla="*/ 628189 h 628189"/>
                  <a:gd name="connsiteX4" fmla="*/ 0 w 211134"/>
                  <a:gd name="connsiteY4" fmla="*/ 0 h 628189"/>
                  <a:gd name="connsiteX0" fmla="*/ 211134 w 302574"/>
                  <a:gd name="connsiteY0" fmla="*/ 628189 h 719629"/>
                  <a:gd name="connsiteX1" fmla="*/ 0 w 302574"/>
                  <a:gd name="connsiteY1" fmla="*/ 628189 h 719629"/>
                  <a:gd name="connsiteX2" fmla="*/ 0 w 302574"/>
                  <a:gd name="connsiteY2" fmla="*/ 0 h 719629"/>
                  <a:gd name="connsiteX3" fmla="*/ 211134 w 302574"/>
                  <a:gd name="connsiteY3" fmla="*/ 0 h 719629"/>
                  <a:gd name="connsiteX4" fmla="*/ 302574 w 302574"/>
                  <a:gd name="connsiteY4" fmla="*/ 719629 h 719629"/>
                  <a:gd name="connsiteX0" fmla="*/ 211134 w 211134"/>
                  <a:gd name="connsiteY0" fmla="*/ 628189 h 628189"/>
                  <a:gd name="connsiteX1" fmla="*/ 0 w 211134"/>
                  <a:gd name="connsiteY1" fmla="*/ 628189 h 628189"/>
                  <a:gd name="connsiteX2" fmla="*/ 0 w 211134"/>
                  <a:gd name="connsiteY2" fmla="*/ 0 h 628189"/>
                  <a:gd name="connsiteX3" fmla="*/ 211134 w 211134"/>
                  <a:gd name="connsiteY3" fmla="*/ 0 h 628189"/>
                  <a:gd name="connsiteX0" fmla="*/ 211134 w 211134"/>
                  <a:gd name="connsiteY0" fmla="*/ 628189 h 628189"/>
                  <a:gd name="connsiteX1" fmla="*/ 0 w 211134"/>
                  <a:gd name="connsiteY1" fmla="*/ 628189 h 628189"/>
                  <a:gd name="connsiteX2" fmla="*/ 0 w 211134"/>
                  <a:gd name="connsiteY2" fmla="*/ 0 h 628189"/>
                </a:gdLst>
                <a:ahLst/>
                <a:cxnLst>
                  <a:cxn ang="0">
                    <a:pos x="connsiteX0" y="connsiteY0"/>
                  </a:cxn>
                  <a:cxn ang="0">
                    <a:pos x="connsiteX1" y="connsiteY1"/>
                  </a:cxn>
                  <a:cxn ang="0">
                    <a:pos x="connsiteX2" y="connsiteY2"/>
                  </a:cxn>
                </a:cxnLst>
                <a:rect l="l" t="t" r="r" b="b"/>
                <a:pathLst>
                  <a:path w="211134" h="628189">
                    <a:moveTo>
                      <a:pt x="211134" y="628189"/>
                    </a:moveTo>
                    <a:lnTo>
                      <a:pt x="0" y="628189"/>
                    </a:lnTo>
                    <a:lnTo>
                      <a:pt x="0" y="0"/>
                    </a:lnTo>
                  </a:path>
                </a:pathLst>
              </a:custGeom>
              <a:noFill/>
              <a:ln w="12700">
                <a:solidFill>
                  <a:srgbClr val="66667E"/>
                </a:solidFill>
                <a:miter lim="800000"/>
                <a:headEnd/>
                <a:tailEnd/>
              </a:ln>
              <a:effectLst/>
            </p:spPr>
            <p:txBody>
              <a:bodyPr wrap="square" lIns="108000" tIns="54000" rIns="108000" bIns="54000" numCol="1" spcCol="72000" rtlCol="0" anchor="ctr">
                <a:noAutofit/>
              </a:bodyPr>
              <a:lstStyle/>
              <a:p>
                <a:pPr algn="ctr">
                  <a:lnSpc>
                    <a:spcPct val="110000"/>
                  </a:lnSpc>
                  <a:spcBef>
                    <a:spcPts val="0"/>
                  </a:spcBef>
                  <a:buFont typeface="Wingdings" charset="0"/>
                  <a:buNone/>
                </a:pPr>
                <a:endParaRPr lang="en-US" sz="2000" dirty="0">
                  <a:ea typeface="Arial Unicode MS" panose="020B0604020202020204" pitchFamily="34" charset="-128"/>
                  <a:cs typeface="Arial Unicode MS" panose="020B0604020202020204" pitchFamily="34" charset="-128"/>
                </a:endParaRPr>
              </a:p>
            </p:txBody>
          </p:sp>
          <p:sp>
            <p:nvSpPr>
              <p:cNvPr id="129" name="Rechteck 4">
                <a:extLst>
                  <a:ext uri="{FF2B5EF4-FFF2-40B4-BE49-F238E27FC236}">
                    <a16:creationId xmlns:a16="http://schemas.microsoft.com/office/drawing/2014/main" id="{AEB261D4-28F4-4988-9389-BE9A8170A15F}"/>
                  </a:ext>
                </a:extLst>
              </p:cNvPr>
              <p:cNvSpPr/>
              <p:nvPr/>
            </p:nvSpPr>
            <p:spPr bwMode="gray">
              <a:xfrm>
                <a:off x="411164" y="3592800"/>
                <a:ext cx="143308" cy="720000"/>
              </a:xfrm>
              <a:custGeom>
                <a:avLst/>
                <a:gdLst>
                  <a:gd name="connsiteX0" fmla="*/ 0 w 211134"/>
                  <a:gd name="connsiteY0" fmla="*/ 0 h 628189"/>
                  <a:gd name="connsiteX1" fmla="*/ 211134 w 211134"/>
                  <a:gd name="connsiteY1" fmla="*/ 0 h 628189"/>
                  <a:gd name="connsiteX2" fmla="*/ 211134 w 211134"/>
                  <a:gd name="connsiteY2" fmla="*/ 628189 h 628189"/>
                  <a:gd name="connsiteX3" fmla="*/ 0 w 211134"/>
                  <a:gd name="connsiteY3" fmla="*/ 628189 h 628189"/>
                  <a:gd name="connsiteX4" fmla="*/ 0 w 211134"/>
                  <a:gd name="connsiteY4" fmla="*/ 0 h 628189"/>
                  <a:gd name="connsiteX0" fmla="*/ 211134 w 302574"/>
                  <a:gd name="connsiteY0" fmla="*/ 628189 h 719629"/>
                  <a:gd name="connsiteX1" fmla="*/ 0 w 302574"/>
                  <a:gd name="connsiteY1" fmla="*/ 628189 h 719629"/>
                  <a:gd name="connsiteX2" fmla="*/ 0 w 302574"/>
                  <a:gd name="connsiteY2" fmla="*/ 0 h 719629"/>
                  <a:gd name="connsiteX3" fmla="*/ 211134 w 302574"/>
                  <a:gd name="connsiteY3" fmla="*/ 0 h 719629"/>
                  <a:gd name="connsiteX4" fmla="*/ 302574 w 302574"/>
                  <a:gd name="connsiteY4" fmla="*/ 719629 h 719629"/>
                  <a:gd name="connsiteX0" fmla="*/ 211134 w 211134"/>
                  <a:gd name="connsiteY0" fmla="*/ 628189 h 628189"/>
                  <a:gd name="connsiteX1" fmla="*/ 0 w 211134"/>
                  <a:gd name="connsiteY1" fmla="*/ 628189 h 628189"/>
                  <a:gd name="connsiteX2" fmla="*/ 0 w 211134"/>
                  <a:gd name="connsiteY2" fmla="*/ 0 h 628189"/>
                  <a:gd name="connsiteX3" fmla="*/ 211134 w 211134"/>
                  <a:gd name="connsiteY3" fmla="*/ 0 h 628189"/>
                  <a:gd name="connsiteX0" fmla="*/ 211134 w 211134"/>
                  <a:gd name="connsiteY0" fmla="*/ 628189 h 628189"/>
                  <a:gd name="connsiteX1" fmla="*/ 0 w 211134"/>
                  <a:gd name="connsiteY1" fmla="*/ 628189 h 628189"/>
                  <a:gd name="connsiteX2" fmla="*/ 0 w 211134"/>
                  <a:gd name="connsiteY2" fmla="*/ 0 h 628189"/>
                </a:gdLst>
                <a:ahLst/>
                <a:cxnLst>
                  <a:cxn ang="0">
                    <a:pos x="connsiteX0" y="connsiteY0"/>
                  </a:cxn>
                  <a:cxn ang="0">
                    <a:pos x="connsiteX1" y="connsiteY1"/>
                  </a:cxn>
                  <a:cxn ang="0">
                    <a:pos x="connsiteX2" y="connsiteY2"/>
                  </a:cxn>
                </a:cxnLst>
                <a:rect l="l" t="t" r="r" b="b"/>
                <a:pathLst>
                  <a:path w="211134" h="628189">
                    <a:moveTo>
                      <a:pt x="211134" y="628189"/>
                    </a:moveTo>
                    <a:lnTo>
                      <a:pt x="0" y="628189"/>
                    </a:lnTo>
                    <a:lnTo>
                      <a:pt x="0" y="0"/>
                    </a:lnTo>
                  </a:path>
                </a:pathLst>
              </a:custGeom>
              <a:noFill/>
              <a:ln w="12700">
                <a:solidFill>
                  <a:srgbClr val="66667E"/>
                </a:solidFill>
                <a:miter lim="800000"/>
                <a:headEnd/>
                <a:tailEnd/>
              </a:ln>
              <a:effectLst/>
            </p:spPr>
            <p:txBody>
              <a:bodyPr wrap="square" lIns="108000" tIns="54000" rIns="108000" bIns="54000" numCol="1" spcCol="72000" rtlCol="0" anchor="ctr">
                <a:noAutofit/>
              </a:bodyPr>
              <a:lstStyle/>
              <a:p>
                <a:pPr algn="ctr">
                  <a:lnSpc>
                    <a:spcPct val="110000"/>
                  </a:lnSpc>
                  <a:spcBef>
                    <a:spcPts val="0"/>
                  </a:spcBef>
                  <a:buFont typeface="Wingdings" charset="0"/>
                  <a:buNone/>
                </a:pPr>
                <a:endParaRPr lang="en-US" sz="2000" dirty="0">
                  <a:ea typeface="Arial Unicode MS" panose="020B0604020202020204" pitchFamily="34" charset="-128"/>
                  <a:cs typeface="Arial Unicode MS" panose="020B0604020202020204" pitchFamily="34" charset="-128"/>
                </a:endParaRPr>
              </a:p>
            </p:txBody>
          </p:sp>
        </p:grpSp>
        <p:grpSp>
          <p:nvGrpSpPr>
            <p:cNvPr id="130" name="Group 129">
              <a:extLst>
                <a:ext uri="{FF2B5EF4-FFF2-40B4-BE49-F238E27FC236}">
                  <a16:creationId xmlns:a16="http://schemas.microsoft.com/office/drawing/2014/main" id="{305F1B7A-1E1B-4F27-9423-DB77165EB194}"/>
                </a:ext>
              </a:extLst>
            </p:cNvPr>
            <p:cNvGrpSpPr/>
            <p:nvPr/>
          </p:nvGrpSpPr>
          <p:grpSpPr>
            <a:xfrm>
              <a:off x="10058400" y="2279956"/>
              <a:ext cx="143308" cy="2032844"/>
              <a:chOff x="411164" y="2279956"/>
              <a:chExt cx="143308" cy="2032844"/>
            </a:xfrm>
          </p:grpSpPr>
          <p:sp>
            <p:nvSpPr>
              <p:cNvPr id="131" name="Rechteck 4">
                <a:extLst>
                  <a:ext uri="{FF2B5EF4-FFF2-40B4-BE49-F238E27FC236}">
                    <a16:creationId xmlns:a16="http://schemas.microsoft.com/office/drawing/2014/main" id="{DD519D5C-88E2-4A0A-ABD4-F4527F57852D}"/>
                  </a:ext>
                </a:extLst>
              </p:cNvPr>
              <p:cNvSpPr/>
              <p:nvPr/>
            </p:nvSpPr>
            <p:spPr bwMode="gray">
              <a:xfrm>
                <a:off x="411164" y="2279956"/>
                <a:ext cx="143308" cy="594000"/>
              </a:xfrm>
              <a:custGeom>
                <a:avLst/>
                <a:gdLst>
                  <a:gd name="connsiteX0" fmla="*/ 0 w 211134"/>
                  <a:gd name="connsiteY0" fmla="*/ 0 h 628189"/>
                  <a:gd name="connsiteX1" fmla="*/ 211134 w 211134"/>
                  <a:gd name="connsiteY1" fmla="*/ 0 h 628189"/>
                  <a:gd name="connsiteX2" fmla="*/ 211134 w 211134"/>
                  <a:gd name="connsiteY2" fmla="*/ 628189 h 628189"/>
                  <a:gd name="connsiteX3" fmla="*/ 0 w 211134"/>
                  <a:gd name="connsiteY3" fmla="*/ 628189 h 628189"/>
                  <a:gd name="connsiteX4" fmla="*/ 0 w 211134"/>
                  <a:gd name="connsiteY4" fmla="*/ 0 h 628189"/>
                  <a:gd name="connsiteX0" fmla="*/ 211134 w 302574"/>
                  <a:gd name="connsiteY0" fmla="*/ 628189 h 719629"/>
                  <a:gd name="connsiteX1" fmla="*/ 0 w 302574"/>
                  <a:gd name="connsiteY1" fmla="*/ 628189 h 719629"/>
                  <a:gd name="connsiteX2" fmla="*/ 0 w 302574"/>
                  <a:gd name="connsiteY2" fmla="*/ 0 h 719629"/>
                  <a:gd name="connsiteX3" fmla="*/ 211134 w 302574"/>
                  <a:gd name="connsiteY3" fmla="*/ 0 h 719629"/>
                  <a:gd name="connsiteX4" fmla="*/ 302574 w 302574"/>
                  <a:gd name="connsiteY4" fmla="*/ 719629 h 719629"/>
                  <a:gd name="connsiteX0" fmla="*/ 211134 w 211134"/>
                  <a:gd name="connsiteY0" fmla="*/ 628189 h 628189"/>
                  <a:gd name="connsiteX1" fmla="*/ 0 w 211134"/>
                  <a:gd name="connsiteY1" fmla="*/ 628189 h 628189"/>
                  <a:gd name="connsiteX2" fmla="*/ 0 w 211134"/>
                  <a:gd name="connsiteY2" fmla="*/ 0 h 628189"/>
                  <a:gd name="connsiteX3" fmla="*/ 211134 w 211134"/>
                  <a:gd name="connsiteY3" fmla="*/ 0 h 628189"/>
                  <a:gd name="connsiteX0" fmla="*/ 211134 w 211134"/>
                  <a:gd name="connsiteY0" fmla="*/ 628189 h 628189"/>
                  <a:gd name="connsiteX1" fmla="*/ 0 w 211134"/>
                  <a:gd name="connsiteY1" fmla="*/ 628189 h 628189"/>
                  <a:gd name="connsiteX2" fmla="*/ 0 w 211134"/>
                  <a:gd name="connsiteY2" fmla="*/ 0 h 628189"/>
                </a:gdLst>
                <a:ahLst/>
                <a:cxnLst>
                  <a:cxn ang="0">
                    <a:pos x="connsiteX0" y="connsiteY0"/>
                  </a:cxn>
                  <a:cxn ang="0">
                    <a:pos x="connsiteX1" y="connsiteY1"/>
                  </a:cxn>
                  <a:cxn ang="0">
                    <a:pos x="connsiteX2" y="connsiteY2"/>
                  </a:cxn>
                </a:cxnLst>
                <a:rect l="l" t="t" r="r" b="b"/>
                <a:pathLst>
                  <a:path w="211134" h="628189">
                    <a:moveTo>
                      <a:pt x="211134" y="628189"/>
                    </a:moveTo>
                    <a:lnTo>
                      <a:pt x="0" y="628189"/>
                    </a:lnTo>
                    <a:lnTo>
                      <a:pt x="0" y="0"/>
                    </a:lnTo>
                  </a:path>
                </a:pathLst>
              </a:custGeom>
              <a:noFill/>
              <a:ln w="12700">
                <a:solidFill>
                  <a:srgbClr val="66667E"/>
                </a:solidFill>
                <a:miter lim="800000"/>
                <a:headEnd/>
                <a:tailEnd/>
              </a:ln>
              <a:effectLst/>
            </p:spPr>
            <p:txBody>
              <a:bodyPr wrap="square" lIns="108000" tIns="54000" rIns="108000" bIns="54000" numCol="1" spcCol="72000" rtlCol="0" anchor="ctr">
                <a:noAutofit/>
              </a:bodyPr>
              <a:lstStyle/>
              <a:p>
                <a:pPr algn="ctr">
                  <a:lnSpc>
                    <a:spcPct val="110000"/>
                  </a:lnSpc>
                  <a:spcBef>
                    <a:spcPts val="0"/>
                  </a:spcBef>
                  <a:buFont typeface="Wingdings" charset="0"/>
                  <a:buNone/>
                </a:pPr>
                <a:endParaRPr lang="en-US" sz="2000" dirty="0">
                  <a:solidFill>
                    <a:schemeClr val="tx1"/>
                  </a:solidFill>
                  <a:ea typeface="Arial Unicode MS" panose="020B0604020202020204" pitchFamily="34" charset="-128"/>
                  <a:cs typeface="Arial Unicode MS" panose="020B0604020202020204" pitchFamily="34" charset="-128"/>
                </a:endParaRPr>
              </a:p>
            </p:txBody>
          </p:sp>
          <p:sp>
            <p:nvSpPr>
              <p:cNvPr id="132" name="Rechteck 4">
                <a:extLst>
                  <a:ext uri="{FF2B5EF4-FFF2-40B4-BE49-F238E27FC236}">
                    <a16:creationId xmlns:a16="http://schemas.microsoft.com/office/drawing/2014/main" id="{4776D295-8075-4400-A2F7-9C5B5044DBC8}"/>
                  </a:ext>
                </a:extLst>
              </p:cNvPr>
              <p:cNvSpPr/>
              <p:nvPr/>
            </p:nvSpPr>
            <p:spPr bwMode="gray">
              <a:xfrm>
                <a:off x="411164" y="2872800"/>
                <a:ext cx="143308" cy="720000"/>
              </a:xfrm>
              <a:custGeom>
                <a:avLst/>
                <a:gdLst>
                  <a:gd name="connsiteX0" fmla="*/ 0 w 211134"/>
                  <a:gd name="connsiteY0" fmla="*/ 0 h 628189"/>
                  <a:gd name="connsiteX1" fmla="*/ 211134 w 211134"/>
                  <a:gd name="connsiteY1" fmla="*/ 0 h 628189"/>
                  <a:gd name="connsiteX2" fmla="*/ 211134 w 211134"/>
                  <a:gd name="connsiteY2" fmla="*/ 628189 h 628189"/>
                  <a:gd name="connsiteX3" fmla="*/ 0 w 211134"/>
                  <a:gd name="connsiteY3" fmla="*/ 628189 h 628189"/>
                  <a:gd name="connsiteX4" fmla="*/ 0 w 211134"/>
                  <a:gd name="connsiteY4" fmla="*/ 0 h 628189"/>
                  <a:gd name="connsiteX0" fmla="*/ 211134 w 302574"/>
                  <a:gd name="connsiteY0" fmla="*/ 628189 h 719629"/>
                  <a:gd name="connsiteX1" fmla="*/ 0 w 302574"/>
                  <a:gd name="connsiteY1" fmla="*/ 628189 h 719629"/>
                  <a:gd name="connsiteX2" fmla="*/ 0 w 302574"/>
                  <a:gd name="connsiteY2" fmla="*/ 0 h 719629"/>
                  <a:gd name="connsiteX3" fmla="*/ 211134 w 302574"/>
                  <a:gd name="connsiteY3" fmla="*/ 0 h 719629"/>
                  <a:gd name="connsiteX4" fmla="*/ 302574 w 302574"/>
                  <a:gd name="connsiteY4" fmla="*/ 719629 h 719629"/>
                  <a:gd name="connsiteX0" fmla="*/ 211134 w 211134"/>
                  <a:gd name="connsiteY0" fmla="*/ 628189 h 628189"/>
                  <a:gd name="connsiteX1" fmla="*/ 0 w 211134"/>
                  <a:gd name="connsiteY1" fmla="*/ 628189 h 628189"/>
                  <a:gd name="connsiteX2" fmla="*/ 0 w 211134"/>
                  <a:gd name="connsiteY2" fmla="*/ 0 h 628189"/>
                  <a:gd name="connsiteX3" fmla="*/ 211134 w 211134"/>
                  <a:gd name="connsiteY3" fmla="*/ 0 h 628189"/>
                  <a:gd name="connsiteX0" fmla="*/ 211134 w 211134"/>
                  <a:gd name="connsiteY0" fmla="*/ 628189 h 628189"/>
                  <a:gd name="connsiteX1" fmla="*/ 0 w 211134"/>
                  <a:gd name="connsiteY1" fmla="*/ 628189 h 628189"/>
                  <a:gd name="connsiteX2" fmla="*/ 0 w 211134"/>
                  <a:gd name="connsiteY2" fmla="*/ 0 h 628189"/>
                </a:gdLst>
                <a:ahLst/>
                <a:cxnLst>
                  <a:cxn ang="0">
                    <a:pos x="connsiteX0" y="connsiteY0"/>
                  </a:cxn>
                  <a:cxn ang="0">
                    <a:pos x="connsiteX1" y="connsiteY1"/>
                  </a:cxn>
                  <a:cxn ang="0">
                    <a:pos x="connsiteX2" y="connsiteY2"/>
                  </a:cxn>
                </a:cxnLst>
                <a:rect l="l" t="t" r="r" b="b"/>
                <a:pathLst>
                  <a:path w="211134" h="628189">
                    <a:moveTo>
                      <a:pt x="211134" y="628189"/>
                    </a:moveTo>
                    <a:lnTo>
                      <a:pt x="0" y="628189"/>
                    </a:lnTo>
                    <a:lnTo>
                      <a:pt x="0" y="0"/>
                    </a:lnTo>
                  </a:path>
                </a:pathLst>
              </a:custGeom>
              <a:noFill/>
              <a:ln w="12700">
                <a:solidFill>
                  <a:srgbClr val="66667E"/>
                </a:solidFill>
                <a:miter lim="800000"/>
                <a:headEnd/>
                <a:tailEnd/>
              </a:ln>
              <a:effectLst/>
            </p:spPr>
            <p:txBody>
              <a:bodyPr wrap="square" lIns="108000" tIns="54000" rIns="108000" bIns="54000" numCol="1" spcCol="72000" rtlCol="0" anchor="ctr">
                <a:noAutofit/>
              </a:bodyPr>
              <a:lstStyle/>
              <a:p>
                <a:pPr algn="ctr">
                  <a:lnSpc>
                    <a:spcPct val="110000"/>
                  </a:lnSpc>
                  <a:spcBef>
                    <a:spcPts val="0"/>
                  </a:spcBef>
                  <a:buFont typeface="Wingdings" charset="0"/>
                  <a:buNone/>
                </a:pPr>
                <a:endParaRPr lang="en-US" sz="2000" dirty="0">
                  <a:ea typeface="Arial Unicode MS" panose="020B0604020202020204" pitchFamily="34" charset="-128"/>
                  <a:cs typeface="Arial Unicode MS" panose="020B0604020202020204" pitchFamily="34" charset="-128"/>
                </a:endParaRPr>
              </a:p>
            </p:txBody>
          </p:sp>
          <p:sp>
            <p:nvSpPr>
              <p:cNvPr id="133" name="Rechteck 4">
                <a:extLst>
                  <a:ext uri="{FF2B5EF4-FFF2-40B4-BE49-F238E27FC236}">
                    <a16:creationId xmlns:a16="http://schemas.microsoft.com/office/drawing/2014/main" id="{B2B327D2-F4B9-4288-854D-EC5630592E5E}"/>
                  </a:ext>
                </a:extLst>
              </p:cNvPr>
              <p:cNvSpPr/>
              <p:nvPr/>
            </p:nvSpPr>
            <p:spPr bwMode="gray">
              <a:xfrm>
                <a:off x="411164" y="3592800"/>
                <a:ext cx="143308" cy="720000"/>
              </a:xfrm>
              <a:custGeom>
                <a:avLst/>
                <a:gdLst>
                  <a:gd name="connsiteX0" fmla="*/ 0 w 211134"/>
                  <a:gd name="connsiteY0" fmla="*/ 0 h 628189"/>
                  <a:gd name="connsiteX1" fmla="*/ 211134 w 211134"/>
                  <a:gd name="connsiteY1" fmla="*/ 0 h 628189"/>
                  <a:gd name="connsiteX2" fmla="*/ 211134 w 211134"/>
                  <a:gd name="connsiteY2" fmla="*/ 628189 h 628189"/>
                  <a:gd name="connsiteX3" fmla="*/ 0 w 211134"/>
                  <a:gd name="connsiteY3" fmla="*/ 628189 h 628189"/>
                  <a:gd name="connsiteX4" fmla="*/ 0 w 211134"/>
                  <a:gd name="connsiteY4" fmla="*/ 0 h 628189"/>
                  <a:gd name="connsiteX0" fmla="*/ 211134 w 302574"/>
                  <a:gd name="connsiteY0" fmla="*/ 628189 h 719629"/>
                  <a:gd name="connsiteX1" fmla="*/ 0 w 302574"/>
                  <a:gd name="connsiteY1" fmla="*/ 628189 h 719629"/>
                  <a:gd name="connsiteX2" fmla="*/ 0 w 302574"/>
                  <a:gd name="connsiteY2" fmla="*/ 0 h 719629"/>
                  <a:gd name="connsiteX3" fmla="*/ 211134 w 302574"/>
                  <a:gd name="connsiteY3" fmla="*/ 0 h 719629"/>
                  <a:gd name="connsiteX4" fmla="*/ 302574 w 302574"/>
                  <a:gd name="connsiteY4" fmla="*/ 719629 h 719629"/>
                  <a:gd name="connsiteX0" fmla="*/ 211134 w 211134"/>
                  <a:gd name="connsiteY0" fmla="*/ 628189 h 628189"/>
                  <a:gd name="connsiteX1" fmla="*/ 0 w 211134"/>
                  <a:gd name="connsiteY1" fmla="*/ 628189 h 628189"/>
                  <a:gd name="connsiteX2" fmla="*/ 0 w 211134"/>
                  <a:gd name="connsiteY2" fmla="*/ 0 h 628189"/>
                  <a:gd name="connsiteX3" fmla="*/ 211134 w 211134"/>
                  <a:gd name="connsiteY3" fmla="*/ 0 h 628189"/>
                  <a:gd name="connsiteX0" fmla="*/ 211134 w 211134"/>
                  <a:gd name="connsiteY0" fmla="*/ 628189 h 628189"/>
                  <a:gd name="connsiteX1" fmla="*/ 0 w 211134"/>
                  <a:gd name="connsiteY1" fmla="*/ 628189 h 628189"/>
                  <a:gd name="connsiteX2" fmla="*/ 0 w 211134"/>
                  <a:gd name="connsiteY2" fmla="*/ 0 h 628189"/>
                </a:gdLst>
                <a:ahLst/>
                <a:cxnLst>
                  <a:cxn ang="0">
                    <a:pos x="connsiteX0" y="connsiteY0"/>
                  </a:cxn>
                  <a:cxn ang="0">
                    <a:pos x="connsiteX1" y="connsiteY1"/>
                  </a:cxn>
                  <a:cxn ang="0">
                    <a:pos x="connsiteX2" y="connsiteY2"/>
                  </a:cxn>
                </a:cxnLst>
                <a:rect l="l" t="t" r="r" b="b"/>
                <a:pathLst>
                  <a:path w="211134" h="628189">
                    <a:moveTo>
                      <a:pt x="211134" y="628189"/>
                    </a:moveTo>
                    <a:lnTo>
                      <a:pt x="0" y="628189"/>
                    </a:lnTo>
                    <a:lnTo>
                      <a:pt x="0" y="0"/>
                    </a:lnTo>
                  </a:path>
                </a:pathLst>
              </a:custGeom>
              <a:noFill/>
              <a:ln w="12700">
                <a:solidFill>
                  <a:srgbClr val="66667E"/>
                </a:solidFill>
                <a:miter lim="800000"/>
                <a:headEnd/>
                <a:tailEnd/>
              </a:ln>
              <a:effectLst/>
            </p:spPr>
            <p:txBody>
              <a:bodyPr wrap="square" lIns="108000" tIns="54000" rIns="108000" bIns="54000" numCol="1" spcCol="72000" rtlCol="0" anchor="ctr">
                <a:noAutofit/>
              </a:bodyPr>
              <a:lstStyle/>
              <a:p>
                <a:pPr algn="ctr">
                  <a:lnSpc>
                    <a:spcPct val="110000"/>
                  </a:lnSpc>
                  <a:spcBef>
                    <a:spcPts val="0"/>
                  </a:spcBef>
                  <a:buFont typeface="Wingdings" charset="0"/>
                  <a:buNone/>
                </a:pPr>
                <a:endParaRPr lang="en-US" sz="2000" dirty="0">
                  <a:ea typeface="Arial Unicode MS" panose="020B0604020202020204" pitchFamily="34" charset="-128"/>
                  <a:cs typeface="Arial Unicode MS" panose="020B0604020202020204" pitchFamily="34" charset="-128"/>
                </a:endParaRPr>
              </a:p>
            </p:txBody>
          </p:sp>
        </p:grpSp>
      </p:grpSp>
    </p:spTree>
    <p:extLst>
      <p:ext uri="{BB962C8B-B14F-4D97-AF65-F5344CB8AC3E}">
        <p14:creationId xmlns:p14="http://schemas.microsoft.com/office/powerpoint/2010/main" val="157143475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30916218-0FE7-DA40-850A-7231E8C46B1B}"/>
              </a:ext>
            </a:extLst>
          </p:cNvPr>
          <p:cNvSpPr>
            <a:spLocks noGrp="1"/>
          </p:cNvSpPr>
          <p:nvPr>
            <p:ph type="title"/>
          </p:nvPr>
        </p:nvSpPr>
        <p:spPr/>
        <p:txBody>
          <a:bodyPr anchor="t"/>
          <a:lstStyle/>
          <a:p>
            <a:r>
              <a:rPr lang="en-US" dirty="0"/>
              <a:t>Organigram – one main level</a:t>
            </a:r>
            <a:endParaRPr lang="de-DE" dirty="0"/>
          </a:p>
        </p:txBody>
      </p:sp>
      <p:sp>
        <p:nvSpPr>
          <p:cNvPr id="2" name="Fußzeilenplatzhalter 1">
            <a:extLst>
              <a:ext uri="{FF2B5EF4-FFF2-40B4-BE49-F238E27FC236}">
                <a16:creationId xmlns:a16="http://schemas.microsoft.com/office/drawing/2014/main" id="{DE8F0B98-BEA5-5A4A-865C-3102B9FC1367}"/>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3" name="Foliennummernplatzhalter 2">
            <a:extLst>
              <a:ext uri="{FF2B5EF4-FFF2-40B4-BE49-F238E27FC236}">
                <a16:creationId xmlns:a16="http://schemas.microsoft.com/office/drawing/2014/main" id="{2727BCB3-545F-A546-ACFB-63ABC3F9A30B}"/>
              </a:ext>
            </a:extLst>
          </p:cNvPr>
          <p:cNvSpPr>
            <a:spLocks noGrp="1"/>
          </p:cNvSpPr>
          <p:nvPr>
            <p:ph type="sldNum" sz="quarter" idx="11"/>
          </p:nvPr>
        </p:nvSpPr>
        <p:spPr/>
        <p:txBody>
          <a:bodyPr/>
          <a:lstStyle/>
          <a:p>
            <a:r>
              <a:rPr lang="en-US" dirty="0"/>
              <a:t>Page </a:t>
            </a:r>
            <a:fld id="{15EBE321-CBB1-4E91-BD14-37C8D44326FB}" type="slidenum">
              <a:rPr lang="en-US" smtClean="0"/>
              <a:pPr/>
              <a:t>73</a:t>
            </a:fld>
            <a:endParaRPr lang="en-US" dirty="0"/>
          </a:p>
        </p:txBody>
      </p:sp>
      <p:sp>
        <p:nvSpPr>
          <p:cNvPr id="62" name="Textfeld 61">
            <a:extLst>
              <a:ext uri="{FF2B5EF4-FFF2-40B4-BE49-F238E27FC236}">
                <a16:creationId xmlns:a16="http://schemas.microsoft.com/office/drawing/2014/main" id="{A07CFD30-A6FA-AD4C-8E99-0EEA69B1AE63}"/>
              </a:ext>
            </a:extLst>
          </p:cNvPr>
          <p:cNvSpPr txBox="1">
            <a:spLocks/>
          </p:cNvSpPr>
          <p:nvPr/>
        </p:nvSpPr>
        <p:spPr bwMode="gray">
          <a:xfrm>
            <a:off x="411163" y="1414800"/>
            <a:ext cx="11376024" cy="865155"/>
          </a:xfrm>
          <a:prstGeom prst="rect">
            <a:avLst/>
          </a:prstGeom>
          <a:solidFill>
            <a:srgbClr val="333353"/>
          </a:solidFill>
          <a:ln>
            <a:noFill/>
          </a:ln>
        </p:spPr>
        <p:txBody>
          <a:bodyPr wrap="square" lIns="108000" tIns="72000" rIns="108000" bIns="72000" rtlCol="0" anchor="ctr">
            <a:noAutofit/>
          </a:bodyPr>
          <a:lstStyle>
            <a:defPPr>
              <a:defRPr lang="de-DE"/>
            </a:defPPr>
            <a:lvl1pPr algn="ctr">
              <a:spcBef>
                <a:spcPts val="0"/>
              </a:spcBef>
              <a:defRPr sz="1200" b="1">
                <a:solidFill>
                  <a:schemeClr val="bg1"/>
                </a:solidFill>
                <a:latin typeface="+mj-lt"/>
                <a:ea typeface="Arial Unicode MS" panose="020B0604020202020204" pitchFamily="34" charset="-128"/>
                <a:cs typeface="Arial Unicode MS" panose="020B0604020202020204" pitchFamily="34" charset="-128"/>
              </a:defRPr>
            </a:lvl1pPr>
          </a:lstStyle>
          <a:p>
            <a:r>
              <a:rPr lang="en-US" dirty="0">
                <a:solidFill>
                  <a:schemeClr val="tx2"/>
                </a:solidFill>
                <a:latin typeface="+mn-lt"/>
              </a:rPr>
              <a:t>Consetetur sadipscing elitr, seddiam nonumy</a:t>
            </a:r>
          </a:p>
          <a:p>
            <a:pPr>
              <a:spcBef>
                <a:spcPts val="300"/>
              </a:spcBef>
            </a:pPr>
            <a:r>
              <a:rPr lang="en-US" b="0" dirty="0">
                <a:solidFill>
                  <a:schemeClr val="tx2"/>
                </a:solidFill>
                <a:latin typeface="+mn-lt"/>
              </a:rPr>
              <a:t>Duis arcu tortor, suscipit eget</a:t>
            </a:r>
          </a:p>
        </p:txBody>
      </p:sp>
      <p:sp>
        <p:nvSpPr>
          <p:cNvPr id="92" name="Textfeld 91">
            <a:extLst>
              <a:ext uri="{FF2B5EF4-FFF2-40B4-BE49-F238E27FC236}">
                <a16:creationId xmlns:a16="http://schemas.microsoft.com/office/drawing/2014/main" id="{B240F257-4985-FE48-AC89-461F19F81BFA}"/>
              </a:ext>
            </a:extLst>
          </p:cNvPr>
          <p:cNvSpPr txBox="1">
            <a:spLocks/>
          </p:cNvSpPr>
          <p:nvPr/>
        </p:nvSpPr>
        <p:spPr bwMode="gray">
          <a:xfrm>
            <a:off x="554472" y="2602800"/>
            <a:ext cx="1584000" cy="540000"/>
          </a:xfrm>
          <a:prstGeom prst="rect">
            <a:avLst/>
          </a:prstGeom>
          <a:solidFill>
            <a:srgbClr val="00646E"/>
          </a:solidFill>
          <a:ln>
            <a:noFill/>
          </a:ln>
        </p:spPr>
        <p:txBody>
          <a:bodyPr wrap="square" lIns="144000" tIns="72000" rIns="72000" bIns="72000" rtlCol="0" anchor="t">
            <a:noAutofit/>
          </a:bodyPr>
          <a:lstStyle>
            <a:defPPr>
              <a:defRPr lang="de-DE"/>
            </a:defPPr>
            <a:lvl1pPr algn="ctr">
              <a:spcBef>
                <a:spcPts val="0"/>
              </a:spcBef>
              <a:defRPr sz="1400" b="1">
                <a:solidFill>
                  <a:srgbClr val="000000"/>
                </a:solidFill>
                <a:latin typeface="Arial"/>
                <a:ea typeface="Arial Unicode MS" panose="020B0604020202020204" pitchFamily="34" charset="-128"/>
                <a:cs typeface="Arial Unicode MS" panose="020B0604020202020204" pitchFamily="34" charset="-128"/>
              </a:defRPr>
            </a:lvl1pPr>
          </a:lstStyle>
          <a:p>
            <a:pPr algn="l"/>
            <a:r>
              <a:rPr lang="en-US" sz="1200" b="0" dirty="0">
                <a:solidFill>
                  <a:schemeClr val="tx1"/>
                </a:solidFill>
                <a:latin typeface="+mn-lt"/>
              </a:rPr>
              <a:t>At vero eos et accusam</a:t>
            </a:r>
          </a:p>
        </p:txBody>
      </p:sp>
      <p:sp>
        <p:nvSpPr>
          <p:cNvPr id="96" name="Textfeld 95">
            <a:extLst>
              <a:ext uri="{FF2B5EF4-FFF2-40B4-BE49-F238E27FC236}">
                <a16:creationId xmlns:a16="http://schemas.microsoft.com/office/drawing/2014/main" id="{D3117FDC-8517-FB4C-9607-26DE28E696A1}"/>
              </a:ext>
            </a:extLst>
          </p:cNvPr>
          <p:cNvSpPr txBox="1">
            <a:spLocks/>
          </p:cNvSpPr>
          <p:nvPr/>
        </p:nvSpPr>
        <p:spPr bwMode="gray">
          <a:xfrm>
            <a:off x="8273444" y="2602800"/>
            <a:ext cx="1584000" cy="540000"/>
          </a:xfrm>
          <a:prstGeom prst="rect">
            <a:avLst/>
          </a:prstGeom>
          <a:solidFill>
            <a:srgbClr val="00FFB9"/>
          </a:solidFill>
          <a:ln>
            <a:noFill/>
          </a:ln>
        </p:spPr>
        <p:txBody>
          <a:bodyPr wrap="square" lIns="144000" tIns="72000" rIns="72000" bIns="72000" rtlCol="0" anchor="t">
            <a:noAutofit/>
          </a:bodyPr>
          <a:lstStyle>
            <a:defPPr>
              <a:defRPr lang="de-DE"/>
            </a:defPPr>
            <a:lvl1pPr algn="ctr">
              <a:spcBef>
                <a:spcPts val="0"/>
              </a:spcBef>
              <a:defRPr sz="1400" b="1">
                <a:solidFill>
                  <a:srgbClr val="000000"/>
                </a:solidFill>
                <a:latin typeface="Arial"/>
                <a:ea typeface="Arial Unicode MS" panose="020B0604020202020204" pitchFamily="34" charset="-128"/>
                <a:cs typeface="Arial Unicode MS" panose="020B0604020202020204" pitchFamily="34" charset="-128"/>
              </a:defRPr>
            </a:lvl1pPr>
          </a:lstStyle>
          <a:p>
            <a:pPr algn="l"/>
            <a:r>
              <a:rPr lang="en-US" sz="1200" b="0" dirty="0">
                <a:solidFill>
                  <a:schemeClr val="bg2"/>
                </a:solidFill>
                <a:latin typeface="+mn-lt"/>
              </a:rPr>
              <a:t>Phasellus nec sem</a:t>
            </a:r>
          </a:p>
        </p:txBody>
      </p:sp>
      <p:sp>
        <p:nvSpPr>
          <p:cNvPr id="100" name="Textfeld 99">
            <a:extLst>
              <a:ext uri="{FF2B5EF4-FFF2-40B4-BE49-F238E27FC236}">
                <a16:creationId xmlns:a16="http://schemas.microsoft.com/office/drawing/2014/main" id="{A4A5488D-F95F-6E45-9D40-6D425DC70704}"/>
              </a:ext>
            </a:extLst>
          </p:cNvPr>
          <p:cNvSpPr txBox="1">
            <a:spLocks/>
          </p:cNvSpPr>
          <p:nvPr/>
        </p:nvSpPr>
        <p:spPr bwMode="gray">
          <a:xfrm>
            <a:off x="554472" y="3322800"/>
            <a:ext cx="1584000" cy="540000"/>
          </a:xfrm>
          <a:prstGeom prst="rect">
            <a:avLst/>
          </a:prstGeom>
          <a:solidFill>
            <a:srgbClr val="00646E"/>
          </a:solidFill>
          <a:ln>
            <a:noFill/>
          </a:ln>
        </p:spPr>
        <p:txBody>
          <a:bodyPr wrap="square" lIns="144000" tIns="72000" rIns="72000" bIns="72000" rtlCol="0" anchor="t">
            <a:noAutofit/>
          </a:bodyPr>
          <a:lstStyle>
            <a:defPPr>
              <a:defRPr lang="de-DE"/>
            </a:defPPr>
            <a:lvl1pPr algn="ctr">
              <a:spcBef>
                <a:spcPts val="0"/>
              </a:spcBef>
              <a:defRPr sz="1400" b="1">
                <a:solidFill>
                  <a:srgbClr val="000000"/>
                </a:solidFill>
                <a:latin typeface="Arial"/>
                <a:ea typeface="Arial Unicode MS" panose="020B0604020202020204" pitchFamily="34" charset="-128"/>
                <a:cs typeface="Arial Unicode MS" panose="020B0604020202020204" pitchFamily="34" charset="-128"/>
              </a:defRPr>
            </a:lvl1pPr>
          </a:lstStyle>
          <a:p>
            <a:pPr algn="l"/>
            <a:r>
              <a:rPr lang="en-US" sz="1200" b="0" dirty="0">
                <a:solidFill>
                  <a:schemeClr val="tx1"/>
                </a:solidFill>
                <a:latin typeface="+mn-lt"/>
              </a:rPr>
              <a:t>Duis arcu tortor, suscipit eget</a:t>
            </a:r>
          </a:p>
        </p:txBody>
      </p:sp>
      <p:sp>
        <p:nvSpPr>
          <p:cNvPr id="105" name="Textfeld 104">
            <a:extLst>
              <a:ext uri="{FF2B5EF4-FFF2-40B4-BE49-F238E27FC236}">
                <a16:creationId xmlns:a16="http://schemas.microsoft.com/office/drawing/2014/main" id="{2E56A56D-85D2-2542-8EC5-9884BEE7E41D}"/>
              </a:ext>
            </a:extLst>
          </p:cNvPr>
          <p:cNvSpPr txBox="1">
            <a:spLocks/>
          </p:cNvSpPr>
          <p:nvPr/>
        </p:nvSpPr>
        <p:spPr bwMode="gray">
          <a:xfrm>
            <a:off x="8273444" y="3322800"/>
            <a:ext cx="1584000" cy="540000"/>
          </a:xfrm>
          <a:prstGeom prst="rect">
            <a:avLst/>
          </a:prstGeom>
          <a:solidFill>
            <a:srgbClr val="00FFB9"/>
          </a:solidFill>
          <a:ln>
            <a:noFill/>
          </a:ln>
        </p:spPr>
        <p:txBody>
          <a:bodyPr wrap="square" lIns="144000" tIns="72000" rIns="72000" bIns="72000" rtlCol="0" anchor="t">
            <a:noAutofit/>
          </a:bodyPr>
          <a:lstStyle>
            <a:defPPr>
              <a:defRPr lang="de-DE"/>
            </a:defPPr>
            <a:lvl1pPr algn="ctr">
              <a:spcBef>
                <a:spcPts val="0"/>
              </a:spcBef>
              <a:defRPr sz="1400" b="1">
                <a:solidFill>
                  <a:srgbClr val="000000"/>
                </a:solidFill>
                <a:latin typeface="Arial"/>
                <a:ea typeface="Arial Unicode MS" panose="020B0604020202020204" pitchFamily="34" charset="-128"/>
                <a:cs typeface="Arial Unicode MS" panose="020B0604020202020204" pitchFamily="34" charset="-128"/>
              </a:defRPr>
            </a:lvl1pPr>
          </a:lstStyle>
          <a:p>
            <a:pPr algn="l"/>
            <a:r>
              <a:rPr lang="en-US" sz="1200" b="0" dirty="0">
                <a:solidFill>
                  <a:schemeClr val="bg2"/>
                </a:solidFill>
                <a:latin typeface="+mn-lt"/>
              </a:rPr>
              <a:t>At vero eos et accusam</a:t>
            </a:r>
          </a:p>
        </p:txBody>
      </p:sp>
      <p:sp>
        <p:nvSpPr>
          <p:cNvPr id="113" name="Textfeld 112">
            <a:extLst>
              <a:ext uri="{FF2B5EF4-FFF2-40B4-BE49-F238E27FC236}">
                <a16:creationId xmlns:a16="http://schemas.microsoft.com/office/drawing/2014/main" id="{B53B6304-5522-4148-9D94-CAE833B846BF}"/>
              </a:ext>
            </a:extLst>
          </p:cNvPr>
          <p:cNvSpPr txBox="1">
            <a:spLocks/>
          </p:cNvSpPr>
          <p:nvPr/>
        </p:nvSpPr>
        <p:spPr bwMode="gray">
          <a:xfrm>
            <a:off x="554472" y="4042800"/>
            <a:ext cx="1584000" cy="540000"/>
          </a:xfrm>
          <a:prstGeom prst="rect">
            <a:avLst/>
          </a:prstGeom>
          <a:solidFill>
            <a:srgbClr val="00FFB9"/>
          </a:solidFill>
          <a:ln>
            <a:noFill/>
          </a:ln>
        </p:spPr>
        <p:txBody>
          <a:bodyPr wrap="square" lIns="144000" tIns="72000" rIns="72000" bIns="72000" rtlCol="0" anchor="t">
            <a:noAutofit/>
          </a:bodyPr>
          <a:lstStyle>
            <a:defPPr>
              <a:defRPr lang="de-DE"/>
            </a:defPPr>
            <a:lvl1pPr algn="ctr">
              <a:spcBef>
                <a:spcPts val="0"/>
              </a:spcBef>
              <a:defRPr sz="1400" b="1">
                <a:solidFill>
                  <a:srgbClr val="000000"/>
                </a:solidFill>
                <a:latin typeface="Arial"/>
                <a:ea typeface="Arial Unicode MS" panose="020B0604020202020204" pitchFamily="34" charset="-128"/>
                <a:cs typeface="Arial Unicode MS" panose="020B0604020202020204" pitchFamily="34" charset="-128"/>
              </a:defRPr>
            </a:lvl1pPr>
          </a:lstStyle>
          <a:p>
            <a:pPr algn="l"/>
            <a:r>
              <a:rPr lang="en-US" sz="1200" b="0" dirty="0">
                <a:solidFill>
                  <a:schemeClr val="bg2"/>
                </a:solidFill>
                <a:latin typeface="+mn-lt"/>
              </a:rPr>
              <a:t>Maecenas nec odio</a:t>
            </a:r>
          </a:p>
        </p:txBody>
      </p:sp>
      <p:sp>
        <p:nvSpPr>
          <p:cNvPr id="117" name="Textfeld 116">
            <a:extLst>
              <a:ext uri="{FF2B5EF4-FFF2-40B4-BE49-F238E27FC236}">
                <a16:creationId xmlns:a16="http://schemas.microsoft.com/office/drawing/2014/main" id="{D9812884-D10E-084B-9148-E7F09C8A7FD9}"/>
              </a:ext>
            </a:extLst>
          </p:cNvPr>
          <p:cNvSpPr txBox="1">
            <a:spLocks/>
          </p:cNvSpPr>
          <p:nvPr/>
        </p:nvSpPr>
        <p:spPr bwMode="gray">
          <a:xfrm>
            <a:off x="8273444" y="4042800"/>
            <a:ext cx="1584000" cy="540000"/>
          </a:xfrm>
          <a:prstGeom prst="rect">
            <a:avLst/>
          </a:prstGeom>
          <a:solidFill>
            <a:srgbClr val="00FFB9"/>
          </a:solidFill>
          <a:ln>
            <a:noFill/>
          </a:ln>
        </p:spPr>
        <p:txBody>
          <a:bodyPr wrap="square" lIns="144000" tIns="72000" rIns="72000" bIns="72000" rtlCol="0" anchor="t">
            <a:noAutofit/>
          </a:bodyPr>
          <a:lstStyle>
            <a:defPPr>
              <a:defRPr lang="de-DE"/>
            </a:defPPr>
            <a:lvl1pPr algn="ctr">
              <a:spcBef>
                <a:spcPts val="0"/>
              </a:spcBef>
              <a:defRPr sz="1400" b="1">
                <a:solidFill>
                  <a:srgbClr val="000000"/>
                </a:solidFill>
                <a:latin typeface="Arial"/>
                <a:ea typeface="Arial Unicode MS" panose="020B0604020202020204" pitchFamily="34" charset="-128"/>
                <a:cs typeface="Arial Unicode MS" panose="020B0604020202020204" pitchFamily="34" charset="-128"/>
              </a:defRPr>
            </a:lvl1pPr>
          </a:lstStyle>
          <a:p>
            <a:pPr algn="l"/>
            <a:r>
              <a:rPr lang="en-US" sz="1200" b="0" dirty="0">
                <a:solidFill>
                  <a:schemeClr val="bg2"/>
                </a:solidFill>
                <a:latin typeface="+mn-lt"/>
              </a:rPr>
              <a:t>Duis arcu tortor, suscipit eget</a:t>
            </a:r>
          </a:p>
        </p:txBody>
      </p:sp>
      <p:sp>
        <p:nvSpPr>
          <p:cNvPr id="63" name="Textfeld 62">
            <a:extLst>
              <a:ext uri="{FF2B5EF4-FFF2-40B4-BE49-F238E27FC236}">
                <a16:creationId xmlns:a16="http://schemas.microsoft.com/office/drawing/2014/main" id="{11C819EB-87FD-AF47-8B02-D92872DD412C}"/>
              </a:ext>
            </a:extLst>
          </p:cNvPr>
          <p:cNvSpPr txBox="1">
            <a:spLocks/>
          </p:cNvSpPr>
          <p:nvPr/>
        </p:nvSpPr>
        <p:spPr bwMode="gray">
          <a:xfrm>
            <a:off x="2484215" y="4762800"/>
            <a:ext cx="1584000" cy="540000"/>
          </a:xfrm>
          <a:prstGeom prst="rect">
            <a:avLst/>
          </a:prstGeom>
          <a:solidFill>
            <a:srgbClr val="333353"/>
          </a:solidFill>
          <a:ln>
            <a:noFill/>
          </a:ln>
        </p:spPr>
        <p:txBody>
          <a:bodyPr wrap="square" lIns="144000" tIns="72000" rIns="72000" bIns="72000" rtlCol="0" anchor="t">
            <a:noAutofit/>
          </a:bodyPr>
          <a:lstStyle/>
          <a:p>
            <a:pPr>
              <a:spcBef>
                <a:spcPts val="0"/>
              </a:spcBef>
            </a:pPr>
            <a:r>
              <a:rPr lang="en-US" sz="1200" dirty="0">
                <a:solidFill>
                  <a:schemeClr val="tx2"/>
                </a:solidFill>
                <a:ea typeface="Arial Unicode MS" panose="020B0604020202020204" pitchFamily="34" charset="-128"/>
                <a:cs typeface="Arial Unicode MS" panose="020B0604020202020204" pitchFamily="34" charset="-128"/>
              </a:rPr>
              <a:t>At vero eos et accusam</a:t>
            </a:r>
          </a:p>
        </p:txBody>
      </p:sp>
      <p:sp>
        <p:nvSpPr>
          <p:cNvPr id="64" name="Textfeld 63">
            <a:extLst>
              <a:ext uri="{FF2B5EF4-FFF2-40B4-BE49-F238E27FC236}">
                <a16:creationId xmlns:a16="http://schemas.microsoft.com/office/drawing/2014/main" id="{83695D8E-63E8-0045-9C12-65C03E1AA950}"/>
              </a:ext>
            </a:extLst>
          </p:cNvPr>
          <p:cNvSpPr txBox="1">
            <a:spLocks/>
          </p:cNvSpPr>
          <p:nvPr/>
        </p:nvSpPr>
        <p:spPr bwMode="gray">
          <a:xfrm>
            <a:off x="554470" y="4762800"/>
            <a:ext cx="1584000" cy="540000"/>
          </a:xfrm>
          <a:prstGeom prst="rect">
            <a:avLst/>
          </a:prstGeom>
          <a:solidFill>
            <a:srgbClr val="00FFB9"/>
          </a:solidFill>
          <a:ln>
            <a:noFill/>
          </a:ln>
        </p:spPr>
        <p:txBody>
          <a:bodyPr wrap="square" lIns="144000" tIns="72000" rIns="72000" bIns="72000" rtlCol="0" anchor="t">
            <a:noAutofit/>
          </a:bodyPr>
          <a:lstStyle>
            <a:defPPr>
              <a:defRPr lang="de-DE"/>
            </a:defPPr>
            <a:lvl1pPr algn="ctr">
              <a:spcBef>
                <a:spcPts val="0"/>
              </a:spcBef>
              <a:defRPr sz="1400" b="1">
                <a:solidFill>
                  <a:srgbClr val="000000"/>
                </a:solidFill>
                <a:latin typeface="Arial"/>
                <a:ea typeface="Arial Unicode MS" panose="020B0604020202020204" pitchFamily="34" charset="-128"/>
                <a:cs typeface="Arial Unicode MS" panose="020B0604020202020204" pitchFamily="34" charset="-128"/>
              </a:defRPr>
            </a:lvl1pPr>
          </a:lstStyle>
          <a:p>
            <a:pPr algn="l"/>
            <a:r>
              <a:rPr lang="en-US" sz="1200" b="0" dirty="0">
                <a:solidFill>
                  <a:schemeClr val="bg2"/>
                </a:solidFill>
                <a:latin typeface="+mn-lt"/>
              </a:rPr>
              <a:t>Phasellus nec sem</a:t>
            </a:r>
          </a:p>
        </p:txBody>
      </p:sp>
      <p:sp>
        <p:nvSpPr>
          <p:cNvPr id="93" name="Textfeld 92">
            <a:extLst>
              <a:ext uri="{FF2B5EF4-FFF2-40B4-BE49-F238E27FC236}">
                <a16:creationId xmlns:a16="http://schemas.microsoft.com/office/drawing/2014/main" id="{49A26E3D-753F-6243-B7AB-4E000D5CD61A}"/>
              </a:ext>
            </a:extLst>
          </p:cNvPr>
          <p:cNvSpPr txBox="1">
            <a:spLocks/>
          </p:cNvSpPr>
          <p:nvPr/>
        </p:nvSpPr>
        <p:spPr bwMode="gray">
          <a:xfrm>
            <a:off x="2484215" y="2602800"/>
            <a:ext cx="1584000" cy="540000"/>
          </a:xfrm>
          <a:prstGeom prst="rect">
            <a:avLst/>
          </a:prstGeom>
          <a:solidFill>
            <a:srgbClr val="333353"/>
          </a:solidFill>
          <a:ln>
            <a:noFill/>
          </a:ln>
        </p:spPr>
        <p:txBody>
          <a:bodyPr wrap="square" lIns="144000" tIns="72000" rIns="72000" bIns="72000" rtlCol="0" anchor="t">
            <a:noAutofit/>
          </a:bodyPr>
          <a:lstStyle>
            <a:defPPr>
              <a:defRPr lang="de-DE"/>
            </a:defPPr>
            <a:lvl1pPr algn="ctr">
              <a:spcBef>
                <a:spcPts val="0"/>
              </a:spcBef>
              <a:defRPr sz="1400" b="1">
                <a:solidFill>
                  <a:srgbClr val="000000"/>
                </a:solidFill>
                <a:latin typeface="Arial"/>
                <a:ea typeface="Arial Unicode MS" panose="020B0604020202020204" pitchFamily="34" charset="-128"/>
                <a:cs typeface="Arial Unicode MS" panose="020B0604020202020204" pitchFamily="34" charset="-128"/>
              </a:defRPr>
            </a:lvl1pPr>
          </a:lstStyle>
          <a:p>
            <a:pPr algn="l"/>
            <a:r>
              <a:rPr lang="en-US" sz="1200" b="0" dirty="0">
                <a:solidFill>
                  <a:schemeClr val="tx2"/>
                </a:solidFill>
                <a:latin typeface="+mn-lt"/>
              </a:rPr>
              <a:t>Duis arcu tortor, suscipit eget</a:t>
            </a:r>
          </a:p>
        </p:txBody>
      </p:sp>
      <p:sp>
        <p:nvSpPr>
          <p:cNvPr id="94" name="Textfeld 93">
            <a:extLst>
              <a:ext uri="{FF2B5EF4-FFF2-40B4-BE49-F238E27FC236}">
                <a16:creationId xmlns:a16="http://schemas.microsoft.com/office/drawing/2014/main" id="{61B4F7D0-E018-464C-994A-DD90C24BB6AF}"/>
              </a:ext>
            </a:extLst>
          </p:cNvPr>
          <p:cNvSpPr txBox="1">
            <a:spLocks/>
          </p:cNvSpPr>
          <p:nvPr/>
        </p:nvSpPr>
        <p:spPr bwMode="gray">
          <a:xfrm>
            <a:off x="4413958" y="2602800"/>
            <a:ext cx="1584000" cy="540000"/>
          </a:xfrm>
          <a:prstGeom prst="rect">
            <a:avLst/>
          </a:prstGeom>
          <a:solidFill>
            <a:srgbClr val="66667E"/>
          </a:solidFill>
          <a:ln>
            <a:noFill/>
          </a:ln>
        </p:spPr>
        <p:txBody>
          <a:bodyPr wrap="square" lIns="144000" tIns="72000" rIns="72000" bIns="72000" rtlCol="0" anchor="t">
            <a:noAutofit/>
          </a:bodyPr>
          <a:lstStyle>
            <a:defPPr>
              <a:defRPr lang="de-DE"/>
            </a:defPPr>
            <a:lvl1pPr algn="ctr">
              <a:spcBef>
                <a:spcPts val="0"/>
              </a:spcBef>
              <a:defRPr sz="1400" b="1">
                <a:solidFill>
                  <a:srgbClr val="000000"/>
                </a:solidFill>
                <a:latin typeface="Arial"/>
                <a:ea typeface="Arial Unicode MS" panose="020B0604020202020204" pitchFamily="34" charset="-128"/>
                <a:cs typeface="Arial Unicode MS" panose="020B0604020202020204" pitchFamily="34" charset="-128"/>
              </a:defRPr>
            </a:lvl1pPr>
          </a:lstStyle>
          <a:p>
            <a:pPr algn="l"/>
            <a:r>
              <a:rPr lang="en-US" sz="1200" b="0" dirty="0">
                <a:solidFill>
                  <a:schemeClr val="tx1"/>
                </a:solidFill>
                <a:latin typeface="+mn-lt"/>
              </a:rPr>
              <a:t>Maecenas nec odio</a:t>
            </a:r>
          </a:p>
        </p:txBody>
      </p:sp>
      <p:sp>
        <p:nvSpPr>
          <p:cNvPr id="95" name="Textfeld 94">
            <a:extLst>
              <a:ext uri="{FF2B5EF4-FFF2-40B4-BE49-F238E27FC236}">
                <a16:creationId xmlns:a16="http://schemas.microsoft.com/office/drawing/2014/main" id="{FA4000A9-01EC-DD4F-BA0F-A3BE083C4458}"/>
              </a:ext>
            </a:extLst>
          </p:cNvPr>
          <p:cNvSpPr txBox="1">
            <a:spLocks/>
          </p:cNvSpPr>
          <p:nvPr/>
        </p:nvSpPr>
        <p:spPr bwMode="gray">
          <a:xfrm>
            <a:off x="6343701" y="2602800"/>
            <a:ext cx="1584000" cy="540000"/>
          </a:xfrm>
          <a:prstGeom prst="rect">
            <a:avLst/>
          </a:prstGeom>
          <a:solidFill>
            <a:srgbClr val="333353"/>
          </a:solidFill>
          <a:ln>
            <a:noFill/>
          </a:ln>
        </p:spPr>
        <p:txBody>
          <a:bodyPr wrap="square" lIns="144000" tIns="72000" rIns="72000" bIns="72000" rtlCol="0" anchor="t">
            <a:noAutofit/>
          </a:bodyPr>
          <a:lstStyle>
            <a:defPPr>
              <a:defRPr lang="de-DE"/>
            </a:defPPr>
            <a:lvl1pPr algn="ctr">
              <a:spcBef>
                <a:spcPts val="0"/>
              </a:spcBef>
              <a:defRPr sz="1400" b="1">
                <a:solidFill>
                  <a:srgbClr val="000000"/>
                </a:solidFill>
                <a:latin typeface="Arial"/>
                <a:ea typeface="Arial Unicode MS" panose="020B0604020202020204" pitchFamily="34" charset="-128"/>
                <a:cs typeface="Arial Unicode MS" panose="020B0604020202020204" pitchFamily="34" charset="-128"/>
              </a:defRPr>
            </a:lvl1pPr>
          </a:lstStyle>
          <a:p>
            <a:pPr algn="l"/>
            <a:r>
              <a:rPr lang="en-US" sz="1200" b="0" dirty="0">
                <a:solidFill>
                  <a:schemeClr val="tx2"/>
                </a:solidFill>
                <a:latin typeface="+mn-lt"/>
              </a:rPr>
              <a:t>Donec sodales sagittis magna</a:t>
            </a:r>
          </a:p>
        </p:txBody>
      </p:sp>
      <p:sp>
        <p:nvSpPr>
          <p:cNvPr id="97" name="Textfeld 96">
            <a:extLst>
              <a:ext uri="{FF2B5EF4-FFF2-40B4-BE49-F238E27FC236}">
                <a16:creationId xmlns:a16="http://schemas.microsoft.com/office/drawing/2014/main" id="{FBEE66BE-EA88-1A45-98CC-0D58B7AB9BCF}"/>
              </a:ext>
            </a:extLst>
          </p:cNvPr>
          <p:cNvSpPr txBox="1">
            <a:spLocks/>
          </p:cNvSpPr>
          <p:nvPr/>
        </p:nvSpPr>
        <p:spPr bwMode="gray">
          <a:xfrm>
            <a:off x="10203187" y="2602800"/>
            <a:ext cx="1584000" cy="540000"/>
          </a:xfrm>
          <a:prstGeom prst="rect">
            <a:avLst/>
          </a:prstGeom>
          <a:solidFill>
            <a:srgbClr val="00FFB9"/>
          </a:solidFill>
          <a:ln>
            <a:noFill/>
          </a:ln>
        </p:spPr>
        <p:txBody>
          <a:bodyPr wrap="square" lIns="144000" tIns="72000" rIns="72000" bIns="72000" rtlCol="0" anchor="t">
            <a:noAutofit/>
          </a:bodyPr>
          <a:lstStyle>
            <a:defPPr>
              <a:defRPr lang="de-DE"/>
            </a:defPPr>
            <a:lvl1pPr algn="ctr">
              <a:spcBef>
                <a:spcPts val="0"/>
              </a:spcBef>
              <a:defRPr sz="1400" b="1">
                <a:solidFill>
                  <a:srgbClr val="000000"/>
                </a:solidFill>
                <a:latin typeface="Arial"/>
                <a:ea typeface="Arial Unicode MS" panose="020B0604020202020204" pitchFamily="34" charset="-128"/>
                <a:cs typeface="Arial Unicode MS" panose="020B0604020202020204" pitchFamily="34" charset="-128"/>
              </a:defRPr>
            </a:lvl1pPr>
          </a:lstStyle>
          <a:p>
            <a:pPr algn="l"/>
            <a:r>
              <a:rPr lang="en-US" sz="1200" b="0" dirty="0">
                <a:solidFill>
                  <a:schemeClr val="bg2"/>
                </a:solidFill>
                <a:latin typeface="+mn-lt"/>
              </a:rPr>
              <a:t>Duis arcu tortor, suscipit eget</a:t>
            </a:r>
          </a:p>
        </p:txBody>
      </p:sp>
      <p:sp>
        <p:nvSpPr>
          <p:cNvPr id="101" name="Textfeld 100">
            <a:extLst>
              <a:ext uri="{FF2B5EF4-FFF2-40B4-BE49-F238E27FC236}">
                <a16:creationId xmlns:a16="http://schemas.microsoft.com/office/drawing/2014/main" id="{1368B41C-DF4C-864D-9AFD-F79E61A05DFB}"/>
              </a:ext>
            </a:extLst>
          </p:cNvPr>
          <p:cNvSpPr txBox="1">
            <a:spLocks/>
          </p:cNvSpPr>
          <p:nvPr/>
        </p:nvSpPr>
        <p:spPr bwMode="gray">
          <a:xfrm>
            <a:off x="2484215" y="3322800"/>
            <a:ext cx="1584000" cy="540000"/>
          </a:xfrm>
          <a:prstGeom prst="rect">
            <a:avLst/>
          </a:prstGeom>
          <a:solidFill>
            <a:srgbClr val="333353"/>
          </a:solidFill>
          <a:ln>
            <a:noFill/>
          </a:ln>
        </p:spPr>
        <p:txBody>
          <a:bodyPr wrap="square" lIns="144000" tIns="72000" rIns="72000" bIns="72000" rtlCol="0" anchor="t">
            <a:noAutofit/>
          </a:bodyPr>
          <a:lstStyle>
            <a:defPPr>
              <a:defRPr lang="de-DE"/>
            </a:defPPr>
            <a:lvl1pPr algn="ctr">
              <a:spcBef>
                <a:spcPts val="0"/>
              </a:spcBef>
              <a:defRPr sz="1400" b="1">
                <a:solidFill>
                  <a:srgbClr val="000000"/>
                </a:solidFill>
                <a:latin typeface="Arial"/>
                <a:ea typeface="Arial Unicode MS" panose="020B0604020202020204" pitchFamily="34" charset="-128"/>
                <a:cs typeface="Arial Unicode MS" panose="020B0604020202020204" pitchFamily="34" charset="-128"/>
              </a:defRPr>
            </a:lvl1pPr>
          </a:lstStyle>
          <a:p>
            <a:pPr algn="l"/>
            <a:r>
              <a:rPr lang="en-US" sz="1200" b="0" dirty="0">
                <a:solidFill>
                  <a:schemeClr val="tx2"/>
                </a:solidFill>
                <a:latin typeface="+mn-lt"/>
              </a:rPr>
              <a:t>Phasellus nec sem</a:t>
            </a:r>
          </a:p>
        </p:txBody>
      </p:sp>
      <p:sp>
        <p:nvSpPr>
          <p:cNvPr id="102" name="Textfeld 101">
            <a:extLst>
              <a:ext uri="{FF2B5EF4-FFF2-40B4-BE49-F238E27FC236}">
                <a16:creationId xmlns:a16="http://schemas.microsoft.com/office/drawing/2014/main" id="{50D44B93-929C-9743-989D-51FDB3F83664}"/>
              </a:ext>
            </a:extLst>
          </p:cNvPr>
          <p:cNvSpPr txBox="1">
            <a:spLocks/>
          </p:cNvSpPr>
          <p:nvPr/>
        </p:nvSpPr>
        <p:spPr bwMode="gray">
          <a:xfrm>
            <a:off x="6343701" y="3322800"/>
            <a:ext cx="1584000" cy="540000"/>
          </a:xfrm>
          <a:prstGeom prst="rect">
            <a:avLst/>
          </a:prstGeom>
          <a:solidFill>
            <a:srgbClr val="333353"/>
          </a:solidFill>
          <a:ln>
            <a:noFill/>
          </a:ln>
        </p:spPr>
        <p:txBody>
          <a:bodyPr wrap="square" lIns="144000" tIns="72000" rIns="72000" bIns="72000" rtlCol="0" anchor="t">
            <a:noAutofit/>
          </a:bodyPr>
          <a:lstStyle>
            <a:defPPr>
              <a:defRPr lang="de-DE"/>
            </a:defPPr>
            <a:lvl1pPr algn="ctr">
              <a:spcBef>
                <a:spcPts val="0"/>
              </a:spcBef>
              <a:defRPr sz="1400" b="1">
                <a:solidFill>
                  <a:srgbClr val="000000"/>
                </a:solidFill>
                <a:latin typeface="Arial"/>
                <a:ea typeface="Arial Unicode MS" panose="020B0604020202020204" pitchFamily="34" charset="-128"/>
                <a:cs typeface="Arial Unicode MS" panose="020B0604020202020204" pitchFamily="34" charset="-128"/>
              </a:defRPr>
            </a:lvl1pPr>
          </a:lstStyle>
          <a:p>
            <a:pPr algn="l"/>
            <a:r>
              <a:rPr lang="en-US" sz="1200" b="0" dirty="0">
                <a:solidFill>
                  <a:schemeClr val="tx2"/>
                </a:solidFill>
                <a:latin typeface="+mn-lt"/>
              </a:rPr>
              <a:t>Duis arcu tortor, suscipit eget</a:t>
            </a:r>
          </a:p>
        </p:txBody>
      </p:sp>
      <p:sp>
        <p:nvSpPr>
          <p:cNvPr id="103" name="Textfeld 102">
            <a:extLst>
              <a:ext uri="{FF2B5EF4-FFF2-40B4-BE49-F238E27FC236}">
                <a16:creationId xmlns:a16="http://schemas.microsoft.com/office/drawing/2014/main" id="{214D9363-4D98-284B-B974-E3537F0948DD}"/>
              </a:ext>
            </a:extLst>
          </p:cNvPr>
          <p:cNvSpPr txBox="1">
            <a:spLocks/>
          </p:cNvSpPr>
          <p:nvPr/>
        </p:nvSpPr>
        <p:spPr bwMode="gray">
          <a:xfrm>
            <a:off x="4413958" y="3322800"/>
            <a:ext cx="1584000" cy="540000"/>
          </a:xfrm>
          <a:prstGeom prst="rect">
            <a:avLst/>
          </a:prstGeom>
          <a:solidFill>
            <a:srgbClr val="66667E"/>
          </a:solidFill>
          <a:ln>
            <a:noFill/>
          </a:ln>
        </p:spPr>
        <p:txBody>
          <a:bodyPr wrap="square" lIns="144000" tIns="72000" rIns="72000" bIns="72000" rtlCol="0" anchor="t">
            <a:noAutofit/>
          </a:bodyPr>
          <a:lstStyle>
            <a:defPPr>
              <a:defRPr lang="de-DE"/>
            </a:defPPr>
            <a:lvl1pPr algn="ctr">
              <a:spcBef>
                <a:spcPts val="0"/>
              </a:spcBef>
              <a:defRPr sz="1400" b="1">
                <a:solidFill>
                  <a:srgbClr val="000000"/>
                </a:solidFill>
                <a:latin typeface="Arial"/>
                <a:ea typeface="Arial Unicode MS" panose="020B0604020202020204" pitchFamily="34" charset="-128"/>
                <a:cs typeface="Arial Unicode MS" panose="020B0604020202020204" pitchFamily="34" charset="-128"/>
              </a:defRPr>
            </a:lvl1pPr>
          </a:lstStyle>
          <a:p>
            <a:pPr algn="l"/>
            <a:r>
              <a:rPr lang="en-US" sz="1200" b="0" dirty="0">
                <a:solidFill>
                  <a:schemeClr val="tx1"/>
                </a:solidFill>
                <a:latin typeface="+mn-lt"/>
              </a:rPr>
              <a:t>At vero eos et accusam</a:t>
            </a:r>
          </a:p>
        </p:txBody>
      </p:sp>
      <p:sp>
        <p:nvSpPr>
          <p:cNvPr id="104" name="Textfeld 103">
            <a:extLst>
              <a:ext uri="{FF2B5EF4-FFF2-40B4-BE49-F238E27FC236}">
                <a16:creationId xmlns:a16="http://schemas.microsoft.com/office/drawing/2014/main" id="{1ADABAF0-D782-D045-A866-FC7BC279725E}"/>
              </a:ext>
            </a:extLst>
          </p:cNvPr>
          <p:cNvSpPr txBox="1">
            <a:spLocks/>
          </p:cNvSpPr>
          <p:nvPr/>
        </p:nvSpPr>
        <p:spPr bwMode="gray">
          <a:xfrm>
            <a:off x="10203187" y="3322800"/>
            <a:ext cx="1584000" cy="540000"/>
          </a:xfrm>
          <a:prstGeom prst="rect">
            <a:avLst/>
          </a:prstGeom>
          <a:solidFill>
            <a:srgbClr val="00FFB9"/>
          </a:solidFill>
          <a:ln>
            <a:noFill/>
          </a:ln>
        </p:spPr>
        <p:txBody>
          <a:bodyPr wrap="square" lIns="144000" tIns="72000" rIns="72000" bIns="72000" rtlCol="0" anchor="t">
            <a:noAutofit/>
          </a:bodyPr>
          <a:lstStyle>
            <a:defPPr>
              <a:defRPr lang="de-DE"/>
            </a:defPPr>
            <a:lvl1pPr algn="ctr">
              <a:spcBef>
                <a:spcPts val="0"/>
              </a:spcBef>
              <a:defRPr sz="1400" b="1">
                <a:solidFill>
                  <a:srgbClr val="000000"/>
                </a:solidFill>
                <a:latin typeface="Arial"/>
                <a:ea typeface="Arial Unicode MS" panose="020B0604020202020204" pitchFamily="34" charset="-128"/>
                <a:cs typeface="Arial Unicode MS" panose="020B0604020202020204" pitchFamily="34" charset="-128"/>
              </a:defRPr>
            </a:lvl1pPr>
          </a:lstStyle>
          <a:p>
            <a:pPr algn="l"/>
            <a:r>
              <a:rPr lang="en-US" sz="1200" b="0" dirty="0">
                <a:solidFill>
                  <a:schemeClr val="bg2"/>
                </a:solidFill>
                <a:latin typeface="+mn-lt"/>
              </a:rPr>
              <a:t>Phasellus nec sem</a:t>
            </a:r>
          </a:p>
        </p:txBody>
      </p:sp>
      <p:sp>
        <p:nvSpPr>
          <p:cNvPr id="112" name="Textfeld 111">
            <a:extLst>
              <a:ext uri="{FF2B5EF4-FFF2-40B4-BE49-F238E27FC236}">
                <a16:creationId xmlns:a16="http://schemas.microsoft.com/office/drawing/2014/main" id="{E1F343D3-BA6B-8D45-81C2-5DC2CC02C770}"/>
              </a:ext>
            </a:extLst>
          </p:cNvPr>
          <p:cNvSpPr txBox="1">
            <a:spLocks/>
          </p:cNvSpPr>
          <p:nvPr/>
        </p:nvSpPr>
        <p:spPr bwMode="gray">
          <a:xfrm>
            <a:off x="2484215" y="4042800"/>
            <a:ext cx="1584000" cy="540000"/>
          </a:xfrm>
          <a:prstGeom prst="rect">
            <a:avLst/>
          </a:prstGeom>
          <a:solidFill>
            <a:srgbClr val="333353"/>
          </a:solidFill>
          <a:ln>
            <a:noFill/>
          </a:ln>
        </p:spPr>
        <p:txBody>
          <a:bodyPr wrap="square" lIns="144000" tIns="72000" rIns="72000" bIns="72000" rtlCol="0" anchor="t">
            <a:noAutofit/>
          </a:bodyPr>
          <a:lstStyle>
            <a:defPPr>
              <a:defRPr lang="de-DE"/>
            </a:defPPr>
            <a:lvl1pPr algn="ctr">
              <a:spcBef>
                <a:spcPts val="0"/>
              </a:spcBef>
              <a:defRPr sz="1400" b="1">
                <a:solidFill>
                  <a:srgbClr val="000000"/>
                </a:solidFill>
                <a:latin typeface="Arial"/>
                <a:ea typeface="Arial Unicode MS" panose="020B0604020202020204" pitchFamily="34" charset="-128"/>
                <a:cs typeface="Arial Unicode MS" panose="020B0604020202020204" pitchFamily="34" charset="-128"/>
              </a:defRPr>
            </a:lvl1pPr>
          </a:lstStyle>
          <a:p>
            <a:pPr algn="l"/>
            <a:r>
              <a:rPr lang="en-US" sz="1200" b="0" dirty="0">
                <a:solidFill>
                  <a:schemeClr val="tx2"/>
                </a:solidFill>
                <a:latin typeface="+mn-lt"/>
              </a:rPr>
              <a:t>Donec sodales sagittis magna</a:t>
            </a:r>
          </a:p>
        </p:txBody>
      </p:sp>
      <p:sp>
        <p:nvSpPr>
          <p:cNvPr id="114" name="Textfeld 113">
            <a:extLst>
              <a:ext uri="{FF2B5EF4-FFF2-40B4-BE49-F238E27FC236}">
                <a16:creationId xmlns:a16="http://schemas.microsoft.com/office/drawing/2014/main" id="{B4717C9E-75AE-E64A-9C11-E9055A1115F2}"/>
              </a:ext>
            </a:extLst>
          </p:cNvPr>
          <p:cNvSpPr txBox="1">
            <a:spLocks/>
          </p:cNvSpPr>
          <p:nvPr/>
        </p:nvSpPr>
        <p:spPr bwMode="gray">
          <a:xfrm>
            <a:off x="6343701" y="4042800"/>
            <a:ext cx="1584000" cy="540000"/>
          </a:xfrm>
          <a:prstGeom prst="rect">
            <a:avLst/>
          </a:prstGeom>
          <a:solidFill>
            <a:srgbClr val="333353"/>
          </a:solidFill>
          <a:ln>
            <a:noFill/>
          </a:ln>
        </p:spPr>
        <p:txBody>
          <a:bodyPr wrap="square" lIns="144000" tIns="72000" rIns="72000" bIns="72000" rtlCol="0" anchor="t">
            <a:noAutofit/>
          </a:bodyPr>
          <a:lstStyle>
            <a:defPPr>
              <a:defRPr lang="de-DE"/>
            </a:defPPr>
            <a:lvl1pPr algn="ctr">
              <a:spcBef>
                <a:spcPts val="0"/>
              </a:spcBef>
              <a:defRPr sz="1400" b="1">
                <a:solidFill>
                  <a:srgbClr val="000000"/>
                </a:solidFill>
                <a:latin typeface="Arial"/>
                <a:ea typeface="Arial Unicode MS" panose="020B0604020202020204" pitchFamily="34" charset="-128"/>
                <a:cs typeface="Arial Unicode MS" panose="020B0604020202020204" pitchFamily="34" charset="-128"/>
              </a:defRPr>
            </a:lvl1pPr>
          </a:lstStyle>
          <a:p>
            <a:pPr algn="l"/>
            <a:r>
              <a:rPr lang="en-US" sz="1200" b="0" dirty="0">
                <a:solidFill>
                  <a:schemeClr val="tx2"/>
                </a:solidFill>
                <a:latin typeface="+mn-lt"/>
              </a:rPr>
              <a:t>Lorem ipsum</a:t>
            </a:r>
            <a:br>
              <a:rPr lang="en-US" sz="1200" b="0" dirty="0">
                <a:solidFill>
                  <a:schemeClr val="tx2"/>
                </a:solidFill>
                <a:latin typeface="+mn-lt"/>
              </a:rPr>
            </a:br>
            <a:r>
              <a:rPr lang="en-US" sz="1200" b="0" dirty="0">
                <a:solidFill>
                  <a:schemeClr val="tx2"/>
                </a:solidFill>
                <a:latin typeface="+mn-lt"/>
              </a:rPr>
              <a:t>Maecenas nec odio</a:t>
            </a:r>
          </a:p>
        </p:txBody>
      </p:sp>
      <p:sp>
        <p:nvSpPr>
          <p:cNvPr id="115" name="Textfeld 114">
            <a:extLst>
              <a:ext uri="{FF2B5EF4-FFF2-40B4-BE49-F238E27FC236}">
                <a16:creationId xmlns:a16="http://schemas.microsoft.com/office/drawing/2014/main" id="{22C31370-9E44-A34C-9FEA-4DB7CC501171}"/>
              </a:ext>
            </a:extLst>
          </p:cNvPr>
          <p:cNvSpPr txBox="1">
            <a:spLocks/>
          </p:cNvSpPr>
          <p:nvPr/>
        </p:nvSpPr>
        <p:spPr bwMode="gray">
          <a:xfrm>
            <a:off x="4413958" y="4042800"/>
            <a:ext cx="1584000" cy="540000"/>
          </a:xfrm>
          <a:prstGeom prst="rect">
            <a:avLst/>
          </a:prstGeom>
          <a:solidFill>
            <a:srgbClr val="66667E"/>
          </a:solidFill>
          <a:ln>
            <a:noFill/>
          </a:ln>
        </p:spPr>
        <p:txBody>
          <a:bodyPr wrap="square" lIns="144000" tIns="72000" rIns="72000" bIns="72000" rtlCol="0" anchor="t">
            <a:noAutofit/>
          </a:bodyPr>
          <a:lstStyle>
            <a:defPPr>
              <a:defRPr lang="de-DE"/>
            </a:defPPr>
            <a:lvl1pPr algn="ctr">
              <a:spcBef>
                <a:spcPts val="0"/>
              </a:spcBef>
              <a:defRPr sz="1400" b="1">
                <a:solidFill>
                  <a:srgbClr val="000000"/>
                </a:solidFill>
                <a:latin typeface="Arial"/>
                <a:ea typeface="Arial Unicode MS" panose="020B0604020202020204" pitchFamily="34" charset="-128"/>
                <a:cs typeface="Arial Unicode MS" panose="020B0604020202020204" pitchFamily="34" charset="-128"/>
              </a:defRPr>
            </a:lvl1pPr>
          </a:lstStyle>
          <a:p>
            <a:pPr algn="l"/>
            <a:r>
              <a:rPr lang="en-US" sz="1200" b="0" dirty="0">
                <a:solidFill>
                  <a:schemeClr val="tx1"/>
                </a:solidFill>
                <a:latin typeface="+mn-lt"/>
              </a:rPr>
              <a:t>Duis arcu tortor, suscipit eget</a:t>
            </a:r>
          </a:p>
        </p:txBody>
      </p:sp>
      <p:sp>
        <p:nvSpPr>
          <p:cNvPr id="116" name="Textfeld 115">
            <a:extLst>
              <a:ext uri="{FF2B5EF4-FFF2-40B4-BE49-F238E27FC236}">
                <a16:creationId xmlns:a16="http://schemas.microsoft.com/office/drawing/2014/main" id="{9EDC3B86-58C6-CC43-9413-4BFBD84C354F}"/>
              </a:ext>
            </a:extLst>
          </p:cNvPr>
          <p:cNvSpPr txBox="1">
            <a:spLocks/>
          </p:cNvSpPr>
          <p:nvPr/>
        </p:nvSpPr>
        <p:spPr bwMode="gray">
          <a:xfrm>
            <a:off x="10203187" y="4042800"/>
            <a:ext cx="1584000" cy="540000"/>
          </a:xfrm>
          <a:prstGeom prst="rect">
            <a:avLst/>
          </a:prstGeom>
          <a:solidFill>
            <a:srgbClr val="333353"/>
          </a:solidFill>
          <a:ln>
            <a:noFill/>
          </a:ln>
        </p:spPr>
        <p:txBody>
          <a:bodyPr wrap="square" lIns="144000" tIns="72000" rIns="72000" bIns="72000" rtlCol="0" anchor="t">
            <a:noAutofit/>
          </a:bodyPr>
          <a:lstStyle>
            <a:defPPr>
              <a:defRPr lang="de-DE"/>
            </a:defPPr>
            <a:lvl1pPr algn="ctr">
              <a:spcBef>
                <a:spcPts val="0"/>
              </a:spcBef>
              <a:defRPr sz="1400" b="1">
                <a:solidFill>
                  <a:srgbClr val="000000"/>
                </a:solidFill>
                <a:latin typeface="Arial"/>
                <a:ea typeface="Arial Unicode MS" panose="020B0604020202020204" pitchFamily="34" charset="-128"/>
                <a:cs typeface="Arial Unicode MS" panose="020B0604020202020204" pitchFamily="34" charset="-128"/>
              </a:defRPr>
            </a:lvl1pPr>
          </a:lstStyle>
          <a:p>
            <a:pPr algn="l"/>
            <a:r>
              <a:rPr lang="en-US" sz="1200" b="0" dirty="0">
                <a:solidFill>
                  <a:schemeClr val="tx2"/>
                </a:solidFill>
                <a:latin typeface="+mn-lt"/>
              </a:rPr>
              <a:t>At vero eos et accusam</a:t>
            </a:r>
          </a:p>
        </p:txBody>
      </p:sp>
      <p:sp>
        <p:nvSpPr>
          <p:cNvPr id="124" name="Textfeld 123">
            <a:extLst>
              <a:ext uri="{FF2B5EF4-FFF2-40B4-BE49-F238E27FC236}">
                <a16:creationId xmlns:a16="http://schemas.microsoft.com/office/drawing/2014/main" id="{1D3A44DA-C446-B142-B1E0-A1ADC59A7F1B}"/>
              </a:ext>
            </a:extLst>
          </p:cNvPr>
          <p:cNvSpPr txBox="1">
            <a:spLocks/>
          </p:cNvSpPr>
          <p:nvPr/>
        </p:nvSpPr>
        <p:spPr bwMode="gray">
          <a:xfrm>
            <a:off x="2484215" y="5482800"/>
            <a:ext cx="1584000" cy="540000"/>
          </a:xfrm>
          <a:prstGeom prst="rect">
            <a:avLst/>
          </a:prstGeom>
          <a:solidFill>
            <a:srgbClr val="333353"/>
          </a:solidFill>
          <a:ln>
            <a:noFill/>
          </a:ln>
        </p:spPr>
        <p:txBody>
          <a:bodyPr wrap="square" lIns="144000" tIns="72000" rIns="72000" bIns="72000" rtlCol="0" anchor="t">
            <a:noAutofit/>
          </a:bodyPr>
          <a:lstStyle/>
          <a:p>
            <a:pPr>
              <a:spcBef>
                <a:spcPts val="0"/>
              </a:spcBef>
            </a:pPr>
            <a:r>
              <a:rPr lang="en-US" sz="1200" dirty="0">
                <a:solidFill>
                  <a:schemeClr val="tx2"/>
                </a:solidFill>
                <a:ea typeface="Arial Unicode MS" panose="020B0604020202020204" pitchFamily="34" charset="-128"/>
                <a:cs typeface="Arial Unicode MS" panose="020B0604020202020204" pitchFamily="34" charset="-128"/>
              </a:rPr>
              <a:t>Duis arcu tortor, suscipit eget</a:t>
            </a:r>
          </a:p>
        </p:txBody>
      </p:sp>
      <p:sp>
        <p:nvSpPr>
          <p:cNvPr id="125" name="Textfeld 124">
            <a:extLst>
              <a:ext uri="{FF2B5EF4-FFF2-40B4-BE49-F238E27FC236}">
                <a16:creationId xmlns:a16="http://schemas.microsoft.com/office/drawing/2014/main" id="{F8F4A5C4-48C8-7B4C-9A26-9DAC86B12D91}"/>
              </a:ext>
            </a:extLst>
          </p:cNvPr>
          <p:cNvSpPr txBox="1">
            <a:spLocks/>
          </p:cNvSpPr>
          <p:nvPr/>
        </p:nvSpPr>
        <p:spPr bwMode="gray">
          <a:xfrm>
            <a:off x="554470" y="5482800"/>
            <a:ext cx="1584000" cy="540000"/>
          </a:xfrm>
          <a:prstGeom prst="rect">
            <a:avLst/>
          </a:prstGeom>
          <a:solidFill>
            <a:srgbClr val="00FFB9"/>
          </a:solidFill>
          <a:ln>
            <a:noFill/>
          </a:ln>
        </p:spPr>
        <p:txBody>
          <a:bodyPr wrap="square" lIns="144000" tIns="72000" rIns="72000" bIns="72000" rtlCol="0" anchor="t">
            <a:noAutofit/>
          </a:bodyPr>
          <a:lstStyle>
            <a:defPPr>
              <a:defRPr lang="de-DE"/>
            </a:defPPr>
            <a:lvl1pPr algn="ctr">
              <a:spcBef>
                <a:spcPts val="0"/>
              </a:spcBef>
              <a:defRPr sz="1400" b="1">
                <a:solidFill>
                  <a:srgbClr val="000000"/>
                </a:solidFill>
                <a:latin typeface="Arial"/>
                <a:ea typeface="Arial Unicode MS" panose="020B0604020202020204" pitchFamily="34" charset="-128"/>
                <a:cs typeface="Arial Unicode MS" panose="020B0604020202020204" pitchFamily="34" charset="-128"/>
              </a:defRPr>
            </a:lvl1pPr>
          </a:lstStyle>
          <a:p>
            <a:pPr algn="l"/>
            <a:r>
              <a:rPr lang="en-US" sz="1200" b="0" dirty="0">
                <a:solidFill>
                  <a:schemeClr val="bg2"/>
                </a:solidFill>
                <a:latin typeface="+mn-lt"/>
              </a:rPr>
              <a:t>At vero eos et accusam</a:t>
            </a:r>
          </a:p>
        </p:txBody>
      </p:sp>
      <p:grpSp>
        <p:nvGrpSpPr>
          <p:cNvPr id="56" name="Group 55">
            <a:extLst>
              <a:ext uri="{FF2B5EF4-FFF2-40B4-BE49-F238E27FC236}">
                <a16:creationId xmlns:a16="http://schemas.microsoft.com/office/drawing/2014/main" id="{866C9109-9BB7-4C7B-BC02-7D0E116363BB}"/>
              </a:ext>
            </a:extLst>
          </p:cNvPr>
          <p:cNvGrpSpPr/>
          <p:nvPr/>
        </p:nvGrpSpPr>
        <p:grpSpPr>
          <a:xfrm>
            <a:off x="411164" y="2279956"/>
            <a:ext cx="9790544" cy="3472944"/>
            <a:chOff x="411164" y="2279956"/>
            <a:chExt cx="9790544" cy="3472944"/>
          </a:xfrm>
        </p:grpSpPr>
        <p:grpSp>
          <p:nvGrpSpPr>
            <p:cNvPr id="57" name="Group 56">
              <a:extLst>
                <a:ext uri="{FF2B5EF4-FFF2-40B4-BE49-F238E27FC236}">
                  <a16:creationId xmlns:a16="http://schemas.microsoft.com/office/drawing/2014/main" id="{B0D27B4F-2C92-4C5C-AB13-338961D13E19}"/>
                </a:ext>
              </a:extLst>
            </p:cNvPr>
            <p:cNvGrpSpPr/>
            <p:nvPr/>
          </p:nvGrpSpPr>
          <p:grpSpPr>
            <a:xfrm>
              <a:off x="411164" y="2279956"/>
              <a:ext cx="143308" cy="3472944"/>
              <a:chOff x="411164" y="2279956"/>
              <a:chExt cx="143308" cy="3472944"/>
            </a:xfrm>
          </p:grpSpPr>
          <p:sp>
            <p:nvSpPr>
              <p:cNvPr id="122" name="Rechteck 4">
                <a:extLst>
                  <a:ext uri="{FF2B5EF4-FFF2-40B4-BE49-F238E27FC236}">
                    <a16:creationId xmlns:a16="http://schemas.microsoft.com/office/drawing/2014/main" id="{097C2639-1FCD-4B73-AE4A-64043FB6A28D}"/>
                  </a:ext>
                </a:extLst>
              </p:cNvPr>
              <p:cNvSpPr/>
              <p:nvPr/>
            </p:nvSpPr>
            <p:spPr bwMode="gray">
              <a:xfrm>
                <a:off x="411164" y="4312800"/>
                <a:ext cx="143308" cy="720000"/>
              </a:xfrm>
              <a:custGeom>
                <a:avLst/>
                <a:gdLst>
                  <a:gd name="connsiteX0" fmla="*/ 0 w 211134"/>
                  <a:gd name="connsiteY0" fmla="*/ 0 h 628189"/>
                  <a:gd name="connsiteX1" fmla="*/ 211134 w 211134"/>
                  <a:gd name="connsiteY1" fmla="*/ 0 h 628189"/>
                  <a:gd name="connsiteX2" fmla="*/ 211134 w 211134"/>
                  <a:gd name="connsiteY2" fmla="*/ 628189 h 628189"/>
                  <a:gd name="connsiteX3" fmla="*/ 0 w 211134"/>
                  <a:gd name="connsiteY3" fmla="*/ 628189 h 628189"/>
                  <a:gd name="connsiteX4" fmla="*/ 0 w 211134"/>
                  <a:gd name="connsiteY4" fmla="*/ 0 h 628189"/>
                  <a:gd name="connsiteX0" fmla="*/ 211134 w 302574"/>
                  <a:gd name="connsiteY0" fmla="*/ 628189 h 719629"/>
                  <a:gd name="connsiteX1" fmla="*/ 0 w 302574"/>
                  <a:gd name="connsiteY1" fmla="*/ 628189 h 719629"/>
                  <a:gd name="connsiteX2" fmla="*/ 0 w 302574"/>
                  <a:gd name="connsiteY2" fmla="*/ 0 h 719629"/>
                  <a:gd name="connsiteX3" fmla="*/ 211134 w 302574"/>
                  <a:gd name="connsiteY3" fmla="*/ 0 h 719629"/>
                  <a:gd name="connsiteX4" fmla="*/ 302574 w 302574"/>
                  <a:gd name="connsiteY4" fmla="*/ 719629 h 719629"/>
                  <a:gd name="connsiteX0" fmla="*/ 211134 w 211134"/>
                  <a:gd name="connsiteY0" fmla="*/ 628189 h 628189"/>
                  <a:gd name="connsiteX1" fmla="*/ 0 w 211134"/>
                  <a:gd name="connsiteY1" fmla="*/ 628189 h 628189"/>
                  <a:gd name="connsiteX2" fmla="*/ 0 w 211134"/>
                  <a:gd name="connsiteY2" fmla="*/ 0 h 628189"/>
                  <a:gd name="connsiteX3" fmla="*/ 211134 w 211134"/>
                  <a:gd name="connsiteY3" fmla="*/ 0 h 628189"/>
                  <a:gd name="connsiteX0" fmla="*/ 211134 w 211134"/>
                  <a:gd name="connsiteY0" fmla="*/ 628189 h 628189"/>
                  <a:gd name="connsiteX1" fmla="*/ 0 w 211134"/>
                  <a:gd name="connsiteY1" fmla="*/ 628189 h 628189"/>
                  <a:gd name="connsiteX2" fmla="*/ 0 w 211134"/>
                  <a:gd name="connsiteY2" fmla="*/ 0 h 628189"/>
                </a:gdLst>
                <a:ahLst/>
                <a:cxnLst>
                  <a:cxn ang="0">
                    <a:pos x="connsiteX0" y="connsiteY0"/>
                  </a:cxn>
                  <a:cxn ang="0">
                    <a:pos x="connsiteX1" y="connsiteY1"/>
                  </a:cxn>
                  <a:cxn ang="0">
                    <a:pos x="connsiteX2" y="connsiteY2"/>
                  </a:cxn>
                </a:cxnLst>
                <a:rect l="l" t="t" r="r" b="b"/>
                <a:pathLst>
                  <a:path w="211134" h="628189">
                    <a:moveTo>
                      <a:pt x="211134" y="628189"/>
                    </a:moveTo>
                    <a:lnTo>
                      <a:pt x="0" y="628189"/>
                    </a:lnTo>
                    <a:lnTo>
                      <a:pt x="0" y="0"/>
                    </a:lnTo>
                  </a:path>
                </a:pathLst>
              </a:custGeom>
              <a:noFill/>
              <a:ln w="12700">
                <a:solidFill>
                  <a:srgbClr val="9999A9"/>
                </a:solidFill>
                <a:miter lim="800000"/>
                <a:headEnd/>
                <a:tailEnd/>
              </a:ln>
              <a:effectLst/>
            </p:spPr>
            <p:txBody>
              <a:bodyPr wrap="square" lIns="108000" tIns="54000" rIns="108000" bIns="54000" numCol="1" spcCol="72000" rtlCol="0" anchor="ctr">
                <a:noAutofit/>
              </a:bodyPr>
              <a:lstStyle/>
              <a:p>
                <a:pPr algn="ctr">
                  <a:lnSpc>
                    <a:spcPct val="110000"/>
                  </a:lnSpc>
                  <a:spcBef>
                    <a:spcPts val="0"/>
                  </a:spcBef>
                  <a:buFont typeface="Wingdings" charset="0"/>
                  <a:buNone/>
                </a:pPr>
                <a:endParaRPr lang="en-US" sz="2000" dirty="0">
                  <a:ea typeface="Arial Unicode MS" panose="020B0604020202020204" pitchFamily="34" charset="-128"/>
                  <a:cs typeface="Arial Unicode MS" panose="020B0604020202020204" pitchFamily="34" charset="-128"/>
                </a:endParaRPr>
              </a:p>
            </p:txBody>
          </p:sp>
          <p:sp>
            <p:nvSpPr>
              <p:cNvPr id="123" name="Rechteck 4">
                <a:extLst>
                  <a:ext uri="{FF2B5EF4-FFF2-40B4-BE49-F238E27FC236}">
                    <a16:creationId xmlns:a16="http://schemas.microsoft.com/office/drawing/2014/main" id="{F87348F2-F0CF-4E4B-A864-559D2EC79A9D}"/>
                  </a:ext>
                </a:extLst>
              </p:cNvPr>
              <p:cNvSpPr/>
              <p:nvPr/>
            </p:nvSpPr>
            <p:spPr bwMode="gray">
              <a:xfrm>
                <a:off x="411164" y="2279956"/>
                <a:ext cx="143308" cy="594000"/>
              </a:xfrm>
              <a:custGeom>
                <a:avLst/>
                <a:gdLst>
                  <a:gd name="connsiteX0" fmla="*/ 0 w 211134"/>
                  <a:gd name="connsiteY0" fmla="*/ 0 h 628189"/>
                  <a:gd name="connsiteX1" fmla="*/ 211134 w 211134"/>
                  <a:gd name="connsiteY1" fmla="*/ 0 h 628189"/>
                  <a:gd name="connsiteX2" fmla="*/ 211134 w 211134"/>
                  <a:gd name="connsiteY2" fmla="*/ 628189 h 628189"/>
                  <a:gd name="connsiteX3" fmla="*/ 0 w 211134"/>
                  <a:gd name="connsiteY3" fmla="*/ 628189 h 628189"/>
                  <a:gd name="connsiteX4" fmla="*/ 0 w 211134"/>
                  <a:gd name="connsiteY4" fmla="*/ 0 h 628189"/>
                  <a:gd name="connsiteX0" fmla="*/ 211134 w 302574"/>
                  <a:gd name="connsiteY0" fmla="*/ 628189 h 719629"/>
                  <a:gd name="connsiteX1" fmla="*/ 0 w 302574"/>
                  <a:gd name="connsiteY1" fmla="*/ 628189 h 719629"/>
                  <a:gd name="connsiteX2" fmla="*/ 0 w 302574"/>
                  <a:gd name="connsiteY2" fmla="*/ 0 h 719629"/>
                  <a:gd name="connsiteX3" fmla="*/ 211134 w 302574"/>
                  <a:gd name="connsiteY3" fmla="*/ 0 h 719629"/>
                  <a:gd name="connsiteX4" fmla="*/ 302574 w 302574"/>
                  <a:gd name="connsiteY4" fmla="*/ 719629 h 719629"/>
                  <a:gd name="connsiteX0" fmla="*/ 211134 w 211134"/>
                  <a:gd name="connsiteY0" fmla="*/ 628189 h 628189"/>
                  <a:gd name="connsiteX1" fmla="*/ 0 w 211134"/>
                  <a:gd name="connsiteY1" fmla="*/ 628189 h 628189"/>
                  <a:gd name="connsiteX2" fmla="*/ 0 w 211134"/>
                  <a:gd name="connsiteY2" fmla="*/ 0 h 628189"/>
                  <a:gd name="connsiteX3" fmla="*/ 211134 w 211134"/>
                  <a:gd name="connsiteY3" fmla="*/ 0 h 628189"/>
                  <a:gd name="connsiteX0" fmla="*/ 211134 w 211134"/>
                  <a:gd name="connsiteY0" fmla="*/ 628189 h 628189"/>
                  <a:gd name="connsiteX1" fmla="*/ 0 w 211134"/>
                  <a:gd name="connsiteY1" fmla="*/ 628189 h 628189"/>
                  <a:gd name="connsiteX2" fmla="*/ 0 w 211134"/>
                  <a:gd name="connsiteY2" fmla="*/ 0 h 628189"/>
                </a:gdLst>
                <a:ahLst/>
                <a:cxnLst>
                  <a:cxn ang="0">
                    <a:pos x="connsiteX0" y="connsiteY0"/>
                  </a:cxn>
                  <a:cxn ang="0">
                    <a:pos x="connsiteX1" y="connsiteY1"/>
                  </a:cxn>
                  <a:cxn ang="0">
                    <a:pos x="connsiteX2" y="connsiteY2"/>
                  </a:cxn>
                </a:cxnLst>
                <a:rect l="l" t="t" r="r" b="b"/>
                <a:pathLst>
                  <a:path w="211134" h="628189">
                    <a:moveTo>
                      <a:pt x="211134" y="628189"/>
                    </a:moveTo>
                    <a:lnTo>
                      <a:pt x="0" y="628189"/>
                    </a:lnTo>
                    <a:lnTo>
                      <a:pt x="0" y="0"/>
                    </a:lnTo>
                  </a:path>
                </a:pathLst>
              </a:custGeom>
              <a:noFill/>
              <a:ln w="12700">
                <a:solidFill>
                  <a:srgbClr val="9999A9"/>
                </a:solidFill>
                <a:miter lim="800000"/>
                <a:headEnd/>
                <a:tailEnd/>
              </a:ln>
              <a:effectLst/>
            </p:spPr>
            <p:txBody>
              <a:bodyPr wrap="square" lIns="108000" tIns="54000" rIns="108000" bIns="54000" numCol="1" spcCol="72000" rtlCol="0" anchor="ctr">
                <a:noAutofit/>
              </a:bodyPr>
              <a:lstStyle/>
              <a:p>
                <a:pPr algn="ctr">
                  <a:lnSpc>
                    <a:spcPct val="110000"/>
                  </a:lnSpc>
                  <a:spcBef>
                    <a:spcPts val="0"/>
                  </a:spcBef>
                  <a:buFont typeface="Wingdings" charset="0"/>
                  <a:buNone/>
                </a:pPr>
                <a:endParaRPr lang="en-US" sz="2000" dirty="0">
                  <a:solidFill>
                    <a:schemeClr val="tx1"/>
                  </a:solidFill>
                  <a:ea typeface="Arial Unicode MS" panose="020B0604020202020204" pitchFamily="34" charset="-128"/>
                  <a:cs typeface="Arial Unicode MS" panose="020B0604020202020204" pitchFamily="34" charset="-128"/>
                </a:endParaRPr>
              </a:p>
            </p:txBody>
          </p:sp>
          <p:sp>
            <p:nvSpPr>
              <p:cNvPr id="126" name="Rechteck 4">
                <a:extLst>
                  <a:ext uri="{FF2B5EF4-FFF2-40B4-BE49-F238E27FC236}">
                    <a16:creationId xmlns:a16="http://schemas.microsoft.com/office/drawing/2014/main" id="{723AAB52-8B7A-48A4-B8A3-25F5D68CF1BB}"/>
                  </a:ext>
                </a:extLst>
              </p:cNvPr>
              <p:cNvSpPr/>
              <p:nvPr/>
            </p:nvSpPr>
            <p:spPr bwMode="gray">
              <a:xfrm>
                <a:off x="411164" y="2872800"/>
                <a:ext cx="143308" cy="720000"/>
              </a:xfrm>
              <a:custGeom>
                <a:avLst/>
                <a:gdLst>
                  <a:gd name="connsiteX0" fmla="*/ 0 w 211134"/>
                  <a:gd name="connsiteY0" fmla="*/ 0 h 628189"/>
                  <a:gd name="connsiteX1" fmla="*/ 211134 w 211134"/>
                  <a:gd name="connsiteY1" fmla="*/ 0 h 628189"/>
                  <a:gd name="connsiteX2" fmla="*/ 211134 w 211134"/>
                  <a:gd name="connsiteY2" fmla="*/ 628189 h 628189"/>
                  <a:gd name="connsiteX3" fmla="*/ 0 w 211134"/>
                  <a:gd name="connsiteY3" fmla="*/ 628189 h 628189"/>
                  <a:gd name="connsiteX4" fmla="*/ 0 w 211134"/>
                  <a:gd name="connsiteY4" fmla="*/ 0 h 628189"/>
                  <a:gd name="connsiteX0" fmla="*/ 211134 w 302574"/>
                  <a:gd name="connsiteY0" fmla="*/ 628189 h 719629"/>
                  <a:gd name="connsiteX1" fmla="*/ 0 w 302574"/>
                  <a:gd name="connsiteY1" fmla="*/ 628189 h 719629"/>
                  <a:gd name="connsiteX2" fmla="*/ 0 w 302574"/>
                  <a:gd name="connsiteY2" fmla="*/ 0 h 719629"/>
                  <a:gd name="connsiteX3" fmla="*/ 211134 w 302574"/>
                  <a:gd name="connsiteY3" fmla="*/ 0 h 719629"/>
                  <a:gd name="connsiteX4" fmla="*/ 302574 w 302574"/>
                  <a:gd name="connsiteY4" fmla="*/ 719629 h 719629"/>
                  <a:gd name="connsiteX0" fmla="*/ 211134 w 211134"/>
                  <a:gd name="connsiteY0" fmla="*/ 628189 h 628189"/>
                  <a:gd name="connsiteX1" fmla="*/ 0 w 211134"/>
                  <a:gd name="connsiteY1" fmla="*/ 628189 h 628189"/>
                  <a:gd name="connsiteX2" fmla="*/ 0 w 211134"/>
                  <a:gd name="connsiteY2" fmla="*/ 0 h 628189"/>
                  <a:gd name="connsiteX3" fmla="*/ 211134 w 211134"/>
                  <a:gd name="connsiteY3" fmla="*/ 0 h 628189"/>
                  <a:gd name="connsiteX0" fmla="*/ 211134 w 211134"/>
                  <a:gd name="connsiteY0" fmla="*/ 628189 h 628189"/>
                  <a:gd name="connsiteX1" fmla="*/ 0 w 211134"/>
                  <a:gd name="connsiteY1" fmla="*/ 628189 h 628189"/>
                  <a:gd name="connsiteX2" fmla="*/ 0 w 211134"/>
                  <a:gd name="connsiteY2" fmla="*/ 0 h 628189"/>
                </a:gdLst>
                <a:ahLst/>
                <a:cxnLst>
                  <a:cxn ang="0">
                    <a:pos x="connsiteX0" y="connsiteY0"/>
                  </a:cxn>
                  <a:cxn ang="0">
                    <a:pos x="connsiteX1" y="connsiteY1"/>
                  </a:cxn>
                  <a:cxn ang="0">
                    <a:pos x="connsiteX2" y="connsiteY2"/>
                  </a:cxn>
                </a:cxnLst>
                <a:rect l="l" t="t" r="r" b="b"/>
                <a:pathLst>
                  <a:path w="211134" h="628189">
                    <a:moveTo>
                      <a:pt x="211134" y="628189"/>
                    </a:moveTo>
                    <a:lnTo>
                      <a:pt x="0" y="628189"/>
                    </a:lnTo>
                    <a:lnTo>
                      <a:pt x="0" y="0"/>
                    </a:lnTo>
                  </a:path>
                </a:pathLst>
              </a:custGeom>
              <a:noFill/>
              <a:ln w="12700">
                <a:solidFill>
                  <a:srgbClr val="9999A9"/>
                </a:solidFill>
                <a:miter lim="800000"/>
                <a:headEnd/>
                <a:tailEnd/>
              </a:ln>
              <a:effectLst/>
            </p:spPr>
            <p:txBody>
              <a:bodyPr wrap="square" lIns="108000" tIns="54000" rIns="108000" bIns="54000" numCol="1" spcCol="72000" rtlCol="0" anchor="ctr">
                <a:noAutofit/>
              </a:bodyPr>
              <a:lstStyle/>
              <a:p>
                <a:pPr algn="ctr">
                  <a:lnSpc>
                    <a:spcPct val="110000"/>
                  </a:lnSpc>
                  <a:spcBef>
                    <a:spcPts val="0"/>
                  </a:spcBef>
                  <a:buFont typeface="Wingdings" charset="0"/>
                  <a:buNone/>
                </a:pPr>
                <a:endParaRPr lang="en-US" sz="2000" dirty="0">
                  <a:ea typeface="Arial Unicode MS" panose="020B0604020202020204" pitchFamily="34" charset="-128"/>
                  <a:cs typeface="Arial Unicode MS" panose="020B0604020202020204" pitchFamily="34" charset="-128"/>
                </a:endParaRPr>
              </a:p>
            </p:txBody>
          </p:sp>
          <p:sp>
            <p:nvSpPr>
              <p:cNvPr id="127" name="Rechteck 4">
                <a:extLst>
                  <a:ext uri="{FF2B5EF4-FFF2-40B4-BE49-F238E27FC236}">
                    <a16:creationId xmlns:a16="http://schemas.microsoft.com/office/drawing/2014/main" id="{C7F2C5D1-FEFD-4A70-A525-F81AF642B4C4}"/>
                  </a:ext>
                </a:extLst>
              </p:cNvPr>
              <p:cNvSpPr/>
              <p:nvPr/>
            </p:nvSpPr>
            <p:spPr bwMode="gray">
              <a:xfrm>
                <a:off x="411164" y="3592800"/>
                <a:ext cx="143308" cy="720000"/>
              </a:xfrm>
              <a:custGeom>
                <a:avLst/>
                <a:gdLst>
                  <a:gd name="connsiteX0" fmla="*/ 0 w 211134"/>
                  <a:gd name="connsiteY0" fmla="*/ 0 h 628189"/>
                  <a:gd name="connsiteX1" fmla="*/ 211134 w 211134"/>
                  <a:gd name="connsiteY1" fmla="*/ 0 h 628189"/>
                  <a:gd name="connsiteX2" fmla="*/ 211134 w 211134"/>
                  <a:gd name="connsiteY2" fmla="*/ 628189 h 628189"/>
                  <a:gd name="connsiteX3" fmla="*/ 0 w 211134"/>
                  <a:gd name="connsiteY3" fmla="*/ 628189 h 628189"/>
                  <a:gd name="connsiteX4" fmla="*/ 0 w 211134"/>
                  <a:gd name="connsiteY4" fmla="*/ 0 h 628189"/>
                  <a:gd name="connsiteX0" fmla="*/ 211134 w 302574"/>
                  <a:gd name="connsiteY0" fmla="*/ 628189 h 719629"/>
                  <a:gd name="connsiteX1" fmla="*/ 0 w 302574"/>
                  <a:gd name="connsiteY1" fmla="*/ 628189 h 719629"/>
                  <a:gd name="connsiteX2" fmla="*/ 0 w 302574"/>
                  <a:gd name="connsiteY2" fmla="*/ 0 h 719629"/>
                  <a:gd name="connsiteX3" fmla="*/ 211134 w 302574"/>
                  <a:gd name="connsiteY3" fmla="*/ 0 h 719629"/>
                  <a:gd name="connsiteX4" fmla="*/ 302574 w 302574"/>
                  <a:gd name="connsiteY4" fmla="*/ 719629 h 719629"/>
                  <a:gd name="connsiteX0" fmla="*/ 211134 w 211134"/>
                  <a:gd name="connsiteY0" fmla="*/ 628189 h 628189"/>
                  <a:gd name="connsiteX1" fmla="*/ 0 w 211134"/>
                  <a:gd name="connsiteY1" fmla="*/ 628189 h 628189"/>
                  <a:gd name="connsiteX2" fmla="*/ 0 w 211134"/>
                  <a:gd name="connsiteY2" fmla="*/ 0 h 628189"/>
                  <a:gd name="connsiteX3" fmla="*/ 211134 w 211134"/>
                  <a:gd name="connsiteY3" fmla="*/ 0 h 628189"/>
                  <a:gd name="connsiteX0" fmla="*/ 211134 w 211134"/>
                  <a:gd name="connsiteY0" fmla="*/ 628189 h 628189"/>
                  <a:gd name="connsiteX1" fmla="*/ 0 w 211134"/>
                  <a:gd name="connsiteY1" fmla="*/ 628189 h 628189"/>
                  <a:gd name="connsiteX2" fmla="*/ 0 w 211134"/>
                  <a:gd name="connsiteY2" fmla="*/ 0 h 628189"/>
                </a:gdLst>
                <a:ahLst/>
                <a:cxnLst>
                  <a:cxn ang="0">
                    <a:pos x="connsiteX0" y="connsiteY0"/>
                  </a:cxn>
                  <a:cxn ang="0">
                    <a:pos x="connsiteX1" y="connsiteY1"/>
                  </a:cxn>
                  <a:cxn ang="0">
                    <a:pos x="connsiteX2" y="connsiteY2"/>
                  </a:cxn>
                </a:cxnLst>
                <a:rect l="l" t="t" r="r" b="b"/>
                <a:pathLst>
                  <a:path w="211134" h="628189">
                    <a:moveTo>
                      <a:pt x="211134" y="628189"/>
                    </a:moveTo>
                    <a:lnTo>
                      <a:pt x="0" y="628189"/>
                    </a:lnTo>
                    <a:lnTo>
                      <a:pt x="0" y="0"/>
                    </a:lnTo>
                  </a:path>
                </a:pathLst>
              </a:custGeom>
              <a:noFill/>
              <a:ln w="12700">
                <a:solidFill>
                  <a:srgbClr val="9999A9"/>
                </a:solidFill>
                <a:miter lim="800000"/>
                <a:headEnd/>
                <a:tailEnd/>
              </a:ln>
              <a:effectLst/>
            </p:spPr>
            <p:txBody>
              <a:bodyPr wrap="square" lIns="108000" tIns="54000" rIns="108000" bIns="54000" numCol="1" spcCol="72000" rtlCol="0" anchor="ctr">
                <a:noAutofit/>
              </a:bodyPr>
              <a:lstStyle/>
              <a:p>
                <a:pPr algn="ctr">
                  <a:lnSpc>
                    <a:spcPct val="110000"/>
                  </a:lnSpc>
                  <a:spcBef>
                    <a:spcPts val="0"/>
                  </a:spcBef>
                  <a:buFont typeface="Wingdings" charset="0"/>
                  <a:buNone/>
                </a:pPr>
                <a:endParaRPr lang="en-US" sz="2000" dirty="0">
                  <a:ea typeface="Arial Unicode MS" panose="020B0604020202020204" pitchFamily="34" charset="-128"/>
                  <a:cs typeface="Arial Unicode MS" panose="020B0604020202020204" pitchFamily="34" charset="-128"/>
                </a:endParaRPr>
              </a:p>
            </p:txBody>
          </p:sp>
          <p:sp>
            <p:nvSpPr>
              <p:cNvPr id="129" name="Rechteck 4">
                <a:extLst>
                  <a:ext uri="{FF2B5EF4-FFF2-40B4-BE49-F238E27FC236}">
                    <a16:creationId xmlns:a16="http://schemas.microsoft.com/office/drawing/2014/main" id="{1C0FE79C-0E39-4777-BE8F-58F58F10F738}"/>
                  </a:ext>
                </a:extLst>
              </p:cNvPr>
              <p:cNvSpPr/>
              <p:nvPr/>
            </p:nvSpPr>
            <p:spPr bwMode="gray">
              <a:xfrm>
                <a:off x="411164" y="5032800"/>
                <a:ext cx="143308" cy="720100"/>
              </a:xfrm>
              <a:custGeom>
                <a:avLst/>
                <a:gdLst>
                  <a:gd name="connsiteX0" fmla="*/ 0 w 211134"/>
                  <a:gd name="connsiteY0" fmla="*/ 0 h 628189"/>
                  <a:gd name="connsiteX1" fmla="*/ 211134 w 211134"/>
                  <a:gd name="connsiteY1" fmla="*/ 0 h 628189"/>
                  <a:gd name="connsiteX2" fmla="*/ 211134 w 211134"/>
                  <a:gd name="connsiteY2" fmla="*/ 628189 h 628189"/>
                  <a:gd name="connsiteX3" fmla="*/ 0 w 211134"/>
                  <a:gd name="connsiteY3" fmla="*/ 628189 h 628189"/>
                  <a:gd name="connsiteX4" fmla="*/ 0 w 211134"/>
                  <a:gd name="connsiteY4" fmla="*/ 0 h 628189"/>
                  <a:gd name="connsiteX0" fmla="*/ 211134 w 302574"/>
                  <a:gd name="connsiteY0" fmla="*/ 628189 h 719629"/>
                  <a:gd name="connsiteX1" fmla="*/ 0 w 302574"/>
                  <a:gd name="connsiteY1" fmla="*/ 628189 h 719629"/>
                  <a:gd name="connsiteX2" fmla="*/ 0 w 302574"/>
                  <a:gd name="connsiteY2" fmla="*/ 0 h 719629"/>
                  <a:gd name="connsiteX3" fmla="*/ 211134 w 302574"/>
                  <a:gd name="connsiteY3" fmla="*/ 0 h 719629"/>
                  <a:gd name="connsiteX4" fmla="*/ 302574 w 302574"/>
                  <a:gd name="connsiteY4" fmla="*/ 719629 h 719629"/>
                  <a:gd name="connsiteX0" fmla="*/ 211134 w 211134"/>
                  <a:gd name="connsiteY0" fmla="*/ 628189 h 628189"/>
                  <a:gd name="connsiteX1" fmla="*/ 0 w 211134"/>
                  <a:gd name="connsiteY1" fmla="*/ 628189 h 628189"/>
                  <a:gd name="connsiteX2" fmla="*/ 0 w 211134"/>
                  <a:gd name="connsiteY2" fmla="*/ 0 h 628189"/>
                  <a:gd name="connsiteX3" fmla="*/ 211134 w 211134"/>
                  <a:gd name="connsiteY3" fmla="*/ 0 h 628189"/>
                  <a:gd name="connsiteX0" fmla="*/ 211134 w 211134"/>
                  <a:gd name="connsiteY0" fmla="*/ 628189 h 628189"/>
                  <a:gd name="connsiteX1" fmla="*/ 0 w 211134"/>
                  <a:gd name="connsiteY1" fmla="*/ 628189 h 628189"/>
                  <a:gd name="connsiteX2" fmla="*/ 0 w 211134"/>
                  <a:gd name="connsiteY2" fmla="*/ 0 h 628189"/>
                </a:gdLst>
                <a:ahLst/>
                <a:cxnLst>
                  <a:cxn ang="0">
                    <a:pos x="connsiteX0" y="connsiteY0"/>
                  </a:cxn>
                  <a:cxn ang="0">
                    <a:pos x="connsiteX1" y="connsiteY1"/>
                  </a:cxn>
                  <a:cxn ang="0">
                    <a:pos x="connsiteX2" y="connsiteY2"/>
                  </a:cxn>
                </a:cxnLst>
                <a:rect l="l" t="t" r="r" b="b"/>
                <a:pathLst>
                  <a:path w="211134" h="628189">
                    <a:moveTo>
                      <a:pt x="211134" y="628189"/>
                    </a:moveTo>
                    <a:lnTo>
                      <a:pt x="0" y="628189"/>
                    </a:lnTo>
                    <a:lnTo>
                      <a:pt x="0" y="0"/>
                    </a:lnTo>
                  </a:path>
                </a:pathLst>
              </a:custGeom>
              <a:noFill/>
              <a:ln w="12700">
                <a:solidFill>
                  <a:srgbClr val="9999A9"/>
                </a:solidFill>
                <a:miter lim="800000"/>
                <a:headEnd/>
                <a:tailEnd/>
              </a:ln>
              <a:effectLst/>
            </p:spPr>
            <p:txBody>
              <a:bodyPr wrap="square" lIns="108000" tIns="54000" rIns="108000" bIns="54000" numCol="1" spcCol="72000" rtlCol="0" anchor="ctr">
                <a:noAutofit/>
              </a:bodyPr>
              <a:lstStyle/>
              <a:p>
                <a:pPr algn="ctr">
                  <a:lnSpc>
                    <a:spcPct val="110000"/>
                  </a:lnSpc>
                  <a:spcBef>
                    <a:spcPts val="0"/>
                  </a:spcBef>
                  <a:buFont typeface="Wingdings" charset="0"/>
                  <a:buNone/>
                </a:pPr>
                <a:endParaRPr lang="en-US" sz="2000" dirty="0">
                  <a:ea typeface="Arial Unicode MS" panose="020B0604020202020204" pitchFamily="34" charset="-128"/>
                  <a:cs typeface="Arial Unicode MS" panose="020B0604020202020204" pitchFamily="34" charset="-128"/>
                </a:endParaRPr>
              </a:p>
            </p:txBody>
          </p:sp>
        </p:grpSp>
        <p:grpSp>
          <p:nvGrpSpPr>
            <p:cNvPr id="58" name="Group 57">
              <a:extLst>
                <a:ext uri="{FF2B5EF4-FFF2-40B4-BE49-F238E27FC236}">
                  <a16:creationId xmlns:a16="http://schemas.microsoft.com/office/drawing/2014/main" id="{BF86413A-88BF-446C-9F54-BAC1B07BF246}"/>
                </a:ext>
              </a:extLst>
            </p:cNvPr>
            <p:cNvGrpSpPr/>
            <p:nvPr/>
          </p:nvGrpSpPr>
          <p:grpSpPr>
            <a:xfrm>
              <a:off x="2340611" y="2279956"/>
              <a:ext cx="143308" cy="3472944"/>
              <a:chOff x="411164" y="2279956"/>
              <a:chExt cx="143308" cy="3472944"/>
            </a:xfrm>
          </p:grpSpPr>
          <p:sp>
            <p:nvSpPr>
              <p:cNvPr id="111" name="Rechteck 4">
                <a:extLst>
                  <a:ext uri="{FF2B5EF4-FFF2-40B4-BE49-F238E27FC236}">
                    <a16:creationId xmlns:a16="http://schemas.microsoft.com/office/drawing/2014/main" id="{4FBD75D1-82F7-4EE1-9E78-FC2491FCC7AE}"/>
                  </a:ext>
                </a:extLst>
              </p:cNvPr>
              <p:cNvSpPr/>
              <p:nvPr/>
            </p:nvSpPr>
            <p:spPr bwMode="gray">
              <a:xfrm>
                <a:off x="411164" y="4312800"/>
                <a:ext cx="143308" cy="720000"/>
              </a:xfrm>
              <a:custGeom>
                <a:avLst/>
                <a:gdLst>
                  <a:gd name="connsiteX0" fmla="*/ 0 w 211134"/>
                  <a:gd name="connsiteY0" fmla="*/ 0 h 628189"/>
                  <a:gd name="connsiteX1" fmla="*/ 211134 w 211134"/>
                  <a:gd name="connsiteY1" fmla="*/ 0 h 628189"/>
                  <a:gd name="connsiteX2" fmla="*/ 211134 w 211134"/>
                  <a:gd name="connsiteY2" fmla="*/ 628189 h 628189"/>
                  <a:gd name="connsiteX3" fmla="*/ 0 w 211134"/>
                  <a:gd name="connsiteY3" fmla="*/ 628189 h 628189"/>
                  <a:gd name="connsiteX4" fmla="*/ 0 w 211134"/>
                  <a:gd name="connsiteY4" fmla="*/ 0 h 628189"/>
                  <a:gd name="connsiteX0" fmla="*/ 211134 w 302574"/>
                  <a:gd name="connsiteY0" fmla="*/ 628189 h 719629"/>
                  <a:gd name="connsiteX1" fmla="*/ 0 w 302574"/>
                  <a:gd name="connsiteY1" fmla="*/ 628189 h 719629"/>
                  <a:gd name="connsiteX2" fmla="*/ 0 w 302574"/>
                  <a:gd name="connsiteY2" fmla="*/ 0 h 719629"/>
                  <a:gd name="connsiteX3" fmla="*/ 211134 w 302574"/>
                  <a:gd name="connsiteY3" fmla="*/ 0 h 719629"/>
                  <a:gd name="connsiteX4" fmla="*/ 302574 w 302574"/>
                  <a:gd name="connsiteY4" fmla="*/ 719629 h 719629"/>
                  <a:gd name="connsiteX0" fmla="*/ 211134 w 211134"/>
                  <a:gd name="connsiteY0" fmla="*/ 628189 h 628189"/>
                  <a:gd name="connsiteX1" fmla="*/ 0 w 211134"/>
                  <a:gd name="connsiteY1" fmla="*/ 628189 h 628189"/>
                  <a:gd name="connsiteX2" fmla="*/ 0 w 211134"/>
                  <a:gd name="connsiteY2" fmla="*/ 0 h 628189"/>
                  <a:gd name="connsiteX3" fmla="*/ 211134 w 211134"/>
                  <a:gd name="connsiteY3" fmla="*/ 0 h 628189"/>
                  <a:gd name="connsiteX0" fmla="*/ 211134 w 211134"/>
                  <a:gd name="connsiteY0" fmla="*/ 628189 h 628189"/>
                  <a:gd name="connsiteX1" fmla="*/ 0 w 211134"/>
                  <a:gd name="connsiteY1" fmla="*/ 628189 h 628189"/>
                  <a:gd name="connsiteX2" fmla="*/ 0 w 211134"/>
                  <a:gd name="connsiteY2" fmla="*/ 0 h 628189"/>
                </a:gdLst>
                <a:ahLst/>
                <a:cxnLst>
                  <a:cxn ang="0">
                    <a:pos x="connsiteX0" y="connsiteY0"/>
                  </a:cxn>
                  <a:cxn ang="0">
                    <a:pos x="connsiteX1" y="connsiteY1"/>
                  </a:cxn>
                  <a:cxn ang="0">
                    <a:pos x="connsiteX2" y="connsiteY2"/>
                  </a:cxn>
                </a:cxnLst>
                <a:rect l="l" t="t" r="r" b="b"/>
                <a:pathLst>
                  <a:path w="211134" h="628189">
                    <a:moveTo>
                      <a:pt x="211134" y="628189"/>
                    </a:moveTo>
                    <a:lnTo>
                      <a:pt x="0" y="628189"/>
                    </a:lnTo>
                    <a:lnTo>
                      <a:pt x="0" y="0"/>
                    </a:lnTo>
                  </a:path>
                </a:pathLst>
              </a:custGeom>
              <a:noFill/>
              <a:ln w="12700">
                <a:solidFill>
                  <a:srgbClr val="9999A9"/>
                </a:solidFill>
                <a:miter lim="800000"/>
                <a:headEnd/>
                <a:tailEnd/>
              </a:ln>
              <a:effectLst/>
            </p:spPr>
            <p:txBody>
              <a:bodyPr wrap="square" lIns="108000" tIns="54000" rIns="108000" bIns="54000" numCol="1" spcCol="72000" rtlCol="0" anchor="ctr">
                <a:noAutofit/>
              </a:bodyPr>
              <a:lstStyle/>
              <a:p>
                <a:pPr algn="ctr">
                  <a:lnSpc>
                    <a:spcPct val="110000"/>
                  </a:lnSpc>
                  <a:spcBef>
                    <a:spcPts val="0"/>
                  </a:spcBef>
                  <a:buFont typeface="Wingdings" charset="0"/>
                  <a:buNone/>
                </a:pPr>
                <a:endParaRPr lang="en-US" sz="2000" dirty="0">
                  <a:ea typeface="Arial Unicode MS" panose="020B0604020202020204" pitchFamily="34" charset="-128"/>
                  <a:cs typeface="Arial Unicode MS" panose="020B0604020202020204" pitchFamily="34" charset="-128"/>
                </a:endParaRPr>
              </a:p>
            </p:txBody>
          </p:sp>
          <p:sp>
            <p:nvSpPr>
              <p:cNvPr id="118" name="Rechteck 4">
                <a:extLst>
                  <a:ext uri="{FF2B5EF4-FFF2-40B4-BE49-F238E27FC236}">
                    <a16:creationId xmlns:a16="http://schemas.microsoft.com/office/drawing/2014/main" id="{E1B8FE66-AEAF-4AC7-9356-EEB1EC2C721A}"/>
                  </a:ext>
                </a:extLst>
              </p:cNvPr>
              <p:cNvSpPr/>
              <p:nvPr/>
            </p:nvSpPr>
            <p:spPr bwMode="gray">
              <a:xfrm>
                <a:off x="411164" y="2279956"/>
                <a:ext cx="143308" cy="594000"/>
              </a:xfrm>
              <a:custGeom>
                <a:avLst/>
                <a:gdLst>
                  <a:gd name="connsiteX0" fmla="*/ 0 w 211134"/>
                  <a:gd name="connsiteY0" fmla="*/ 0 h 628189"/>
                  <a:gd name="connsiteX1" fmla="*/ 211134 w 211134"/>
                  <a:gd name="connsiteY1" fmla="*/ 0 h 628189"/>
                  <a:gd name="connsiteX2" fmla="*/ 211134 w 211134"/>
                  <a:gd name="connsiteY2" fmla="*/ 628189 h 628189"/>
                  <a:gd name="connsiteX3" fmla="*/ 0 w 211134"/>
                  <a:gd name="connsiteY3" fmla="*/ 628189 h 628189"/>
                  <a:gd name="connsiteX4" fmla="*/ 0 w 211134"/>
                  <a:gd name="connsiteY4" fmla="*/ 0 h 628189"/>
                  <a:gd name="connsiteX0" fmla="*/ 211134 w 302574"/>
                  <a:gd name="connsiteY0" fmla="*/ 628189 h 719629"/>
                  <a:gd name="connsiteX1" fmla="*/ 0 w 302574"/>
                  <a:gd name="connsiteY1" fmla="*/ 628189 h 719629"/>
                  <a:gd name="connsiteX2" fmla="*/ 0 w 302574"/>
                  <a:gd name="connsiteY2" fmla="*/ 0 h 719629"/>
                  <a:gd name="connsiteX3" fmla="*/ 211134 w 302574"/>
                  <a:gd name="connsiteY3" fmla="*/ 0 h 719629"/>
                  <a:gd name="connsiteX4" fmla="*/ 302574 w 302574"/>
                  <a:gd name="connsiteY4" fmla="*/ 719629 h 719629"/>
                  <a:gd name="connsiteX0" fmla="*/ 211134 w 211134"/>
                  <a:gd name="connsiteY0" fmla="*/ 628189 h 628189"/>
                  <a:gd name="connsiteX1" fmla="*/ 0 w 211134"/>
                  <a:gd name="connsiteY1" fmla="*/ 628189 h 628189"/>
                  <a:gd name="connsiteX2" fmla="*/ 0 w 211134"/>
                  <a:gd name="connsiteY2" fmla="*/ 0 h 628189"/>
                  <a:gd name="connsiteX3" fmla="*/ 211134 w 211134"/>
                  <a:gd name="connsiteY3" fmla="*/ 0 h 628189"/>
                  <a:gd name="connsiteX0" fmla="*/ 211134 w 211134"/>
                  <a:gd name="connsiteY0" fmla="*/ 628189 h 628189"/>
                  <a:gd name="connsiteX1" fmla="*/ 0 w 211134"/>
                  <a:gd name="connsiteY1" fmla="*/ 628189 h 628189"/>
                  <a:gd name="connsiteX2" fmla="*/ 0 w 211134"/>
                  <a:gd name="connsiteY2" fmla="*/ 0 h 628189"/>
                </a:gdLst>
                <a:ahLst/>
                <a:cxnLst>
                  <a:cxn ang="0">
                    <a:pos x="connsiteX0" y="connsiteY0"/>
                  </a:cxn>
                  <a:cxn ang="0">
                    <a:pos x="connsiteX1" y="connsiteY1"/>
                  </a:cxn>
                  <a:cxn ang="0">
                    <a:pos x="connsiteX2" y="connsiteY2"/>
                  </a:cxn>
                </a:cxnLst>
                <a:rect l="l" t="t" r="r" b="b"/>
                <a:pathLst>
                  <a:path w="211134" h="628189">
                    <a:moveTo>
                      <a:pt x="211134" y="628189"/>
                    </a:moveTo>
                    <a:lnTo>
                      <a:pt x="0" y="628189"/>
                    </a:lnTo>
                    <a:lnTo>
                      <a:pt x="0" y="0"/>
                    </a:lnTo>
                  </a:path>
                </a:pathLst>
              </a:custGeom>
              <a:noFill/>
              <a:ln w="12700">
                <a:solidFill>
                  <a:srgbClr val="9999A9"/>
                </a:solidFill>
                <a:miter lim="800000"/>
                <a:headEnd/>
                <a:tailEnd/>
              </a:ln>
              <a:effectLst/>
            </p:spPr>
            <p:txBody>
              <a:bodyPr wrap="square" lIns="108000" tIns="54000" rIns="108000" bIns="54000" numCol="1" spcCol="72000" rtlCol="0" anchor="ctr">
                <a:noAutofit/>
              </a:bodyPr>
              <a:lstStyle/>
              <a:p>
                <a:pPr algn="ctr">
                  <a:lnSpc>
                    <a:spcPct val="110000"/>
                  </a:lnSpc>
                  <a:spcBef>
                    <a:spcPts val="0"/>
                  </a:spcBef>
                  <a:buFont typeface="Wingdings" charset="0"/>
                  <a:buNone/>
                </a:pPr>
                <a:endParaRPr lang="en-US" sz="2000" dirty="0">
                  <a:solidFill>
                    <a:schemeClr val="tx1"/>
                  </a:solidFill>
                  <a:ea typeface="Arial Unicode MS" panose="020B0604020202020204" pitchFamily="34" charset="-128"/>
                  <a:cs typeface="Arial Unicode MS" panose="020B0604020202020204" pitchFamily="34" charset="-128"/>
                </a:endParaRPr>
              </a:p>
            </p:txBody>
          </p:sp>
          <p:sp>
            <p:nvSpPr>
              <p:cNvPr id="119" name="Rechteck 4">
                <a:extLst>
                  <a:ext uri="{FF2B5EF4-FFF2-40B4-BE49-F238E27FC236}">
                    <a16:creationId xmlns:a16="http://schemas.microsoft.com/office/drawing/2014/main" id="{75C6AA85-D010-4E5B-BBCD-C4DFBB2204CF}"/>
                  </a:ext>
                </a:extLst>
              </p:cNvPr>
              <p:cNvSpPr/>
              <p:nvPr/>
            </p:nvSpPr>
            <p:spPr bwMode="gray">
              <a:xfrm>
                <a:off x="411164" y="2872800"/>
                <a:ext cx="143308" cy="720000"/>
              </a:xfrm>
              <a:custGeom>
                <a:avLst/>
                <a:gdLst>
                  <a:gd name="connsiteX0" fmla="*/ 0 w 211134"/>
                  <a:gd name="connsiteY0" fmla="*/ 0 h 628189"/>
                  <a:gd name="connsiteX1" fmla="*/ 211134 w 211134"/>
                  <a:gd name="connsiteY1" fmla="*/ 0 h 628189"/>
                  <a:gd name="connsiteX2" fmla="*/ 211134 w 211134"/>
                  <a:gd name="connsiteY2" fmla="*/ 628189 h 628189"/>
                  <a:gd name="connsiteX3" fmla="*/ 0 w 211134"/>
                  <a:gd name="connsiteY3" fmla="*/ 628189 h 628189"/>
                  <a:gd name="connsiteX4" fmla="*/ 0 w 211134"/>
                  <a:gd name="connsiteY4" fmla="*/ 0 h 628189"/>
                  <a:gd name="connsiteX0" fmla="*/ 211134 w 302574"/>
                  <a:gd name="connsiteY0" fmla="*/ 628189 h 719629"/>
                  <a:gd name="connsiteX1" fmla="*/ 0 w 302574"/>
                  <a:gd name="connsiteY1" fmla="*/ 628189 h 719629"/>
                  <a:gd name="connsiteX2" fmla="*/ 0 w 302574"/>
                  <a:gd name="connsiteY2" fmla="*/ 0 h 719629"/>
                  <a:gd name="connsiteX3" fmla="*/ 211134 w 302574"/>
                  <a:gd name="connsiteY3" fmla="*/ 0 h 719629"/>
                  <a:gd name="connsiteX4" fmla="*/ 302574 w 302574"/>
                  <a:gd name="connsiteY4" fmla="*/ 719629 h 719629"/>
                  <a:gd name="connsiteX0" fmla="*/ 211134 w 211134"/>
                  <a:gd name="connsiteY0" fmla="*/ 628189 h 628189"/>
                  <a:gd name="connsiteX1" fmla="*/ 0 w 211134"/>
                  <a:gd name="connsiteY1" fmla="*/ 628189 h 628189"/>
                  <a:gd name="connsiteX2" fmla="*/ 0 w 211134"/>
                  <a:gd name="connsiteY2" fmla="*/ 0 h 628189"/>
                  <a:gd name="connsiteX3" fmla="*/ 211134 w 211134"/>
                  <a:gd name="connsiteY3" fmla="*/ 0 h 628189"/>
                  <a:gd name="connsiteX0" fmla="*/ 211134 w 211134"/>
                  <a:gd name="connsiteY0" fmla="*/ 628189 h 628189"/>
                  <a:gd name="connsiteX1" fmla="*/ 0 w 211134"/>
                  <a:gd name="connsiteY1" fmla="*/ 628189 h 628189"/>
                  <a:gd name="connsiteX2" fmla="*/ 0 w 211134"/>
                  <a:gd name="connsiteY2" fmla="*/ 0 h 628189"/>
                </a:gdLst>
                <a:ahLst/>
                <a:cxnLst>
                  <a:cxn ang="0">
                    <a:pos x="connsiteX0" y="connsiteY0"/>
                  </a:cxn>
                  <a:cxn ang="0">
                    <a:pos x="connsiteX1" y="connsiteY1"/>
                  </a:cxn>
                  <a:cxn ang="0">
                    <a:pos x="connsiteX2" y="connsiteY2"/>
                  </a:cxn>
                </a:cxnLst>
                <a:rect l="l" t="t" r="r" b="b"/>
                <a:pathLst>
                  <a:path w="211134" h="628189">
                    <a:moveTo>
                      <a:pt x="211134" y="628189"/>
                    </a:moveTo>
                    <a:lnTo>
                      <a:pt x="0" y="628189"/>
                    </a:lnTo>
                    <a:lnTo>
                      <a:pt x="0" y="0"/>
                    </a:lnTo>
                  </a:path>
                </a:pathLst>
              </a:custGeom>
              <a:noFill/>
              <a:ln w="12700">
                <a:solidFill>
                  <a:srgbClr val="9999A9"/>
                </a:solidFill>
                <a:miter lim="800000"/>
                <a:headEnd/>
                <a:tailEnd/>
              </a:ln>
              <a:effectLst/>
            </p:spPr>
            <p:txBody>
              <a:bodyPr wrap="square" lIns="108000" tIns="54000" rIns="108000" bIns="54000" numCol="1" spcCol="72000" rtlCol="0" anchor="ctr">
                <a:noAutofit/>
              </a:bodyPr>
              <a:lstStyle/>
              <a:p>
                <a:pPr algn="ctr">
                  <a:lnSpc>
                    <a:spcPct val="110000"/>
                  </a:lnSpc>
                  <a:spcBef>
                    <a:spcPts val="0"/>
                  </a:spcBef>
                  <a:buFont typeface="Wingdings" charset="0"/>
                  <a:buNone/>
                </a:pPr>
                <a:endParaRPr lang="en-US" sz="2000" dirty="0">
                  <a:ea typeface="Arial Unicode MS" panose="020B0604020202020204" pitchFamily="34" charset="-128"/>
                  <a:cs typeface="Arial Unicode MS" panose="020B0604020202020204" pitchFamily="34" charset="-128"/>
                </a:endParaRPr>
              </a:p>
            </p:txBody>
          </p:sp>
          <p:sp>
            <p:nvSpPr>
              <p:cNvPr id="120" name="Rechteck 4">
                <a:extLst>
                  <a:ext uri="{FF2B5EF4-FFF2-40B4-BE49-F238E27FC236}">
                    <a16:creationId xmlns:a16="http://schemas.microsoft.com/office/drawing/2014/main" id="{3F6D35D9-4538-41ED-86DB-98D89230CDCB}"/>
                  </a:ext>
                </a:extLst>
              </p:cNvPr>
              <p:cNvSpPr/>
              <p:nvPr/>
            </p:nvSpPr>
            <p:spPr bwMode="gray">
              <a:xfrm>
                <a:off x="411164" y="3592800"/>
                <a:ext cx="143308" cy="720000"/>
              </a:xfrm>
              <a:custGeom>
                <a:avLst/>
                <a:gdLst>
                  <a:gd name="connsiteX0" fmla="*/ 0 w 211134"/>
                  <a:gd name="connsiteY0" fmla="*/ 0 h 628189"/>
                  <a:gd name="connsiteX1" fmla="*/ 211134 w 211134"/>
                  <a:gd name="connsiteY1" fmla="*/ 0 h 628189"/>
                  <a:gd name="connsiteX2" fmla="*/ 211134 w 211134"/>
                  <a:gd name="connsiteY2" fmla="*/ 628189 h 628189"/>
                  <a:gd name="connsiteX3" fmla="*/ 0 w 211134"/>
                  <a:gd name="connsiteY3" fmla="*/ 628189 h 628189"/>
                  <a:gd name="connsiteX4" fmla="*/ 0 w 211134"/>
                  <a:gd name="connsiteY4" fmla="*/ 0 h 628189"/>
                  <a:gd name="connsiteX0" fmla="*/ 211134 w 302574"/>
                  <a:gd name="connsiteY0" fmla="*/ 628189 h 719629"/>
                  <a:gd name="connsiteX1" fmla="*/ 0 w 302574"/>
                  <a:gd name="connsiteY1" fmla="*/ 628189 h 719629"/>
                  <a:gd name="connsiteX2" fmla="*/ 0 w 302574"/>
                  <a:gd name="connsiteY2" fmla="*/ 0 h 719629"/>
                  <a:gd name="connsiteX3" fmla="*/ 211134 w 302574"/>
                  <a:gd name="connsiteY3" fmla="*/ 0 h 719629"/>
                  <a:gd name="connsiteX4" fmla="*/ 302574 w 302574"/>
                  <a:gd name="connsiteY4" fmla="*/ 719629 h 719629"/>
                  <a:gd name="connsiteX0" fmla="*/ 211134 w 211134"/>
                  <a:gd name="connsiteY0" fmla="*/ 628189 h 628189"/>
                  <a:gd name="connsiteX1" fmla="*/ 0 w 211134"/>
                  <a:gd name="connsiteY1" fmla="*/ 628189 h 628189"/>
                  <a:gd name="connsiteX2" fmla="*/ 0 w 211134"/>
                  <a:gd name="connsiteY2" fmla="*/ 0 h 628189"/>
                  <a:gd name="connsiteX3" fmla="*/ 211134 w 211134"/>
                  <a:gd name="connsiteY3" fmla="*/ 0 h 628189"/>
                  <a:gd name="connsiteX0" fmla="*/ 211134 w 211134"/>
                  <a:gd name="connsiteY0" fmla="*/ 628189 h 628189"/>
                  <a:gd name="connsiteX1" fmla="*/ 0 w 211134"/>
                  <a:gd name="connsiteY1" fmla="*/ 628189 h 628189"/>
                  <a:gd name="connsiteX2" fmla="*/ 0 w 211134"/>
                  <a:gd name="connsiteY2" fmla="*/ 0 h 628189"/>
                </a:gdLst>
                <a:ahLst/>
                <a:cxnLst>
                  <a:cxn ang="0">
                    <a:pos x="connsiteX0" y="connsiteY0"/>
                  </a:cxn>
                  <a:cxn ang="0">
                    <a:pos x="connsiteX1" y="connsiteY1"/>
                  </a:cxn>
                  <a:cxn ang="0">
                    <a:pos x="connsiteX2" y="connsiteY2"/>
                  </a:cxn>
                </a:cxnLst>
                <a:rect l="l" t="t" r="r" b="b"/>
                <a:pathLst>
                  <a:path w="211134" h="628189">
                    <a:moveTo>
                      <a:pt x="211134" y="628189"/>
                    </a:moveTo>
                    <a:lnTo>
                      <a:pt x="0" y="628189"/>
                    </a:lnTo>
                    <a:lnTo>
                      <a:pt x="0" y="0"/>
                    </a:lnTo>
                  </a:path>
                </a:pathLst>
              </a:custGeom>
              <a:noFill/>
              <a:ln w="12700">
                <a:solidFill>
                  <a:srgbClr val="9999A9"/>
                </a:solidFill>
                <a:miter lim="800000"/>
                <a:headEnd/>
                <a:tailEnd/>
              </a:ln>
              <a:effectLst/>
            </p:spPr>
            <p:txBody>
              <a:bodyPr wrap="square" lIns="108000" tIns="54000" rIns="108000" bIns="54000" numCol="1" spcCol="72000" rtlCol="0" anchor="ctr">
                <a:noAutofit/>
              </a:bodyPr>
              <a:lstStyle/>
              <a:p>
                <a:pPr algn="ctr">
                  <a:lnSpc>
                    <a:spcPct val="110000"/>
                  </a:lnSpc>
                  <a:spcBef>
                    <a:spcPts val="0"/>
                  </a:spcBef>
                  <a:buFont typeface="Wingdings" charset="0"/>
                  <a:buNone/>
                </a:pPr>
                <a:endParaRPr lang="en-US" sz="2000" dirty="0">
                  <a:ea typeface="Arial Unicode MS" panose="020B0604020202020204" pitchFamily="34" charset="-128"/>
                  <a:cs typeface="Arial Unicode MS" panose="020B0604020202020204" pitchFamily="34" charset="-128"/>
                </a:endParaRPr>
              </a:p>
            </p:txBody>
          </p:sp>
          <p:sp>
            <p:nvSpPr>
              <p:cNvPr id="121" name="Rechteck 4">
                <a:extLst>
                  <a:ext uri="{FF2B5EF4-FFF2-40B4-BE49-F238E27FC236}">
                    <a16:creationId xmlns:a16="http://schemas.microsoft.com/office/drawing/2014/main" id="{3B1D42DC-5B42-4BFC-A7DE-8470F63B9700}"/>
                  </a:ext>
                </a:extLst>
              </p:cNvPr>
              <p:cNvSpPr/>
              <p:nvPr/>
            </p:nvSpPr>
            <p:spPr bwMode="gray">
              <a:xfrm>
                <a:off x="411164" y="5032800"/>
                <a:ext cx="143308" cy="720100"/>
              </a:xfrm>
              <a:custGeom>
                <a:avLst/>
                <a:gdLst>
                  <a:gd name="connsiteX0" fmla="*/ 0 w 211134"/>
                  <a:gd name="connsiteY0" fmla="*/ 0 h 628189"/>
                  <a:gd name="connsiteX1" fmla="*/ 211134 w 211134"/>
                  <a:gd name="connsiteY1" fmla="*/ 0 h 628189"/>
                  <a:gd name="connsiteX2" fmla="*/ 211134 w 211134"/>
                  <a:gd name="connsiteY2" fmla="*/ 628189 h 628189"/>
                  <a:gd name="connsiteX3" fmla="*/ 0 w 211134"/>
                  <a:gd name="connsiteY3" fmla="*/ 628189 h 628189"/>
                  <a:gd name="connsiteX4" fmla="*/ 0 w 211134"/>
                  <a:gd name="connsiteY4" fmla="*/ 0 h 628189"/>
                  <a:gd name="connsiteX0" fmla="*/ 211134 w 302574"/>
                  <a:gd name="connsiteY0" fmla="*/ 628189 h 719629"/>
                  <a:gd name="connsiteX1" fmla="*/ 0 w 302574"/>
                  <a:gd name="connsiteY1" fmla="*/ 628189 h 719629"/>
                  <a:gd name="connsiteX2" fmla="*/ 0 w 302574"/>
                  <a:gd name="connsiteY2" fmla="*/ 0 h 719629"/>
                  <a:gd name="connsiteX3" fmla="*/ 211134 w 302574"/>
                  <a:gd name="connsiteY3" fmla="*/ 0 h 719629"/>
                  <a:gd name="connsiteX4" fmla="*/ 302574 w 302574"/>
                  <a:gd name="connsiteY4" fmla="*/ 719629 h 719629"/>
                  <a:gd name="connsiteX0" fmla="*/ 211134 w 211134"/>
                  <a:gd name="connsiteY0" fmla="*/ 628189 h 628189"/>
                  <a:gd name="connsiteX1" fmla="*/ 0 w 211134"/>
                  <a:gd name="connsiteY1" fmla="*/ 628189 h 628189"/>
                  <a:gd name="connsiteX2" fmla="*/ 0 w 211134"/>
                  <a:gd name="connsiteY2" fmla="*/ 0 h 628189"/>
                  <a:gd name="connsiteX3" fmla="*/ 211134 w 211134"/>
                  <a:gd name="connsiteY3" fmla="*/ 0 h 628189"/>
                  <a:gd name="connsiteX0" fmla="*/ 211134 w 211134"/>
                  <a:gd name="connsiteY0" fmla="*/ 628189 h 628189"/>
                  <a:gd name="connsiteX1" fmla="*/ 0 w 211134"/>
                  <a:gd name="connsiteY1" fmla="*/ 628189 h 628189"/>
                  <a:gd name="connsiteX2" fmla="*/ 0 w 211134"/>
                  <a:gd name="connsiteY2" fmla="*/ 0 h 628189"/>
                </a:gdLst>
                <a:ahLst/>
                <a:cxnLst>
                  <a:cxn ang="0">
                    <a:pos x="connsiteX0" y="connsiteY0"/>
                  </a:cxn>
                  <a:cxn ang="0">
                    <a:pos x="connsiteX1" y="connsiteY1"/>
                  </a:cxn>
                  <a:cxn ang="0">
                    <a:pos x="connsiteX2" y="connsiteY2"/>
                  </a:cxn>
                </a:cxnLst>
                <a:rect l="l" t="t" r="r" b="b"/>
                <a:pathLst>
                  <a:path w="211134" h="628189">
                    <a:moveTo>
                      <a:pt x="211134" y="628189"/>
                    </a:moveTo>
                    <a:lnTo>
                      <a:pt x="0" y="628189"/>
                    </a:lnTo>
                    <a:lnTo>
                      <a:pt x="0" y="0"/>
                    </a:lnTo>
                  </a:path>
                </a:pathLst>
              </a:custGeom>
              <a:noFill/>
              <a:ln w="12700">
                <a:solidFill>
                  <a:srgbClr val="9999A9"/>
                </a:solidFill>
                <a:miter lim="800000"/>
                <a:headEnd/>
                <a:tailEnd/>
              </a:ln>
              <a:effectLst/>
            </p:spPr>
            <p:txBody>
              <a:bodyPr wrap="square" lIns="108000" tIns="54000" rIns="108000" bIns="54000" numCol="1" spcCol="72000" rtlCol="0" anchor="ctr">
                <a:noAutofit/>
              </a:bodyPr>
              <a:lstStyle/>
              <a:p>
                <a:pPr algn="ctr">
                  <a:lnSpc>
                    <a:spcPct val="110000"/>
                  </a:lnSpc>
                  <a:spcBef>
                    <a:spcPts val="0"/>
                  </a:spcBef>
                  <a:buFont typeface="Wingdings" charset="0"/>
                  <a:buNone/>
                </a:pPr>
                <a:endParaRPr lang="en-US" sz="2000" dirty="0">
                  <a:ea typeface="Arial Unicode MS" panose="020B0604020202020204" pitchFamily="34" charset="-128"/>
                  <a:cs typeface="Arial Unicode MS" panose="020B0604020202020204" pitchFamily="34" charset="-128"/>
                </a:endParaRPr>
              </a:p>
            </p:txBody>
          </p:sp>
        </p:grpSp>
        <p:grpSp>
          <p:nvGrpSpPr>
            <p:cNvPr id="59" name="Group 58">
              <a:extLst>
                <a:ext uri="{FF2B5EF4-FFF2-40B4-BE49-F238E27FC236}">
                  <a16:creationId xmlns:a16="http://schemas.microsoft.com/office/drawing/2014/main" id="{DE13DADA-106D-4351-8C88-9BF9C0814F7C}"/>
                </a:ext>
              </a:extLst>
            </p:cNvPr>
            <p:cNvGrpSpPr/>
            <p:nvPr/>
          </p:nvGrpSpPr>
          <p:grpSpPr>
            <a:xfrm>
              <a:off x="4270058" y="2279956"/>
              <a:ext cx="143308" cy="2032844"/>
              <a:chOff x="411164" y="2279956"/>
              <a:chExt cx="143308" cy="2032844"/>
            </a:xfrm>
          </p:grpSpPr>
          <p:sp>
            <p:nvSpPr>
              <p:cNvPr id="108" name="Rechteck 4">
                <a:extLst>
                  <a:ext uri="{FF2B5EF4-FFF2-40B4-BE49-F238E27FC236}">
                    <a16:creationId xmlns:a16="http://schemas.microsoft.com/office/drawing/2014/main" id="{60984801-013E-4EB0-9FAE-8DB27684CC93}"/>
                  </a:ext>
                </a:extLst>
              </p:cNvPr>
              <p:cNvSpPr/>
              <p:nvPr/>
            </p:nvSpPr>
            <p:spPr bwMode="gray">
              <a:xfrm>
                <a:off x="411164" y="2279956"/>
                <a:ext cx="143308" cy="594000"/>
              </a:xfrm>
              <a:custGeom>
                <a:avLst/>
                <a:gdLst>
                  <a:gd name="connsiteX0" fmla="*/ 0 w 211134"/>
                  <a:gd name="connsiteY0" fmla="*/ 0 h 628189"/>
                  <a:gd name="connsiteX1" fmla="*/ 211134 w 211134"/>
                  <a:gd name="connsiteY1" fmla="*/ 0 h 628189"/>
                  <a:gd name="connsiteX2" fmla="*/ 211134 w 211134"/>
                  <a:gd name="connsiteY2" fmla="*/ 628189 h 628189"/>
                  <a:gd name="connsiteX3" fmla="*/ 0 w 211134"/>
                  <a:gd name="connsiteY3" fmla="*/ 628189 h 628189"/>
                  <a:gd name="connsiteX4" fmla="*/ 0 w 211134"/>
                  <a:gd name="connsiteY4" fmla="*/ 0 h 628189"/>
                  <a:gd name="connsiteX0" fmla="*/ 211134 w 302574"/>
                  <a:gd name="connsiteY0" fmla="*/ 628189 h 719629"/>
                  <a:gd name="connsiteX1" fmla="*/ 0 w 302574"/>
                  <a:gd name="connsiteY1" fmla="*/ 628189 h 719629"/>
                  <a:gd name="connsiteX2" fmla="*/ 0 w 302574"/>
                  <a:gd name="connsiteY2" fmla="*/ 0 h 719629"/>
                  <a:gd name="connsiteX3" fmla="*/ 211134 w 302574"/>
                  <a:gd name="connsiteY3" fmla="*/ 0 h 719629"/>
                  <a:gd name="connsiteX4" fmla="*/ 302574 w 302574"/>
                  <a:gd name="connsiteY4" fmla="*/ 719629 h 719629"/>
                  <a:gd name="connsiteX0" fmla="*/ 211134 w 211134"/>
                  <a:gd name="connsiteY0" fmla="*/ 628189 h 628189"/>
                  <a:gd name="connsiteX1" fmla="*/ 0 w 211134"/>
                  <a:gd name="connsiteY1" fmla="*/ 628189 h 628189"/>
                  <a:gd name="connsiteX2" fmla="*/ 0 w 211134"/>
                  <a:gd name="connsiteY2" fmla="*/ 0 h 628189"/>
                  <a:gd name="connsiteX3" fmla="*/ 211134 w 211134"/>
                  <a:gd name="connsiteY3" fmla="*/ 0 h 628189"/>
                  <a:gd name="connsiteX0" fmla="*/ 211134 w 211134"/>
                  <a:gd name="connsiteY0" fmla="*/ 628189 h 628189"/>
                  <a:gd name="connsiteX1" fmla="*/ 0 w 211134"/>
                  <a:gd name="connsiteY1" fmla="*/ 628189 h 628189"/>
                  <a:gd name="connsiteX2" fmla="*/ 0 w 211134"/>
                  <a:gd name="connsiteY2" fmla="*/ 0 h 628189"/>
                </a:gdLst>
                <a:ahLst/>
                <a:cxnLst>
                  <a:cxn ang="0">
                    <a:pos x="connsiteX0" y="connsiteY0"/>
                  </a:cxn>
                  <a:cxn ang="0">
                    <a:pos x="connsiteX1" y="connsiteY1"/>
                  </a:cxn>
                  <a:cxn ang="0">
                    <a:pos x="connsiteX2" y="connsiteY2"/>
                  </a:cxn>
                </a:cxnLst>
                <a:rect l="l" t="t" r="r" b="b"/>
                <a:pathLst>
                  <a:path w="211134" h="628189">
                    <a:moveTo>
                      <a:pt x="211134" y="628189"/>
                    </a:moveTo>
                    <a:lnTo>
                      <a:pt x="0" y="628189"/>
                    </a:lnTo>
                    <a:lnTo>
                      <a:pt x="0" y="0"/>
                    </a:lnTo>
                  </a:path>
                </a:pathLst>
              </a:custGeom>
              <a:noFill/>
              <a:ln w="12700">
                <a:solidFill>
                  <a:srgbClr val="9999A9"/>
                </a:solidFill>
                <a:miter lim="800000"/>
                <a:headEnd/>
                <a:tailEnd/>
              </a:ln>
              <a:effectLst/>
            </p:spPr>
            <p:txBody>
              <a:bodyPr wrap="square" lIns="108000" tIns="54000" rIns="108000" bIns="54000" numCol="1" spcCol="72000" rtlCol="0" anchor="ctr">
                <a:noAutofit/>
              </a:bodyPr>
              <a:lstStyle/>
              <a:p>
                <a:pPr algn="ctr">
                  <a:lnSpc>
                    <a:spcPct val="110000"/>
                  </a:lnSpc>
                  <a:spcBef>
                    <a:spcPts val="0"/>
                  </a:spcBef>
                  <a:buFont typeface="Wingdings" charset="0"/>
                  <a:buNone/>
                </a:pPr>
                <a:endParaRPr lang="en-US" sz="2000" dirty="0">
                  <a:solidFill>
                    <a:schemeClr val="tx1"/>
                  </a:solidFill>
                  <a:ea typeface="Arial Unicode MS" panose="020B0604020202020204" pitchFamily="34" charset="-128"/>
                  <a:cs typeface="Arial Unicode MS" panose="020B0604020202020204" pitchFamily="34" charset="-128"/>
                </a:endParaRPr>
              </a:p>
            </p:txBody>
          </p:sp>
          <p:sp>
            <p:nvSpPr>
              <p:cNvPr id="109" name="Rechteck 4">
                <a:extLst>
                  <a:ext uri="{FF2B5EF4-FFF2-40B4-BE49-F238E27FC236}">
                    <a16:creationId xmlns:a16="http://schemas.microsoft.com/office/drawing/2014/main" id="{0099429E-2D56-40D0-9B52-0F6AF9D325C9}"/>
                  </a:ext>
                </a:extLst>
              </p:cNvPr>
              <p:cNvSpPr/>
              <p:nvPr/>
            </p:nvSpPr>
            <p:spPr bwMode="gray">
              <a:xfrm>
                <a:off x="411164" y="2872800"/>
                <a:ext cx="143308" cy="720000"/>
              </a:xfrm>
              <a:custGeom>
                <a:avLst/>
                <a:gdLst>
                  <a:gd name="connsiteX0" fmla="*/ 0 w 211134"/>
                  <a:gd name="connsiteY0" fmla="*/ 0 h 628189"/>
                  <a:gd name="connsiteX1" fmla="*/ 211134 w 211134"/>
                  <a:gd name="connsiteY1" fmla="*/ 0 h 628189"/>
                  <a:gd name="connsiteX2" fmla="*/ 211134 w 211134"/>
                  <a:gd name="connsiteY2" fmla="*/ 628189 h 628189"/>
                  <a:gd name="connsiteX3" fmla="*/ 0 w 211134"/>
                  <a:gd name="connsiteY3" fmla="*/ 628189 h 628189"/>
                  <a:gd name="connsiteX4" fmla="*/ 0 w 211134"/>
                  <a:gd name="connsiteY4" fmla="*/ 0 h 628189"/>
                  <a:gd name="connsiteX0" fmla="*/ 211134 w 302574"/>
                  <a:gd name="connsiteY0" fmla="*/ 628189 h 719629"/>
                  <a:gd name="connsiteX1" fmla="*/ 0 w 302574"/>
                  <a:gd name="connsiteY1" fmla="*/ 628189 h 719629"/>
                  <a:gd name="connsiteX2" fmla="*/ 0 w 302574"/>
                  <a:gd name="connsiteY2" fmla="*/ 0 h 719629"/>
                  <a:gd name="connsiteX3" fmla="*/ 211134 w 302574"/>
                  <a:gd name="connsiteY3" fmla="*/ 0 h 719629"/>
                  <a:gd name="connsiteX4" fmla="*/ 302574 w 302574"/>
                  <a:gd name="connsiteY4" fmla="*/ 719629 h 719629"/>
                  <a:gd name="connsiteX0" fmla="*/ 211134 w 211134"/>
                  <a:gd name="connsiteY0" fmla="*/ 628189 h 628189"/>
                  <a:gd name="connsiteX1" fmla="*/ 0 w 211134"/>
                  <a:gd name="connsiteY1" fmla="*/ 628189 h 628189"/>
                  <a:gd name="connsiteX2" fmla="*/ 0 w 211134"/>
                  <a:gd name="connsiteY2" fmla="*/ 0 h 628189"/>
                  <a:gd name="connsiteX3" fmla="*/ 211134 w 211134"/>
                  <a:gd name="connsiteY3" fmla="*/ 0 h 628189"/>
                  <a:gd name="connsiteX0" fmla="*/ 211134 w 211134"/>
                  <a:gd name="connsiteY0" fmla="*/ 628189 h 628189"/>
                  <a:gd name="connsiteX1" fmla="*/ 0 w 211134"/>
                  <a:gd name="connsiteY1" fmla="*/ 628189 h 628189"/>
                  <a:gd name="connsiteX2" fmla="*/ 0 w 211134"/>
                  <a:gd name="connsiteY2" fmla="*/ 0 h 628189"/>
                </a:gdLst>
                <a:ahLst/>
                <a:cxnLst>
                  <a:cxn ang="0">
                    <a:pos x="connsiteX0" y="connsiteY0"/>
                  </a:cxn>
                  <a:cxn ang="0">
                    <a:pos x="connsiteX1" y="connsiteY1"/>
                  </a:cxn>
                  <a:cxn ang="0">
                    <a:pos x="connsiteX2" y="connsiteY2"/>
                  </a:cxn>
                </a:cxnLst>
                <a:rect l="l" t="t" r="r" b="b"/>
                <a:pathLst>
                  <a:path w="211134" h="628189">
                    <a:moveTo>
                      <a:pt x="211134" y="628189"/>
                    </a:moveTo>
                    <a:lnTo>
                      <a:pt x="0" y="628189"/>
                    </a:lnTo>
                    <a:lnTo>
                      <a:pt x="0" y="0"/>
                    </a:lnTo>
                  </a:path>
                </a:pathLst>
              </a:custGeom>
              <a:noFill/>
              <a:ln w="12700">
                <a:solidFill>
                  <a:srgbClr val="9999A9"/>
                </a:solidFill>
                <a:miter lim="800000"/>
                <a:headEnd/>
                <a:tailEnd/>
              </a:ln>
              <a:effectLst/>
            </p:spPr>
            <p:txBody>
              <a:bodyPr wrap="square" lIns="108000" tIns="54000" rIns="108000" bIns="54000" numCol="1" spcCol="72000" rtlCol="0" anchor="ctr">
                <a:noAutofit/>
              </a:bodyPr>
              <a:lstStyle/>
              <a:p>
                <a:pPr algn="ctr">
                  <a:lnSpc>
                    <a:spcPct val="110000"/>
                  </a:lnSpc>
                  <a:spcBef>
                    <a:spcPts val="0"/>
                  </a:spcBef>
                  <a:buFont typeface="Wingdings" charset="0"/>
                  <a:buNone/>
                </a:pPr>
                <a:endParaRPr lang="en-US" sz="2000" dirty="0">
                  <a:ea typeface="Arial Unicode MS" panose="020B0604020202020204" pitchFamily="34" charset="-128"/>
                  <a:cs typeface="Arial Unicode MS" panose="020B0604020202020204" pitchFamily="34" charset="-128"/>
                </a:endParaRPr>
              </a:p>
            </p:txBody>
          </p:sp>
          <p:sp>
            <p:nvSpPr>
              <p:cNvPr id="110" name="Rechteck 4">
                <a:extLst>
                  <a:ext uri="{FF2B5EF4-FFF2-40B4-BE49-F238E27FC236}">
                    <a16:creationId xmlns:a16="http://schemas.microsoft.com/office/drawing/2014/main" id="{9B4A1E49-DAEB-4B61-ADB0-FB09A53D28D5}"/>
                  </a:ext>
                </a:extLst>
              </p:cNvPr>
              <p:cNvSpPr/>
              <p:nvPr/>
            </p:nvSpPr>
            <p:spPr bwMode="gray">
              <a:xfrm>
                <a:off x="411164" y="3592800"/>
                <a:ext cx="143308" cy="720000"/>
              </a:xfrm>
              <a:custGeom>
                <a:avLst/>
                <a:gdLst>
                  <a:gd name="connsiteX0" fmla="*/ 0 w 211134"/>
                  <a:gd name="connsiteY0" fmla="*/ 0 h 628189"/>
                  <a:gd name="connsiteX1" fmla="*/ 211134 w 211134"/>
                  <a:gd name="connsiteY1" fmla="*/ 0 h 628189"/>
                  <a:gd name="connsiteX2" fmla="*/ 211134 w 211134"/>
                  <a:gd name="connsiteY2" fmla="*/ 628189 h 628189"/>
                  <a:gd name="connsiteX3" fmla="*/ 0 w 211134"/>
                  <a:gd name="connsiteY3" fmla="*/ 628189 h 628189"/>
                  <a:gd name="connsiteX4" fmla="*/ 0 w 211134"/>
                  <a:gd name="connsiteY4" fmla="*/ 0 h 628189"/>
                  <a:gd name="connsiteX0" fmla="*/ 211134 w 302574"/>
                  <a:gd name="connsiteY0" fmla="*/ 628189 h 719629"/>
                  <a:gd name="connsiteX1" fmla="*/ 0 w 302574"/>
                  <a:gd name="connsiteY1" fmla="*/ 628189 h 719629"/>
                  <a:gd name="connsiteX2" fmla="*/ 0 w 302574"/>
                  <a:gd name="connsiteY2" fmla="*/ 0 h 719629"/>
                  <a:gd name="connsiteX3" fmla="*/ 211134 w 302574"/>
                  <a:gd name="connsiteY3" fmla="*/ 0 h 719629"/>
                  <a:gd name="connsiteX4" fmla="*/ 302574 w 302574"/>
                  <a:gd name="connsiteY4" fmla="*/ 719629 h 719629"/>
                  <a:gd name="connsiteX0" fmla="*/ 211134 w 211134"/>
                  <a:gd name="connsiteY0" fmla="*/ 628189 h 628189"/>
                  <a:gd name="connsiteX1" fmla="*/ 0 w 211134"/>
                  <a:gd name="connsiteY1" fmla="*/ 628189 h 628189"/>
                  <a:gd name="connsiteX2" fmla="*/ 0 w 211134"/>
                  <a:gd name="connsiteY2" fmla="*/ 0 h 628189"/>
                  <a:gd name="connsiteX3" fmla="*/ 211134 w 211134"/>
                  <a:gd name="connsiteY3" fmla="*/ 0 h 628189"/>
                  <a:gd name="connsiteX0" fmla="*/ 211134 w 211134"/>
                  <a:gd name="connsiteY0" fmla="*/ 628189 h 628189"/>
                  <a:gd name="connsiteX1" fmla="*/ 0 w 211134"/>
                  <a:gd name="connsiteY1" fmla="*/ 628189 h 628189"/>
                  <a:gd name="connsiteX2" fmla="*/ 0 w 211134"/>
                  <a:gd name="connsiteY2" fmla="*/ 0 h 628189"/>
                </a:gdLst>
                <a:ahLst/>
                <a:cxnLst>
                  <a:cxn ang="0">
                    <a:pos x="connsiteX0" y="connsiteY0"/>
                  </a:cxn>
                  <a:cxn ang="0">
                    <a:pos x="connsiteX1" y="connsiteY1"/>
                  </a:cxn>
                  <a:cxn ang="0">
                    <a:pos x="connsiteX2" y="connsiteY2"/>
                  </a:cxn>
                </a:cxnLst>
                <a:rect l="l" t="t" r="r" b="b"/>
                <a:pathLst>
                  <a:path w="211134" h="628189">
                    <a:moveTo>
                      <a:pt x="211134" y="628189"/>
                    </a:moveTo>
                    <a:lnTo>
                      <a:pt x="0" y="628189"/>
                    </a:lnTo>
                    <a:lnTo>
                      <a:pt x="0" y="0"/>
                    </a:lnTo>
                  </a:path>
                </a:pathLst>
              </a:custGeom>
              <a:noFill/>
              <a:ln w="12700">
                <a:solidFill>
                  <a:srgbClr val="9999A9"/>
                </a:solidFill>
                <a:miter lim="800000"/>
                <a:headEnd/>
                <a:tailEnd/>
              </a:ln>
              <a:effectLst/>
            </p:spPr>
            <p:txBody>
              <a:bodyPr wrap="square" lIns="108000" tIns="54000" rIns="108000" bIns="54000" numCol="1" spcCol="72000" rtlCol="0" anchor="ctr">
                <a:noAutofit/>
              </a:bodyPr>
              <a:lstStyle/>
              <a:p>
                <a:pPr algn="ctr">
                  <a:lnSpc>
                    <a:spcPct val="110000"/>
                  </a:lnSpc>
                  <a:spcBef>
                    <a:spcPts val="0"/>
                  </a:spcBef>
                  <a:buFont typeface="Wingdings" charset="0"/>
                  <a:buNone/>
                </a:pPr>
                <a:endParaRPr lang="en-US" sz="2000" dirty="0">
                  <a:ea typeface="Arial Unicode MS" panose="020B0604020202020204" pitchFamily="34" charset="-128"/>
                  <a:cs typeface="Arial Unicode MS" panose="020B0604020202020204" pitchFamily="34" charset="-128"/>
                </a:endParaRPr>
              </a:p>
            </p:txBody>
          </p:sp>
        </p:grpSp>
        <p:grpSp>
          <p:nvGrpSpPr>
            <p:cNvPr id="60" name="Group 59">
              <a:extLst>
                <a:ext uri="{FF2B5EF4-FFF2-40B4-BE49-F238E27FC236}">
                  <a16:creationId xmlns:a16="http://schemas.microsoft.com/office/drawing/2014/main" id="{41E5C21F-603B-4281-81CA-177C8CCC147B}"/>
                </a:ext>
              </a:extLst>
            </p:cNvPr>
            <p:cNvGrpSpPr/>
            <p:nvPr/>
          </p:nvGrpSpPr>
          <p:grpSpPr>
            <a:xfrm>
              <a:off x="6199505" y="2279956"/>
              <a:ext cx="143308" cy="2032844"/>
              <a:chOff x="411164" y="2279956"/>
              <a:chExt cx="143308" cy="2032844"/>
            </a:xfrm>
          </p:grpSpPr>
          <p:sp>
            <p:nvSpPr>
              <p:cNvPr id="99" name="Rechteck 4">
                <a:extLst>
                  <a:ext uri="{FF2B5EF4-FFF2-40B4-BE49-F238E27FC236}">
                    <a16:creationId xmlns:a16="http://schemas.microsoft.com/office/drawing/2014/main" id="{C6DF8873-FA13-489D-AEE9-8E7DAE0F3427}"/>
                  </a:ext>
                </a:extLst>
              </p:cNvPr>
              <p:cNvSpPr/>
              <p:nvPr/>
            </p:nvSpPr>
            <p:spPr bwMode="gray">
              <a:xfrm>
                <a:off x="411164" y="2279956"/>
                <a:ext cx="143308" cy="594000"/>
              </a:xfrm>
              <a:custGeom>
                <a:avLst/>
                <a:gdLst>
                  <a:gd name="connsiteX0" fmla="*/ 0 w 211134"/>
                  <a:gd name="connsiteY0" fmla="*/ 0 h 628189"/>
                  <a:gd name="connsiteX1" fmla="*/ 211134 w 211134"/>
                  <a:gd name="connsiteY1" fmla="*/ 0 h 628189"/>
                  <a:gd name="connsiteX2" fmla="*/ 211134 w 211134"/>
                  <a:gd name="connsiteY2" fmla="*/ 628189 h 628189"/>
                  <a:gd name="connsiteX3" fmla="*/ 0 w 211134"/>
                  <a:gd name="connsiteY3" fmla="*/ 628189 h 628189"/>
                  <a:gd name="connsiteX4" fmla="*/ 0 w 211134"/>
                  <a:gd name="connsiteY4" fmla="*/ 0 h 628189"/>
                  <a:gd name="connsiteX0" fmla="*/ 211134 w 302574"/>
                  <a:gd name="connsiteY0" fmla="*/ 628189 h 719629"/>
                  <a:gd name="connsiteX1" fmla="*/ 0 w 302574"/>
                  <a:gd name="connsiteY1" fmla="*/ 628189 h 719629"/>
                  <a:gd name="connsiteX2" fmla="*/ 0 w 302574"/>
                  <a:gd name="connsiteY2" fmla="*/ 0 h 719629"/>
                  <a:gd name="connsiteX3" fmla="*/ 211134 w 302574"/>
                  <a:gd name="connsiteY3" fmla="*/ 0 h 719629"/>
                  <a:gd name="connsiteX4" fmla="*/ 302574 w 302574"/>
                  <a:gd name="connsiteY4" fmla="*/ 719629 h 719629"/>
                  <a:gd name="connsiteX0" fmla="*/ 211134 w 211134"/>
                  <a:gd name="connsiteY0" fmla="*/ 628189 h 628189"/>
                  <a:gd name="connsiteX1" fmla="*/ 0 w 211134"/>
                  <a:gd name="connsiteY1" fmla="*/ 628189 h 628189"/>
                  <a:gd name="connsiteX2" fmla="*/ 0 w 211134"/>
                  <a:gd name="connsiteY2" fmla="*/ 0 h 628189"/>
                  <a:gd name="connsiteX3" fmla="*/ 211134 w 211134"/>
                  <a:gd name="connsiteY3" fmla="*/ 0 h 628189"/>
                  <a:gd name="connsiteX0" fmla="*/ 211134 w 211134"/>
                  <a:gd name="connsiteY0" fmla="*/ 628189 h 628189"/>
                  <a:gd name="connsiteX1" fmla="*/ 0 w 211134"/>
                  <a:gd name="connsiteY1" fmla="*/ 628189 h 628189"/>
                  <a:gd name="connsiteX2" fmla="*/ 0 w 211134"/>
                  <a:gd name="connsiteY2" fmla="*/ 0 h 628189"/>
                </a:gdLst>
                <a:ahLst/>
                <a:cxnLst>
                  <a:cxn ang="0">
                    <a:pos x="connsiteX0" y="connsiteY0"/>
                  </a:cxn>
                  <a:cxn ang="0">
                    <a:pos x="connsiteX1" y="connsiteY1"/>
                  </a:cxn>
                  <a:cxn ang="0">
                    <a:pos x="connsiteX2" y="connsiteY2"/>
                  </a:cxn>
                </a:cxnLst>
                <a:rect l="l" t="t" r="r" b="b"/>
                <a:pathLst>
                  <a:path w="211134" h="628189">
                    <a:moveTo>
                      <a:pt x="211134" y="628189"/>
                    </a:moveTo>
                    <a:lnTo>
                      <a:pt x="0" y="628189"/>
                    </a:lnTo>
                    <a:lnTo>
                      <a:pt x="0" y="0"/>
                    </a:lnTo>
                  </a:path>
                </a:pathLst>
              </a:custGeom>
              <a:noFill/>
              <a:ln w="12700">
                <a:solidFill>
                  <a:srgbClr val="9999A9"/>
                </a:solidFill>
                <a:miter lim="800000"/>
                <a:headEnd/>
                <a:tailEnd/>
              </a:ln>
              <a:effectLst/>
            </p:spPr>
            <p:txBody>
              <a:bodyPr wrap="square" lIns="108000" tIns="54000" rIns="108000" bIns="54000" numCol="1" spcCol="72000" rtlCol="0" anchor="ctr">
                <a:noAutofit/>
              </a:bodyPr>
              <a:lstStyle/>
              <a:p>
                <a:pPr algn="ctr">
                  <a:lnSpc>
                    <a:spcPct val="110000"/>
                  </a:lnSpc>
                  <a:spcBef>
                    <a:spcPts val="0"/>
                  </a:spcBef>
                  <a:buFont typeface="Wingdings" charset="0"/>
                  <a:buNone/>
                </a:pPr>
                <a:endParaRPr lang="en-US" sz="2000" dirty="0">
                  <a:solidFill>
                    <a:schemeClr val="tx1"/>
                  </a:solidFill>
                  <a:ea typeface="Arial Unicode MS" panose="020B0604020202020204" pitchFamily="34" charset="-128"/>
                  <a:cs typeface="Arial Unicode MS" panose="020B0604020202020204" pitchFamily="34" charset="-128"/>
                </a:endParaRPr>
              </a:p>
            </p:txBody>
          </p:sp>
          <p:sp>
            <p:nvSpPr>
              <p:cNvPr id="106" name="Rechteck 4">
                <a:extLst>
                  <a:ext uri="{FF2B5EF4-FFF2-40B4-BE49-F238E27FC236}">
                    <a16:creationId xmlns:a16="http://schemas.microsoft.com/office/drawing/2014/main" id="{051D3CA1-CD7D-478F-9612-C9A4652F9363}"/>
                  </a:ext>
                </a:extLst>
              </p:cNvPr>
              <p:cNvSpPr/>
              <p:nvPr/>
            </p:nvSpPr>
            <p:spPr bwMode="gray">
              <a:xfrm>
                <a:off x="411164" y="2872800"/>
                <a:ext cx="143308" cy="720000"/>
              </a:xfrm>
              <a:custGeom>
                <a:avLst/>
                <a:gdLst>
                  <a:gd name="connsiteX0" fmla="*/ 0 w 211134"/>
                  <a:gd name="connsiteY0" fmla="*/ 0 h 628189"/>
                  <a:gd name="connsiteX1" fmla="*/ 211134 w 211134"/>
                  <a:gd name="connsiteY1" fmla="*/ 0 h 628189"/>
                  <a:gd name="connsiteX2" fmla="*/ 211134 w 211134"/>
                  <a:gd name="connsiteY2" fmla="*/ 628189 h 628189"/>
                  <a:gd name="connsiteX3" fmla="*/ 0 w 211134"/>
                  <a:gd name="connsiteY3" fmla="*/ 628189 h 628189"/>
                  <a:gd name="connsiteX4" fmla="*/ 0 w 211134"/>
                  <a:gd name="connsiteY4" fmla="*/ 0 h 628189"/>
                  <a:gd name="connsiteX0" fmla="*/ 211134 w 302574"/>
                  <a:gd name="connsiteY0" fmla="*/ 628189 h 719629"/>
                  <a:gd name="connsiteX1" fmla="*/ 0 w 302574"/>
                  <a:gd name="connsiteY1" fmla="*/ 628189 h 719629"/>
                  <a:gd name="connsiteX2" fmla="*/ 0 w 302574"/>
                  <a:gd name="connsiteY2" fmla="*/ 0 h 719629"/>
                  <a:gd name="connsiteX3" fmla="*/ 211134 w 302574"/>
                  <a:gd name="connsiteY3" fmla="*/ 0 h 719629"/>
                  <a:gd name="connsiteX4" fmla="*/ 302574 w 302574"/>
                  <a:gd name="connsiteY4" fmla="*/ 719629 h 719629"/>
                  <a:gd name="connsiteX0" fmla="*/ 211134 w 211134"/>
                  <a:gd name="connsiteY0" fmla="*/ 628189 h 628189"/>
                  <a:gd name="connsiteX1" fmla="*/ 0 w 211134"/>
                  <a:gd name="connsiteY1" fmla="*/ 628189 h 628189"/>
                  <a:gd name="connsiteX2" fmla="*/ 0 w 211134"/>
                  <a:gd name="connsiteY2" fmla="*/ 0 h 628189"/>
                  <a:gd name="connsiteX3" fmla="*/ 211134 w 211134"/>
                  <a:gd name="connsiteY3" fmla="*/ 0 h 628189"/>
                  <a:gd name="connsiteX0" fmla="*/ 211134 w 211134"/>
                  <a:gd name="connsiteY0" fmla="*/ 628189 h 628189"/>
                  <a:gd name="connsiteX1" fmla="*/ 0 w 211134"/>
                  <a:gd name="connsiteY1" fmla="*/ 628189 h 628189"/>
                  <a:gd name="connsiteX2" fmla="*/ 0 w 211134"/>
                  <a:gd name="connsiteY2" fmla="*/ 0 h 628189"/>
                </a:gdLst>
                <a:ahLst/>
                <a:cxnLst>
                  <a:cxn ang="0">
                    <a:pos x="connsiteX0" y="connsiteY0"/>
                  </a:cxn>
                  <a:cxn ang="0">
                    <a:pos x="connsiteX1" y="connsiteY1"/>
                  </a:cxn>
                  <a:cxn ang="0">
                    <a:pos x="connsiteX2" y="connsiteY2"/>
                  </a:cxn>
                </a:cxnLst>
                <a:rect l="l" t="t" r="r" b="b"/>
                <a:pathLst>
                  <a:path w="211134" h="628189">
                    <a:moveTo>
                      <a:pt x="211134" y="628189"/>
                    </a:moveTo>
                    <a:lnTo>
                      <a:pt x="0" y="628189"/>
                    </a:lnTo>
                    <a:lnTo>
                      <a:pt x="0" y="0"/>
                    </a:lnTo>
                  </a:path>
                </a:pathLst>
              </a:custGeom>
              <a:noFill/>
              <a:ln w="12700">
                <a:solidFill>
                  <a:srgbClr val="9999A9"/>
                </a:solidFill>
                <a:miter lim="800000"/>
                <a:headEnd/>
                <a:tailEnd/>
              </a:ln>
              <a:effectLst/>
            </p:spPr>
            <p:txBody>
              <a:bodyPr wrap="square" lIns="108000" tIns="54000" rIns="108000" bIns="54000" numCol="1" spcCol="72000" rtlCol="0" anchor="ctr">
                <a:noAutofit/>
              </a:bodyPr>
              <a:lstStyle/>
              <a:p>
                <a:pPr algn="ctr">
                  <a:lnSpc>
                    <a:spcPct val="110000"/>
                  </a:lnSpc>
                  <a:spcBef>
                    <a:spcPts val="0"/>
                  </a:spcBef>
                  <a:buFont typeface="Wingdings" charset="0"/>
                  <a:buNone/>
                </a:pPr>
                <a:endParaRPr lang="en-US" sz="2000" dirty="0">
                  <a:ea typeface="Arial Unicode MS" panose="020B0604020202020204" pitchFamily="34" charset="-128"/>
                  <a:cs typeface="Arial Unicode MS" panose="020B0604020202020204" pitchFamily="34" charset="-128"/>
                </a:endParaRPr>
              </a:p>
            </p:txBody>
          </p:sp>
          <p:sp>
            <p:nvSpPr>
              <p:cNvPr id="107" name="Rechteck 4">
                <a:extLst>
                  <a:ext uri="{FF2B5EF4-FFF2-40B4-BE49-F238E27FC236}">
                    <a16:creationId xmlns:a16="http://schemas.microsoft.com/office/drawing/2014/main" id="{95831D0B-32A7-4864-8CB6-70FB9C5EA373}"/>
                  </a:ext>
                </a:extLst>
              </p:cNvPr>
              <p:cNvSpPr/>
              <p:nvPr/>
            </p:nvSpPr>
            <p:spPr bwMode="gray">
              <a:xfrm>
                <a:off x="411164" y="3592800"/>
                <a:ext cx="143308" cy="720000"/>
              </a:xfrm>
              <a:custGeom>
                <a:avLst/>
                <a:gdLst>
                  <a:gd name="connsiteX0" fmla="*/ 0 w 211134"/>
                  <a:gd name="connsiteY0" fmla="*/ 0 h 628189"/>
                  <a:gd name="connsiteX1" fmla="*/ 211134 w 211134"/>
                  <a:gd name="connsiteY1" fmla="*/ 0 h 628189"/>
                  <a:gd name="connsiteX2" fmla="*/ 211134 w 211134"/>
                  <a:gd name="connsiteY2" fmla="*/ 628189 h 628189"/>
                  <a:gd name="connsiteX3" fmla="*/ 0 w 211134"/>
                  <a:gd name="connsiteY3" fmla="*/ 628189 h 628189"/>
                  <a:gd name="connsiteX4" fmla="*/ 0 w 211134"/>
                  <a:gd name="connsiteY4" fmla="*/ 0 h 628189"/>
                  <a:gd name="connsiteX0" fmla="*/ 211134 w 302574"/>
                  <a:gd name="connsiteY0" fmla="*/ 628189 h 719629"/>
                  <a:gd name="connsiteX1" fmla="*/ 0 w 302574"/>
                  <a:gd name="connsiteY1" fmla="*/ 628189 h 719629"/>
                  <a:gd name="connsiteX2" fmla="*/ 0 w 302574"/>
                  <a:gd name="connsiteY2" fmla="*/ 0 h 719629"/>
                  <a:gd name="connsiteX3" fmla="*/ 211134 w 302574"/>
                  <a:gd name="connsiteY3" fmla="*/ 0 h 719629"/>
                  <a:gd name="connsiteX4" fmla="*/ 302574 w 302574"/>
                  <a:gd name="connsiteY4" fmla="*/ 719629 h 719629"/>
                  <a:gd name="connsiteX0" fmla="*/ 211134 w 211134"/>
                  <a:gd name="connsiteY0" fmla="*/ 628189 h 628189"/>
                  <a:gd name="connsiteX1" fmla="*/ 0 w 211134"/>
                  <a:gd name="connsiteY1" fmla="*/ 628189 h 628189"/>
                  <a:gd name="connsiteX2" fmla="*/ 0 w 211134"/>
                  <a:gd name="connsiteY2" fmla="*/ 0 h 628189"/>
                  <a:gd name="connsiteX3" fmla="*/ 211134 w 211134"/>
                  <a:gd name="connsiteY3" fmla="*/ 0 h 628189"/>
                  <a:gd name="connsiteX0" fmla="*/ 211134 w 211134"/>
                  <a:gd name="connsiteY0" fmla="*/ 628189 h 628189"/>
                  <a:gd name="connsiteX1" fmla="*/ 0 w 211134"/>
                  <a:gd name="connsiteY1" fmla="*/ 628189 h 628189"/>
                  <a:gd name="connsiteX2" fmla="*/ 0 w 211134"/>
                  <a:gd name="connsiteY2" fmla="*/ 0 h 628189"/>
                </a:gdLst>
                <a:ahLst/>
                <a:cxnLst>
                  <a:cxn ang="0">
                    <a:pos x="connsiteX0" y="connsiteY0"/>
                  </a:cxn>
                  <a:cxn ang="0">
                    <a:pos x="connsiteX1" y="connsiteY1"/>
                  </a:cxn>
                  <a:cxn ang="0">
                    <a:pos x="connsiteX2" y="connsiteY2"/>
                  </a:cxn>
                </a:cxnLst>
                <a:rect l="l" t="t" r="r" b="b"/>
                <a:pathLst>
                  <a:path w="211134" h="628189">
                    <a:moveTo>
                      <a:pt x="211134" y="628189"/>
                    </a:moveTo>
                    <a:lnTo>
                      <a:pt x="0" y="628189"/>
                    </a:lnTo>
                    <a:lnTo>
                      <a:pt x="0" y="0"/>
                    </a:lnTo>
                  </a:path>
                </a:pathLst>
              </a:custGeom>
              <a:noFill/>
              <a:ln w="12700">
                <a:solidFill>
                  <a:srgbClr val="9999A9"/>
                </a:solidFill>
                <a:miter lim="800000"/>
                <a:headEnd/>
                <a:tailEnd/>
              </a:ln>
              <a:effectLst/>
            </p:spPr>
            <p:txBody>
              <a:bodyPr wrap="square" lIns="108000" tIns="54000" rIns="108000" bIns="54000" numCol="1" spcCol="72000" rtlCol="0" anchor="ctr">
                <a:noAutofit/>
              </a:bodyPr>
              <a:lstStyle/>
              <a:p>
                <a:pPr algn="ctr">
                  <a:lnSpc>
                    <a:spcPct val="110000"/>
                  </a:lnSpc>
                  <a:spcBef>
                    <a:spcPts val="0"/>
                  </a:spcBef>
                  <a:buFont typeface="Wingdings" charset="0"/>
                  <a:buNone/>
                </a:pPr>
                <a:endParaRPr lang="en-US" sz="2000" dirty="0">
                  <a:ea typeface="Arial Unicode MS" panose="020B0604020202020204" pitchFamily="34" charset="-128"/>
                  <a:cs typeface="Arial Unicode MS" panose="020B0604020202020204" pitchFamily="34" charset="-128"/>
                </a:endParaRPr>
              </a:p>
            </p:txBody>
          </p:sp>
        </p:grpSp>
        <p:grpSp>
          <p:nvGrpSpPr>
            <p:cNvPr id="61" name="Group 60">
              <a:extLst>
                <a:ext uri="{FF2B5EF4-FFF2-40B4-BE49-F238E27FC236}">
                  <a16:creationId xmlns:a16="http://schemas.microsoft.com/office/drawing/2014/main" id="{230F9621-20BD-40E4-92F5-7B06FE8900D6}"/>
                </a:ext>
              </a:extLst>
            </p:cNvPr>
            <p:cNvGrpSpPr/>
            <p:nvPr/>
          </p:nvGrpSpPr>
          <p:grpSpPr>
            <a:xfrm>
              <a:off x="8128952" y="2279956"/>
              <a:ext cx="143308" cy="2032844"/>
              <a:chOff x="411164" y="2279956"/>
              <a:chExt cx="143308" cy="2032844"/>
            </a:xfrm>
          </p:grpSpPr>
          <p:sp>
            <p:nvSpPr>
              <p:cNvPr id="90" name="Rechteck 4">
                <a:extLst>
                  <a:ext uri="{FF2B5EF4-FFF2-40B4-BE49-F238E27FC236}">
                    <a16:creationId xmlns:a16="http://schemas.microsoft.com/office/drawing/2014/main" id="{CA55E502-923C-4D14-9629-10B27686E36C}"/>
                  </a:ext>
                </a:extLst>
              </p:cNvPr>
              <p:cNvSpPr/>
              <p:nvPr/>
            </p:nvSpPr>
            <p:spPr bwMode="gray">
              <a:xfrm>
                <a:off x="411164" y="2279956"/>
                <a:ext cx="143308" cy="594000"/>
              </a:xfrm>
              <a:custGeom>
                <a:avLst/>
                <a:gdLst>
                  <a:gd name="connsiteX0" fmla="*/ 0 w 211134"/>
                  <a:gd name="connsiteY0" fmla="*/ 0 h 628189"/>
                  <a:gd name="connsiteX1" fmla="*/ 211134 w 211134"/>
                  <a:gd name="connsiteY1" fmla="*/ 0 h 628189"/>
                  <a:gd name="connsiteX2" fmla="*/ 211134 w 211134"/>
                  <a:gd name="connsiteY2" fmla="*/ 628189 h 628189"/>
                  <a:gd name="connsiteX3" fmla="*/ 0 w 211134"/>
                  <a:gd name="connsiteY3" fmla="*/ 628189 h 628189"/>
                  <a:gd name="connsiteX4" fmla="*/ 0 w 211134"/>
                  <a:gd name="connsiteY4" fmla="*/ 0 h 628189"/>
                  <a:gd name="connsiteX0" fmla="*/ 211134 w 302574"/>
                  <a:gd name="connsiteY0" fmla="*/ 628189 h 719629"/>
                  <a:gd name="connsiteX1" fmla="*/ 0 w 302574"/>
                  <a:gd name="connsiteY1" fmla="*/ 628189 h 719629"/>
                  <a:gd name="connsiteX2" fmla="*/ 0 w 302574"/>
                  <a:gd name="connsiteY2" fmla="*/ 0 h 719629"/>
                  <a:gd name="connsiteX3" fmla="*/ 211134 w 302574"/>
                  <a:gd name="connsiteY3" fmla="*/ 0 h 719629"/>
                  <a:gd name="connsiteX4" fmla="*/ 302574 w 302574"/>
                  <a:gd name="connsiteY4" fmla="*/ 719629 h 719629"/>
                  <a:gd name="connsiteX0" fmla="*/ 211134 w 211134"/>
                  <a:gd name="connsiteY0" fmla="*/ 628189 h 628189"/>
                  <a:gd name="connsiteX1" fmla="*/ 0 w 211134"/>
                  <a:gd name="connsiteY1" fmla="*/ 628189 h 628189"/>
                  <a:gd name="connsiteX2" fmla="*/ 0 w 211134"/>
                  <a:gd name="connsiteY2" fmla="*/ 0 h 628189"/>
                  <a:gd name="connsiteX3" fmla="*/ 211134 w 211134"/>
                  <a:gd name="connsiteY3" fmla="*/ 0 h 628189"/>
                  <a:gd name="connsiteX0" fmla="*/ 211134 w 211134"/>
                  <a:gd name="connsiteY0" fmla="*/ 628189 h 628189"/>
                  <a:gd name="connsiteX1" fmla="*/ 0 w 211134"/>
                  <a:gd name="connsiteY1" fmla="*/ 628189 h 628189"/>
                  <a:gd name="connsiteX2" fmla="*/ 0 w 211134"/>
                  <a:gd name="connsiteY2" fmla="*/ 0 h 628189"/>
                </a:gdLst>
                <a:ahLst/>
                <a:cxnLst>
                  <a:cxn ang="0">
                    <a:pos x="connsiteX0" y="connsiteY0"/>
                  </a:cxn>
                  <a:cxn ang="0">
                    <a:pos x="connsiteX1" y="connsiteY1"/>
                  </a:cxn>
                  <a:cxn ang="0">
                    <a:pos x="connsiteX2" y="connsiteY2"/>
                  </a:cxn>
                </a:cxnLst>
                <a:rect l="l" t="t" r="r" b="b"/>
                <a:pathLst>
                  <a:path w="211134" h="628189">
                    <a:moveTo>
                      <a:pt x="211134" y="628189"/>
                    </a:moveTo>
                    <a:lnTo>
                      <a:pt x="0" y="628189"/>
                    </a:lnTo>
                    <a:lnTo>
                      <a:pt x="0" y="0"/>
                    </a:lnTo>
                  </a:path>
                </a:pathLst>
              </a:custGeom>
              <a:noFill/>
              <a:ln w="12700">
                <a:solidFill>
                  <a:srgbClr val="9999A9"/>
                </a:solidFill>
                <a:miter lim="800000"/>
                <a:headEnd/>
                <a:tailEnd/>
              </a:ln>
              <a:effectLst/>
            </p:spPr>
            <p:txBody>
              <a:bodyPr wrap="square" lIns="108000" tIns="54000" rIns="108000" bIns="54000" numCol="1" spcCol="72000" rtlCol="0" anchor="ctr">
                <a:noAutofit/>
              </a:bodyPr>
              <a:lstStyle/>
              <a:p>
                <a:pPr algn="ctr">
                  <a:lnSpc>
                    <a:spcPct val="110000"/>
                  </a:lnSpc>
                  <a:spcBef>
                    <a:spcPts val="0"/>
                  </a:spcBef>
                  <a:buFont typeface="Wingdings" charset="0"/>
                  <a:buNone/>
                </a:pPr>
                <a:endParaRPr lang="en-US" sz="2000" dirty="0">
                  <a:solidFill>
                    <a:schemeClr val="tx1"/>
                  </a:solidFill>
                  <a:ea typeface="Arial Unicode MS" panose="020B0604020202020204" pitchFamily="34" charset="-128"/>
                  <a:cs typeface="Arial Unicode MS" panose="020B0604020202020204" pitchFamily="34" charset="-128"/>
                </a:endParaRPr>
              </a:p>
            </p:txBody>
          </p:sp>
          <p:sp>
            <p:nvSpPr>
              <p:cNvPr id="91" name="Rechteck 4">
                <a:extLst>
                  <a:ext uri="{FF2B5EF4-FFF2-40B4-BE49-F238E27FC236}">
                    <a16:creationId xmlns:a16="http://schemas.microsoft.com/office/drawing/2014/main" id="{681169C9-E61A-44BA-86DA-16C330D0C083}"/>
                  </a:ext>
                </a:extLst>
              </p:cNvPr>
              <p:cNvSpPr/>
              <p:nvPr/>
            </p:nvSpPr>
            <p:spPr bwMode="gray">
              <a:xfrm>
                <a:off x="411164" y="2872800"/>
                <a:ext cx="143308" cy="720000"/>
              </a:xfrm>
              <a:custGeom>
                <a:avLst/>
                <a:gdLst>
                  <a:gd name="connsiteX0" fmla="*/ 0 w 211134"/>
                  <a:gd name="connsiteY0" fmla="*/ 0 h 628189"/>
                  <a:gd name="connsiteX1" fmla="*/ 211134 w 211134"/>
                  <a:gd name="connsiteY1" fmla="*/ 0 h 628189"/>
                  <a:gd name="connsiteX2" fmla="*/ 211134 w 211134"/>
                  <a:gd name="connsiteY2" fmla="*/ 628189 h 628189"/>
                  <a:gd name="connsiteX3" fmla="*/ 0 w 211134"/>
                  <a:gd name="connsiteY3" fmla="*/ 628189 h 628189"/>
                  <a:gd name="connsiteX4" fmla="*/ 0 w 211134"/>
                  <a:gd name="connsiteY4" fmla="*/ 0 h 628189"/>
                  <a:gd name="connsiteX0" fmla="*/ 211134 w 302574"/>
                  <a:gd name="connsiteY0" fmla="*/ 628189 h 719629"/>
                  <a:gd name="connsiteX1" fmla="*/ 0 w 302574"/>
                  <a:gd name="connsiteY1" fmla="*/ 628189 h 719629"/>
                  <a:gd name="connsiteX2" fmla="*/ 0 w 302574"/>
                  <a:gd name="connsiteY2" fmla="*/ 0 h 719629"/>
                  <a:gd name="connsiteX3" fmla="*/ 211134 w 302574"/>
                  <a:gd name="connsiteY3" fmla="*/ 0 h 719629"/>
                  <a:gd name="connsiteX4" fmla="*/ 302574 w 302574"/>
                  <a:gd name="connsiteY4" fmla="*/ 719629 h 719629"/>
                  <a:gd name="connsiteX0" fmla="*/ 211134 w 211134"/>
                  <a:gd name="connsiteY0" fmla="*/ 628189 h 628189"/>
                  <a:gd name="connsiteX1" fmla="*/ 0 w 211134"/>
                  <a:gd name="connsiteY1" fmla="*/ 628189 h 628189"/>
                  <a:gd name="connsiteX2" fmla="*/ 0 w 211134"/>
                  <a:gd name="connsiteY2" fmla="*/ 0 h 628189"/>
                  <a:gd name="connsiteX3" fmla="*/ 211134 w 211134"/>
                  <a:gd name="connsiteY3" fmla="*/ 0 h 628189"/>
                  <a:gd name="connsiteX0" fmla="*/ 211134 w 211134"/>
                  <a:gd name="connsiteY0" fmla="*/ 628189 h 628189"/>
                  <a:gd name="connsiteX1" fmla="*/ 0 w 211134"/>
                  <a:gd name="connsiteY1" fmla="*/ 628189 h 628189"/>
                  <a:gd name="connsiteX2" fmla="*/ 0 w 211134"/>
                  <a:gd name="connsiteY2" fmla="*/ 0 h 628189"/>
                </a:gdLst>
                <a:ahLst/>
                <a:cxnLst>
                  <a:cxn ang="0">
                    <a:pos x="connsiteX0" y="connsiteY0"/>
                  </a:cxn>
                  <a:cxn ang="0">
                    <a:pos x="connsiteX1" y="connsiteY1"/>
                  </a:cxn>
                  <a:cxn ang="0">
                    <a:pos x="connsiteX2" y="connsiteY2"/>
                  </a:cxn>
                </a:cxnLst>
                <a:rect l="l" t="t" r="r" b="b"/>
                <a:pathLst>
                  <a:path w="211134" h="628189">
                    <a:moveTo>
                      <a:pt x="211134" y="628189"/>
                    </a:moveTo>
                    <a:lnTo>
                      <a:pt x="0" y="628189"/>
                    </a:lnTo>
                    <a:lnTo>
                      <a:pt x="0" y="0"/>
                    </a:lnTo>
                  </a:path>
                </a:pathLst>
              </a:custGeom>
              <a:noFill/>
              <a:ln w="12700">
                <a:solidFill>
                  <a:srgbClr val="9999A9"/>
                </a:solidFill>
                <a:miter lim="800000"/>
                <a:headEnd/>
                <a:tailEnd/>
              </a:ln>
              <a:effectLst/>
            </p:spPr>
            <p:txBody>
              <a:bodyPr wrap="square" lIns="108000" tIns="54000" rIns="108000" bIns="54000" numCol="1" spcCol="72000" rtlCol="0" anchor="ctr">
                <a:noAutofit/>
              </a:bodyPr>
              <a:lstStyle/>
              <a:p>
                <a:pPr algn="ctr">
                  <a:lnSpc>
                    <a:spcPct val="110000"/>
                  </a:lnSpc>
                  <a:spcBef>
                    <a:spcPts val="0"/>
                  </a:spcBef>
                  <a:buFont typeface="Wingdings" charset="0"/>
                  <a:buNone/>
                </a:pPr>
                <a:endParaRPr lang="en-US" sz="2000" dirty="0">
                  <a:ea typeface="Arial Unicode MS" panose="020B0604020202020204" pitchFamily="34" charset="-128"/>
                  <a:cs typeface="Arial Unicode MS" panose="020B0604020202020204" pitchFamily="34" charset="-128"/>
                </a:endParaRPr>
              </a:p>
            </p:txBody>
          </p:sp>
          <p:sp>
            <p:nvSpPr>
              <p:cNvPr id="98" name="Rechteck 4">
                <a:extLst>
                  <a:ext uri="{FF2B5EF4-FFF2-40B4-BE49-F238E27FC236}">
                    <a16:creationId xmlns:a16="http://schemas.microsoft.com/office/drawing/2014/main" id="{6E543098-2375-406E-A66E-D93D6559F1B2}"/>
                  </a:ext>
                </a:extLst>
              </p:cNvPr>
              <p:cNvSpPr/>
              <p:nvPr/>
            </p:nvSpPr>
            <p:spPr bwMode="gray">
              <a:xfrm>
                <a:off x="411164" y="3592800"/>
                <a:ext cx="143308" cy="720000"/>
              </a:xfrm>
              <a:custGeom>
                <a:avLst/>
                <a:gdLst>
                  <a:gd name="connsiteX0" fmla="*/ 0 w 211134"/>
                  <a:gd name="connsiteY0" fmla="*/ 0 h 628189"/>
                  <a:gd name="connsiteX1" fmla="*/ 211134 w 211134"/>
                  <a:gd name="connsiteY1" fmla="*/ 0 h 628189"/>
                  <a:gd name="connsiteX2" fmla="*/ 211134 w 211134"/>
                  <a:gd name="connsiteY2" fmla="*/ 628189 h 628189"/>
                  <a:gd name="connsiteX3" fmla="*/ 0 w 211134"/>
                  <a:gd name="connsiteY3" fmla="*/ 628189 h 628189"/>
                  <a:gd name="connsiteX4" fmla="*/ 0 w 211134"/>
                  <a:gd name="connsiteY4" fmla="*/ 0 h 628189"/>
                  <a:gd name="connsiteX0" fmla="*/ 211134 w 302574"/>
                  <a:gd name="connsiteY0" fmla="*/ 628189 h 719629"/>
                  <a:gd name="connsiteX1" fmla="*/ 0 w 302574"/>
                  <a:gd name="connsiteY1" fmla="*/ 628189 h 719629"/>
                  <a:gd name="connsiteX2" fmla="*/ 0 w 302574"/>
                  <a:gd name="connsiteY2" fmla="*/ 0 h 719629"/>
                  <a:gd name="connsiteX3" fmla="*/ 211134 w 302574"/>
                  <a:gd name="connsiteY3" fmla="*/ 0 h 719629"/>
                  <a:gd name="connsiteX4" fmla="*/ 302574 w 302574"/>
                  <a:gd name="connsiteY4" fmla="*/ 719629 h 719629"/>
                  <a:gd name="connsiteX0" fmla="*/ 211134 w 211134"/>
                  <a:gd name="connsiteY0" fmla="*/ 628189 h 628189"/>
                  <a:gd name="connsiteX1" fmla="*/ 0 w 211134"/>
                  <a:gd name="connsiteY1" fmla="*/ 628189 h 628189"/>
                  <a:gd name="connsiteX2" fmla="*/ 0 w 211134"/>
                  <a:gd name="connsiteY2" fmla="*/ 0 h 628189"/>
                  <a:gd name="connsiteX3" fmla="*/ 211134 w 211134"/>
                  <a:gd name="connsiteY3" fmla="*/ 0 h 628189"/>
                  <a:gd name="connsiteX0" fmla="*/ 211134 w 211134"/>
                  <a:gd name="connsiteY0" fmla="*/ 628189 h 628189"/>
                  <a:gd name="connsiteX1" fmla="*/ 0 w 211134"/>
                  <a:gd name="connsiteY1" fmla="*/ 628189 h 628189"/>
                  <a:gd name="connsiteX2" fmla="*/ 0 w 211134"/>
                  <a:gd name="connsiteY2" fmla="*/ 0 h 628189"/>
                </a:gdLst>
                <a:ahLst/>
                <a:cxnLst>
                  <a:cxn ang="0">
                    <a:pos x="connsiteX0" y="connsiteY0"/>
                  </a:cxn>
                  <a:cxn ang="0">
                    <a:pos x="connsiteX1" y="connsiteY1"/>
                  </a:cxn>
                  <a:cxn ang="0">
                    <a:pos x="connsiteX2" y="connsiteY2"/>
                  </a:cxn>
                </a:cxnLst>
                <a:rect l="l" t="t" r="r" b="b"/>
                <a:pathLst>
                  <a:path w="211134" h="628189">
                    <a:moveTo>
                      <a:pt x="211134" y="628189"/>
                    </a:moveTo>
                    <a:lnTo>
                      <a:pt x="0" y="628189"/>
                    </a:lnTo>
                    <a:lnTo>
                      <a:pt x="0" y="0"/>
                    </a:lnTo>
                  </a:path>
                </a:pathLst>
              </a:custGeom>
              <a:noFill/>
              <a:ln w="12700">
                <a:solidFill>
                  <a:srgbClr val="9999A9"/>
                </a:solidFill>
                <a:miter lim="800000"/>
                <a:headEnd/>
                <a:tailEnd/>
              </a:ln>
              <a:effectLst/>
            </p:spPr>
            <p:txBody>
              <a:bodyPr wrap="square" lIns="108000" tIns="54000" rIns="108000" bIns="54000" numCol="1" spcCol="72000" rtlCol="0" anchor="ctr">
                <a:noAutofit/>
              </a:bodyPr>
              <a:lstStyle/>
              <a:p>
                <a:pPr algn="ctr">
                  <a:lnSpc>
                    <a:spcPct val="110000"/>
                  </a:lnSpc>
                  <a:spcBef>
                    <a:spcPts val="0"/>
                  </a:spcBef>
                  <a:buFont typeface="Wingdings" charset="0"/>
                  <a:buNone/>
                </a:pPr>
                <a:endParaRPr lang="en-US" sz="2000" dirty="0">
                  <a:ea typeface="Arial Unicode MS" panose="020B0604020202020204" pitchFamily="34" charset="-128"/>
                  <a:cs typeface="Arial Unicode MS" panose="020B0604020202020204" pitchFamily="34" charset="-128"/>
                </a:endParaRPr>
              </a:p>
            </p:txBody>
          </p:sp>
        </p:grpSp>
        <p:grpSp>
          <p:nvGrpSpPr>
            <p:cNvPr id="65" name="Group 64">
              <a:extLst>
                <a:ext uri="{FF2B5EF4-FFF2-40B4-BE49-F238E27FC236}">
                  <a16:creationId xmlns:a16="http://schemas.microsoft.com/office/drawing/2014/main" id="{B8ABB41E-1D9B-4D5F-8526-BED6DF71A970}"/>
                </a:ext>
              </a:extLst>
            </p:cNvPr>
            <p:cNvGrpSpPr/>
            <p:nvPr/>
          </p:nvGrpSpPr>
          <p:grpSpPr>
            <a:xfrm>
              <a:off x="10058400" y="2279956"/>
              <a:ext cx="143308" cy="2032844"/>
              <a:chOff x="411164" y="2279956"/>
              <a:chExt cx="143308" cy="2032844"/>
            </a:xfrm>
          </p:grpSpPr>
          <p:sp>
            <p:nvSpPr>
              <p:cNvPr id="66" name="Rechteck 4">
                <a:extLst>
                  <a:ext uri="{FF2B5EF4-FFF2-40B4-BE49-F238E27FC236}">
                    <a16:creationId xmlns:a16="http://schemas.microsoft.com/office/drawing/2014/main" id="{6EFC5A5D-5EC2-4358-81F5-F0F66B74BB37}"/>
                  </a:ext>
                </a:extLst>
              </p:cNvPr>
              <p:cNvSpPr/>
              <p:nvPr/>
            </p:nvSpPr>
            <p:spPr bwMode="gray">
              <a:xfrm>
                <a:off x="411164" y="2279956"/>
                <a:ext cx="143308" cy="594000"/>
              </a:xfrm>
              <a:custGeom>
                <a:avLst/>
                <a:gdLst>
                  <a:gd name="connsiteX0" fmla="*/ 0 w 211134"/>
                  <a:gd name="connsiteY0" fmla="*/ 0 h 628189"/>
                  <a:gd name="connsiteX1" fmla="*/ 211134 w 211134"/>
                  <a:gd name="connsiteY1" fmla="*/ 0 h 628189"/>
                  <a:gd name="connsiteX2" fmla="*/ 211134 w 211134"/>
                  <a:gd name="connsiteY2" fmla="*/ 628189 h 628189"/>
                  <a:gd name="connsiteX3" fmla="*/ 0 w 211134"/>
                  <a:gd name="connsiteY3" fmla="*/ 628189 h 628189"/>
                  <a:gd name="connsiteX4" fmla="*/ 0 w 211134"/>
                  <a:gd name="connsiteY4" fmla="*/ 0 h 628189"/>
                  <a:gd name="connsiteX0" fmla="*/ 211134 w 302574"/>
                  <a:gd name="connsiteY0" fmla="*/ 628189 h 719629"/>
                  <a:gd name="connsiteX1" fmla="*/ 0 w 302574"/>
                  <a:gd name="connsiteY1" fmla="*/ 628189 h 719629"/>
                  <a:gd name="connsiteX2" fmla="*/ 0 w 302574"/>
                  <a:gd name="connsiteY2" fmla="*/ 0 h 719629"/>
                  <a:gd name="connsiteX3" fmla="*/ 211134 w 302574"/>
                  <a:gd name="connsiteY3" fmla="*/ 0 h 719629"/>
                  <a:gd name="connsiteX4" fmla="*/ 302574 w 302574"/>
                  <a:gd name="connsiteY4" fmla="*/ 719629 h 719629"/>
                  <a:gd name="connsiteX0" fmla="*/ 211134 w 211134"/>
                  <a:gd name="connsiteY0" fmla="*/ 628189 h 628189"/>
                  <a:gd name="connsiteX1" fmla="*/ 0 w 211134"/>
                  <a:gd name="connsiteY1" fmla="*/ 628189 h 628189"/>
                  <a:gd name="connsiteX2" fmla="*/ 0 w 211134"/>
                  <a:gd name="connsiteY2" fmla="*/ 0 h 628189"/>
                  <a:gd name="connsiteX3" fmla="*/ 211134 w 211134"/>
                  <a:gd name="connsiteY3" fmla="*/ 0 h 628189"/>
                  <a:gd name="connsiteX0" fmla="*/ 211134 w 211134"/>
                  <a:gd name="connsiteY0" fmla="*/ 628189 h 628189"/>
                  <a:gd name="connsiteX1" fmla="*/ 0 w 211134"/>
                  <a:gd name="connsiteY1" fmla="*/ 628189 h 628189"/>
                  <a:gd name="connsiteX2" fmla="*/ 0 w 211134"/>
                  <a:gd name="connsiteY2" fmla="*/ 0 h 628189"/>
                </a:gdLst>
                <a:ahLst/>
                <a:cxnLst>
                  <a:cxn ang="0">
                    <a:pos x="connsiteX0" y="connsiteY0"/>
                  </a:cxn>
                  <a:cxn ang="0">
                    <a:pos x="connsiteX1" y="connsiteY1"/>
                  </a:cxn>
                  <a:cxn ang="0">
                    <a:pos x="connsiteX2" y="connsiteY2"/>
                  </a:cxn>
                </a:cxnLst>
                <a:rect l="l" t="t" r="r" b="b"/>
                <a:pathLst>
                  <a:path w="211134" h="628189">
                    <a:moveTo>
                      <a:pt x="211134" y="628189"/>
                    </a:moveTo>
                    <a:lnTo>
                      <a:pt x="0" y="628189"/>
                    </a:lnTo>
                    <a:lnTo>
                      <a:pt x="0" y="0"/>
                    </a:lnTo>
                  </a:path>
                </a:pathLst>
              </a:custGeom>
              <a:noFill/>
              <a:ln w="12700">
                <a:solidFill>
                  <a:srgbClr val="9999A9"/>
                </a:solidFill>
                <a:miter lim="800000"/>
                <a:headEnd/>
                <a:tailEnd/>
              </a:ln>
              <a:effectLst/>
            </p:spPr>
            <p:txBody>
              <a:bodyPr wrap="square" lIns="108000" tIns="54000" rIns="108000" bIns="54000" numCol="1" spcCol="72000" rtlCol="0" anchor="ctr">
                <a:noAutofit/>
              </a:bodyPr>
              <a:lstStyle/>
              <a:p>
                <a:pPr algn="ctr">
                  <a:lnSpc>
                    <a:spcPct val="110000"/>
                  </a:lnSpc>
                  <a:spcBef>
                    <a:spcPts val="0"/>
                  </a:spcBef>
                  <a:buFont typeface="Wingdings" charset="0"/>
                  <a:buNone/>
                </a:pPr>
                <a:endParaRPr lang="en-US" sz="2000" dirty="0">
                  <a:solidFill>
                    <a:schemeClr val="tx1"/>
                  </a:solidFill>
                  <a:ea typeface="Arial Unicode MS" panose="020B0604020202020204" pitchFamily="34" charset="-128"/>
                  <a:cs typeface="Arial Unicode MS" panose="020B0604020202020204" pitchFamily="34" charset="-128"/>
                </a:endParaRPr>
              </a:p>
            </p:txBody>
          </p:sp>
          <p:sp>
            <p:nvSpPr>
              <p:cNvPr id="67" name="Rechteck 4">
                <a:extLst>
                  <a:ext uri="{FF2B5EF4-FFF2-40B4-BE49-F238E27FC236}">
                    <a16:creationId xmlns:a16="http://schemas.microsoft.com/office/drawing/2014/main" id="{855528F4-F72D-4442-986D-769EB4CF345B}"/>
                  </a:ext>
                </a:extLst>
              </p:cNvPr>
              <p:cNvSpPr/>
              <p:nvPr/>
            </p:nvSpPr>
            <p:spPr bwMode="gray">
              <a:xfrm>
                <a:off x="411164" y="2872800"/>
                <a:ext cx="143308" cy="720000"/>
              </a:xfrm>
              <a:custGeom>
                <a:avLst/>
                <a:gdLst>
                  <a:gd name="connsiteX0" fmla="*/ 0 w 211134"/>
                  <a:gd name="connsiteY0" fmla="*/ 0 h 628189"/>
                  <a:gd name="connsiteX1" fmla="*/ 211134 w 211134"/>
                  <a:gd name="connsiteY1" fmla="*/ 0 h 628189"/>
                  <a:gd name="connsiteX2" fmla="*/ 211134 w 211134"/>
                  <a:gd name="connsiteY2" fmla="*/ 628189 h 628189"/>
                  <a:gd name="connsiteX3" fmla="*/ 0 w 211134"/>
                  <a:gd name="connsiteY3" fmla="*/ 628189 h 628189"/>
                  <a:gd name="connsiteX4" fmla="*/ 0 w 211134"/>
                  <a:gd name="connsiteY4" fmla="*/ 0 h 628189"/>
                  <a:gd name="connsiteX0" fmla="*/ 211134 w 302574"/>
                  <a:gd name="connsiteY0" fmla="*/ 628189 h 719629"/>
                  <a:gd name="connsiteX1" fmla="*/ 0 w 302574"/>
                  <a:gd name="connsiteY1" fmla="*/ 628189 h 719629"/>
                  <a:gd name="connsiteX2" fmla="*/ 0 w 302574"/>
                  <a:gd name="connsiteY2" fmla="*/ 0 h 719629"/>
                  <a:gd name="connsiteX3" fmla="*/ 211134 w 302574"/>
                  <a:gd name="connsiteY3" fmla="*/ 0 h 719629"/>
                  <a:gd name="connsiteX4" fmla="*/ 302574 w 302574"/>
                  <a:gd name="connsiteY4" fmla="*/ 719629 h 719629"/>
                  <a:gd name="connsiteX0" fmla="*/ 211134 w 211134"/>
                  <a:gd name="connsiteY0" fmla="*/ 628189 h 628189"/>
                  <a:gd name="connsiteX1" fmla="*/ 0 w 211134"/>
                  <a:gd name="connsiteY1" fmla="*/ 628189 h 628189"/>
                  <a:gd name="connsiteX2" fmla="*/ 0 w 211134"/>
                  <a:gd name="connsiteY2" fmla="*/ 0 h 628189"/>
                  <a:gd name="connsiteX3" fmla="*/ 211134 w 211134"/>
                  <a:gd name="connsiteY3" fmla="*/ 0 h 628189"/>
                  <a:gd name="connsiteX0" fmla="*/ 211134 w 211134"/>
                  <a:gd name="connsiteY0" fmla="*/ 628189 h 628189"/>
                  <a:gd name="connsiteX1" fmla="*/ 0 w 211134"/>
                  <a:gd name="connsiteY1" fmla="*/ 628189 h 628189"/>
                  <a:gd name="connsiteX2" fmla="*/ 0 w 211134"/>
                  <a:gd name="connsiteY2" fmla="*/ 0 h 628189"/>
                </a:gdLst>
                <a:ahLst/>
                <a:cxnLst>
                  <a:cxn ang="0">
                    <a:pos x="connsiteX0" y="connsiteY0"/>
                  </a:cxn>
                  <a:cxn ang="0">
                    <a:pos x="connsiteX1" y="connsiteY1"/>
                  </a:cxn>
                  <a:cxn ang="0">
                    <a:pos x="connsiteX2" y="connsiteY2"/>
                  </a:cxn>
                </a:cxnLst>
                <a:rect l="l" t="t" r="r" b="b"/>
                <a:pathLst>
                  <a:path w="211134" h="628189">
                    <a:moveTo>
                      <a:pt x="211134" y="628189"/>
                    </a:moveTo>
                    <a:lnTo>
                      <a:pt x="0" y="628189"/>
                    </a:lnTo>
                    <a:lnTo>
                      <a:pt x="0" y="0"/>
                    </a:lnTo>
                  </a:path>
                </a:pathLst>
              </a:custGeom>
              <a:noFill/>
              <a:ln w="12700">
                <a:solidFill>
                  <a:srgbClr val="9999A9"/>
                </a:solidFill>
                <a:miter lim="800000"/>
                <a:headEnd/>
                <a:tailEnd/>
              </a:ln>
              <a:effectLst/>
            </p:spPr>
            <p:txBody>
              <a:bodyPr wrap="square" lIns="108000" tIns="54000" rIns="108000" bIns="54000" numCol="1" spcCol="72000" rtlCol="0" anchor="ctr">
                <a:noAutofit/>
              </a:bodyPr>
              <a:lstStyle/>
              <a:p>
                <a:pPr algn="ctr">
                  <a:lnSpc>
                    <a:spcPct val="110000"/>
                  </a:lnSpc>
                  <a:spcBef>
                    <a:spcPts val="0"/>
                  </a:spcBef>
                  <a:buFont typeface="Wingdings" charset="0"/>
                  <a:buNone/>
                </a:pPr>
                <a:endParaRPr lang="en-US" sz="2000" dirty="0">
                  <a:ea typeface="Arial Unicode MS" panose="020B0604020202020204" pitchFamily="34" charset="-128"/>
                  <a:cs typeface="Arial Unicode MS" panose="020B0604020202020204" pitchFamily="34" charset="-128"/>
                </a:endParaRPr>
              </a:p>
            </p:txBody>
          </p:sp>
          <p:sp>
            <p:nvSpPr>
              <p:cNvPr id="89" name="Rechteck 4">
                <a:extLst>
                  <a:ext uri="{FF2B5EF4-FFF2-40B4-BE49-F238E27FC236}">
                    <a16:creationId xmlns:a16="http://schemas.microsoft.com/office/drawing/2014/main" id="{78CCB479-FE39-4B34-AE4A-DAE830ED7029}"/>
                  </a:ext>
                </a:extLst>
              </p:cNvPr>
              <p:cNvSpPr/>
              <p:nvPr/>
            </p:nvSpPr>
            <p:spPr bwMode="gray">
              <a:xfrm>
                <a:off x="411164" y="3592800"/>
                <a:ext cx="143308" cy="720000"/>
              </a:xfrm>
              <a:custGeom>
                <a:avLst/>
                <a:gdLst>
                  <a:gd name="connsiteX0" fmla="*/ 0 w 211134"/>
                  <a:gd name="connsiteY0" fmla="*/ 0 h 628189"/>
                  <a:gd name="connsiteX1" fmla="*/ 211134 w 211134"/>
                  <a:gd name="connsiteY1" fmla="*/ 0 h 628189"/>
                  <a:gd name="connsiteX2" fmla="*/ 211134 w 211134"/>
                  <a:gd name="connsiteY2" fmla="*/ 628189 h 628189"/>
                  <a:gd name="connsiteX3" fmla="*/ 0 w 211134"/>
                  <a:gd name="connsiteY3" fmla="*/ 628189 h 628189"/>
                  <a:gd name="connsiteX4" fmla="*/ 0 w 211134"/>
                  <a:gd name="connsiteY4" fmla="*/ 0 h 628189"/>
                  <a:gd name="connsiteX0" fmla="*/ 211134 w 302574"/>
                  <a:gd name="connsiteY0" fmla="*/ 628189 h 719629"/>
                  <a:gd name="connsiteX1" fmla="*/ 0 w 302574"/>
                  <a:gd name="connsiteY1" fmla="*/ 628189 h 719629"/>
                  <a:gd name="connsiteX2" fmla="*/ 0 w 302574"/>
                  <a:gd name="connsiteY2" fmla="*/ 0 h 719629"/>
                  <a:gd name="connsiteX3" fmla="*/ 211134 w 302574"/>
                  <a:gd name="connsiteY3" fmla="*/ 0 h 719629"/>
                  <a:gd name="connsiteX4" fmla="*/ 302574 w 302574"/>
                  <a:gd name="connsiteY4" fmla="*/ 719629 h 719629"/>
                  <a:gd name="connsiteX0" fmla="*/ 211134 w 211134"/>
                  <a:gd name="connsiteY0" fmla="*/ 628189 h 628189"/>
                  <a:gd name="connsiteX1" fmla="*/ 0 w 211134"/>
                  <a:gd name="connsiteY1" fmla="*/ 628189 h 628189"/>
                  <a:gd name="connsiteX2" fmla="*/ 0 w 211134"/>
                  <a:gd name="connsiteY2" fmla="*/ 0 h 628189"/>
                  <a:gd name="connsiteX3" fmla="*/ 211134 w 211134"/>
                  <a:gd name="connsiteY3" fmla="*/ 0 h 628189"/>
                  <a:gd name="connsiteX0" fmla="*/ 211134 w 211134"/>
                  <a:gd name="connsiteY0" fmla="*/ 628189 h 628189"/>
                  <a:gd name="connsiteX1" fmla="*/ 0 w 211134"/>
                  <a:gd name="connsiteY1" fmla="*/ 628189 h 628189"/>
                  <a:gd name="connsiteX2" fmla="*/ 0 w 211134"/>
                  <a:gd name="connsiteY2" fmla="*/ 0 h 628189"/>
                </a:gdLst>
                <a:ahLst/>
                <a:cxnLst>
                  <a:cxn ang="0">
                    <a:pos x="connsiteX0" y="connsiteY0"/>
                  </a:cxn>
                  <a:cxn ang="0">
                    <a:pos x="connsiteX1" y="connsiteY1"/>
                  </a:cxn>
                  <a:cxn ang="0">
                    <a:pos x="connsiteX2" y="connsiteY2"/>
                  </a:cxn>
                </a:cxnLst>
                <a:rect l="l" t="t" r="r" b="b"/>
                <a:pathLst>
                  <a:path w="211134" h="628189">
                    <a:moveTo>
                      <a:pt x="211134" y="628189"/>
                    </a:moveTo>
                    <a:lnTo>
                      <a:pt x="0" y="628189"/>
                    </a:lnTo>
                    <a:lnTo>
                      <a:pt x="0" y="0"/>
                    </a:lnTo>
                  </a:path>
                </a:pathLst>
              </a:custGeom>
              <a:noFill/>
              <a:ln w="12700">
                <a:solidFill>
                  <a:srgbClr val="9999A9"/>
                </a:solidFill>
                <a:miter lim="800000"/>
                <a:headEnd/>
                <a:tailEnd/>
              </a:ln>
              <a:effectLst/>
            </p:spPr>
            <p:txBody>
              <a:bodyPr wrap="square" lIns="108000" tIns="54000" rIns="108000" bIns="54000" numCol="1" spcCol="72000" rtlCol="0" anchor="ctr">
                <a:noAutofit/>
              </a:bodyPr>
              <a:lstStyle/>
              <a:p>
                <a:pPr algn="ctr">
                  <a:lnSpc>
                    <a:spcPct val="110000"/>
                  </a:lnSpc>
                  <a:spcBef>
                    <a:spcPts val="0"/>
                  </a:spcBef>
                  <a:buFont typeface="Wingdings" charset="0"/>
                  <a:buNone/>
                </a:pPr>
                <a:endParaRPr lang="en-US" sz="2000" dirty="0">
                  <a:ea typeface="Arial Unicode MS" panose="020B0604020202020204" pitchFamily="34" charset="-128"/>
                  <a:cs typeface="Arial Unicode MS" panose="020B0604020202020204" pitchFamily="34" charset="-128"/>
                </a:endParaRPr>
              </a:p>
            </p:txBody>
          </p:sp>
        </p:grpSp>
      </p:grpSp>
    </p:spTree>
    <p:extLst>
      <p:ext uri="{BB962C8B-B14F-4D97-AF65-F5344CB8AC3E}">
        <p14:creationId xmlns:p14="http://schemas.microsoft.com/office/powerpoint/2010/main" val="7470566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p:cNvSpPr/>
          <p:nvPr/>
        </p:nvSpPr>
        <p:spPr>
          <a:xfrm>
            <a:off x="2714400" y="2278800"/>
            <a:ext cx="2160000" cy="431823"/>
          </a:xfrm>
          <a:prstGeom prst="rect">
            <a:avLst/>
          </a:prstGeom>
          <a:solidFill>
            <a:srgbClr val="00646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b="1" dirty="0">
                <a:solidFill>
                  <a:schemeClr val="bg1"/>
                </a:solidFill>
              </a:rPr>
              <a:t>Maecenas nec odio</a:t>
            </a:r>
          </a:p>
        </p:txBody>
      </p:sp>
      <p:sp>
        <p:nvSpPr>
          <p:cNvPr id="59" name="Rechteck 58"/>
          <p:cNvSpPr/>
          <p:nvPr/>
        </p:nvSpPr>
        <p:spPr>
          <a:xfrm>
            <a:off x="410400" y="2278800"/>
            <a:ext cx="2160000" cy="431823"/>
          </a:xfrm>
          <a:prstGeom prst="rect">
            <a:avLst/>
          </a:prstGeom>
          <a:solidFill>
            <a:srgbClr val="00646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b="1" dirty="0">
                <a:solidFill>
                  <a:schemeClr val="bg1"/>
                </a:solidFill>
              </a:rPr>
              <a:t>Duis arcu tortor</a:t>
            </a:r>
          </a:p>
        </p:txBody>
      </p:sp>
      <p:sp>
        <p:nvSpPr>
          <p:cNvPr id="2" name="Titel 1"/>
          <p:cNvSpPr>
            <a:spLocks noGrp="1"/>
          </p:cNvSpPr>
          <p:nvPr>
            <p:ph type="title"/>
          </p:nvPr>
        </p:nvSpPr>
        <p:spPr>
          <a:xfrm>
            <a:off x="410400" y="478800"/>
            <a:ext cx="9863997" cy="576000"/>
          </a:xfrm>
        </p:spPr>
        <p:txBody>
          <a:bodyPr/>
          <a:lstStyle/>
          <a:p>
            <a:r>
              <a:rPr lang="en-US" dirty="0"/>
              <a:t>Organigram – different sublevels</a:t>
            </a:r>
          </a:p>
        </p:txBody>
      </p:sp>
      <p:sp>
        <p:nvSpPr>
          <p:cNvPr id="4" name="Rechteck 3"/>
          <p:cNvSpPr>
            <a:spLocks/>
          </p:cNvSpPr>
          <p:nvPr/>
        </p:nvSpPr>
        <p:spPr>
          <a:xfrm>
            <a:off x="410400" y="1415849"/>
            <a:ext cx="11376000" cy="431823"/>
          </a:xfrm>
          <a:prstGeom prst="rect">
            <a:avLst/>
          </a:prstGeom>
          <a:solidFill>
            <a:srgbClr val="00FFB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107944"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199" b="1" dirty="0">
                <a:solidFill>
                  <a:schemeClr val="tx2"/>
                </a:solidFill>
              </a:rPr>
              <a:t>Consetetur sadipscing elitr, seddiam nonumy</a:t>
            </a:r>
          </a:p>
        </p:txBody>
      </p:sp>
      <p:sp>
        <p:nvSpPr>
          <p:cNvPr id="5" name="Rechteck 4"/>
          <p:cNvSpPr/>
          <p:nvPr/>
        </p:nvSpPr>
        <p:spPr>
          <a:xfrm>
            <a:off x="5018400" y="2278800"/>
            <a:ext cx="2160000" cy="431823"/>
          </a:xfrm>
          <a:prstGeom prst="rect">
            <a:avLst/>
          </a:prstGeom>
          <a:solidFill>
            <a:srgbClr val="00646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b="1" dirty="0">
                <a:solidFill>
                  <a:schemeClr val="bg1"/>
                </a:solidFill>
              </a:rPr>
              <a:t>At vero eos et accusam</a:t>
            </a:r>
          </a:p>
        </p:txBody>
      </p:sp>
      <p:sp>
        <p:nvSpPr>
          <p:cNvPr id="6" name="Rechteck 5"/>
          <p:cNvSpPr/>
          <p:nvPr/>
        </p:nvSpPr>
        <p:spPr>
          <a:xfrm>
            <a:off x="7322400" y="2278800"/>
            <a:ext cx="2160000" cy="431823"/>
          </a:xfrm>
          <a:prstGeom prst="rect">
            <a:avLst/>
          </a:prstGeom>
          <a:solidFill>
            <a:srgbClr val="00646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b="1" dirty="0">
                <a:solidFill>
                  <a:schemeClr val="bg1"/>
                </a:solidFill>
              </a:rPr>
              <a:t>Phasellus nec sem</a:t>
            </a:r>
          </a:p>
        </p:txBody>
      </p:sp>
      <p:sp>
        <p:nvSpPr>
          <p:cNvPr id="10" name="Rechteck 9"/>
          <p:cNvSpPr/>
          <p:nvPr/>
        </p:nvSpPr>
        <p:spPr>
          <a:xfrm>
            <a:off x="3002400" y="2854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Duis arcu tortor</a:t>
            </a:r>
          </a:p>
        </p:txBody>
      </p:sp>
      <p:sp>
        <p:nvSpPr>
          <p:cNvPr id="11" name="Rechteck 10"/>
          <p:cNvSpPr/>
          <p:nvPr/>
        </p:nvSpPr>
        <p:spPr>
          <a:xfrm>
            <a:off x="3002400" y="3358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At vero eos et accusam</a:t>
            </a:r>
          </a:p>
        </p:txBody>
      </p:sp>
      <p:sp>
        <p:nvSpPr>
          <p:cNvPr id="12" name="Rechteck 11"/>
          <p:cNvSpPr/>
          <p:nvPr/>
        </p:nvSpPr>
        <p:spPr>
          <a:xfrm>
            <a:off x="3002400" y="3862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Phasellus nec sem</a:t>
            </a:r>
          </a:p>
        </p:txBody>
      </p:sp>
      <p:sp>
        <p:nvSpPr>
          <p:cNvPr id="13" name="Rechteck 12"/>
          <p:cNvSpPr/>
          <p:nvPr/>
        </p:nvSpPr>
        <p:spPr>
          <a:xfrm>
            <a:off x="3002400" y="4366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Duis arcu tortor</a:t>
            </a:r>
          </a:p>
        </p:txBody>
      </p:sp>
      <p:sp>
        <p:nvSpPr>
          <p:cNvPr id="14" name="Rechteck 13"/>
          <p:cNvSpPr/>
          <p:nvPr/>
        </p:nvSpPr>
        <p:spPr>
          <a:xfrm>
            <a:off x="2664143" y="2492371"/>
            <a:ext cx="84301" cy="2159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107944"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dirty="0"/>
          </a:p>
        </p:txBody>
      </p:sp>
      <p:sp>
        <p:nvSpPr>
          <p:cNvPr id="19" name="Rechteck 18"/>
          <p:cNvSpPr/>
          <p:nvPr/>
        </p:nvSpPr>
        <p:spPr>
          <a:xfrm>
            <a:off x="5306400" y="2854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Maecenas nec odio</a:t>
            </a:r>
          </a:p>
        </p:txBody>
      </p:sp>
      <p:sp>
        <p:nvSpPr>
          <p:cNvPr id="20" name="Rechteck 19"/>
          <p:cNvSpPr/>
          <p:nvPr/>
        </p:nvSpPr>
        <p:spPr>
          <a:xfrm>
            <a:off x="5306400" y="3358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Phasellus nec sem</a:t>
            </a:r>
          </a:p>
        </p:txBody>
      </p:sp>
      <p:sp>
        <p:nvSpPr>
          <p:cNvPr id="24" name="Rechteck 23"/>
          <p:cNvSpPr/>
          <p:nvPr/>
        </p:nvSpPr>
        <p:spPr>
          <a:xfrm>
            <a:off x="7610400" y="2854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Maecenas nec odio</a:t>
            </a:r>
          </a:p>
        </p:txBody>
      </p:sp>
      <p:sp>
        <p:nvSpPr>
          <p:cNvPr id="25" name="Rechteck 24"/>
          <p:cNvSpPr/>
          <p:nvPr/>
        </p:nvSpPr>
        <p:spPr>
          <a:xfrm>
            <a:off x="7610400" y="3358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Phasellus nec sem</a:t>
            </a:r>
          </a:p>
        </p:txBody>
      </p:sp>
      <p:sp>
        <p:nvSpPr>
          <p:cNvPr id="26" name="Rechteck 25"/>
          <p:cNvSpPr/>
          <p:nvPr/>
        </p:nvSpPr>
        <p:spPr>
          <a:xfrm>
            <a:off x="7610400" y="3862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Duis arcu tortor</a:t>
            </a:r>
          </a:p>
        </p:txBody>
      </p:sp>
      <p:cxnSp>
        <p:nvCxnSpPr>
          <p:cNvPr id="31" name="Gerade Verbindung 30"/>
          <p:cNvCxnSpPr>
            <a:stCxn id="4" idx="2"/>
            <a:endCxn id="5" idx="0"/>
          </p:cNvCxnSpPr>
          <p:nvPr/>
        </p:nvCxnSpPr>
        <p:spPr>
          <a:xfrm>
            <a:off x="6098400" y="1847672"/>
            <a:ext cx="0" cy="431128"/>
          </a:xfrm>
          <a:prstGeom prst="line">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sp>
        <p:nvSpPr>
          <p:cNvPr id="49" name="Rechteck 48"/>
          <p:cNvSpPr/>
          <p:nvPr/>
        </p:nvSpPr>
        <p:spPr>
          <a:xfrm>
            <a:off x="9626400" y="2278800"/>
            <a:ext cx="2160000" cy="431823"/>
          </a:xfrm>
          <a:prstGeom prst="rect">
            <a:avLst/>
          </a:prstGeom>
          <a:solidFill>
            <a:srgbClr val="00646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b="1" dirty="0">
                <a:solidFill>
                  <a:schemeClr val="bg1"/>
                </a:solidFill>
              </a:rPr>
              <a:t>Maecenas nec odio</a:t>
            </a:r>
          </a:p>
        </p:txBody>
      </p:sp>
      <p:sp>
        <p:nvSpPr>
          <p:cNvPr id="50" name="Rechteck 49"/>
          <p:cNvSpPr/>
          <p:nvPr/>
        </p:nvSpPr>
        <p:spPr>
          <a:xfrm>
            <a:off x="9914400" y="2854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At vero eos et accusam</a:t>
            </a:r>
          </a:p>
        </p:txBody>
      </p:sp>
      <p:sp>
        <p:nvSpPr>
          <p:cNvPr id="51" name="Rechteck 50"/>
          <p:cNvSpPr/>
          <p:nvPr/>
        </p:nvSpPr>
        <p:spPr>
          <a:xfrm>
            <a:off x="9914400" y="3358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Maecenas nec odio</a:t>
            </a:r>
          </a:p>
        </p:txBody>
      </p:sp>
      <p:sp>
        <p:nvSpPr>
          <p:cNvPr id="52" name="Rechteck 51"/>
          <p:cNvSpPr/>
          <p:nvPr/>
        </p:nvSpPr>
        <p:spPr>
          <a:xfrm>
            <a:off x="9914400" y="3862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At vero eos et accusam</a:t>
            </a:r>
          </a:p>
        </p:txBody>
      </p:sp>
      <p:sp>
        <p:nvSpPr>
          <p:cNvPr id="60" name="Rechteck 59"/>
          <p:cNvSpPr/>
          <p:nvPr/>
        </p:nvSpPr>
        <p:spPr>
          <a:xfrm>
            <a:off x="698400" y="2854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Phasellus nec sem</a:t>
            </a:r>
          </a:p>
        </p:txBody>
      </p:sp>
      <p:sp>
        <p:nvSpPr>
          <p:cNvPr id="61" name="Rechteck 60"/>
          <p:cNvSpPr/>
          <p:nvPr/>
        </p:nvSpPr>
        <p:spPr>
          <a:xfrm>
            <a:off x="698400" y="3358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Maecenas nec odio</a:t>
            </a:r>
          </a:p>
        </p:txBody>
      </p:sp>
      <p:sp>
        <p:nvSpPr>
          <p:cNvPr id="62" name="Rechteck 61"/>
          <p:cNvSpPr/>
          <p:nvPr/>
        </p:nvSpPr>
        <p:spPr>
          <a:xfrm>
            <a:off x="698400" y="3862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Duis arcu tortor</a:t>
            </a:r>
          </a:p>
        </p:txBody>
      </p:sp>
      <p:sp>
        <p:nvSpPr>
          <p:cNvPr id="72" name="Rechteck 71"/>
          <p:cNvSpPr/>
          <p:nvPr/>
        </p:nvSpPr>
        <p:spPr>
          <a:xfrm>
            <a:off x="698400" y="4366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At vero eos et accusam</a:t>
            </a:r>
          </a:p>
        </p:txBody>
      </p:sp>
      <p:sp>
        <p:nvSpPr>
          <p:cNvPr id="78" name="Rechteck 77"/>
          <p:cNvSpPr/>
          <p:nvPr/>
        </p:nvSpPr>
        <p:spPr>
          <a:xfrm>
            <a:off x="5306400" y="3862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Maecenas nec odio</a:t>
            </a:r>
          </a:p>
        </p:txBody>
      </p:sp>
      <p:sp>
        <p:nvSpPr>
          <p:cNvPr id="79" name="Rechteck 78"/>
          <p:cNvSpPr/>
          <p:nvPr/>
        </p:nvSpPr>
        <p:spPr>
          <a:xfrm>
            <a:off x="5306400" y="4366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Phasellus nec sem</a:t>
            </a:r>
          </a:p>
        </p:txBody>
      </p:sp>
      <p:sp>
        <p:nvSpPr>
          <p:cNvPr id="81" name="Rechteck 80"/>
          <p:cNvSpPr/>
          <p:nvPr/>
        </p:nvSpPr>
        <p:spPr>
          <a:xfrm>
            <a:off x="9914400" y="4366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Duis arcu tortor</a:t>
            </a:r>
          </a:p>
        </p:txBody>
      </p:sp>
      <p:sp>
        <p:nvSpPr>
          <p:cNvPr id="83" name="Rechteck 82"/>
          <p:cNvSpPr/>
          <p:nvPr/>
        </p:nvSpPr>
        <p:spPr>
          <a:xfrm>
            <a:off x="7610400" y="4366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Maecenas nec odio</a:t>
            </a:r>
          </a:p>
        </p:txBody>
      </p:sp>
      <p:sp>
        <p:nvSpPr>
          <p:cNvPr id="103" name="Rechteck 102"/>
          <p:cNvSpPr/>
          <p:nvPr/>
        </p:nvSpPr>
        <p:spPr>
          <a:xfrm>
            <a:off x="7610400" y="4870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At vero eos et accusam</a:t>
            </a:r>
          </a:p>
        </p:txBody>
      </p:sp>
      <p:sp>
        <p:nvSpPr>
          <p:cNvPr id="104" name="Rechteck 103"/>
          <p:cNvSpPr/>
          <p:nvPr/>
        </p:nvSpPr>
        <p:spPr>
          <a:xfrm>
            <a:off x="7610400" y="5374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Duis arcu tortor</a:t>
            </a:r>
          </a:p>
        </p:txBody>
      </p:sp>
      <p:sp>
        <p:nvSpPr>
          <p:cNvPr id="105" name="Rechteck 104"/>
          <p:cNvSpPr/>
          <p:nvPr/>
        </p:nvSpPr>
        <p:spPr>
          <a:xfrm>
            <a:off x="5306400" y="4870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Maecenas nec odio</a:t>
            </a:r>
          </a:p>
        </p:txBody>
      </p:sp>
      <p:sp>
        <p:nvSpPr>
          <p:cNvPr id="106" name="Rechteck 105"/>
          <p:cNvSpPr/>
          <p:nvPr/>
        </p:nvSpPr>
        <p:spPr>
          <a:xfrm>
            <a:off x="5306400" y="5374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Maecenas nec odio</a:t>
            </a:r>
          </a:p>
        </p:txBody>
      </p:sp>
      <p:sp>
        <p:nvSpPr>
          <p:cNvPr id="107" name="Rechteck 106"/>
          <p:cNvSpPr/>
          <p:nvPr/>
        </p:nvSpPr>
        <p:spPr>
          <a:xfrm>
            <a:off x="3002400" y="4870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Maecenas nec odio</a:t>
            </a:r>
          </a:p>
        </p:txBody>
      </p:sp>
      <p:sp>
        <p:nvSpPr>
          <p:cNvPr id="108" name="Rechteck 107"/>
          <p:cNvSpPr/>
          <p:nvPr/>
        </p:nvSpPr>
        <p:spPr>
          <a:xfrm>
            <a:off x="3002400" y="5374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At vero eos et accusam</a:t>
            </a:r>
          </a:p>
        </p:txBody>
      </p:sp>
      <p:sp>
        <p:nvSpPr>
          <p:cNvPr id="109" name="Rechteck 108"/>
          <p:cNvSpPr/>
          <p:nvPr/>
        </p:nvSpPr>
        <p:spPr>
          <a:xfrm>
            <a:off x="698400" y="4870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Maecenas nec odio</a:t>
            </a:r>
          </a:p>
        </p:txBody>
      </p:sp>
      <p:sp>
        <p:nvSpPr>
          <p:cNvPr id="110" name="Rechteck 109"/>
          <p:cNvSpPr/>
          <p:nvPr/>
        </p:nvSpPr>
        <p:spPr>
          <a:xfrm>
            <a:off x="698400" y="5374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Maecenas nec odio</a:t>
            </a:r>
          </a:p>
        </p:txBody>
      </p:sp>
      <p:sp>
        <p:nvSpPr>
          <p:cNvPr id="111" name="Rechteck 110"/>
          <p:cNvSpPr/>
          <p:nvPr/>
        </p:nvSpPr>
        <p:spPr>
          <a:xfrm>
            <a:off x="9914400" y="4870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Phasellus nec sem</a:t>
            </a:r>
          </a:p>
        </p:txBody>
      </p:sp>
      <p:sp>
        <p:nvSpPr>
          <p:cNvPr id="112" name="Rechteck 111"/>
          <p:cNvSpPr/>
          <p:nvPr/>
        </p:nvSpPr>
        <p:spPr>
          <a:xfrm>
            <a:off x="9914400" y="5374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Maecenas nec odio</a:t>
            </a:r>
          </a:p>
        </p:txBody>
      </p:sp>
      <p:grpSp>
        <p:nvGrpSpPr>
          <p:cNvPr id="9" name="Group 8">
            <a:extLst>
              <a:ext uri="{FF2B5EF4-FFF2-40B4-BE49-F238E27FC236}">
                <a16:creationId xmlns:a16="http://schemas.microsoft.com/office/drawing/2014/main" id="{63592144-F7F5-4F72-B783-0DF27094FEFB}"/>
              </a:ext>
            </a:extLst>
          </p:cNvPr>
          <p:cNvGrpSpPr/>
          <p:nvPr/>
        </p:nvGrpSpPr>
        <p:grpSpPr>
          <a:xfrm>
            <a:off x="514800" y="2708282"/>
            <a:ext cx="180000" cy="2882429"/>
            <a:chOff x="514800" y="2708282"/>
            <a:chExt cx="180000" cy="2882429"/>
          </a:xfrm>
        </p:grpSpPr>
        <p:cxnSp>
          <p:nvCxnSpPr>
            <p:cNvPr id="64" name="Gewinkelte Verbindung 63"/>
            <p:cNvCxnSpPr>
              <a:cxnSpLocks/>
              <a:endCxn id="60" idx="1"/>
            </p:cNvCxnSpPr>
            <p:nvPr/>
          </p:nvCxnSpPr>
          <p:spPr>
            <a:xfrm rot="16200000" flipH="1">
              <a:off x="423585" y="2799497"/>
              <a:ext cx="362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cxnSp>
          <p:nvCxnSpPr>
            <p:cNvPr id="65" name="Gewinkelte Verbindung 64"/>
            <p:cNvCxnSpPr>
              <a:cxnSpLocks/>
              <a:endCxn id="61" idx="1"/>
            </p:cNvCxnSpPr>
            <p:nvPr/>
          </p:nvCxnSpPr>
          <p:spPr>
            <a:xfrm rot="16200000" flipH="1">
              <a:off x="171585" y="3051497"/>
              <a:ext cx="866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cxnSp>
          <p:nvCxnSpPr>
            <p:cNvPr id="66" name="Gewinkelte Verbindung 65"/>
            <p:cNvCxnSpPr>
              <a:cxnSpLocks/>
              <a:endCxn id="62" idx="1"/>
            </p:cNvCxnSpPr>
            <p:nvPr/>
          </p:nvCxnSpPr>
          <p:spPr>
            <a:xfrm rot="16200000" flipH="1">
              <a:off x="-80415" y="3303497"/>
              <a:ext cx="1370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cxnSp>
          <p:nvCxnSpPr>
            <p:cNvPr id="73" name="Gewinkelte Verbindung 72"/>
            <p:cNvCxnSpPr>
              <a:cxnSpLocks/>
              <a:endCxn id="72" idx="1"/>
            </p:cNvCxnSpPr>
            <p:nvPr/>
          </p:nvCxnSpPr>
          <p:spPr>
            <a:xfrm rot="16200000" flipH="1">
              <a:off x="-332415" y="3555497"/>
              <a:ext cx="1874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cxnSp>
          <p:nvCxnSpPr>
            <p:cNvPr id="129" name="Gewinkelte Verbindung 128"/>
            <p:cNvCxnSpPr>
              <a:cxnSpLocks/>
              <a:endCxn id="110" idx="1"/>
            </p:cNvCxnSpPr>
            <p:nvPr/>
          </p:nvCxnSpPr>
          <p:spPr>
            <a:xfrm rot="16200000" flipH="1">
              <a:off x="-836415" y="4059497"/>
              <a:ext cx="2882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cxnSp>
          <p:nvCxnSpPr>
            <p:cNvPr id="130" name="Gewinkelte Verbindung 129"/>
            <p:cNvCxnSpPr>
              <a:cxnSpLocks/>
              <a:endCxn id="109" idx="1"/>
            </p:cNvCxnSpPr>
            <p:nvPr/>
          </p:nvCxnSpPr>
          <p:spPr>
            <a:xfrm rot="16200000" flipH="1">
              <a:off x="-584415" y="3807497"/>
              <a:ext cx="2378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grpSp>
      <p:cxnSp>
        <p:nvCxnSpPr>
          <p:cNvPr id="32" name="Connector: Elbow 31">
            <a:extLst>
              <a:ext uri="{FF2B5EF4-FFF2-40B4-BE49-F238E27FC236}">
                <a16:creationId xmlns:a16="http://schemas.microsoft.com/office/drawing/2014/main" id="{4314E6E5-8567-41D5-B363-90C907958447}"/>
              </a:ext>
            </a:extLst>
          </p:cNvPr>
          <p:cNvCxnSpPr>
            <a:stCxn id="59" idx="0"/>
            <a:endCxn id="49" idx="0"/>
          </p:cNvCxnSpPr>
          <p:nvPr/>
        </p:nvCxnSpPr>
        <p:spPr bwMode="auto">
          <a:xfrm rot="5400000" flipH="1" flipV="1">
            <a:off x="6098400" y="-2329200"/>
            <a:ext cx="12700" cy="9216000"/>
          </a:xfrm>
          <a:prstGeom prst="bentConnector3">
            <a:avLst>
              <a:gd name="adj1" fmla="val 1800000"/>
            </a:avLst>
          </a:prstGeom>
          <a:solidFill>
            <a:schemeClr val="tx2"/>
          </a:solidFill>
          <a:ln w="12700" cap="flat" cmpd="sng" algn="ctr">
            <a:solidFill>
              <a:srgbClr val="66667E"/>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4" name="Connector: Elbow 33">
            <a:extLst>
              <a:ext uri="{FF2B5EF4-FFF2-40B4-BE49-F238E27FC236}">
                <a16:creationId xmlns:a16="http://schemas.microsoft.com/office/drawing/2014/main" id="{EFE4A24D-0231-4796-BE09-70D355FB7AAA}"/>
              </a:ext>
            </a:extLst>
          </p:cNvPr>
          <p:cNvCxnSpPr>
            <a:stCxn id="7" idx="0"/>
            <a:endCxn id="6" idx="0"/>
          </p:cNvCxnSpPr>
          <p:nvPr/>
        </p:nvCxnSpPr>
        <p:spPr bwMode="auto">
          <a:xfrm rot="5400000" flipH="1" flipV="1">
            <a:off x="6098400" y="-25200"/>
            <a:ext cx="12700" cy="4608000"/>
          </a:xfrm>
          <a:prstGeom prst="bentConnector3">
            <a:avLst>
              <a:gd name="adj1" fmla="val 1800000"/>
            </a:avLst>
          </a:prstGeom>
          <a:solidFill>
            <a:schemeClr val="tx2"/>
          </a:solidFill>
          <a:ln w="12700" cap="flat" cmpd="sng" algn="ctr">
            <a:solidFill>
              <a:srgbClr val="66667E"/>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114" name="Group 113">
            <a:extLst>
              <a:ext uri="{FF2B5EF4-FFF2-40B4-BE49-F238E27FC236}">
                <a16:creationId xmlns:a16="http://schemas.microsoft.com/office/drawing/2014/main" id="{9CFF6281-1F06-4FAA-AE01-5E25D3C7E52A}"/>
              </a:ext>
            </a:extLst>
          </p:cNvPr>
          <p:cNvGrpSpPr/>
          <p:nvPr/>
        </p:nvGrpSpPr>
        <p:grpSpPr>
          <a:xfrm>
            <a:off x="2818800" y="2708282"/>
            <a:ext cx="180000" cy="2882429"/>
            <a:chOff x="514800" y="2708282"/>
            <a:chExt cx="180000" cy="2882429"/>
          </a:xfrm>
        </p:grpSpPr>
        <p:cxnSp>
          <p:nvCxnSpPr>
            <p:cNvPr id="115" name="Gewinkelte Verbindung 63">
              <a:extLst>
                <a:ext uri="{FF2B5EF4-FFF2-40B4-BE49-F238E27FC236}">
                  <a16:creationId xmlns:a16="http://schemas.microsoft.com/office/drawing/2014/main" id="{444B0898-0AAF-4F51-8283-FE096D2F27DC}"/>
                </a:ext>
              </a:extLst>
            </p:cNvPr>
            <p:cNvCxnSpPr>
              <a:cxnSpLocks/>
            </p:cNvCxnSpPr>
            <p:nvPr/>
          </p:nvCxnSpPr>
          <p:spPr>
            <a:xfrm rot="16200000" flipH="1">
              <a:off x="423585" y="2799497"/>
              <a:ext cx="362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cxnSp>
          <p:nvCxnSpPr>
            <p:cNvPr id="117" name="Gewinkelte Verbindung 64">
              <a:extLst>
                <a:ext uri="{FF2B5EF4-FFF2-40B4-BE49-F238E27FC236}">
                  <a16:creationId xmlns:a16="http://schemas.microsoft.com/office/drawing/2014/main" id="{31A8D076-80C3-43DA-BE9E-007EDA5753B4}"/>
                </a:ext>
              </a:extLst>
            </p:cNvPr>
            <p:cNvCxnSpPr>
              <a:cxnSpLocks/>
            </p:cNvCxnSpPr>
            <p:nvPr/>
          </p:nvCxnSpPr>
          <p:spPr>
            <a:xfrm rot="16200000" flipH="1">
              <a:off x="171585" y="3051497"/>
              <a:ext cx="866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cxnSp>
          <p:nvCxnSpPr>
            <p:cNvPr id="118" name="Gewinkelte Verbindung 65">
              <a:extLst>
                <a:ext uri="{FF2B5EF4-FFF2-40B4-BE49-F238E27FC236}">
                  <a16:creationId xmlns:a16="http://schemas.microsoft.com/office/drawing/2014/main" id="{3D770937-6020-4AA5-AE29-4516B6D41979}"/>
                </a:ext>
              </a:extLst>
            </p:cNvPr>
            <p:cNvCxnSpPr>
              <a:cxnSpLocks/>
            </p:cNvCxnSpPr>
            <p:nvPr/>
          </p:nvCxnSpPr>
          <p:spPr>
            <a:xfrm rot="16200000" flipH="1">
              <a:off x="-80415" y="3303497"/>
              <a:ext cx="1370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cxnSp>
          <p:nvCxnSpPr>
            <p:cNvPr id="120" name="Gewinkelte Verbindung 72">
              <a:extLst>
                <a:ext uri="{FF2B5EF4-FFF2-40B4-BE49-F238E27FC236}">
                  <a16:creationId xmlns:a16="http://schemas.microsoft.com/office/drawing/2014/main" id="{845A2D6A-E72D-4C6E-BAE2-CAB34AB1FD54}"/>
                </a:ext>
              </a:extLst>
            </p:cNvPr>
            <p:cNvCxnSpPr>
              <a:cxnSpLocks/>
            </p:cNvCxnSpPr>
            <p:nvPr/>
          </p:nvCxnSpPr>
          <p:spPr>
            <a:xfrm rot="16200000" flipH="1">
              <a:off x="-332415" y="3555497"/>
              <a:ext cx="1874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cxnSp>
          <p:nvCxnSpPr>
            <p:cNvPr id="121" name="Gewinkelte Verbindung 128">
              <a:extLst>
                <a:ext uri="{FF2B5EF4-FFF2-40B4-BE49-F238E27FC236}">
                  <a16:creationId xmlns:a16="http://schemas.microsoft.com/office/drawing/2014/main" id="{4EFBADD3-2E0C-4804-9201-3304517B863D}"/>
                </a:ext>
              </a:extLst>
            </p:cNvPr>
            <p:cNvCxnSpPr>
              <a:cxnSpLocks/>
            </p:cNvCxnSpPr>
            <p:nvPr/>
          </p:nvCxnSpPr>
          <p:spPr>
            <a:xfrm rot="16200000" flipH="1">
              <a:off x="-836415" y="4059497"/>
              <a:ext cx="2882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cxnSp>
          <p:nvCxnSpPr>
            <p:cNvPr id="123" name="Gewinkelte Verbindung 129">
              <a:extLst>
                <a:ext uri="{FF2B5EF4-FFF2-40B4-BE49-F238E27FC236}">
                  <a16:creationId xmlns:a16="http://schemas.microsoft.com/office/drawing/2014/main" id="{56E45C43-8771-479F-B896-35FC3D66509B}"/>
                </a:ext>
              </a:extLst>
            </p:cNvPr>
            <p:cNvCxnSpPr>
              <a:cxnSpLocks/>
            </p:cNvCxnSpPr>
            <p:nvPr/>
          </p:nvCxnSpPr>
          <p:spPr>
            <a:xfrm rot="16200000" flipH="1">
              <a:off x="-584415" y="3807497"/>
              <a:ext cx="2378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grpSp>
      <p:grpSp>
        <p:nvGrpSpPr>
          <p:cNvPr id="124" name="Group 123">
            <a:extLst>
              <a:ext uri="{FF2B5EF4-FFF2-40B4-BE49-F238E27FC236}">
                <a16:creationId xmlns:a16="http://schemas.microsoft.com/office/drawing/2014/main" id="{35150D04-8F89-4750-BDE3-A55A44DDA5BE}"/>
              </a:ext>
            </a:extLst>
          </p:cNvPr>
          <p:cNvGrpSpPr/>
          <p:nvPr/>
        </p:nvGrpSpPr>
        <p:grpSpPr>
          <a:xfrm>
            <a:off x="5122800" y="2708282"/>
            <a:ext cx="180000" cy="2882429"/>
            <a:chOff x="514800" y="2708282"/>
            <a:chExt cx="180000" cy="2882429"/>
          </a:xfrm>
        </p:grpSpPr>
        <p:cxnSp>
          <p:nvCxnSpPr>
            <p:cNvPr id="131" name="Gewinkelte Verbindung 63">
              <a:extLst>
                <a:ext uri="{FF2B5EF4-FFF2-40B4-BE49-F238E27FC236}">
                  <a16:creationId xmlns:a16="http://schemas.microsoft.com/office/drawing/2014/main" id="{47468D21-BC46-46ED-A096-6C36FDF030F3}"/>
                </a:ext>
              </a:extLst>
            </p:cNvPr>
            <p:cNvCxnSpPr>
              <a:cxnSpLocks/>
            </p:cNvCxnSpPr>
            <p:nvPr/>
          </p:nvCxnSpPr>
          <p:spPr>
            <a:xfrm rot="16200000" flipH="1">
              <a:off x="423585" y="2799497"/>
              <a:ext cx="362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cxnSp>
          <p:nvCxnSpPr>
            <p:cNvPr id="132" name="Gewinkelte Verbindung 64">
              <a:extLst>
                <a:ext uri="{FF2B5EF4-FFF2-40B4-BE49-F238E27FC236}">
                  <a16:creationId xmlns:a16="http://schemas.microsoft.com/office/drawing/2014/main" id="{7F386A66-ACBF-45D3-AF64-6D8C954DAA72}"/>
                </a:ext>
              </a:extLst>
            </p:cNvPr>
            <p:cNvCxnSpPr>
              <a:cxnSpLocks/>
            </p:cNvCxnSpPr>
            <p:nvPr/>
          </p:nvCxnSpPr>
          <p:spPr>
            <a:xfrm rot="16200000" flipH="1">
              <a:off x="171585" y="3051497"/>
              <a:ext cx="866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cxnSp>
          <p:nvCxnSpPr>
            <p:cNvPr id="133" name="Gewinkelte Verbindung 65">
              <a:extLst>
                <a:ext uri="{FF2B5EF4-FFF2-40B4-BE49-F238E27FC236}">
                  <a16:creationId xmlns:a16="http://schemas.microsoft.com/office/drawing/2014/main" id="{A2884416-C454-440F-B66D-91CBF47332C2}"/>
                </a:ext>
              </a:extLst>
            </p:cNvPr>
            <p:cNvCxnSpPr>
              <a:cxnSpLocks/>
            </p:cNvCxnSpPr>
            <p:nvPr/>
          </p:nvCxnSpPr>
          <p:spPr>
            <a:xfrm rot="16200000" flipH="1">
              <a:off x="-80415" y="3303497"/>
              <a:ext cx="1370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cxnSp>
          <p:nvCxnSpPr>
            <p:cNvPr id="134" name="Gewinkelte Verbindung 72">
              <a:extLst>
                <a:ext uri="{FF2B5EF4-FFF2-40B4-BE49-F238E27FC236}">
                  <a16:creationId xmlns:a16="http://schemas.microsoft.com/office/drawing/2014/main" id="{A93218E9-BB22-4544-82AC-613BDE4F3639}"/>
                </a:ext>
              </a:extLst>
            </p:cNvPr>
            <p:cNvCxnSpPr>
              <a:cxnSpLocks/>
            </p:cNvCxnSpPr>
            <p:nvPr/>
          </p:nvCxnSpPr>
          <p:spPr>
            <a:xfrm rot="16200000" flipH="1">
              <a:off x="-332415" y="3555497"/>
              <a:ext cx="1874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cxnSp>
          <p:nvCxnSpPr>
            <p:cNvPr id="135" name="Gewinkelte Verbindung 128">
              <a:extLst>
                <a:ext uri="{FF2B5EF4-FFF2-40B4-BE49-F238E27FC236}">
                  <a16:creationId xmlns:a16="http://schemas.microsoft.com/office/drawing/2014/main" id="{105296BE-90B7-43A2-937C-DA010891C9D6}"/>
                </a:ext>
              </a:extLst>
            </p:cNvPr>
            <p:cNvCxnSpPr>
              <a:cxnSpLocks/>
            </p:cNvCxnSpPr>
            <p:nvPr/>
          </p:nvCxnSpPr>
          <p:spPr>
            <a:xfrm rot="16200000" flipH="1">
              <a:off x="-836415" y="4059497"/>
              <a:ext cx="2882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cxnSp>
          <p:nvCxnSpPr>
            <p:cNvPr id="136" name="Gewinkelte Verbindung 129">
              <a:extLst>
                <a:ext uri="{FF2B5EF4-FFF2-40B4-BE49-F238E27FC236}">
                  <a16:creationId xmlns:a16="http://schemas.microsoft.com/office/drawing/2014/main" id="{39746DF9-1FF2-40D5-B657-9F65333C7EFF}"/>
                </a:ext>
              </a:extLst>
            </p:cNvPr>
            <p:cNvCxnSpPr>
              <a:cxnSpLocks/>
            </p:cNvCxnSpPr>
            <p:nvPr/>
          </p:nvCxnSpPr>
          <p:spPr>
            <a:xfrm rot="16200000" flipH="1">
              <a:off x="-584415" y="3807497"/>
              <a:ext cx="2378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grpSp>
      <p:grpSp>
        <p:nvGrpSpPr>
          <p:cNvPr id="137" name="Group 136">
            <a:extLst>
              <a:ext uri="{FF2B5EF4-FFF2-40B4-BE49-F238E27FC236}">
                <a16:creationId xmlns:a16="http://schemas.microsoft.com/office/drawing/2014/main" id="{5C572CD6-E6E2-4834-84CF-13747878A368}"/>
              </a:ext>
            </a:extLst>
          </p:cNvPr>
          <p:cNvGrpSpPr/>
          <p:nvPr/>
        </p:nvGrpSpPr>
        <p:grpSpPr>
          <a:xfrm>
            <a:off x="7426800" y="2708282"/>
            <a:ext cx="180000" cy="2882429"/>
            <a:chOff x="514800" y="2708282"/>
            <a:chExt cx="180000" cy="2882429"/>
          </a:xfrm>
        </p:grpSpPr>
        <p:cxnSp>
          <p:nvCxnSpPr>
            <p:cNvPr id="138" name="Gewinkelte Verbindung 63">
              <a:extLst>
                <a:ext uri="{FF2B5EF4-FFF2-40B4-BE49-F238E27FC236}">
                  <a16:creationId xmlns:a16="http://schemas.microsoft.com/office/drawing/2014/main" id="{FBB4CF92-5339-4136-8898-CF97C08C9BC6}"/>
                </a:ext>
              </a:extLst>
            </p:cNvPr>
            <p:cNvCxnSpPr>
              <a:cxnSpLocks/>
            </p:cNvCxnSpPr>
            <p:nvPr/>
          </p:nvCxnSpPr>
          <p:spPr>
            <a:xfrm rot="16200000" flipH="1">
              <a:off x="423585" y="2799497"/>
              <a:ext cx="362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cxnSp>
          <p:nvCxnSpPr>
            <p:cNvPr id="139" name="Gewinkelte Verbindung 64">
              <a:extLst>
                <a:ext uri="{FF2B5EF4-FFF2-40B4-BE49-F238E27FC236}">
                  <a16:creationId xmlns:a16="http://schemas.microsoft.com/office/drawing/2014/main" id="{86DAFED3-0808-409C-939C-A90779B25626}"/>
                </a:ext>
              </a:extLst>
            </p:cNvPr>
            <p:cNvCxnSpPr>
              <a:cxnSpLocks/>
            </p:cNvCxnSpPr>
            <p:nvPr/>
          </p:nvCxnSpPr>
          <p:spPr>
            <a:xfrm rot="16200000" flipH="1">
              <a:off x="171585" y="3051497"/>
              <a:ext cx="866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cxnSp>
          <p:nvCxnSpPr>
            <p:cNvPr id="140" name="Gewinkelte Verbindung 65">
              <a:extLst>
                <a:ext uri="{FF2B5EF4-FFF2-40B4-BE49-F238E27FC236}">
                  <a16:creationId xmlns:a16="http://schemas.microsoft.com/office/drawing/2014/main" id="{65D8EF2A-45E5-4578-BA58-1F1E8353DC12}"/>
                </a:ext>
              </a:extLst>
            </p:cNvPr>
            <p:cNvCxnSpPr>
              <a:cxnSpLocks/>
            </p:cNvCxnSpPr>
            <p:nvPr/>
          </p:nvCxnSpPr>
          <p:spPr>
            <a:xfrm rot="16200000" flipH="1">
              <a:off x="-80415" y="3303497"/>
              <a:ext cx="1370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cxnSp>
          <p:nvCxnSpPr>
            <p:cNvPr id="141" name="Gewinkelte Verbindung 72">
              <a:extLst>
                <a:ext uri="{FF2B5EF4-FFF2-40B4-BE49-F238E27FC236}">
                  <a16:creationId xmlns:a16="http://schemas.microsoft.com/office/drawing/2014/main" id="{07113146-2164-4E68-9518-209024BBF51A}"/>
                </a:ext>
              </a:extLst>
            </p:cNvPr>
            <p:cNvCxnSpPr>
              <a:cxnSpLocks/>
            </p:cNvCxnSpPr>
            <p:nvPr/>
          </p:nvCxnSpPr>
          <p:spPr>
            <a:xfrm rot="16200000" flipH="1">
              <a:off x="-332415" y="3555497"/>
              <a:ext cx="1874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cxnSp>
          <p:nvCxnSpPr>
            <p:cNvPr id="142" name="Gewinkelte Verbindung 128">
              <a:extLst>
                <a:ext uri="{FF2B5EF4-FFF2-40B4-BE49-F238E27FC236}">
                  <a16:creationId xmlns:a16="http://schemas.microsoft.com/office/drawing/2014/main" id="{EF62E150-7CBE-4A2C-84F4-4A44F9448570}"/>
                </a:ext>
              </a:extLst>
            </p:cNvPr>
            <p:cNvCxnSpPr>
              <a:cxnSpLocks/>
            </p:cNvCxnSpPr>
            <p:nvPr/>
          </p:nvCxnSpPr>
          <p:spPr>
            <a:xfrm rot="16200000" flipH="1">
              <a:off x="-836415" y="4059497"/>
              <a:ext cx="2882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cxnSp>
          <p:nvCxnSpPr>
            <p:cNvPr id="143" name="Gewinkelte Verbindung 129">
              <a:extLst>
                <a:ext uri="{FF2B5EF4-FFF2-40B4-BE49-F238E27FC236}">
                  <a16:creationId xmlns:a16="http://schemas.microsoft.com/office/drawing/2014/main" id="{AAAD3654-1B73-41D0-928D-C40534E491A9}"/>
                </a:ext>
              </a:extLst>
            </p:cNvPr>
            <p:cNvCxnSpPr>
              <a:cxnSpLocks/>
            </p:cNvCxnSpPr>
            <p:nvPr/>
          </p:nvCxnSpPr>
          <p:spPr>
            <a:xfrm rot="16200000" flipH="1">
              <a:off x="-584415" y="3807497"/>
              <a:ext cx="2378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grpSp>
      <p:grpSp>
        <p:nvGrpSpPr>
          <p:cNvPr id="144" name="Group 143">
            <a:extLst>
              <a:ext uri="{FF2B5EF4-FFF2-40B4-BE49-F238E27FC236}">
                <a16:creationId xmlns:a16="http://schemas.microsoft.com/office/drawing/2014/main" id="{D59F89A5-359D-4A32-A659-999BB4DAAD5E}"/>
              </a:ext>
            </a:extLst>
          </p:cNvPr>
          <p:cNvGrpSpPr/>
          <p:nvPr/>
        </p:nvGrpSpPr>
        <p:grpSpPr>
          <a:xfrm>
            <a:off x="9730800" y="2708282"/>
            <a:ext cx="180000" cy="2882429"/>
            <a:chOff x="514800" y="2708282"/>
            <a:chExt cx="180000" cy="2882429"/>
          </a:xfrm>
        </p:grpSpPr>
        <p:cxnSp>
          <p:nvCxnSpPr>
            <p:cNvPr id="145" name="Gewinkelte Verbindung 63">
              <a:extLst>
                <a:ext uri="{FF2B5EF4-FFF2-40B4-BE49-F238E27FC236}">
                  <a16:creationId xmlns:a16="http://schemas.microsoft.com/office/drawing/2014/main" id="{C87E12DC-A537-4414-81A9-C8219C5D6415}"/>
                </a:ext>
              </a:extLst>
            </p:cNvPr>
            <p:cNvCxnSpPr>
              <a:cxnSpLocks/>
            </p:cNvCxnSpPr>
            <p:nvPr/>
          </p:nvCxnSpPr>
          <p:spPr>
            <a:xfrm rot="16200000" flipH="1">
              <a:off x="423585" y="2799497"/>
              <a:ext cx="362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cxnSp>
          <p:nvCxnSpPr>
            <p:cNvPr id="146" name="Gewinkelte Verbindung 64">
              <a:extLst>
                <a:ext uri="{FF2B5EF4-FFF2-40B4-BE49-F238E27FC236}">
                  <a16:creationId xmlns:a16="http://schemas.microsoft.com/office/drawing/2014/main" id="{B09D7DA4-D5BC-4DD9-92C6-99F3AF425DFC}"/>
                </a:ext>
              </a:extLst>
            </p:cNvPr>
            <p:cNvCxnSpPr>
              <a:cxnSpLocks/>
            </p:cNvCxnSpPr>
            <p:nvPr/>
          </p:nvCxnSpPr>
          <p:spPr>
            <a:xfrm rot="16200000" flipH="1">
              <a:off x="171585" y="3051497"/>
              <a:ext cx="866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cxnSp>
          <p:nvCxnSpPr>
            <p:cNvPr id="147" name="Gewinkelte Verbindung 65">
              <a:extLst>
                <a:ext uri="{FF2B5EF4-FFF2-40B4-BE49-F238E27FC236}">
                  <a16:creationId xmlns:a16="http://schemas.microsoft.com/office/drawing/2014/main" id="{9DDEE1DE-A78C-4B8B-85FD-AED488A47A4C}"/>
                </a:ext>
              </a:extLst>
            </p:cNvPr>
            <p:cNvCxnSpPr>
              <a:cxnSpLocks/>
            </p:cNvCxnSpPr>
            <p:nvPr/>
          </p:nvCxnSpPr>
          <p:spPr>
            <a:xfrm rot="16200000" flipH="1">
              <a:off x="-80415" y="3303497"/>
              <a:ext cx="1370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cxnSp>
          <p:nvCxnSpPr>
            <p:cNvPr id="148" name="Gewinkelte Verbindung 72">
              <a:extLst>
                <a:ext uri="{FF2B5EF4-FFF2-40B4-BE49-F238E27FC236}">
                  <a16:creationId xmlns:a16="http://schemas.microsoft.com/office/drawing/2014/main" id="{67811A32-48D9-4327-8040-2B6E07935AC8}"/>
                </a:ext>
              </a:extLst>
            </p:cNvPr>
            <p:cNvCxnSpPr>
              <a:cxnSpLocks/>
            </p:cNvCxnSpPr>
            <p:nvPr/>
          </p:nvCxnSpPr>
          <p:spPr>
            <a:xfrm rot="16200000" flipH="1">
              <a:off x="-332415" y="3555497"/>
              <a:ext cx="1874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cxnSp>
          <p:nvCxnSpPr>
            <p:cNvPr id="149" name="Gewinkelte Verbindung 128">
              <a:extLst>
                <a:ext uri="{FF2B5EF4-FFF2-40B4-BE49-F238E27FC236}">
                  <a16:creationId xmlns:a16="http://schemas.microsoft.com/office/drawing/2014/main" id="{642E3F02-79CB-4214-BDD5-12D813CCD116}"/>
                </a:ext>
              </a:extLst>
            </p:cNvPr>
            <p:cNvCxnSpPr>
              <a:cxnSpLocks/>
            </p:cNvCxnSpPr>
            <p:nvPr/>
          </p:nvCxnSpPr>
          <p:spPr>
            <a:xfrm rot="16200000" flipH="1">
              <a:off x="-836415" y="4059497"/>
              <a:ext cx="2882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cxnSp>
          <p:nvCxnSpPr>
            <p:cNvPr id="150" name="Gewinkelte Verbindung 129">
              <a:extLst>
                <a:ext uri="{FF2B5EF4-FFF2-40B4-BE49-F238E27FC236}">
                  <a16:creationId xmlns:a16="http://schemas.microsoft.com/office/drawing/2014/main" id="{848DEBBF-938F-4911-ADAA-ADEBFB801F66}"/>
                </a:ext>
              </a:extLst>
            </p:cNvPr>
            <p:cNvCxnSpPr>
              <a:cxnSpLocks/>
            </p:cNvCxnSpPr>
            <p:nvPr/>
          </p:nvCxnSpPr>
          <p:spPr>
            <a:xfrm rot="16200000" flipH="1">
              <a:off x="-584415" y="3807497"/>
              <a:ext cx="2378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grpSp>
      <p:sp>
        <p:nvSpPr>
          <p:cNvPr id="3" name="Footer Placeholder 2">
            <a:extLst>
              <a:ext uri="{FF2B5EF4-FFF2-40B4-BE49-F238E27FC236}">
                <a16:creationId xmlns:a16="http://schemas.microsoft.com/office/drawing/2014/main" id="{11379800-D597-4CAC-909E-B7195148CA8F}"/>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8" name="Slide Number Placeholder 7">
            <a:extLst>
              <a:ext uri="{FF2B5EF4-FFF2-40B4-BE49-F238E27FC236}">
                <a16:creationId xmlns:a16="http://schemas.microsoft.com/office/drawing/2014/main" id="{AEB487E5-AAA0-4DED-96FF-8A3D2631A2AB}"/>
              </a:ext>
            </a:extLst>
          </p:cNvPr>
          <p:cNvSpPr>
            <a:spLocks noGrp="1"/>
          </p:cNvSpPr>
          <p:nvPr>
            <p:ph type="sldNum" sz="quarter" idx="11"/>
          </p:nvPr>
        </p:nvSpPr>
        <p:spPr/>
        <p:txBody>
          <a:bodyPr/>
          <a:lstStyle/>
          <a:p>
            <a:r>
              <a:rPr lang="en-US" dirty="0"/>
              <a:t>Page </a:t>
            </a:r>
            <a:fld id="{15EBE321-CBB1-4E91-BD14-37C8D44326FB}" type="slidenum">
              <a:rPr lang="en-US" smtClean="0"/>
              <a:pPr/>
              <a:t>74</a:t>
            </a:fld>
            <a:endParaRPr lang="en-US" dirty="0"/>
          </a:p>
        </p:txBody>
      </p:sp>
    </p:spTree>
    <p:extLst>
      <p:ext uri="{BB962C8B-B14F-4D97-AF65-F5344CB8AC3E}">
        <p14:creationId xmlns:p14="http://schemas.microsoft.com/office/powerpoint/2010/main" val="290202332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p:cNvSpPr/>
          <p:nvPr/>
        </p:nvSpPr>
        <p:spPr>
          <a:xfrm>
            <a:off x="2714400" y="2278800"/>
            <a:ext cx="2160000" cy="431823"/>
          </a:xfrm>
          <a:prstGeom prst="rect">
            <a:avLst/>
          </a:prstGeom>
          <a:solidFill>
            <a:srgbClr val="00646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b="1" dirty="0">
                <a:solidFill>
                  <a:schemeClr val="tx1"/>
                </a:solidFill>
              </a:rPr>
              <a:t>Maecenas nec odio</a:t>
            </a:r>
          </a:p>
        </p:txBody>
      </p:sp>
      <p:sp>
        <p:nvSpPr>
          <p:cNvPr id="59" name="Rechteck 58"/>
          <p:cNvSpPr/>
          <p:nvPr/>
        </p:nvSpPr>
        <p:spPr>
          <a:xfrm>
            <a:off x="410400" y="2278800"/>
            <a:ext cx="2160000" cy="431823"/>
          </a:xfrm>
          <a:prstGeom prst="rect">
            <a:avLst/>
          </a:prstGeom>
          <a:solidFill>
            <a:srgbClr val="00646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b="1" dirty="0">
                <a:solidFill>
                  <a:schemeClr val="tx1"/>
                </a:solidFill>
              </a:rPr>
              <a:t>Duis arcu tortor</a:t>
            </a:r>
          </a:p>
        </p:txBody>
      </p:sp>
      <p:sp>
        <p:nvSpPr>
          <p:cNvPr id="2" name="Titel 1"/>
          <p:cNvSpPr>
            <a:spLocks noGrp="1"/>
          </p:cNvSpPr>
          <p:nvPr>
            <p:ph type="title"/>
          </p:nvPr>
        </p:nvSpPr>
        <p:spPr/>
        <p:txBody>
          <a:bodyPr/>
          <a:lstStyle/>
          <a:p>
            <a:r>
              <a:rPr lang="en-US" dirty="0"/>
              <a:t>Organigram – different sublevels</a:t>
            </a:r>
          </a:p>
        </p:txBody>
      </p:sp>
      <p:sp>
        <p:nvSpPr>
          <p:cNvPr id="4" name="Rechteck 3"/>
          <p:cNvSpPr>
            <a:spLocks/>
          </p:cNvSpPr>
          <p:nvPr/>
        </p:nvSpPr>
        <p:spPr>
          <a:xfrm>
            <a:off x="410400" y="1415849"/>
            <a:ext cx="11376000" cy="431823"/>
          </a:xfrm>
          <a:prstGeom prst="rect">
            <a:avLst/>
          </a:prstGeom>
          <a:solidFill>
            <a:srgbClr val="00FFB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107944"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199" b="1" dirty="0">
                <a:solidFill>
                  <a:schemeClr val="bg2"/>
                </a:solidFill>
              </a:rPr>
              <a:t>Consetetur sadipscing elitr, seddiam nonumy</a:t>
            </a:r>
          </a:p>
        </p:txBody>
      </p:sp>
      <p:sp>
        <p:nvSpPr>
          <p:cNvPr id="5" name="Rechteck 4"/>
          <p:cNvSpPr/>
          <p:nvPr/>
        </p:nvSpPr>
        <p:spPr>
          <a:xfrm>
            <a:off x="5018400" y="2278800"/>
            <a:ext cx="2160000" cy="431823"/>
          </a:xfrm>
          <a:prstGeom prst="rect">
            <a:avLst/>
          </a:prstGeom>
          <a:solidFill>
            <a:srgbClr val="00646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b="1" dirty="0">
                <a:solidFill>
                  <a:schemeClr val="tx1"/>
                </a:solidFill>
              </a:rPr>
              <a:t>At vero eos et accusam</a:t>
            </a:r>
          </a:p>
        </p:txBody>
      </p:sp>
      <p:sp>
        <p:nvSpPr>
          <p:cNvPr id="6" name="Rechteck 5"/>
          <p:cNvSpPr/>
          <p:nvPr/>
        </p:nvSpPr>
        <p:spPr>
          <a:xfrm>
            <a:off x="7322400" y="2278800"/>
            <a:ext cx="2160000" cy="431823"/>
          </a:xfrm>
          <a:prstGeom prst="rect">
            <a:avLst/>
          </a:prstGeom>
          <a:solidFill>
            <a:srgbClr val="00646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b="1" dirty="0">
                <a:solidFill>
                  <a:schemeClr val="tx1"/>
                </a:solidFill>
              </a:rPr>
              <a:t>Phasellus nec sem</a:t>
            </a:r>
          </a:p>
        </p:txBody>
      </p:sp>
      <p:sp>
        <p:nvSpPr>
          <p:cNvPr id="10" name="Rechteck 9"/>
          <p:cNvSpPr/>
          <p:nvPr/>
        </p:nvSpPr>
        <p:spPr>
          <a:xfrm>
            <a:off x="3002400" y="2854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Duis arcu tortor</a:t>
            </a:r>
          </a:p>
        </p:txBody>
      </p:sp>
      <p:sp>
        <p:nvSpPr>
          <p:cNvPr id="11" name="Rechteck 10"/>
          <p:cNvSpPr/>
          <p:nvPr/>
        </p:nvSpPr>
        <p:spPr>
          <a:xfrm>
            <a:off x="3002400" y="3358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At vero eos et accusam</a:t>
            </a:r>
          </a:p>
        </p:txBody>
      </p:sp>
      <p:sp>
        <p:nvSpPr>
          <p:cNvPr id="12" name="Rechteck 11"/>
          <p:cNvSpPr/>
          <p:nvPr/>
        </p:nvSpPr>
        <p:spPr>
          <a:xfrm>
            <a:off x="3002400" y="3862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Phasellus nec sem</a:t>
            </a:r>
          </a:p>
        </p:txBody>
      </p:sp>
      <p:sp>
        <p:nvSpPr>
          <p:cNvPr id="13" name="Rechteck 12"/>
          <p:cNvSpPr/>
          <p:nvPr/>
        </p:nvSpPr>
        <p:spPr>
          <a:xfrm>
            <a:off x="3002400" y="4366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Duis arcu tortor</a:t>
            </a:r>
          </a:p>
        </p:txBody>
      </p:sp>
      <p:sp>
        <p:nvSpPr>
          <p:cNvPr id="14" name="Rechteck 13"/>
          <p:cNvSpPr/>
          <p:nvPr/>
        </p:nvSpPr>
        <p:spPr>
          <a:xfrm>
            <a:off x="2664143" y="2492371"/>
            <a:ext cx="84301" cy="2159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107944"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dirty="0"/>
          </a:p>
        </p:txBody>
      </p:sp>
      <p:sp>
        <p:nvSpPr>
          <p:cNvPr id="19" name="Rechteck 18"/>
          <p:cNvSpPr/>
          <p:nvPr/>
        </p:nvSpPr>
        <p:spPr>
          <a:xfrm>
            <a:off x="5306400" y="2854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Maecenas nec odio</a:t>
            </a:r>
          </a:p>
        </p:txBody>
      </p:sp>
      <p:sp>
        <p:nvSpPr>
          <p:cNvPr id="20" name="Rechteck 19"/>
          <p:cNvSpPr/>
          <p:nvPr/>
        </p:nvSpPr>
        <p:spPr>
          <a:xfrm>
            <a:off x="5306400" y="3358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Phasellus nec sem</a:t>
            </a:r>
          </a:p>
        </p:txBody>
      </p:sp>
      <p:sp>
        <p:nvSpPr>
          <p:cNvPr id="24" name="Rechteck 23"/>
          <p:cNvSpPr/>
          <p:nvPr/>
        </p:nvSpPr>
        <p:spPr>
          <a:xfrm>
            <a:off x="7610400" y="2854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Maecenas nec odio</a:t>
            </a:r>
          </a:p>
        </p:txBody>
      </p:sp>
      <p:sp>
        <p:nvSpPr>
          <p:cNvPr id="25" name="Rechteck 24"/>
          <p:cNvSpPr/>
          <p:nvPr/>
        </p:nvSpPr>
        <p:spPr>
          <a:xfrm>
            <a:off x="7610400" y="3358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Phasellus nec sem</a:t>
            </a:r>
          </a:p>
        </p:txBody>
      </p:sp>
      <p:sp>
        <p:nvSpPr>
          <p:cNvPr id="26" name="Rechteck 25"/>
          <p:cNvSpPr/>
          <p:nvPr/>
        </p:nvSpPr>
        <p:spPr>
          <a:xfrm>
            <a:off x="7610400" y="3862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Duis arcu tortor</a:t>
            </a:r>
          </a:p>
        </p:txBody>
      </p:sp>
      <p:cxnSp>
        <p:nvCxnSpPr>
          <p:cNvPr id="31" name="Gerade Verbindung 30"/>
          <p:cNvCxnSpPr>
            <a:stCxn id="4" idx="2"/>
            <a:endCxn id="5" idx="0"/>
          </p:cNvCxnSpPr>
          <p:nvPr/>
        </p:nvCxnSpPr>
        <p:spPr>
          <a:xfrm>
            <a:off x="6098400" y="1847672"/>
            <a:ext cx="0" cy="431128"/>
          </a:xfrm>
          <a:prstGeom prst="line">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sp>
        <p:nvSpPr>
          <p:cNvPr id="49" name="Rechteck 48"/>
          <p:cNvSpPr/>
          <p:nvPr/>
        </p:nvSpPr>
        <p:spPr>
          <a:xfrm>
            <a:off x="9626400" y="2278800"/>
            <a:ext cx="2160000" cy="431823"/>
          </a:xfrm>
          <a:prstGeom prst="rect">
            <a:avLst/>
          </a:prstGeom>
          <a:solidFill>
            <a:srgbClr val="00646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b="1" dirty="0">
                <a:solidFill>
                  <a:schemeClr val="tx1"/>
                </a:solidFill>
              </a:rPr>
              <a:t>Maecenas nec odio</a:t>
            </a:r>
          </a:p>
        </p:txBody>
      </p:sp>
      <p:sp>
        <p:nvSpPr>
          <p:cNvPr id="50" name="Rechteck 49"/>
          <p:cNvSpPr/>
          <p:nvPr/>
        </p:nvSpPr>
        <p:spPr>
          <a:xfrm>
            <a:off x="9914400" y="2854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At vero eos et accusam</a:t>
            </a:r>
          </a:p>
        </p:txBody>
      </p:sp>
      <p:sp>
        <p:nvSpPr>
          <p:cNvPr id="51" name="Rechteck 50"/>
          <p:cNvSpPr/>
          <p:nvPr/>
        </p:nvSpPr>
        <p:spPr>
          <a:xfrm>
            <a:off x="9914400" y="3358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Maecenas nec odio</a:t>
            </a:r>
          </a:p>
        </p:txBody>
      </p:sp>
      <p:sp>
        <p:nvSpPr>
          <p:cNvPr id="52" name="Rechteck 51"/>
          <p:cNvSpPr/>
          <p:nvPr/>
        </p:nvSpPr>
        <p:spPr>
          <a:xfrm>
            <a:off x="9914400" y="3862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At vero eos et accusam</a:t>
            </a:r>
          </a:p>
        </p:txBody>
      </p:sp>
      <p:sp>
        <p:nvSpPr>
          <p:cNvPr id="60" name="Rechteck 59"/>
          <p:cNvSpPr/>
          <p:nvPr/>
        </p:nvSpPr>
        <p:spPr>
          <a:xfrm>
            <a:off x="698400" y="2854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Phasellus nec sem</a:t>
            </a:r>
          </a:p>
        </p:txBody>
      </p:sp>
      <p:sp>
        <p:nvSpPr>
          <p:cNvPr id="61" name="Rechteck 60"/>
          <p:cNvSpPr/>
          <p:nvPr/>
        </p:nvSpPr>
        <p:spPr>
          <a:xfrm>
            <a:off x="698400" y="3358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Maecenas nec odio</a:t>
            </a:r>
          </a:p>
        </p:txBody>
      </p:sp>
      <p:sp>
        <p:nvSpPr>
          <p:cNvPr id="62" name="Rechteck 61"/>
          <p:cNvSpPr/>
          <p:nvPr/>
        </p:nvSpPr>
        <p:spPr>
          <a:xfrm>
            <a:off x="698400" y="3862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Duis arcu tortor</a:t>
            </a:r>
          </a:p>
        </p:txBody>
      </p:sp>
      <p:sp>
        <p:nvSpPr>
          <p:cNvPr id="72" name="Rechteck 71"/>
          <p:cNvSpPr/>
          <p:nvPr/>
        </p:nvSpPr>
        <p:spPr>
          <a:xfrm>
            <a:off x="698400" y="4366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At vero eos et accusam</a:t>
            </a:r>
          </a:p>
        </p:txBody>
      </p:sp>
      <p:sp>
        <p:nvSpPr>
          <p:cNvPr id="78" name="Rechteck 77"/>
          <p:cNvSpPr/>
          <p:nvPr/>
        </p:nvSpPr>
        <p:spPr>
          <a:xfrm>
            <a:off x="5306400" y="3862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Maecenas nec odio</a:t>
            </a:r>
          </a:p>
        </p:txBody>
      </p:sp>
      <p:sp>
        <p:nvSpPr>
          <p:cNvPr id="79" name="Rechteck 78"/>
          <p:cNvSpPr/>
          <p:nvPr/>
        </p:nvSpPr>
        <p:spPr>
          <a:xfrm>
            <a:off x="5306400" y="4366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Phasellus nec sem</a:t>
            </a:r>
          </a:p>
        </p:txBody>
      </p:sp>
      <p:sp>
        <p:nvSpPr>
          <p:cNvPr id="81" name="Rechteck 80"/>
          <p:cNvSpPr/>
          <p:nvPr/>
        </p:nvSpPr>
        <p:spPr>
          <a:xfrm>
            <a:off x="9914400" y="4366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Duis arcu tortor</a:t>
            </a:r>
          </a:p>
        </p:txBody>
      </p:sp>
      <p:sp>
        <p:nvSpPr>
          <p:cNvPr id="83" name="Rechteck 82"/>
          <p:cNvSpPr/>
          <p:nvPr/>
        </p:nvSpPr>
        <p:spPr>
          <a:xfrm>
            <a:off x="7610400" y="4366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Maecenas nec odio</a:t>
            </a:r>
          </a:p>
        </p:txBody>
      </p:sp>
      <p:sp>
        <p:nvSpPr>
          <p:cNvPr id="103" name="Rechteck 102"/>
          <p:cNvSpPr/>
          <p:nvPr/>
        </p:nvSpPr>
        <p:spPr>
          <a:xfrm>
            <a:off x="7610400" y="4870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At vero eos et accusam</a:t>
            </a:r>
          </a:p>
        </p:txBody>
      </p:sp>
      <p:sp>
        <p:nvSpPr>
          <p:cNvPr id="104" name="Rechteck 103"/>
          <p:cNvSpPr/>
          <p:nvPr/>
        </p:nvSpPr>
        <p:spPr>
          <a:xfrm>
            <a:off x="7610400" y="5374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Duis arcu tortor</a:t>
            </a:r>
          </a:p>
        </p:txBody>
      </p:sp>
      <p:sp>
        <p:nvSpPr>
          <p:cNvPr id="105" name="Rechteck 104"/>
          <p:cNvSpPr/>
          <p:nvPr/>
        </p:nvSpPr>
        <p:spPr>
          <a:xfrm>
            <a:off x="5306400" y="4870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Maecenas nec odio</a:t>
            </a:r>
          </a:p>
        </p:txBody>
      </p:sp>
      <p:sp>
        <p:nvSpPr>
          <p:cNvPr id="106" name="Rechteck 105"/>
          <p:cNvSpPr/>
          <p:nvPr/>
        </p:nvSpPr>
        <p:spPr>
          <a:xfrm>
            <a:off x="5306400" y="5374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Maecenas nec odio</a:t>
            </a:r>
          </a:p>
        </p:txBody>
      </p:sp>
      <p:sp>
        <p:nvSpPr>
          <p:cNvPr id="107" name="Rechteck 106"/>
          <p:cNvSpPr/>
          <p:nvPr/>
        </p:nvSpPr>
        <p:spPr>
          <a:xfrm>
            <a:off x="3002400" y="4870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Maecenas nec odio</a:t>
            </a:r>
          </a:p>
        </p:txBody>
      </p:sp>
      <p:sp>
        <p:nvSpPr>
          <p:cNvPr id="108" name="Rechteck 107"/>
          <p:cNvSpPr/>
          <p:nvPr/>
        </p:nvSpPr>
        <p:spPr>
          <a:xfrm>
            <a:off x="3002400" y="5374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At vero eos et accusam</a:t>
            </a:r>
          </a:p>
        </p:txBody>
      </p:sp>
      <p:sp>
        <p:nvSpPr>
          <p:cNvPr id="109" name="Rechteck 108"/>
          <p:cNvSpPr/>
          <p:nvPr/>
        </p:nvSpPr>
        <p:spPr>
          <a:xfrm>
            <a:off x="698400" y="4870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Maecenas nec odio</a:t>
            </a:r>
          </a:p>
        </p:txBody>
      </p:sp>
      <p:sp>
        <p:nvSpPr>
          <p:cNvPr id="110" name="Rechteck 109"/>
          <p:cNvSpPr/>
          <p:nvPr/>
        </p:nvSpPr>
        <p:spPr>
          <a:xfrm>
            <a:off x="698400" y="5374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Maecenas nec odio</a:t>
            </a:r>
          </a:p>
        </p:txBody>
      </p:sp>
      <p:sp>
        <p:nvSpPr>
          <p:cNvPr id="111" name="Rechteck 110"/>
          <p:cNvSpPr/>
          <p:nvPr/>
        </p:nvSpPr>
        <p:spPr>
          <a:xfrm>
            <a:off x="9914400" y="4870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Phasellus nec sem</a:t>
            </a:r>
          </a:p>
        </p:txBody>
      </p:sp>
      <p:sp>
        <p:nvSpPr>
          <p:cNvPr id="112" name="Rechteck 111"/>
          <p:cNvSpPr/>
          <p:nvPr/>
        </p:nvSpPr>
        <p:spPr>
          <a:xfrm>
            <a:off x="9914400" y="5374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Maecenas nec odio</a:t>
            </a:r>
          </a:p>
        </p:txBody>
      </p:sp>
      <p:grpSp>
        <p:nvGrpSpPr>
          <p:cNvPr id="9" name="Group 8">
            <a:extLst>
              <a:ext uri="{FF2B5EF4-FFF2-40B4-BE49-F238E27FC236}">
                <a16:creationId xmlns:a16="http://schemas.microsoft.com/office/drawing/2014/main" id="{63592144-F7F5-4F72-B783-0DF27094FEFB}"/>
              </a:ext>
            </a:extLst>
          </p:cNvPr>
          <p:cNvGrpSpPr/>
          <p:nvPr/>
        </p:nvGrpSpPr>
        <p:grpSpPr>
          <a:xfrm>
            <a:off x="514800" y="2708282"/>
            <a:ext cx="180000" cy="2882429"/>
            <a:chOff x="514800" y="2708282"/>
            <a:chExt cx="180000" cy="2882429"/>
          </a:xfrm>
        </p:grpSpPr>
        <p:cxnSp>
          <p:nvCxnSpPr>
            <p:cNvPr id="64" name="Gewinkelte Verbindung 63"/>
            <p:cNvCxnSpPr>
              <a:cxnSpLocks/>
              <a:endCxn id="60" idx="1"/>
            </p:cNvCxnSpPr>
            <p:nvPr/>
          </p:nvCxnSpPr>
          <p:spPr>
            <a:xfrm rot="16200000" flipH="1">
              <a:off x="423585" y="2799497"/>
              <a:ext cx="362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cxnSp>
          <p:nvCxnSpPr>
            <p:cNvPr id="65" name="Gewinkelte Verbindung 64"/>
            <p:cNvCxnSpPr>
              <a:cxnSpLocks/>
              <a:endCxn id="61" idx="1"/>
            </p:cNvCxnSpPr>
            <p:nvPr/>
          </p:nvCxnSpPr>
          <p:spPr>
            <a:xfrm rot="16200000" flipH="1">
              <a:off x="171585" y="3051497"/>
              <a:ext cx="866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cxnSp>
          <p:nvCxnSpPr>
            <p:cNvPr id="66" name="Gewinkelte Verbindung 65"/>
            <p:cNvCxnSpPr>
              <a:cxnSpLocks/>
              <a:endCxn id="62" idx="1"/>
            </p:cNvCxnSpPr>
            <p:nvPr/>
          </p:nvCxnSpPr>
          <p:spPr>
            <a:xfrm rot="16200000" flipH="1">
              <a:off x="-80415" y="3303497"/>
              <a:ext cx="1370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cxnSp>
          <p:nvCxnSpPr>
            <p:cNvPr id="73" name="Gewinkelte Verbindung 72"/>
            <p:cNvCxnSpPr>
              <a:cxnSpLocks/>
              <a:endCxn id="72" idx="1"/>
            </p:cNvCxnSpPr>
            <p:nvPr/>
          </p:nvCxnSpPr>
          <p:spPr>
            <a:xfrm rot="16200000" flipH="1">
              <a:off x="-332415" y="3555497"/>
              <a:ext cx="1874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cxnSp>
          <p:nvCxnSpPr>
            <p:cNvPr id="129" name="Gewinkelte Verbindung 128"/>
            <p:cNvCxnSpPr>
              <a:cxnSpLocks/>
              <a:endCxn id="110" idx="1"/>
            </p:cNvCxnSpPr>
            <p:nvPr/>
          </p:nvCxnSpPr>
          <p:spPr>
            <a:xfrm rot="16200000" flipH="1">
              <a:off x="-836415" y="4059497"/>
              <a:ext cx="2882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cxnSp>
          <p:nvCxnSpPr>
            <p:cNvPr id="130" name="Gewinkelte Verbindung 129"/>
            <p:cNvCxnSpPr>
              <a:cxnSpLocks/>
              <a:endCxn id="109" idx="1"/>
            </p:cNvCxnSpPr>
            <p:nvPr/>
          </p:nvCxnSpPr>
          <p:spPr>
            <a:xfrm rot="16200000" flipH="1">
              <a:off x="-584415" y="3807497"/>
              <a:ext cx="2378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grpSp>
      <p:cxnSp>
        <p:nvCxnSpPr>
          <p:cNvPr id="32" name="Connector: Elbow 31">
            <a:extLst>
              <a:ext uri="{FF2B5EF4-FFF2-40B4-BE49-F238E27FC236}">
                <a16:creationId xmlns:a16="http://schemas.microsoft.com/office/drawing/2014/main" id="{4314E6E5-8567-41D5-B363-90C907958447}"/>
              </a:ext>
            </a:extLst>
          </p:cNvPr>
          <p:cNvCxnSpPr>
            <a:stCxn id="59" idx="0"/>
            <a:endCxn id="49" idx="0"/>
          </p:cNvCxnSpPr>
          <p:nvPr/>
        </p:nvCxnSpPr>
        <p:spPr bwMode="auto">
          <a:xfrm rot="5400000" flipH="1" flipV="1">
            <a:off x="6098400" y="-2329200"/>
            <a:ext cx="12700" cy="9216000"/>
          </a:xfrm>
          <a:prstGeom prst="bentConnector3">
            <a:avLst>
              <a:gd name="adj1" fmla="val 1800000"/>
            </a:avLst>
          </a:prstGeom>
          <a:solidFill>
            <a:schemeClr val="tx2"/>
          </a:solidFill>
          <a:ln w="12700" cap="flat" cmpd="sng" algn="ctr">
            <a:solidFill>
              <a:srgbClr val="9999A9"/>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4" name="Connector: Elbow 33">
            <a:extLst>
              <a:ext uri="{FF2B5EF4-FFF2-40B4-BE49-F238E27FC236}">
                <a16:creationId xmlns:a16="http://schemas.microsoft.com/office/drawing/2014/main" id="{EFE4A24D-0231-4796-BE09-70D355FB7AAA}"/>
              </a:ext>
            </a:extLst>
          </p:cNvPr>
          <p:cNvCxnSpPr>
            <a:stCxn id="7" idx="0"/>
            <a:endCxn id="6" idx="0"/>
          </p:cNvCxnSpPr>
          <p:nvPr/>
        </p:nvCxnSpPr>
        <p:spPr bwMode="auto">
          <a:xfrm rot="5400000" flipH="1" flipV="1">
            <a:off x="6098400" y="-25200"/>
            <a:ext cx="12700" cy="4608000"/>
          </a:xfrm>
          <a:prstGeom prst="bentConnector3">
            <a:avLst>
              <a:gd name="adj1" fmla="val 1800000"/>
            </a:avLst>
          </a:prstGeom>
          <a:solidFill>
            <a:schemeClr val="tx2"/>
          </a:solidFill>
          <a:ln w="12700" cap="flat" cmpd="sng" algn="ctr">
            <a:solidFill>
              <a:srgbClr val="9999A9"/>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114" name="Group 113">
            <a:extLst>
              <a:ext uri="{FF2B5EF4-FFF2-40B4-BE49-F238E27FC236}">
                <a16:creationId xmlns:a16="http://schemas.microsoft.com/office/drawing/2014/main" id="{9CFF6281-1F06-4FAA-AE01-5E25D3C7E52A}"/>
              </a:ext>
            </a:extLst>
          </p:cNvPr>
          <p:cNvGrpSpPr/>
          <p:nvPr/>
        </p:nvGrpSpPr>
        <p:grpSpPr>
          <a:xfrm>
            <a:off x="2818800" y="2708282"/>
            <a:ext cx="180000" cy="2882429"/>
            <a:chOff x="514800" y="2708282"/>
            <a:chExt cx="180000" cy="2882429"/>
          </a:xfrm>
        </p:grpSpPr>
        <p:cxnSp>
          <p:nvCxnSpPr>
            <p:cNvPr id="115" name="Gewinkelte Verbindung 63">
              <a:extLst>
                <a:ext uri="{FF2B5EF4-FFF2-40B4-BE49-F238E27FC236}">
                  <a16:creationId xmlns:a16="http://schemas.microsoft.com/office/drawing/2014/main" id="{444B0898-0AAF-4F51-8283-FE096D2F27DC}"/>
                </a:ext>
              </a:extLst>
            </p:cNvPr>
            <p:cNvCxnSpPr>
              <a:cxnSpLocks/>
            </p:cNvCxnSpPr>
            <p:nvPr/>
          </p:nvCxnSpPr>
          <p:spPr>
            <a:xfrm rot="16200000" flipH="1">
              <a:off x="423585" y="2799497"/>
              <a:ext cx="362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cxnSp>
          <p:nvCxnSpPr>
            <p:cNvPr id="117" name="Gewinkelte Verbindung 64">
              <a:extLst>
                <a:ext uri="{FF2B5EF4-FFF2-40B4-BE49-F238E27FC236}">
                  <a16:creationId xmlns:a16="http://schemas.microsoft.com/office/drawing/2014/main" id="{31A8D076-80C3-43DA-BE9E-007EDA5753B4}"/>
                </a:ext>
              </a:extLst>
            </p:cNvPr>
            <p:cNvCxnSpPr>
              <a:cxnSpLocks/>
            </p:cNvCxnSpPr>
            <p:nvPr/>
          </p:nvCxnSpPr>
          <p:spPr>
            <a:xfrm rot="16200000" flipH="1">
              <a:off x="171585" y="3051497"/>
              <a:ext cx="866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cxnSp>
          <p:nvCxnSpPr>
            <p:cNvPr id="118" name="Gewinkelte Verbindung 65">
              <a:extLst>
                <a:ext uri="{FF2B5EF4-FFF2-40B4-BE49-F238E27FC236}">
                  <a16:creationId xmlns:a16="http://schemas.microsoft.com/office/drawing/2014/main" id="{3D770937-6020-4AA5-AE29-4516B6D41979}"/>
                </a:ext>
              </a:extLst>
            </p:cNvPr>
            <p:cNvCxnSpPr>
              <a:cxnSpLocks/>
            </p:cNvCxnSpPr>
            <p:nvPr/>
          </p:nvCxnSpPr>
          <p:spPr>
            <a:xfrm rot="16200000" flipH="1">
              <a:off x="-80415" y="3303497"/>
              <a:ext cx="1370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cxnSp>
          <p:nvCxnSpPr>
            <p:cNvPr id="120" name="Gewinkelte Verbindung 72">
              <a:extLst>
                <a:ext uri="{FF2B5EF4-FFF2-40B4-BE49-F238E27FC236}">
                  <a16:creationId xmlns:a16="http://schemas.microsoft.com/office/drawing/2014/main" id="{845A2D6A-E72D-4C6E-BAE2-CAB34AB1FD54}"/>
                </a:ext>
              </a:extLst>
            </p:cNvPr>
            <p:cNvCxnSpPr>
              <a:cxnSpLocks/>
            </p:cNvCxnSpPr>
            <p:nvPr/>
          </p:nvCxnSpPr>
          <p:spPr>
            <a:xfrm rot="16200000" flipH="1">
              <a:off x="-332415" y="3555497"/>
              <a:ext cx="1874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cxnSp>
          <p:nvCxnSpPr>
            <p:cNvPr id="121" name="Gewinkelte Verbindung 128">
              <a:extLst>
                <a:ext uri="{FF2B5EF4-FFF2-40B4-BE49-F238E27FC236}">
                  <a16:creationId xmlns:a16="http://schemas.microsoft.com/office/drawing/2014/main" id="{4EFBADD3-2E0C-4804-9201-3304517B863D}"/>
                </a:ext>
              </a:extLst>
            </p:cNvPr>
            <p:cNvCxnSpPr>
              <a:cxnSpLocks/>
            </p:cNvCxnSpPr>
            <p:nvPr/>
          </p:nvCxnSpPr>
          <p:spPr>
            <a:xfrm rot="16200000" flipH="1">
              <a:off x="-836415" y="4059497"/>
              <a:ext cx="2882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cxnSp>
          <p:nvCxnSpPr>
            <p:cNvPr id="123" name="Gewinkelte Verbindung 129">
              <a:extLst>
                <a:ext uri="{FF2B5EF4-FFF2-40B4-BE49-F238E27FC236}">
                  <a16:creationId xmlns:a16="http://schemas.microsoft.com/office/drawing/2014/main" id="{56E45C43-8771-479F-B896-35FC3D66509B}"/>
                </a:ext>
              </a:extLst>
            </p:cNvPr>
            <p:cNvCxnSpPr>
              <a:cxnSpLocks/>
            </p:cNvCxnSpPr>
            <p:nvPr/>
          </p:nvCxnSpPr>
          <p:spPr>
            <a:xfrm rot="16200000" flipH="1">
              <a:off x="-584415" y="3807497"/>
              <a:ext cx="2378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grpSp>
      <p:grpSp>
        <p:nvGrpSpPr>
          <p:cNvPr id="124" name="Group 123">
            <a:extLst>
              <a:ext uri="{FF2B5EF4-FFF2-40B4-BE49-F238E27FC236}">
                <a16:creationId xmlns:a16="http://schemas.microsoft.com/office/drawing/2014/main" id="{35150D04-8F89-4750-BDE3-A55A44DDA5BE}"/>
              </a:ext>
            </a:extLst>
          </p:cNvPr>
          <p:cNvGrpSpPr/>
          <p:nvPr/>
        </p:nvGrpSpPr>
        <p:grpSpPr>
          <a:xfrm>
            <a:off x="5122800" y="2708282"/>
            <a:ext cx="180000" cy="2882429"/>
            <a:chOff x="514800" y="2708282"/>
            <a:chExt cx="180000" cy="2882429"/>
          </a:xfrm>
        </p:grpSpPr>
        <p:cxnSp>
          <p:nvCxnSpPr>
            <p:cNvPr id="131" name="Gewinkelte Verbindung 63">
              <a:extLst>
                <a:ext uri="{FF2B5EF4-FFF2-40B4-BE49-F238E27FC236}">
                  <a16:creationId xmlns:a16="http://schemas.microsoft.com/office/drawing/2014/main" id="{47468D21-BC46-46ED-A096-6C36FDF030F3}"/>
                </a:ext>
              </a:extLst>
            </p:cNvPr>
            <p:cNvCxnSpPr>
              <a:cxnSpLocks/>
            </p:cNvCxnSpPr>
            <p:nvPr/>
          </p:nvCxnSpPr>
          <p:spPr>
            <a:xfrm rot="16200000" flipH="1">
              <a:off x="423585" y="2799497"/>
              <a:ext cx="362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cxnSp>
          <p:nvCxnSpPr>
            <p:cNvPr id="132" name="Gewinkelte Verbindung 64">
              <a:extLst>
                <a:ext uri="{FF2B5EF4-FFF2-40B4-BE49-F238E27FC236}">
                  <a16:creationId xmlns:a16="http://schemas.microsoft.com/office/drawing/2014/main" id="{7F386A66-ACBF-45D3-AF64-6D8C954DAA72}"/>
                </a:ext>
              </a:extLst>
            </p:cNvPr>
            <p:cNvCxnSpPr>
              <a:cxnSpLocks/>
            </p:cNvCxnSpPr>
            <p:nvPr/>
          </p:nvCxnSpPr>
          <p:spPr>
            <a:xfrm rot="16200000" flipH="1">
              <a:off x="171585" y="3051497"/>
              <a:ext cx="866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cxnSp>
          <p:nvCxnSpPr>
            <p:cNvPr id="133" name="Gewinkelte Verbindung 65">
              <a:extLst>
                <a:ext uri="{FF2B5EF4-FFF2-40B4-BE49-F238E27FC236}">
                  <a16:creationId xmlns:a16="http://schemas.microsoft.com/office/drawing/2014/main" id="{A2884416-C454-440F-B66D-91CBF47332C2}"/>
                </a:ext>
              </a:extLst>
            </p:cNvPr>
            <p:cNvCxnSpPr>
              <a:cxnSpLocks/>
            </p:cNvCxnSpPr>
            <p:nvPr/>
          </p:nvCxnSpPr>
          <p:spPr>
            <a:xfrm rot="16200000" flipH="1">
              <a:off x="-80415" y="3303497"/>
              <a:ext cx="1370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cxnSp>
          <p:nvCxnSpPr>
            <p:cNvPr id="134" name="Gewinkelte Verbindung 72">
              <a:extLst>
                <a:ext uri="{FF2B5EF4-FFF2-40B4-BE49-F238E27FC236}">
                  <a16:creationId xmlns:a16="http://schemas.microsoft.com/office/drawing/2014/main" id="{A93218E9-BB22-4544-82AC-613BDE4F3639}"/>
                </a:ext>
              </a:extLst>
            </p:cNvPr>
            <p:cNvCxnSpPr>
              <a:cxnSpLocks/>
            </p:cNvCxnSpPr>
            <p:nvPr/>
          </p:nvCxnSpPr>
          <p:spPr>
            <a:xfrm rot="16200000" flipH="1">
              <a:off x="-332415" y="3555497"/>
              <a:ext cx="1874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cxnSp>
          <p:nvCxnSpPr>
            <p:cNvPr id="135" name="Gewinkelte Verbindung 128">
              <a:extLst>
                <a:ext uri="{FF2B5EF4-FFF2-40B4-BE49-F238E27FC236}">
                  <a16:creationId xmlns:a16="http://schemas.microsoft.com/office/drawing/2014/main" id="{105296BE-90B7-43A2-937C-DA010891C9D6}"/>
                </a:ext>
              </a:extLst>
            </p:cNvPr>
            <p:cNvCxnSpPr>
              <a:cxnSpLocks/>
            </p:cNvCxnSpPr>
            <p:nvPr/>
          </p:nvCxnSpPr>
          <p:spPr>
            <a:xfrm rot="16200000" flipH="1">
              <a:off x="-836415" y="4059497"/>
              <a:ext cx="2882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cxnSp>
          <p:nvCxnSpPr>
            <p:cNvPr id="136" name="Gewinkelte Verbindung 129">
              <a:extLst>
                <a:ext uri="{FF2B5EF4-FFF2-40B4-BE49-F238E27FC236}">
                  <a16:creationId xmlns:a16="http://schemas.microsoft.com/office/drawing/2014/main" id="{39746DF9-1FF2-40D5-B657-9F65333C7EFF}"/>
                </a:ext>
              </a:extLst>
            </p:cNvPr>
            <p:cNvCxnSpPr>
              <a:cxnSpLocks/>
            </p:cNvCxnSpPr>
            <p:nvPr/>
          </p:nvCxnSpPr>
          <p:spPr>
            <a:xfrm rot="16200000" flipH="1">
              <a:off x="-584415" y="3807497"/>
              <a:ext cx="2378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grpSp>
      <p:grpSp>
        <p:nvGrpSpPr>
          <p:cNvPr id="137" name="Group 136">
            <a:extLst>
              <a:ext uri="{FF2B5EF4-FFF2-40B4-BE49-F238E27FC236}">
                <a16:creationId xmlns:a16="http://schemas.microsoft.com/office/drawing/2014/main" id="{5C572CD6-E6E2-4834-84CF-13747878A368}"/>
              </a:ext>
            </a:extLst>
          </p:cNvPr>
          <p:cNvGrpSpPr/>
          <p:nvPr/>
        </p:nvGrpSpPr>
        <p:grpSpPr>
          <a:xfrm>
            <a:off x="7426800" y="2708282"/>
            <a:ext cx="180000" cy="2882429"/>
            <a:chOff x="514800" y="2708282"/>
            <a:chExt cx="180000" cy="2882429"/>
          </a:xfrm>
        </p:grpSpPr>
        <p:cxnSp>
          <p:nvCxnSpPr>
            <p:cNvPr id="138" name="Gewinkelte Verbindung 63">
              <a:extLst>
                <a:ext uri="{FF2B5EF4-FFF2-40B4-BE49-F238E27FC236}">
                  <a16:creationId xmlns:a16="http://schemas.microsoft.com/office/drawing/2014/main" id="{FBB4CF92-5339-4136-8898-CF97C08C9BC6}"/>
                </a:ext>
              </a:extLst>
            </p:cNvPr>
            <p:cNvCxnSpPr>
              <a:cxnSpLocks/>
            </p:cNvCxnSpPr>
            <p:nvPr/>
          </p:nvCxnSpPr>
          <p:spPr>
            <a:xfrm rot="16200000" flipH="1">
              <a:off x="423585" y="2799497"/>
              <a:ext cx="362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cxnSp>
          <p:nvCxnSpPr>
            <p:cNvPr id="139" name="Gewinkelte Verbindung 64">
              <a:extLst>
                <a:ext uri="{FF2B5EF4-FFF2-40B4-BE49-F238E27FC236}">
                  <a16:creationId xmlns:a16="http://schemas.microsoft.com/office/drawing/2014/main" id="{86DAFED3-0808-409C-939C-A90779B25626}"/>
                </a:ext>
              </a:extLst>
            </p:cNvPr>
            <p:cNvCxnSpPr>
              <a:cxnSpLocks/>
            </p:cNvCxnSpPr>
            <p:nvPr/>
          </p:nvCxnSpPr>
          <p:spPr>
            <a:xfrm rot="16200000" flipH="1">
              <a:off x="171585" y="3051497"/>
              <a:ext cx="866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cxnSp>
          <p:nvCxnSpPr>
            <p:cNvPr id="140" name="Gewinkelte Verbindung 65">
              <a:extLst>
                <a:ext uri="{FF2B5EF4-FFF2-40B4-BE49-F238E27FC236}">
                  <a16:creationId xmlns:a16="http://schemas.microsoft.com/office/drawing/2014/main" id="{65D8EF2A-45E5-4578-BA58-1F1E8353DC12}"/>
                </a:ext>
              </a:extLst>
            </p:cNvPr>
            <p:cNvCxnSpPr>
              <a:cxnSpLocks/>
            </p:cNvCxnSpPr>
            <p:nvPr/>
          </p:nvCxnSpPr>
          <p:spPr>
            <a:xfrm rot="16200000" flipH="1">
              <a:off x="-80415" y="3303497"/>
              <a:ext cx="1370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cxnSp>
          <p:nvCxnSpPr>
            <p:cNvPr id="141" name="Gewinkelte Verbindung 72">
              <a:extLst>
                <a:ext uri="{FF2B5EF4-FFF2-40B4-BE49-F238E27FC236}">
                  <a16:creationId xmlns:a16="http://schemas.microsoft.com/office/drawing/2014/main" id="{07113146-2164-4E68-9518-209024BBF51A}"/>
                </a:ext>
              </a:extLst>
            </p:cNvPr>
            <p:cNvCxnSpPr>
              <a:cxnSpLocks/>
            </p:cNvCxnSpPr>
            <p:nvPr/>
          </p:nvCxnSpPr>
          <p:spPr>
            <a:xfrm rot="16200000" flipH="1">
              <a:off x="-332415" y="3555497"/>
              <a:ext cx="1874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cxnSp>
          <p:nvCxnSpPr>
            <p:cNvPr id="142" name="Gewinkelte Verbindung 128">
              <a:extLst>
                <a:ext uri="{FF2B5EF4-FFF2-40B4-BE49-F238E27FC236}">
                  <a16:creationId xmlns:a16="http://schemas.microsoft.com/office/drawing/2014/main" id="{EF62E150-7CBE-4A2C-84F4-4A44F9448570}"/>
                </a:ext>
              </a:extLst>
            </p:cNvPr>
            <p:cNvCxnSpPr>
              <a:cxnSpLocks/>
            </p:cNvCxnSpPr>
            <p:nvPr/>
          </p:nvCxnSpPr>
          <p:spPr>
            <a:xfrm rot="16200000" flipH="1">
              <a:off x="-836415" y="4059497"/>
              <a:ext cx="2882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cxnSp>
          <p:nvCxnSpPr>
            <p:cNvPr id="143" name="Gewinkelte Verbindung 129">
              <a:extLst>
                <a:ext uri="{FF2B5EF4-FFF2-40B4-BE49-F238E27FC236}">
                  <a16:creationId xmlns:a16="http://schemas.microsoft.com/office/drawing/2014/main" id="{AAAD3654-1B73-41D0-928D-C40534E491A9}"/>
                </a:ext>
              </a:extLst>
            </p:cNvPr>
            <p:cNvCxnSpPr>
              <a:cxnSpLocks/>
            </p:cNvCxnSpPr>
            <p:nvPr/>
          </p:nvCxnSpPr>
          <p:spPr>
            <a:xfrm rot="16200000" flipH="1">
              <a:off x="-584415" y="3807497"/>
              <a:ext cx="2378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grpSp>
      <p:grpSp>
        <p:nvGrpSpPr>
          <p:cNvPr id="144" name="Group 143">
            <a:extLst>
              <a:ext uri="{FF2B5EF4-FFF2-40B4-BE49-F238E27FC236}">
                <a16:creationId xmlns:a16="http://schemas.microsoft.com/office/drawing/2014/main" id="{D59F89A5-359D-4A32-A659-999BB4DAAD5E}"/>
              </a:ext>
            </a:extLst>
          </p:cNvPr>
          <p:cNvGrpSpPr/>
          <p:nvPr/>
        </p:nvGrpSpPr>
        <p:grpSpPr>
          <a:xfrm>
            <a:off x="9730800" y="2708282"/>
            <a:ext cx="180000" cy="2882429"/>
            <a:chOff x="514800" y="2708282"/>
            <a:chExt cx="180000" cy="2882429"/>
          </a:xfrm>
        </p:grpSpPr>
        <p:cxnSp>
          <p:nvCxnSpPr>
            <p:cNvPr id="145" name="Gewinkelte Verbindung 63">
              <a:extLst>
                <a:ext uri="{FF2B5EF4-FFF2-40B4-BE49-F238E27FC236}">
                  <a16:creationId xmlns:a16="http://schemas.microsoft.com/office/drawing/2014/main" id="{C87E12DC-A537-4414-81A9-C8219C5D6415}"/>
                </a:ext>
              </a:extLst>
            </p:cNvPr>
            <p:cNvCxnSpPr>
              <a:cxnSpLocks/>
            </p:cNvCxnSpPr>
            <p:nvPr/>
          </p:nvCxnSpPr>
          <p:spPr>
            <a:xfrm rot="16200000" flipH="1">
              <a:off x="423585" y="2799497"/>
              <a:ext cx="362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cxnSp>
          <p:nvCxnSpPr>
            <p:cNvPr id="146" name="Gewinkelte Verbindung 64">
              <a:extLst>
                <a:ext uri="{FF2B5EF4-FFF2-40B4-BE49-F238E27FC236}">
                  <a16:creationId xmlns:a16="http://schemas.microsoft.com/office/drawing/2014/main" id="{B09D7DA4-D5BC-4DD9-92C6-99F3AF425DFC}"/>
                </a:ext>
              </a:extLst>
            </p:cNvPr>
            <p:cNvCxnSpPr>
              <a:cxnSpLocks/>
            </p:cNvCxnSpPr>
            <p:nvPr/>
          </p:nvCxnSpPr>
          <p:spPr>
            <a:xfrm rot="16200000" flipH="1">
              <a:off x="171585" y="3051497"/>
              <a:ext cx="866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cxnSp>
          <p:nvCxnSpPr>
            <p:cNvPr id="147" name="Gewinkelte Verbindung 65">
              <a:extLst>
                <a:ext uri="{FF2B5EF4-FFF2-40B4-BE49-F238E27FC236}">
                  <a16:creationId xmlns:a16="http://schemas.microsoft.com/office/drawing/2014/main" id="{9DDEE1DE-A78C-4B8B-85FD-AED488A47A4C}"/>
                </a:ext>
              </a:extLst>
            </p:cNvPr>
            <p:cNvCxnSpPr>
              <a:cxnSpLocks/>
            </p:cNvCxnSpPr>
            <p:nvPr/>
          </p:nvCxnSpPr>
          <p:spPr>
            <a:xfrm rot="16200000" flipH="1">
              <a:off x="-80415" y="3303497"/>
              <a:ext cx="1370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cxnSp>
          <p:nvCxnSpPr>
            <p:cNvPr id="148" name="Gewinkelte Verbindung 72">
              <a:extLst>
                <a:ext uri="{FF2B5EF4-FFF2-40B4-BE49-F238E27FC236}">
                  <a16:creationId xmlns:a16="http://schemas.microsoft.com/office/drawing/2014/main" id="{67811A32-48D9-4327-8040-2B6E07935AC8}"/>
                </a:ext>
              </a:extLst>
            </p:cNvPr>
            <p:cNvCxnSpPr>
              <a:cxnSpLocks/>
            </p:cNvCxnSpPr>
            <p:nvPr/>
          </p:nvCxnSpPr>
          <p:spPr>
            <a:xfrm rot="16200000" flipH="1">
              <a:off x="-332415" y="3555497"/>
              <a:ext cx="1874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cxnSp>
          <p:nvCxnSpPr>
            <p:cNvPr id="149" name="Gewinkelte Verbindung 128">
              <a:extLst>
                <a:ext uri="{FF2B5EF4-FFF2-40B4-BE49-F238E27FC236}">
                  <a16:creationId xmlns:a16="http://schemas.microsoft.com/office/drawing/2014/main" id="{642E3F02-79CB-4214-BDD5-12D813CCD116}"/>
                </a:ext>
              </a:extLst>
            </p:cNvPr>
            <p:cNvCxnSpPr>
              <a:cxnSpLocks/>
            </p:cNvCxnSpPr>
            <p:nvPr/>
          </p:nvCxnSpPr>
          <p:spPr>
            <a:xfrm rot="16200000" flipH="1">
              <a:off x="-836415" y="4059497"/>
              <a:ext cx="2882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cxnSp>
          <p:nvCxnSpPr>
            <p:cNvPr id="150" name="Gewinkelte Verbindung 129">
              <a:extLst>
                <a:ext uri="{FF2B5EF4-FFF2-40B4-BE49-F238E27FC236}">
                  <a16:creationId xmlns:a16="http://schemas.microsoft.com/office/drawing/2014/main" id="{848DEBBF-938F-4911-ADAA-ADEBFB801F66}"/>
                </a:ext>
              </a:extLst>
            </p:cNvPr>
            <p:cNvCxnSpPr>
              <a:cxnSpLocks/>
            </p:cNvCxnSpPr>
            <p:nvPr/>
          </p:nvCxnSpPr>
          <p:spPr>
            <a:xfrm rot="16200000" flipH="1">
              <a:off x="-584415" y="3807497"/>
              <a:ext cx="2378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grpSp>
      <p:sp>
        <p:nvSpPr>
          <p:cNvPr id="3" name="Footer Placeholder 2">
            <a:extLst>
              <a:ext uri="{FF2B5EF4-FFF2-40B4-BE49-F238E27FC236}">
                <a16:creationId xmlns:a16="http://schemas.microsoft.com/office/drawing/2014/main" id="{3B7E57CE-4216-4900-BB99-41DCE337C3E8}"/>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8" name="Slide Number Placeholder 7">
            <a:extLst>
              <a:ext uri="{FF2B5EF4-FFF2-40B4-BE49-F238E27FC236}">
                <a16:creationId xmlns:a16="http://schemas.microsoft.com/office/drawing/2014/main" id="{DA3CF0C1-7A3D-4B20-AE5E-F8141276C578}"/>
              </a:ext>
            </a:extLst>
          </p:cNvPr>
          <p:cNvSpPr>
            <a:spLocks noGrp="1"/>
          </p:cNvSpPr>
          <p:nvPr>
            <p:ph type="sldNum" sz="quarter" idx="11"/>
          </p:nvPr>
        </p:nvSpPr>
        <p:spPr/>
        <p:txBody>
          <a:bodyPr/>
          <a:lstStyle/>
          <a:p>
            <a:r>
              <a:rPr lang="en-US" dirty="0"/>
              <a:t>Page </a:t>
            </a:r>
            <a:fld id="{15EBE321-CBB1-4E91-BD14-37C8D44326FB}" type="slidenum">
              <a:rPr lang="en-US" smtClean="0"/>
              <a:pPr/>
              <a:t>75</a:t>
            </a:fld>
            <a:endParaRPr lang="en-US" dirty="0"/>
          </a:p>
        </p:txBody>
      </p:sp>
    </p:spTree>
    <p:extLst>
      <p:ext uri="{BB962C8B-B14F-4D97-AF65-F5344CB8AC3E}">
        <p14:creationId xmlns:p14="http://schemas.microsoft.com/office/powerpoint/2010/main" val="240078452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p:cNvSpPr/>
          <p:nvPr/>
        </p:nvSpPr>
        <p:spPr>
          <a:xfrm>
            <a:off x="2714400" y="2278800"/>
            <a:ext cx="2160000" cy="431823"/>
          </a:xfrm>
          <a:prstGeom prst="rect">
            <a:avLst/>
          </a:prstGeom>
          <a:solidFill>
            <a:srgbClr val="00646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b="1" dirty="0">
                <a:solidFill>
                  <a:schemeClr val="bg1"/>
                </a:solidFill>
              </a:rPr>
              <a:t>Maecenas nec odio</a:t>
            </a:r>
          </a:p>
        </p:txBody>
      </p:sp>
      <p:sp>
        <p:nvSpPr>
          <p:cNvPr id="59" name="Rechteck 58"/>
          <p:cNvSpPr/>
          <p:nvPr/>
        </p:nvSpPr>
        <p:spPr>
          <a:xfrm>
            <a:off x="410400" y="2278800"/>
            <a:ext cx="2160000" cy="431823"/>
          </a:xfrm>
          <a:prstGeom prst="rect">
            <a:avLst/>
          </a:prstGeom>
          <a:solidFill>
            <a:srgbClr val="00646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b="1" dirty="0">
                <a:solidFill>
                  <a:schemeClr val="bg1"/>
                </a:solidFill>
              </a:rPr>
              <a:t>Duis arcu tortor</a:t>
            </a:r>
          </a:p>
        </p:txBody>
      </p:sp>
      <p:sp>
        <p:nvSpPr>
          <p:cNvPr id="2" name="Titel 1"/>
          <p:cNvSpPr>
            <a:spLocks noGrp="1"/>
          </p:cNvSpPr>
          <p:nvPr>
            <p:ph type="title"/>
          </p:nvPr>
        </p:nvSpPr>
        <p:spPr>
          <a:xfrm>
            <a:off x="410400" y="478800"/>
            <a:ext cx="9863997" cy="576000"/>
          </a:xfrm>
        </p:spPr>
        <p:txBody>
          <a:bodyPr/>
          <a:lstStyle/>
          <a:p>
            <a:r>
              <a:rPr lang="en-US" dirty="0"/>
              <a:t>Organigram – different sublevels with highlights</a:t>
            </a:r>
          </a:p>
        </p:txBody>
      </p:sp>
      <p:sp>
        <p:nvSpPr>
          <p:cNvPr id="4" name="Rechteck 3"/>
          <p:cNvSpPr>
            <a:spLocks/>
          </p:cNvSpPr>
          <p:nvPr/>
        </p:nvSpPr>
        <p:spPr>
          <a:xfrm>
            <a:off x="410400" y="1415849"/>
            <a:ext cx="11376000" cy="431823"/>
          </a:xfrm>
          <a:prstGeom prst="rect">
            <a:avLst/>
          </a:prstGeom>
          <a:solidFill>
            <a:srgbClr val="00FFB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107944"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199" b="1" dirty="0">
                <a:solidFill>
                  <a:schemeClr val="tx2"/>
                </a:solidFill>
              </a:rPr>
              <a:t>Consetetur sadipscing elitr, seddiam nonumy</a:t>
            </a:r>
          </a:p>
        </p:txBody>
      </p:sp>
      <p:sp>
        <p:nvSpPr>
          <p:cNvPr id="5" name="Rechteck 4"/>
          <p:cNvSpPr/>
          <p:nvPr/>
        </p:nvSpPr>
        <p:spPr>
          <a:xfrm>
            <a:off x="5018400" y="2278800"/>
            <a:ext cx="2160000" cy="431823"/>
          </a:xfrm>
          <a:prstGeom prst="rect">
            <a:avLst/>
          </a:prstGeom>
          <a:solidFill>
            <a:srgbClr val="00646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b="1" dirty="0">
                <a:solidFill>
                  <a:schemeClr val="bg1"/>
                </a:solidFill>
              </a:rPr>
              <a:t>At vero eos et accusam</a:t>
            </a:r>
          </a:p>
        </p:txBody>
      </p:sp>
      <p:sp>
        <p:nvSpPr>
          <p:cNvPr id="6" name="Rechteck 5"/>
          <p:cNvSpPr/>
          <p:nvPr/>
        </p:nvSpPr>
        <p:spPr>
          <a:xfrm>
            <a:off x="7322400" y="2278800"/>
            <a:ext cx="2160000" cy="431823"/>
          </a:xfrm>
          <a:prstGeom prst="rect">
            <a:avLst/>
          </a:prstGeom>
          <a:solidFill>
            <a:srgbClr val="00646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b="1" dirty="0">
                <a:solidFill>
                  <a:schemeClr val="bg1"/>
                </a:solidFill>
              </a:rPr>
              <a:t>Phasellus nec sem</a:t>
            </a:r>
          </a:p>
        </p:txBody>
      </p:sp>
      <p:sp>
        <p:nvSpPr>
          <p:cNvPr id="10" name="Rechteck 9"/>
          <p:cNvSpPr/>
          <p:nvPr/>
        </p:nvSpPr>
        <p:spPr>
          <a:xfrm>
            <a:off x="3002400" y="2854800"/>
            <a:ext cx="1872000" cy="431823"/>
          </a:xfrm>
          <a:prstGeom prst="rect">
            <a:avLst/>
          </a:prstGeom>
          <a:solidFill>
            <a:srgbClr val="CCCCD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Duis arcu tortor</a:t>
            </a:r>
          </a:p>
        </p:txBody>
      </p:sp>
      <p:sp>
        <p:nvSpPr>
          <p:cNvPr id="11" name="Rechteck 10"/>
          <p:cNvSpPr/>
          <p:nvPr/>
        </p:nvSpPr>
        <p:spPr>
          <a:xfrm>
            <a:off x="3002400" y="3358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At vero eos et accusam</a:t>
            </a:r>
          </a:p>
        </p:txBody>
      </p:sp>
      <p:sp>
        <p:nvSpPr>
          <p:cNvPr id="12" name="Rechteck 11"/>
          <p:cNvSpPr/>
          <p:nvPr/>
        </p:nvSpPr>
        <p:spPr>
          <a:xfrm>
            <a:off x="3002400" y="3862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Phasellus nec sem</a:t>
            </a:r>
          </a:p>
        </p:txBody>
      </p:sp>
      <p:sp>
        <p:nvSpPr>
          <p:cNvPr id="13" name="Rechteck 12"/>
          <p:cNvSpPr/>
          <p:nvPr/>
        </p:nvSpPr>
        <p:spPr>
          <a:xfrm>
            <a:off x="3002400" y="4366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Duis arcu tortor</a:t>
            </a:r>
          </a:p>
        </p:txBody>
      </p:sp>
      <p:sp>
        <p:nvSpPr>
          <p:cNvPr id="14" name="Rechteck 13"/>
          <p:cNvSpPr/>
          <p:nvPr/>
        </p:nvSpPr>
        <p:spPr>
          <a:xfrm>
            <a:off x="2664143" y="2492371"/>
            <a:ext cx="84301" cy="2159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107944"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dirty="0"/>
          </a:p>
        </p:txBody>
      </p:sp>
      <p:sp>
        <p:nvSpPr>
          <p:cNvPr id="19" name="Rechteck 18"/>
          <p:cNvSpPr/>
          <p:nvPr/>
        </p:nvSpPr>
        <p:spPr>
          <a:xfrm>
            <a:off x="5306400" y="2854800"/>
            <a:ext cx="1872000" cy="431823"/>
          </a:xfrm>
          <a:prstGeom prst="rect">
            <a:avLst/>
          </a:prstGeom>
          <a:solidFill>
            <a:srgbClr val="CCCCD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Maecenas nec odio</a:t>
            </a:r>
          </a:p>
        </p:txBody>
      </p:sp>
      <p:sp>
        <p:nvSpPr>
          <p:cNvPr id="20" name="Rechteck 19"/>
          <p:cNvSpPr/>
          <p:nvPr/>
        </p:nvSpPr>
        <p:spPr>
          <a:xfrm>
            <a:off x="5306400" y="3358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Phasellus nec sem</a:t>
            </a:r>
          </a:p>
        </p:txBody>
      </p:sp>
      <p:sp>
        <p:nvSpPr>
          <p:cNvPr id="24" name="Rechteck 23"/>
          <p:cNvSpPr/>
          <p:nvPr/>
        </p:nvSpPr>
        <p:spPr>
          <a:xfrm>
            <a:off x="7610400" y="2854800"/>
            <a:ext cx="1872000" cy="431823"/>
          </a:xfrm>
          <a:prstGeom prst="rect">
            <a:avLst/>
          </a:prstGeom>
          <a:solidFill>
            <a:srgbClr val="AA32BE"/>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bg1"/>
                </a:solidFill>
              </a:rPr>
              <a:t>Maecenas nec odio</a:t>
            </a:r>
          </a:p>
        </p:txBody>
      </p:sp>
      <p:sp>
        <p:nvSpPr>
          <p:cNvPr id="25" name="Rechteck 24"/>
          <p:cNvSpPr/>
          <p:nvPr/>
        </p:nvSpPr>
        <p:spPr>
          <a:xfrm>
            <a:off x="7610400" y="3358800"/>
            <a:ext cx="1872000" cy="431823"/>
          </a:xfrm>
          <a:prstGeom prst="rect">
            <a:avLst/>
          </a:prstGeom>
          <a:solidFill>
            <a:srgbClr val="AA32BE"/>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bg1"/>
                </a:solidFill>
              </a:rPr>
              <a:t>Phasellus nec sem</a:t>
            </a:r>
          </a:p>
        </p:txBody>
      </p:sp>
      <p:sp>
        <p:nvSpPr>
          <p:cNvPr id="26" name="Rechteck 25"/>
          <p:cNvSpPr/>
          <p:nvPr/>
        </p:nvSpPr>
        <p:spPr>
          <a:xfrm>
            <a:off x="7610400" y="3862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Duis arcu tortor</a:t>
            </a:r>
          </a:p>
        </p:txBody>
      </p:sp>
      <p:cxnSp>
        <p:nvCxnSpPr>
          <p:cNvPr id="31" name="Gerade Verbindung 30"/>
          <p:cNvCxnSpPr>
            <a:stCxn id="4" idx="2"/>
            <a:endCxn id="5" idx="0"/>
          </p:cNvCxnSpPr>
          <p:nvPr/>
        </p:nvCxnSpPr>
        <p:spPr>
          <a:xfrm>
            <a:off x="6098400" y="1847672"/>
            <a:ext cx="0" cy="431128"/>
          </a:xfrm>
          <a:prstGeom prst="line">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sp>
        <p:nvSpPr>
          <p:cNvPr id="49" name="Rechteck 48"/>
          <p:cNvSpPr/>
          <p:nvPr/>
        </p:nvSpPr>
        <p:spPr>
          <a:xfrm>
            <a:off x="9626400" y="2278800"/>
            <a:ext cx="2160000" cy="431823"/>
          </a:xfrm>
          <a:prstGeom prst="rect">
            <a:avLst/>
          </a:prstGeom>
          <a:solidFill>
            <a:srgbClr val="00646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b="1" dirty="0">
                <a:solidFill>
                  <a:schemeClr val="bg1"/>
                </a:solidFill>
              </a:rPr>
              <a:t>Maecenas nec odio</a:t>
            </a:r>
          </a:p>
        </p:txBody>
      </p:sp>
      <p:sp>
        <p:nvSpPr>
          <p:cNvPr id="50" name="Rechteck 49"/>
          <p:cNvSpPr/>
          <p:nvPr/>
        </p:nvSpPr>
        <p:spPr>
          <a:xfrm>
            <a:off x="9914400" y="2854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At vero eos et accusam</a:t>
            </a:r>
          </a:p>
        </p:txBody>
      </p:sp>
      <p:sp>
        <p:nvSpPr>
          <p:cNvPr id="51" name="Rechteck 50"/>
          <p:cNvSpPr/>
          <p:nvPr/>
        </p:nvSpPr>
        <p:spPr>
          <a:xfrm>
            <a:off x="9914400" y="3358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Maecenas nec odio</a:t>
            </a:r>
          </a:p>
        </p:txBody>
      </p:sp>
      <p:sp>
        <p:nvSpPr>
          <p:cNvPr id="52" name="Rechteck 51"/>
          <p:cNvSpPr/>
          <p:nvPr/>
        </p:nvSpPr>
        <p:spPr>
          <a:xfrm>
            <a:off x="9914400" y="3862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At vero eos et accusam</a:t>
            </a:r>
          </a:p>
        </p:txBody>
      </p:sp>
      <p:sp>
        <p:nvSpPr>
          <p:cNvPr id="60" name="Rechteck 59"/>
          <p:cNvSpPr/>
          <p:nvPr/>
        </p:nvSpPr>
        <p:spPr>
          <a:xfrm>
            <a:off x="698400" y="2854800"/>
            <a:ext cx="1872000" cy="431823"/>
          </a:xfrm>
          <a:prstGeom prst="rect">
            <a:avLst/>
          </a:prstGeom>
          <a:solidFill>
            <a:srgbClr val="CCCCD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Phasellus nec sem</a:t>
            </a:r>
          </a:p>
        </p:txBody>
      </p:sp>
      <p:sp>
        <p:nvSpPr>
          <p:cNvPr id="61" name="Rechteck 60"/>
          <p:cNvSpPr/>
          <p:nvPr/>
        </p:nvSpPr>
        <p:spPr>
          <a:xfrm>
            <a:off x="698400" y="3358800"/>
            <a:ext cx="1872000" cy="431823"/>
          </a:xfrm>
          <a:prstGeom prst="rect">
            <a:avLst/>
          </a:prstGeom>
          <a:solidFill>
            <a:srgbClr val="CCCCD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Maecenas nec odio</a:t>
            </a:r>
          </a:p>
        </p:txBody>
      </p:sp>
      <p:sp>
        <p:nvSpPr>
          <p:cNvPr id="62" name="Rechteck 61"/>
          <p:cNvSpPr/>
          <p:nvPr/>
        </p:nvSpPr>
        <p:spPr>
          <a:xfrm>
            <a:off x="698400" y="3862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Duis arcu tortor</a:t>
            </a:r>
          </a:p>
        </p:txBody>
      </p:sp>
      <p:sp>
        <p:nvSpPr>
          <p:cNvPr id="72" name="Rechteck 71"/>
          <p:cNvSpPr/>
          <p:nvPr/>
        </p:nvSpPr>
        <p:spPr>
          <a:xfrm>
            <a:off x="698400" y="4366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At vero eos et accusam</a:t>
            </a:r>
          </a:p>
        </p:txBody>
      </p:sp>
      <p:sp>
        <p:nvSpPr>
          <p:cNvPr id="78" name="Rechteck 77"/>
          <p:cNvSpPr/>
          <p:nvPr/>
        </p:nvSpPr>
        <p:spPr>
          <a:xfrm>
            <a:off x="5306400" y="3862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Maecenas nec odio</a:t>
            </a:r>
          </a:p>
        </p:txBody>
      </p:sp>
      <p:sp>
        <p:nvSpPr>
          <p:cNvPr id="79" name="Rechteck 78"/>
          <p:cNvSpPr/>
          <p:nvPr/>
        </p:nvSpPr>
        <p:spPr>
          <a:xfrm>
            <a:off x="5306400" y="4366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Phasellus nec sem</a:t>
            </a:r>
          </a:p>
        </p:txBody>
      </p:sp>
      <p:sp>
        <p:nvSpPr>
          <p:cNvPr id="81" name="Rechteck 80"/>
          <p:cNvSpPr/>
          <p:nvPr/>
        </p:nvSpPr>
        <p:spPr>
          <a:xfrm>
            <a:off x="9914400" y="4366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Duis arcu tortor</a:t>
            </a:r>
          </a:p>
        </p:txBody>
      </p:sp>
      <p:sp>
        <p:nvSpPr>
          <p:cNvPr id="83" name="Rechteck 82"/>
          <p:cNvSpPr/>
          <p:nvPr/>
        </p:nvSpPr>
        <p:spPr>
          <a:xfrm>
            <a:off x="7610400" y="4366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Maecenas nec odio</a:t>
            </a:r>
          </a:p>
        </p:txBody>
      </p:sp>
      <p:sp>
        <p:nvSpPr>
          <p:cNvPr id="103" name="Rechteck 102"/>
          <p:cNvSpPr/>
          <p:nvPr/>
        </p:nvSpPr>
        <p:spPr>
          <a:xfrm>
            <a:off x="7610400" y="4870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At vero eos et accusam</a:t>
            </a:r>
          </a:p>
        </p:txBody>
      </p:sp>
      <p:sp>
        <p:nvSpPr>
          <p:cNvPr id="104" name="Rechteck 103"/>
          <p:cNvSpPr/>
          <p:nvPr/>
        </p:nvSpPr>
        <p:spPr>
          <a:xfrm>
            <a:off x="7610400" y="5374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Duis arcu tortor</a:t>
            </a:r>
          </a:p>
        </p:txBody>
      </p:sp>
      <p:sp>
        <p:nvSpPr>
          <p:cNvPr id="105" name="Rechteck 104"/>
          <p:cNvSpPr/>
          <p:nvPr/>
        </p:nvSpPr>
        <p:spPr>
          <a:xfrm>
            <a:off x="5306400" y="4870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Maecenas nec odio</a:t>
            </a:r>
          </a:p>
        </p:txBody>
      </p:sp>
      <p:sp>
        <p:nvSpPr>
          <p:cNvPr id="106" name="Rechteck 105"/>
          <p:cNvSpPr/>
          <p:nvPr/>
        </p:nvSpPr>
        <p:spPr>
          <a:xfrm>
            <a:off x="5306400" y="5374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Maecenas nec odio</a:t>
            </a:r>
          </a:p>
        </p:txBody>
      </p:sp>
      <p:sp>
        <p:nvSpPr>
          <p:cNvPr id="107" name="Rechteck 106"/>
          <p:cNvSpPr/>
          <p:nvPr/>
        </p:nvSpPr>
        <p:spPr>
          <a:xfrm>
            <a:off x="3002400" y="4870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Maecenas nec odio</a:t>
            </a:r>
          </a:p>
        </p:txBody>
      </p:sp>
      <p:sp>
        <p:nvSpPr>
          <p:cNvPr id="108" name="Rechteck 107"/>
          <p:cNvSpPr/>
          <p:nvPr/>
        </p:nvSpPr>
        <p:spPr>
          <a:xfrm>
            <a:off x="3002400" y="5374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At vero eos et accusam</a:t>
            </a:r>
          </a:p>
        </p:txBody>
      </p:sp>
      <p:sp>
        <p:nvSpPr>
          <p:cNvPr id="109" name="Rechteck 108"/>
          <p:cNvSpPr/>
          <p:nvPr/>
        </p:nvSpPr>
        <p:spPr>
          <a:xfrm>
            <a:off x="698400" y="4870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Maecenas nec odio</a:t>
            </a:r>
          </a:p>
        </p:txBody>
      </p:sp>
      <p:sp>
        <p:nvSpPr>
          <p:cNvPr id="110" name="Rechteck 109"/>
          <p:cNvSpPr/>
          <p:nvPr/>
        </p:nvSpPr>
        <p:spPr>
          <a:xfrm>
            <a:off x="698400" y="5374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Maecenas nec odio</a:t>
            </a:r>
          </a:p>
        </p:txBody>
      </p:sp>
      <p:sp>
        <p:nvSpPr>
          <p:cNvPr id="111" name="Rechteck 110"/>
          <p:cNvSpPr/>
          <p:nvPr/>
        </p:nvSpPr>
        <p:spPr>
          <a:xfrm>
            <a:off x="9914400" y="4870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Phasellus nec sem</a:t>
            </a:r>
          </a:p>
        </p:txBody>
      </p:sp>
      <p:sp>
        <p:nvSpPr>
          <p:cNvPr id="112" name="Rechteck 111"/>
          <p:cNvSpPr/>
          <p:nvPr/>
        </p:nvSpPr>
        <p:spPr>
          <a:xfrm>
            <a:off x="9914400" y="5374800"/>
            <a:ext cx="1872000" cy="431823"/>
          </a:xfrm>
          <a:prstGeom prst="rect">
            <a:avLst/>
          </a:prstGeom>
          <a:solidFill>
            <a:srgbClr val="E5E5E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rgbClr val="333353"/>
                </a:solidFill>
              </a:rPr>
              <a:t>Maecenas nec odio</a:t>
            </a:r>
          </a:p>
        </p:txBody>
      </p:sp>
      <p:grpSp>
        <p:nvGrpSpPr>
          <p:cNvPr id="9" name="Group 8">
            <a:extLst>
              <a:ext uri="{FF2B5EF4-FFF2-40B4-BE49-F238E27FC236}">
                <a16:creationId xmlns:a16="http://schemas.microsoft.com/office/drawing/2014/main" id="{63592144-F7F5-4F72-B783-0DF27094FEFB}"/>
              </a:ext>
            </a:extLst>
          </p:cNvPr>
          <p:cNvGrpSpPr/>
          <p:nvPr/>
        </p:nvGrpSpPr>
        <p:grpSpPr>
          <a:xfrm>
            <a:off x="514800" y="2708282"/>
            <a:ext cx="180000" cy="2882429"/>
            <a:chOff x="514800" y="2708282"/>
            <a:chExt cx="180000" cy="2882429"/>
          </a:xfrm>
        </p:grpSpPr>
        <p:cxnSp>
          <p:nvCxnSpPr>
            <p:cNvPr id="64" name="Gewinkelte Verbindung 63"/>
            <p:cNvCxnSpPr>
              <a:cxnSpLocks/>
              <a:endCxn id="60" idx="1"/>
            </p:cNvCxnSpPr>
            <p:nvPr/>
          </p:nvCxnSpPr>
          <p:spPr>
            <a:xfrm rot="16200000" flipH="1">
              <a:off x="423585" y="2799497"/>
              <a:ext cx="362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cxnSp>
          <p:nvCxnSpPr>
            <p:cNvPr id="65" name="Gewinkelte Verbindung 64"/>
            <p:cNvCxnSpPr>
              <a:cxnSpLocks/>
              <a:endCxn id="61" idx="1"/>
            </p:cNvCxnSpPr>
            <p:nvPr/>
          </p:nvCxnSpPr>
          <p:spPr>
            <a:xfrm rot="16200000" flipH="1">
              <a:off x="171585" y="3051497"/>
              <a:ext cx="866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cxnSp>
          <p:nvCxnSpPr>
            <p:cNvPr id="66" name="Gewinkelte Verbindung 65"/>
            <p:cNvCxnSpPr>
              <a:cxnSpLocks/>
              <a:endCxn id="62" idx="1"/>
            </p:cNvCxnSpPr>
            <p:nvPr/>
          </p:nvCxnSpPr>
          <p:spPr>
            <a:xfrm rot="16200000" flipH="1">
              <a:off x="-80415" y="3303497"/>
              <a:ext cx="1370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cxnSp>
          <p:nvCxnSpPr>
            <p:cNvPr id="73" name="Gewinkelte Verbindung 72"/>
            <p:cNvCxnSpPr>
              <a:cxnSpLocks/>
              <a:endCxn id="72" idx="1"/>
            </p:cNvCxnSpPr>
            <p:nvPr/>
          </p:nvCxnSpPr>
          <p:spPr>
            <a:xfrm rot="16200000" flipH="1">
              <a:off x="-332415" y="3555497"/>
              <a:ext cx="1874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cxnSp>
          <p:nvCxnSpPr>
            <p:cNvPr id="129" name="Gewinkelte Verbindung 128"/>
            <p:cNvCxnSpPr>
              <a:cxnSpLocks/>
              <a:endCxn id="110" idx="1"/>
            </p:cNvCxnSpPr>
            <p:nvPr/>
          </p:nvCxnSpPr>
          <p:spPr>
            <a:xfrm rot="16200000" flipH="1">
              <a:off x="-836415" y="4059497"/>
              <a:ext cx="2882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cxnSp>
          <p:nvCxnSpPr>
            <p:cNvPr id="130" name="Gewinkelte Verbindung 129"/>
            <p:cNvCxnSpPr>
              <a:cxnSpLocks/>
              <a:endCxn id="109" idx="1"/>
            </p:cNvCxnSpPr>
            <p:nvPr/>
          </p:nvCxnSpPr>
          <p:spPr>
            <a:xfrm rot="16200000" flipH="1">
              <a:off x="-584415" y="3807497"/>
              <a:ext cx="2378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grpSp>
      <p:cxnSp>
        <p:nvCxnSpPr>
          <p:cNvPr id="32" name="Connector: Elbow 31">
            <a:extLst>
              <a:ext uri="{FF2B5EF4-FFF2-40B4-BE49-F238E27FC236}">
                <a16:creationId xmlns:a16="http://schemas.microsoft.com/office/drawing/2014/main" id="{4314E6E5-8567-41D5-B363-90C907958447}"/>
              </a:ext>
            </a:extLst>
          </p:cNvPr>
          <p:cNvCxnSpPr>
            <a:stCxn id="59" idx="0"/>
            <a:endCxn id="49" idx="0"/>
          </p:cNvCxnSpPr>
          <p:nvPr/>
        </p:nvCxnSpPr>
        <p:spPr bwMode="auto">
          <a:xfrm rot="5400000" flipH="1" flipV="1">
            <a:off x="6098400" y="-2329200"/>
            <a:ext cx="12700" cy="9216000"/>
          </a:xfrm>
          <a:prstGeom prst="bentConnector3">
            <a:avLst>
              <a:gd name="adj1" fmla="val 1800000"/>
            </a:avLst>
          </a:prstGeom>
          <a:solidFill>
            <a:schemeClr val="tx2"/>
          </a:solidFill>
          <a:ln w="12700" cap="flat" cmpd="sng" algn="ctr">
            <a:solidFill>
              <a:srgbClr val="66667E"/>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4" name="Connector: Elbow 33">
            <a:extLst>
              <a:ext uri="{FF2B5EF4-FFF2-40B4-BE49-F238E27FC236}">
                <a16:creationId xmlns:a16="http://schemas.microsoft.com/office/drawing/2014/main" id="{EFE4A24D-0231-4796-BE09-70D355FB7AAA}"/>
              </a:ext>
            </a:extLst>
          </p:cNvPr>
          <p:cNvCxnSpPr>
            <a:stCxn id="7" idx="0"/>
            <a:endCxn id="6" idx="0"/>
          </p:cNvCxnSpPr>
          <p:nvPr/>
        </p:nvCxnSpPr>
        <p:spPr bwMode="auto">
          <a:xfrm rot="5400000" flipH="1" flipV="1">
            <a:off x="6098400" y="-25200"/>
            <a:ext cx="12700" cy="4608000"/>
          </a:xfrm>
          <a:prstGeom prst="bentConnector3">
            <a:avLst>
              <a:gd name="adj1" fmla="val 1800000"/>
            </a:avLst>
          </a:prstGeom>
          <a:solidFill>
            <a:schemeClr val="tx2"/>
          </a:solidFill>
          <a:ln w="12700" cap="flat" cmpd="sng" algn="ctr">
            <a:solidFill>
              <a:srgbClr val="66667E"/>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114" name="Group 113">
            <a:extLst>
              <a:ext uri="{FF2B5EF4-FFF2-40B4-BE49-F238E27FC236}">
                <a16:creationId xmlns:a16="http://schemas.microsoft.com/office/drawing/2014/main" id="{9CFF6281-1F06-4FAA-AE01-5E25D3C7E52A}"/>
              </a:ext>
            </a:extLst>
          </p:cNvPr>
          <p:cNvGrpSpPr/>
          <p:nvPr/>
        </p:nvGrpSpPr>
        <p:grpSpPr>
          <a:xfrm>
            <a:off x="2818800" y="2708282"/>
            <a:ext cx="180000" cy="2882429"/>
            <a:chOff x="514800" y="2708282"/>
            <a:chExt cx="180000" cy="2882429"/>
          </a:xfrm>
        </p:grpSpPr>
        <p:cxnSp>
          <p:nvCxnSpPr>
            <p:cNvPr id="115" name="Gewinkelte Verbindung 63">
              <a:extLst>
                <a:ext uri="{FF2B5EF4-FFF2-40B4-BE49-F238E27FC236}">
                  <a16:creationId xmlns:a16="http://schemas.microsoft.com/office/drawing/2014/main" id="{444B0898-0AAF-4F51-8283-FE096D2F27DC}"/>
                </a:ext>
              </a:extLst>
            </p:cNvPr>
            <p:cNvCxnSpPr>
              <a:cxnSpLocks/>
            </p:cNvCxnSpPr>
            <p:nvPr/>
          </p:nvCxnSpPr>
          <p:spPr>
            <a:xfrm rot="16200000" flipH="1">
              <a:off x="423585" y="2799497"/>
              <a:ext cx="362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cxnSp>
          <p:nvCxnSpPr>
            <p:cNvPr id="117" name="Gewinkelte Verbindung 64">
              <a:extLst>
                <a:ext uri="{FF2B5EF4-FFF2-40B4-BE49-F238E27FC236}">
                  <a16:creationId xmlns:a16="http://schemas.microsoft.com/office/drawing/2014/main" id="{31A8D076-80C3-43DA-BE9E-007EDA5753B4}"/>
                </a:ext>
              </a:extLst>
            </p:cNvPr>
            <p:cNvCxnSpPr>
              <a:cxnSpLocks/>
            </p:cNvCxnSpPr>
            <p:nvPr/>
          </p:nvCxnSpPr>
          <p:spPr>
            <a:xfrm rot="16200000" flipH="1">
              <a:off x="171585" y="3051497"/>
              <a:ext cx="866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cxnSp>
          <p:nvCxnSpPr>
            <p:cNvPr id="118" name="Gewinkelte Verbindung 65">
              <a:extLst>
                <a:ext uri="{FF2B5EF4-FFF2-40B4-BE49-F238E27FC236}">
                  <a16:creationId xmlns:a16="http://schemas.microsoft.com/office/drawing/2014/main" id="{3D770937-6020-4AA5-AE29-4516B6D41979}"/>
                </a:ext>
              </a:extLst>
            </p:cNvPr>
            <p:cNvCxnSpPr>
              <a:cxnSpLocks/>
            </p:cNvCxnSpPr>
            <p:nvPr/>
          </p:nvCxnSpPr>
          <p:spPr>
            <a:xfrm rot="16200000" flipH="1">
              <a:off x="-80415" y="3303497"/>
              <a:ext cx="1370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cxnSp>
          <p:nvCxnSpPr>
            <p:cNvPr id="120" name="Gewinkelte Verbindung 72">
              <a:extLst>
                <a:ext uri="{FF2B5EF4-FFF2-40B4-BE49-F238E27FC236}">
                  <a16:creationId xmlns:a16="http://schemas.microsoft.com/office/drawing/2014/main" id="{845A2D6A-E72D-4C6E-BAE2-CAB34AB1FD54}"/>
                </a:ext>
              </a:extLst>
            </p:cNvPr>
            <p:cNvCxnSpPr>
              <a:cxnSpLocks/>
            </p:cNvCxnSpPr>
            <p:nvPr/>
          </p:nvCxnSpPr>
          <p:spPr>
            <a:xfrm rot="16200000" flipH="1">
              <a:off x="-332415" y="3555497"/>
              <a:ext cx="1874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cxnSp>
          <p:nvCxnSpPr>
            <p:cNvPr id="121" name="Gewinkelte Verbindung 128">
              <a:extLst>
                <a:ext uri="{FF2B5EF4-FFF2-40B4-BE49-F238E27FC236}">
                  <a16:creationId xmlns:a16="http://schemas.microsoft.com/office/drawing/2014/main" id="{4EFBADD3-2E0C-4804-9201-3304517B863D}"/>
                </a:ext>
              </a:extLst>
            </p:cNvPr>
            <p:cNvCxnSpPr>
              <a:cxnSpLocks/>
            </p:cNvCxnSpPr>
            <p:nvPr/>
          </p:nvCxnSpPr>
          <p:spPr>
            <a:xfrm rot="16200000" flipH="1">
              <a:off x="-836415" y="4059497"/>
              <a:ext cx="2882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cxnSp>
          <p:nvCxnSpPr>
            <p:cNvPr id="123" name="Gewinkelte Verbindung 129">
              <a:extLst>
                <a:ext uri="{FF2B5EF4-FFF2-40B4-BE49-F238E27FC236}">
                  <a16:creationId xmlns:a16="http://schemas.microsoft.com/office/drawing/2014/main" id="{56E45C43-8771-479F-B896-35FC3D66509B}"/>
                </a:ext>
              </a:extLst>
            </p:cNvPr>
            <p:cNvCxnSpPr>
              <a:cxnSpLocks/>
            </p:cNvCxnSpPr>
            <p:nvPr/>
          </p:nvCxnSpPr>
          <p:spPr>
            <a:xfrm rot="16200000" flipH="1">
              <a:off x="-584415" y="3807497"/>
              <a:ext cx="2378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grpSp>
      <p:grpSp>
        <p:nvGrpSpPr>
          <p:cNvPr id="124" name="Group 123">
            <a:extLst>
              <a:ext uri="{FF2B5EF4-FFF2-40B4-BE49-F238E27FC236}">
                <a16:creationId xmlns:a16="http://schemas.microsoft.com/office/drawing/2014/main" id="{35150D04-8F89-4750-BDE3-A55A44DDA5BE}"/>
              </a:ext>
            </a:extLst>
          </p:cNvPr>
          <p:cNvGrpSpPr/>
          <p:nvPr/>
        </p:nvGrpSpPr>
        <p:grpSpPr>
          <a:xfrm>
            <a:off x="5122800" y="2708282"/>
            <a:ext cx="180000" cy="2882429"/>
            <a:chOff x="514800" y="2708282"/>
            <a:chExt cx="180000" cy="2882429"/>
          </a:xfrm>
        </p:grpSpPr>
        <p:cxnSp>
          <p:nvCxnSpPr>
            <p:cNvPr id="131" name="Gewinkelte Verbindung 63">
              <a:extLst>
                <a:ext uri="{FF2B5EF4-FFF2-40B4-BE49-F238E27FC236}">
                  <a16:creationId xmlns:a16="http://schemas.microsoft.com/office/drawing/2014/main" id="{47468D21-BC46-46ED-A096-6C36FDF030F3}"/>
                </a:ext>
              </a:extLst>
            </p:cNvPr>
            <p:cNvCxnSpPr>
              <a:cxnSpLocks/>
            </p:cNvCxnSpPr>
            <p:nvPr/>
          </p:nvCxnSpPr>
          <p:spPr>
            <a:xfrm rot="16200000" flipH="1">
              <a:off x="423585" y="2799497"/>
              <a:ext cx="362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cxnSp>
          <p:nvCxnSpPr>
            <p:cNvPr id="132" name="Gewinkelte Verbindung 64">
              <a:extLst>
                <a:ext uri="{FF2B5EF4-FFF2-40B4-BE49-F238E27FC236}">
                  <a16:creationId xmlns:a16="http://schemas.microsoft.com/office/drawing/2014/main" id="{7F386A66-ACBF-45D3-AF64-6D8C954DAA72}"/>
                </a:ext>
              </a:extLst>
            </p:cNvPr>
            <p:cNvCxnSpPr>
              <a:cxnSpLocks/>
            </p:cNvCxnSpPr>
            <p:nvPr/>
          </p:nvCxnSpPr>
          <p:spPr>
            <a:xfrm rot="16200000" flipH="1">
              <a:off x="171585" y="3051497"/>
              <a:ext cx="866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cxnSp>
          <p:nvCxnSpPr>
            <p:cNvPr id="133" name="Gewinkelte Verbindung 65">
              <a:extLst>
                <a:ext uri="{FF2B5EF4-FFF2-40B4-BE49-F238E27FC236}">
                  <a16:creationId xmlns:a16="http://schemas.microsoft.com/office/drawing/2014/main" id="{A2884416-C454-440F-B66D-91CBF47332C2}"/>
                </a:ext>
              </a:extLst>
            </p:cNvPr>
            <p:cNvCxnSpPr>
              <a:cxnSpLocks/>
            </p:cNvCxnSpPr>
            <p:nvPr/>
          </p:nvCxnSpPr>
          <p:spPr>
            <a:xfrm rot="16200000" flipH="1">
              <a:off x="-80415" y="3303497"/>
              <a:ext cx="1370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cxnSp>
          <p:nvCxnSpPr>
            <p:cNvPr id="134" name="Gewinkelte Verbindung 72">
              <a:extLst>
                <a:ext uri="{FF2B5EF4-FFF2-40B4-BE49-F238E27FC236}">
                  <a16:creationId xmlns:a16="http://schemas.microsoft.com/office/drawing/2014/main" id="{A93218E9-BB22-4544-82AC-613BDE4F3639}"/>
                </a:ext>
              </a:extLst>
            </p:cNvPr>
            <p:cNvCxnSpPr>
              <a:cxnSpLocks/>
            </p:cNvCxnSpPr>
            <p:nvPr/>
          </p:nvCxnSpPr>
          <p:spPr>
            <a:xfrm rot="16200000" flipH="1">
              <a:off x="-332415" y="3555497"/>
              <a:ext cx="1874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cxnSp>
          <p:nvCxnSpPr>
            <p:cNvPr id="135" name="Gewinkelte Verbindung 128">
              <a:extLst>
                <a:ext uri="{FF2B5EF4-FFF2-40B4-BE49-F238E27FC236}">
                  <a16:creationId xmlns:a16="http://schemas.microsoft.com/office/drawing/2014/main" id="{105296BE-90B7-43A2-937C-DA010891C9D6}"/>
                </a:ext>
              </a:extLst>
            </p:cNvPr>
            <p:cNvCxnSpPr>
              <a:cxnSpLocks/>
            </p:cNvCxnSpPr>
            <p:nvPr/>
          </p:nvCxnSpPr>
          <p:spPr>
            <a:xfrm rot="16200000" flipH="1">
              <a:off x="-836415" y="4059497"/>
              <a:ext cx="2882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cxnSp>
          <p:nvCxnSpPr>
            <p:cNvPr id="136" name="Gewinkelte Verbindung 129">
              <a:extLst>
                <a:ext uri="{FF2B5EF4-FFF2-40B4-BE49-F238E27FC236}">
                  <a16:creationId xmlns:a16="http://schemas.microsoft.com/office/drawing/2014/main" id="{39746DF9-1FF2-40D5-B657-9F65333C7EFF}"/>
                </a:ext>
              </a:extLst>
            </p:cNvPr>
            <p:cNvCxnSpPr>
              <a:cxnSpLocks/>
            </p:cNvCxnSpPr>
            <p:nvPr/>
          </p:nvCxnSpPr>
          <p:spPr>
            <a:xfrm rot="16200000" flipH="1">
              <a:off x="-584415" y="3807497"/>
              <a:ext cx="2378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grpSp>
      <p:grpSp>
        <p:nvGrpSpPr>
          <p:cNvPr id="137" name="Group 136">
            <a:extLst>
              <a:ext uri="{FF2B5EF4-FFF2-40B4-BE49-F238E27FC236}">
                <a16:creationId xmlns:a16="http://schemas.microsoft.com/office/drawing/2014/main" id="{5C572CD6-E6E2-4834-84CF-13747878A368}"/>
              </a:ext>
            </a:extLst>
          </p:cNvPr>
          <p:cNvGrpSpPr/>
          <p:nvPr/>
        </p:nvGrpSpPr>
        <p:grpSpPr>
          <a:xfrm>
            <a:off x="7426800" y="2708282"/>
            <a:ext cx="180000" cy="2882429"/>
            <a:chOff x="514800" y="2708282"/>
            <a:chExt cx="180000" cy="2882429"/>
          </a:xfrm>
        </p:grpSpPr>
        <p:cxnSp>
          <p:nvCxnSpPr>
            <p:cNvPr id="138" name="Gewinkelte Verbindung 63">
              <a:extLst>
                <a:ext uri="{FF2B5EF4-FFF2-40B4-BE49-F238E27FC236}">
                  <a16:creationId xmlns:a16="http://schemas.microsoft.com/office/drawing/2014/main" id="{FBB4CF92-5339-4136-8898-CF97C08C9BC6}"/>
                </a:ext>
              </a:extLst>
            </p:cNvPr>
            <p:cNvCxnSpPr>
              <a:cxnSpLocks/>
            </p:cNvCxnSpPr>
            <p:nvPr/>
          </p:nvCxnSpPr>
          <p:spPr>
            <a:xfrm rot="16200000" flipH="1">
              <a:off x="423585" y="2799497"/>
              <a:ext cx="362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cxnSp>
          <p:nvCxnSpPr>
            <p:cNvPr id="139" name="Gewinkelte Verbindung 64">
              <a:extLst>
                <a:ext uri="{FF2B5EF4-FFF2-40B4-BE49-F238E27FC236}">
                  <a16:creationId xmlns:a16="http://schemas.microsoft.com/office/drawing/2014/main" id="{86DAFED3-0808-409C-939C-A90779B25626}"/>
                </a:ext>
              </a:extLst>
            </p:cNvPr>
            <p:cNvCxnSpPr>
              <a:cxnSpLocks/>
            </p:cNvCxnSpPr>
            <p:nvPr/>
          </p:nvCxnSpPr>
          <p:spPr>
            <a:xfrm rot="16200000" flipH="1">
              <a:off x="171585" y="3051497"/>
              <a:ext cx="866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cxnSp>
          <p:nvCxnSpPr>
            <p:cNvPr id="140" name="Gewinkelte Verbindung 65">
              <a:extLst>
                <a:ext uri="{FF2B5EF4-FFF2-40B4-BE49-F238E27FC236}">
                  <a16:creationId xmlns:a16="http://schemas.microsoft.com/office/drawing/2014/main" id="{65D8EF2A-45E5-4578-BA58-1F1E8353DC12}"/>
                </a:ext>
              </a:extLst>
            </p:cNvPr>
            <p:cNvCxnSpPr>
              <a:cxnSpLocks/>
            </p:cNvCxnSpPr>
            <p:nvPr/>
          </p:nvCxnSpPr>
          <p:spPr>
            <a:xfrm rot="16200000" flipH="1">
              <a:off x="-80415" y="3303497"/>
              <a:ext cx="1370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cxnSp>
          <p:nvCxnSpPr>
            <p:cNvPr id="141" name="Gewinkelte Verbindung 72">
              <a:extLst>
                <a:ext uri="{FF2B5EF4-FFF2-40B4-BE49-F238E27FC236}">
                  <a16:creationId xmlns:a16="http://schemas.microsoft.com/office/drawing/2014/main" id="{07113146-2164-4E68-9518-209024BBF51A}"/>
                </a:ext>
              </a:extLst>
            </p:cNvPr>
            <p:cNvCxnSpPr>
              <a:cxnSpLocks/>
            </p:cNvCxnSpPr>
            <p:nvPr/>
          </p:nvCxnSpPr>
          <p:spPr>
            <a:xfrm rot="16200000" flipH="1">
              <a:off x="-332415" y="3555497"/>
              <a:ext cx="1874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cxnSp>
          <p:nvCxnSpPr>
            <p:cNvPr id="142" name="Gewinkelte Verbindung 128">
              <a:extLst>
                <a:ext uri="{FF2B5EF4-FFF2-40B4-BE49-F238E27FC236}">
                  <a16:creationId xmlns:a16="http://schemas.microsoft.com/office/drawing/2014/main" id="{EF62E150-7CBE-4A2C-84F4-4A44F9448570}"/>
                </a:ext>
              </a:extLst>
            </p:cNvPr>
            <p:cNvCxnSpPr>
              <a:cxnSpLocks/>
            </p:cNvCxnSpPr>
            <p:nvPr/>
          </p:nvCxnSpPr>
          <p:spPr>
            <a:xfrm rot="16200000" flipH="1">
              <a:off x="-836415" y="4059497"/>
              <a:ext cx="2882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cxnSp>
          <p:nvCxnSpPr>
            <p:cNvPr id="143" name="Gewinkelte Verbindung 129">
              <a:extLst>
                <a:ext uri="{FF2B5EF4-FFF2-40B4-BE49-F238E27FC236}">
                  <a16:creationId xmlns:a16="http://schemas.microsoft.com/office/drawing/2014/main" id="{AAAD3654-1B73-41D0-928D-C40534E491A9}"/>
                </a:ext>
              </a:extLst>
            </p:cNvPr>
            <p:cNvCxnSpPr>
              <a:cxnSpLocks/>
            </p:cNvCxnSpPr>
            <p:nvPr/>
          </p:nvCxnSpPr>
          <p:spPr>
            <a:xfrm rot="16200000" flipH="1">
              <a:off x="-584415" y="3807497"/>
              <a:ext cx="2378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grpSp>
      <p:grpSp>
        <p:nvGrpSpPr>
          <p:cNvPr id="144" name="Group 143">
            <a:extLst>
              <a:ext uri="{FF2B5EF4-FFF2-40B4-BE49-F238E27FC236}">
                <a16:creationId xmlns:a16="http://schemas.microsoft.com/office/drawing/2014/main" id="{D59F89A5-359D-4A32-A659-999BB4DAAD5E}"/>
              </a:ext>
            </a:extLst>
          </p:cNvPr>
          <p:cNvGrpSpPr/>
          <p:nvPr/>
        </p:nvGrpSpPr>
        <p:grpSpPr>
          <a:xfrm>
            <a:off x="9730800" y="2708282"/>
            <a:ext cx="180000" cy="2882429"/>
            <a:chOff x="514800" y="2708282"/>
            <a:chExt cx="180000" cy="2882429"/>
          </a:xfrm>
        </p:grpSpPr>
        <p:cxnSp>
          <p:nvCxnSpPr>
            <p:cNvPr id="145" name="Gewinkelte Verbindung 63">
              <a:extLst>
                <a:ext uri="{FF2B5EF4-FFF2-40B4-BE49-F238E27FC236}">
                  <a16:creationId xmlns:a16="http://schemas.microsoft.com/office/drawing/2014/main" id="{C87E12DC-A537-4414-81A9-C8219C5D6415}"/>
                </a:ext>
              </a:extLst>
            </p:cNvPr>
            <p:cNvCxnSpPr>
              <a:cxnSpLocks/>
            </p:cNvCxnSpPr>
            <p:nvPr/>
          </p:nvCxnSpPr>
          <p:spPr>
            <a:xfrm rot="16200000" flipH="1">
              <a:off x="423585" y="2799497"/>
              <a:ext cx="362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cxnSp>
          <p:nvCxnSpPr>
            <p:cNvPr id="146" name="Gewinkelte Verbindung 64">
              <a:extLst>
                <a:ext uri="{FF2B5EF4-FFF2-40B4-BE49-F238E27FC236}">
                  <a16:creationId xmlns:a16="http://schemas.microsoft.com/office/drawing/2014/main" id="{B09D7DA4-D5BC-4DD9-92C6-99F3AF425DFC}"/>
                </a:ext>
              </a:extLst>
            </p:cNvPr>
            <p:cNvCxnSpPr>
              <a:cxnSpLocks/>
            </p:cNvCxnSpPr>
            <p:nvPr/>
          </p:nvCxnSpPr>
          <p:spPr>
            <a:xfrm rot="16200000" flipH="1">
              <a:off x="171585" y="3051497"/>
              <a:ext cx="866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cxnSp>
          <p:nvCxnSpPr>
            <p:cNvPr id="147" name="Gewinkelte Verbindung 65">
              <a:extLst>
                <a:ext uri="{FF2B5EF4-FFF2-40B4-BE49-F238E27FC236}">
                  <a16:creationId xmlns:a16="http://schemas.microsoft.com/office/drawing/2014/main" id="{9DDEE1DE-A78C-4B8B-85FD-AED488A47A4C}"/>
                </a:ext>
              </a:extLst>
            </p:cNvPr>
            <p:cNvCxnSpPr>
              <a:cxnSpLocks/>
            </p:cNvCxnSpPr>
            <p:nvPr/>
          </p:nvCxnSpPr>
          <p:spPr>
            <a:xfrm rot="16200000" flipH="1">
              <a:off x="-80415" y="3303497"/>
              <a:ext cx="1370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cxnSp>
          <p:nvCxnSpPr>
            <p:cNvPr id="148" name="Gewinkelte Verbindung 72">
              <a:extLst>
                <a:ext uri="{FF2B5EF4-FFF2-40B4-BE49-F238E27FC236}">
                  <a16:creationId xmlns:a16="http://schemas.microsoft.com/office/drawing/2014/main" id="{67811A32-48D9-4327-8040-2B6E07935AC8}"/>
                </a:ext>
              </a:extLst>
            </p:cNvPr>
            <p:cNvCxnSpPr>
              <a:cxnSpLocks/>
            </p:cNvCxnSpPr>
            <p:nvPr/>
          </p:nvCxnSpPr>
          <p:spPr>
            <a:xfrm rot="16200000" flipH="1">
              <a:off x="-332415" y="3555497"/>
              <a:ext cx="1874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cxnSp>
          <p:nvCxnSpPr>
            <p:cNvPr id="149" name="Gewinkelte Verbindung 128">
              <a:extLst>
                <a:ext uri="{FF2B5EF4-FFF2-40B4-BE49-F238E27FC236}">
                  <a16:creationId xmlns:a16="http://schemas.microsoft.com/office/drawing/2014/main" id="{642E3F02-79CB-4214-BDD5-12D813CCD116}"/>
                </a:ext>
              </a:extLst>
            </p:cNvPr>
            <p:cNvCxnSpPr>
              <a:cxnSpLocks/>
            </p:cNvCxnSpPr>
            <p:nvPr/>
          </p:nvCxnSpPr>
          <p:spPr>
            <a:xfrm rot="16200000" flipH="1">
              <a:off x="-836415" y="4059497"/>
              <a:ext cx="2882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cxnSp>
          <p:nvCxnSpPr>
            <p:cNvPr id="150" name="Gewinkelte Verbindung 129">
              <a:extLst>
                <a:ext uri="{FF2B5EF4-FFF2-40B4-BE49-F238E27FC236}">
                  <a16:creationId xmlns:a16="http://schemas.microsoft.com/office/drawing/2014/main" id="{848DEBBF-938F-4911-ADAA-ADEBFB801F66}"/>
                </a:ext>
              </a:extLst>
            </p:cNvPr>
            <p:cNvCxnSpPr>
              <a:cxnSpLocks/>
            </p:cNvCxnSpPr>
            <p:nvPr/>
          </p:nvCxnSpPr>
          <p:spPr>
            <a:xfrm rot="16200000" flipH="1">
              <a:off x="-584415" y="3807497"/>
              <a:ext cx="2378429" cy="180000"/>
            </a:xfrm>
            <a:prstGeom prst="bentConnector2">
              <a:avLst/>
            </a:prstGeom>
            <a:ln w="12700">
              <a:solidFill>
                <a:srgbClr val="66667E"/>
              </a:solidFill>
            </a:ln>
          </p:spPr>
          <p:style>
            <a:lnRef idx="1">
              <a:schemeClr val="accent1"/>
            </a:lnRef>
            <a:fillRef idx="0">
              <a:schemeClr val="accent1"/>
            </a:fillRef>
            <a:effectRef idx="0">
              <a:schemeClr val="accent1"/>
            </a:effectRef>
            <a:fontRef idx="minor">
              <a:schemeClr val="tx1"/>
            </a:fontRef>
          </p:style>
        </p:cxnSp>
      </p:grpSp>
      <p:sp>
        <p:nvSpPr>
          <p:cNvPr id="3" name="Footer Placeholder 2">
            <a:extLst>
              <a:ext uri="{FF2B5EF4-FFF2-40B4-BE49-F238E27FC236}">
                <a16:creationId xmlns:a16="http://schemas.microsoft.com/office/drawing/2014/main" id="{BE565D75-DA9A-4E86-A701-E9B8ADB2D2A2}"/>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8" name="Slide Number Placeholder 7">
            <a:extLst>
              <a:ext uri="{FF2B5EF4-FFF2-40B4-BE49-F238E27FC236}">
                <a16:creationId xmlns:a16="http://schemas.microsoft.com/office/drawing/2014/main" id="{DE44A11A-37FA-4330-8CE1-FA74D5F19DD0}"/>
              </a:ext>
            </a:extLst>
          </p:cNvPr>
          <p:cNvSpPr>
            <a:spLocks noGrp="1"/>
          </p:cNvSpPr>
          <p:nvPr>
            <p:ph type="sldNum" sz="quarter" idx="11"/>
          </p:nvPr>
        </p:nvSpPr>
        <p:spPr/>
        <p:txBody>
          <a:bodyPr/>
          <a:lstStyle/>
          <a:p>
            <a:r>
              <a:rPr lang="en-US" dirty="0"/>
              <a:t>Page </a:t>
            </a:r>
            <a:fld id="{15EBE321-CBB1-4E91-BD14-37C8D44326FB}" type="slidenum">
              <a:rPr lang="en-US" smtClean="0"/>
              <a:pPr/>
              <a:t>76</a:t>
            </a:fld>
            <a:endParaRPr lang="en-US" dirty="0"/>
          </a:p>
        </p:txBody>
      </p:sp>
    </p:spTree>
    <p:extLst>
      <p:ext uri="{BB962C8B-B14F-4D97-AF65-F5344CB8AC3E}">
        <p14:creationId xmlns:p14="http://schemas.microsoft.com/office/powerpoint/2010/main" val="319610309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p:cNvSpPr/>
          <p:nvPr/>
        </p:nvSpPr>
        <p:spPr>
          <a:xfrm>
            <a:off x="2714400" y="2278800"/>
            <a:ext cx="2160000" cy="431823"/>
          </a:xfrm>
          <a:prstGeom prst="rect">
            <a:avLst/>
          </a:prstGeom>
          <a:solidFill>
            <a:srgbClr val="00646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b="1" dirty="0">
                <a:solidFill>
                  <a:schemeClr val="tx1"/>
                </a:solidFill>
              </a:rPr>
              <a:t>Maecenas nec odio</a:t>
            </a:r>
          </a:p>
        </p:txBody>
      </p:sp>
      <p:sp>
        <p:nvSpPr>
          <p:cNvPr id="59" name="Rechteck 58"/>
          <p:cNvSpPr/>
          <p:nvPr/>
        </p:nvSpPr>
        <p:spPr>
          <a:xfrm>
            <a:off x="410400" y="2278800"/>
            <a:ext cx="2160000" cy="431823"/>
          </a:xfrm>
          <a:prstGeom prst="rect">
            <a:avLst/>
          </a:prstGeom>
          <a:solidFill>
            <a:srgbClr val="00646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b="1" dirty="0">
                <a:solidFill>
                  <a:schemeClr val="tx1"/>
                </a:solidFill>
              </a:rPr>
              <a:t>Duis arcu tortor</a:t>
            </a:r>
          </a:p>
        </p:txBody>
      </p:sp>
      <p:sp>
        <p:nvSpPr>
          <p:cNvPr id="2" name="Titel 1"/>
          <p:cNvSpPr>
            <a:spLocks noGrp="1"/>
          </p:cNvSpPr>
          <p:nvPr>
            <p:ph type="title"/>
          </p:nvPr>
        </p:nvSpPr>
        <p:spPr/>
        <p:txBody>
          <a:bodyPr/>
          <a:lstStyle/>
          <a:p>
            <a:r>
              <a:rPr lang="en-US" dirty="0"/>
              <a:t>Organigram – different sublevels with highlights</a:t>
            </a:r>
          </a:p>
        </p:txBody>
      </p:sp>
      <p:sp>
        <p:nvSpPr>
          <p:cNvPr id="4" name="Rechteck 3"/>
          <p:cNvSpPr>
            <a:spLocks/>
          </p:cNvSpPr>
          <p:nvPr/>
        </p:nvSpPr>
        <p:spPr>
          <a:xfrm>
            <a:off x="410400" y="1415849"/>
            <a:ext cx="11376000" cy="431823"/>
          </a:xfrm>
          <a:prstGeom prst="rect">
            <a:avLst/>
          </a:prstGeom>
          <a:solidFill>
            <a:srgbClr val="00FFB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107944"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199" b="1" dirty="0">
                <a:solidFill>
                  <a:schemeClr val="bg2"/>
                </a:solidFill>
              </a:rPr>
              <a:t>Consetetur sadipscing elitr, seddiam nonumy</a:t>
            </a:r>
          </a:p>
        </p:txBody>
      </p:sp>
      <p:sp>
        <p:nvSpPr>
          <p:cNvPr id="5" name="Rechteck 4"/>
          <p:cNvSpPr/>
          <p:nvPr/>
        </p:nvSpPr>
        <p:spPr>
          <a:xfrm>
            <a:off x="5018400" y="2278800"/>
            <a:ext cx="2160000" cy="431823"/>
          </a:xfrm>
          <a:prstGeom prst="rect">
            <a:avLst/>
          </a:prstGeom>
          <a:solidFill>
            <a:srgbClr val="00646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b="1" dirty="0">
                <a:solidFill>
                  <a:schemeClr val="tx1"/>
                </a:solidFill>
              </a:rPr>
              <a:t>At vero eos et accusam</a:t>
            </a:r>
          </a:p>
        </p:txBody>
      </p:sp>
      <p:sp>
        <p:nvSpPr>
          <p:cNvPr id="6" name="Rechteck 5"/>
          <p:cNvSpPr/>
          <p:nvPr/>
        </p:nvSpPr>
        <p:spPr>
          <a:xfrm>
            <a:off x="7322400" y="2278800"/>
            <a:ext cx="2160000" cy="431823"/>
          </a:xfrm>
          <a:prstGeom prst="rect">
            <a:avLst/>
          </a:prstGeom>
          <a:solidFill>
            <a:srgbClr val="00646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b="1" dirty="0">
                <a:solidFill>
                  <a:schemeClr val="tx1"/>
                </a:solidFill>
              </a:rPr>
              <a:t>Phasellus nec sem</a:t>
            </a:r>
          </a:p>
        </p:txBody>
      </p:sp>
      <p:sp>
        <p:nvSpPr>
          <p:cNvPr id="10" name="Rechteck 9"/>
          <p:cNvSpPr/>
          <p:nvPr/>
        </p:nvSpPr>
        <p:spPr>
          <a:xfrm>
            <a:off x="3002400" y="2854800"/>
            <a:ext cx="1872000" cy="431823"/>
          </a:xfrm>
          <a:prstGeom prst="rect">
            <a:avLst/>
          </a:prstGeom>
          <a:solidFill>
            <a:srgbClr val="66667E"/>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1"/>
                </a:solidFill>
              </a:rPr>
              <a:t>Duis arcu tortor</a:t>
            </a:r>
          </a:p>
        </p:txBody>
      </p:sp>
      <p:sp>
        <p:nvSpPr>
          <p:cNvPr id="11" name="Rechteck 10"/>
          <p:cNvSpPr/>
          <p:nvPr/>
        </p:nvSpPr>
        <p:spPr>
          <a:xfrm>
            <a:off x="3002400" y="3358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At vero eos et accusam</a:t>
            </a:r>
          </a:p>
        </p:txBody>
      </p:sp>
      <p:sp>
        <p:nvSpPr>
          <p:cNvPr id="12" name="Rechteck 11"/>
          <p:cNvSpPr/>
          <p:nvPr/>
        </p:nvSpPr>
        <p:spPr>
          <a:xfrm>
            <a:off x="3002400" y="3862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Phasellus nec sem</a:t>
            </a:r>
          </a:p>
        </p:txBody>
      </p:sp>
      <p:sp>
        <p:nvSpPr>
          <p:cNvPr id="13" name="Rechteck 12"/>
          <p:cNvSpPr/>
          <p:nvPr/>
        </p:nvSpPr>
        <p:spPr>
          <a:xfrm>
            <a:off x="3002400" y="4366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Duis arcu tortor</a:t>
            </a:r>
          </a:p>
        </p:txBody>
      </p:sp>
      <p:sp>
        <p:nvSpPr>
          <p:cNvPr id="14" name="Rechteck 13"/>
          <p:cNvSpPr/>
          <p:nvPr/>
        </p:nvSpPr>
        <p:spPr>
          <a:xfrm>
            <a:off x="2664143" y="2492371"/>
            <a:ext cx="84301" cy="2159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107944"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dirty="0"/>
          </a:p>
        </p:txBody>
      </p:sp>
      <p:sp>
        <p:nvSpPr>
          <p:cNvPr id="19" name="Rechteck 18"/>
          <p:cNvSpPr/>
          <p:nvPr/>
        </p:nvSpPr>
        <p:spPr>
          <a:xfrm>
            <a:off x="5306400" y="2854800"/>
            <a:ext cx="1872000" cy="431823"/>
          </a:xfrm>
          <a:prstGeom prst="rect">
            <a:avLst/>
          </a:prstGeom>
          <a:solidFill>
            <a:srgbClr val="66667E"/>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1"/>
                </a:solidFill>
              </a:rPr>
              <a:t>Maecenas nec odio</a:t>
            </a:r>
          </a:p>
        </p:txBody>
      </p:sp>
      <p:sp>
        <p:nvSpPr>
          <p:cNvPr id="20" name="Rechteck 19"/>
          <p:cNvSpPr/>
          <p:nvPr/>
        </p:nvSpPr>
        <p:spPr>
          <a:xfrm>
            <a:off x="5306400" y="3358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Phasellus nec sem</a:t>
            </a:r>
          </a:p>
        </p:txBody>
      </p:sp>
      <p:sp>
        <p:nvSpPr>
          <p:cNvPr id="24" name="Rechteck 23"/>
          <p:cNvSpPr/>
          <p:nvPr/>
        </p:nvSpPr>
        <p:spPr>
          <a:xfrm>
            <a:off x="7610400" y="2854800"/>
            <a:ext cx="1872000" cy="431823"/>
          </a:xfrm>
          <a:prstGeom prst="rect">
            <a:avLst/>
          </a:prstGeom>
          <a:solidFill>
            <a:srgbClr val="AA32BE"/>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1"/>
                </a:solidFill>
              </a:rPr>
              <a:t>Maecenas nec odio</a:t>
            </a:r>
          </a:p>
        </p:txBody>
      </p:sp>
      <p:sp>
        <p:nvSpPr>
          <p:cNvPr id="25" name="Rechteck 24"/>
          <p:cNvSpPr/>
          <p:nvPr/>
        </p:nvSpPr>
        <p:spPr>
          <a:xfrm>
            <a:off x="7610400" y="3358800"/>
            <a:ext cx="1872000" cy="431823"/>
          </a:xfrm>
          <a:prstGeom prst="rect">
            <a:avLst/>
          </a:prstGeom>
          <a:solidFill>
            <a:srgbClr val="AA32BE"/>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1"/>
                </a:solidFill>
              </a:rPr>
              <a:t>Phasellus nec sem</a:t>
            </a:r>
          </a:p>
        </p:txBody>
      </p:sp>
      <p:sp>
        <p:nvSpPr>
          <p:cNvPr id="26" name="Rechteck 25"/>
          <p:cNvSpPr/>
          <p:nvPr/>
        </p:nvSpPr>
        <p:spPr>
          <a:xfrm>
            <a:off x="7610400" y="3862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Duis arcu tortor</a:t>
            </a:r>
          </a:p>
        </p:txBody>
      </p:sp>
      <p:cxnSp>
        <p:nvCxnSpPr>
          <p:cNvPr id="31" name="Gerade Verbindung 30"/>
          <p:cNvCxnSpPr>
            <a:stCxn id="4" idx="2"/>
            <a:endCxn id="5" idx="0"/>
          </p:cNvCxnSpPr>
          <p:nvPr/>
        </p:nvCxnSpPr>
        <p:spPr>
          <a:xfrm>
            <a:off x="6098400" y="1847672"/>
            <a:ext cx="0" cy="431128"/>
          </a:xfrm>
          <a:prstGeom prst="line">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sp>
        <p:nvSpPr>
          <p:cNvPr id="49" name="Rechteck 48"/>
          <p:cNvSpPr/>
          <p:nvPr/>
        </p:nvSpPr>
        <p:spPr>
          <a:xfrm>
            <a:off x="9626400" y="2278800"/>
            <a:ext cx="2160000" cy="431823"/>
          </a:xfrm>
          <a:prstGeom prst="rect">
            <a:avLst/>
          </a:prstGeom>
          <a:solidFill>
            <a:srgbClr val="00646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b="1" dirty="0">
                <a:solidFill>
                  <a:schemeClr val="tx1"/>
                </a:solidFill>
              </a:rPr>
              <a:t>Maecenas nec odio</a:t>
            </a:r>
          </a:p>
        </p:txBody>
      </p:sp>
      <p:sp>
        <p:nvSpPr>
          <p:cNvPr id="50" name="Rechteck 49"/>
          <p:cNvSpPr/>
          <p:nvPr/>
        </p:nvSpPr>
        <p:spPr>
          <a:xfrm>
            <a:off x="9914400" y="2854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At vero eos et accusam</a:t>
            </a:r>
          </a:p>
        </p:txBody>
      </p:sp>
      <p:sp>
        <p:nvSpPr>
          <p:cNvPr id="51" name="Rechteck 50"/>
          <p:cNvSpPr/>
          <p:nvPr/>
        </p:nvSpPr>
        <p:spPr>
          <a:xfrm>
            <a:off x="9914400" y="3358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Maecenas nec odio</a:t>
            </a:r>
          </a:p>
        </p:txBody>
      </p:sp>
      <p:sp>
        <p:nvSpPr>
          <p:cNvPr id="52" name="Rechteck 51"/>
          <p:cNvSpPr/>
          <p:nvPr/>
        </p:nvSpPr>
        <p:spPr>
          <a:xfrm>
            <a:off x="9914400" y="3862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At vero eos et accusam</a:t>
            </a:r>
          </a:p>
        </p:txBody>
      </p:sp>
      <p:sp>
        <p:nvSpPr>
          <p:cNvPr id="60" name="Rechteck 59"/>
          <p:cNvSpPr/>
          <p:nvPr/>
        </p:nvSpPr>
        <p:spPr>
          <a:xfrm>
            <a:off x="698400" y="2854800"/>
            <a:ext cx="1872000" cy="431823"/>
          </a:xfrm>
          <a:prstGeom prst="rect">
            <a:avLst/>
          </a:prstGeom>
          <a:solidFill>
            <a:srgbClr val="66667E"/>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1"/>
                </a:solidFill>
              </a:rPr>
              <a:t>Phasellus nec sem</a:t>
            </a:r>
          </a:p>
        </p:txBody>
      </p:sp>
      <p:sp>
        <p:nvSpPr>
          <p:cNvPr id="61" name="Rechteck 60"/>
          <p:cNvSpPr/>
          <p:nvPr/>
        </p:nvSpPr>
        <p:spPr>
          <a:xfrm>
            <a:off x="698400" y="3358800"/>
            <a:ext cx="1872000" cy="431823"/>
          </a:xfrm>
          <a:prstGeom prst="rect">
            <a:avLst/>
          </a:prstGeom>
          <a:solidFill>
            <a:srgbClr val="66667E"/>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1"/>
                </a:solidFill>
              </a:rPr>
              <a:t>Maecenas nec odio</a:t>
            </a:r>
          </a:p>
        </p:txBody>
      </p:sp>
      <p:sp>
        <p:nvSpPr>
          <p:cNvPr id="62" name="Rechteck 61"/>
          <p:cNvSpPr/>
          <p:nvPr/>
        </p:nvSpPr>
        <p:spPr>
          <a:xfrm>
            <a:off x="698400" y="3862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Duis arcu tortor</a:t>
            </a:r>
          </a:p>
        </p:txBody>
      </p:sp>
      <p:sp>
        <p:nvSpPr>
          <p:cNvPr id="72" name="Rechteck 71"/>
          <p:cNvSpPr/>
          <p:nvPr/>
        </p:nvSpPr>
        <p:spPr>
          <a:xfrm>
            <a:off x="698400" y="4366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At vero eos et accusam</a:t>
            </a:r>
          </a:p>
        </p:txBody>
      </p:sp>
      <p:sp>
        <p:nvSpPr>
          <p:cNvPr id="78" name="Rechteck 77"/>
          <p:cNvSpPr/>
          <p:nvPr/>
        </p:nvSpPr>
        <p:spPr>
          <a:xfrm>
            <a:off x="5306400" y="3862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Maecenas nec odio</a:t>
            </a:r>
          </a:p>
        </p:txBody>
      </p:sp>
      <p:sp>
        <p:nvSpPr>
          <p:cNvPr id="79" name="Rechteck 78"/>
          <p:cNvSpPr/>
          <p:nvPr/>
        </p:nvSpPr>
        <p:spPr>
          <a:xfrm>
            <a:off x="5306400" y="4366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Phasellus nec sem</a:t>
            </a:r>
          </a:p>
        </p:txBody>
      </p:sp>
      <p:sp>
        <p:nvSpPr>
          <p:cNvPr id="81" name="Rechteck 80"/>
          <p:cNvSpPr/>
          <p:nvPr/>
        </p:nvSpPr>
        <p:spPr>
          <a:xfrm>
            <a:off x="9914400" y="4366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Duis arcu tortor</a:t>
            </a:r>
          </a:p>
        </p:txBody>
      </p:sp>
      <p:sp>
        <p:nvSpPr>
          <p:cNvPr id="83" name="Rechteck 82"/>
          <p:cNvSpPr/>
          <p:nvPr/>
        </p:nvSpPr>
        <p:spPr>
          <a:xfrm>
            <a:off x="7610400" y="4366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Maecenas nec odio</a:t>
            </a:r>
          </a:p>
        </p:txBody>
      </p:sp>
      <p:sp>
        <p:nvSpPr>
          <p:cNvPr id="103" name="Rechteck 102"/>
          <p:cNvSpPr/>
          <p:nvPr/>
        </p:nvSpPr>
        <p:spPr>
          <a:xfrm>
            <a:off x="7610400" y="4870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At vero eos et accusam</a:t>
            </a:r>
          </a:p>
        </p:txBody>
      </p:sp>
      <p:sp>
        <p:nvSpPr>
          <p:cNvPr id="104" name="Rechteck 103"/>
          <p:cNvSpPr/>
          <p:nvPr/>
        </p:nvSpPr>
        <p:spPr>
          <a:xfrm>
            <a:off x="7610400" y="5374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Duis arcu tortor</a:t>
            </a:r>
          </a:p>
        </p:txBody>
      </p:sp>
      <p:sp>
        <p:nvSpPr>
          <p:cNvPr id="105" name="Rechteck 104"/>
          <p:cNvSpPr/>
          <p:nvPr/>
        </p:nvSpPr>
        <p:spPr>
          <a:xfrm>
            <a:off x="5306400" y="4870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Maecenas nec odio</a:t>
            </a:r>
          </a:p>
        </p:txBody>
      </p:sp>
      <p:sp>
        <p:nvSpPr>
          <p:cNvPr id="106" name="Rechteck 105"/>
          <p:cNvSpPr/>
          <p:nvPr/>
        </p:nvSpPr>
        <p:spPr>
          <a:xfrm>
            <a:off x="5306400" y="5374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Maecenas nec odio</a:t>
            </a:r>
          </a:p>
        </p:txBody>
      </p:sp>
      <p:sp>
        <p:nvSpPr>
          <p:cNvPr id="107" name="Rechteck 106"/>
          <p:cNvSpPr/>
          <p:nvPr/>
        </p:nvSpPr>
        <p:spPr>
          <a:xfrm>
            <a:off x="3002400" y="4870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Maecenas nec odio</a:t>
            </a:r>
          </a:p>
        </p:txBody>
      </p:sp>
      <p:sp>
        <p:nvSpPr>
          <p:cNvPr id="108" name="Rechteck 107"/>
          <p:cNvSpPr/>
          <p:nvPr/>
        </p:nvSpPr>
        <p:spPr>
          <a:xfrm>
            <a:off x="3002400" y="5374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At vero eos et accusam</a:t>
            </a:r>
          </a:p>
        </p:txBody>
      </p:sp>
      <p:sp>
        <p:nvSpPr>
          <p:cNvPr id="109" name="Rechteck 108"/>
          <p:cNvSpPr/>
          <p:nvPr/>
        </p:nvSpPr>
        <p:spPr>
          <a:xfrm>
            <a:off x="698400" y="4870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Maecenas nec odio</a:t>
            </a:r>
          </a:p>
        </p:txBody>
      </p:sp>
      <p:sp>
        <p:nvSpPr>
          <p:cNvPr id="110" name="Rechteck 109"/>
          <p:cNvSpPr/>
          <p:nvPr/>
        </p:nvSpPr>
        <p:spPr>
          <a:xfrm>
            <a:off x="698400" y="5374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Maecenas nec odio</a:t>
            </a:r>
          </a:p>
        </p:txBody>
      </p:sp>
      <p:sp>
        <p:nvSpPr>
          <p:cNvPr id="111" name="Rechteck 110"/>
          <p:cNvSpPr/>
          <p:nvPr/>
        </p:nvSpPr>
        <p:spPr>
          <a:xfrm>
            <a:off x="9914400" y="4870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Phasellus nec sem</a:t>
            </a:r>
          </a:p>
        </p:txBody>
      </p:sp>
      <p:sp>
        <p:nvSpPr>
          <p:cNvPr id="112" name="Rechteck 111"/>
          <p:cNvSpPr/>
          <p:nvPr/>
        </p:nvSpPr>
        <p:spPr>
          <a:xfrm>
            <a:off x="9914400" y="5374800"/>
            <a:ext cx="1872000" cy="431823"/>
          </a:xfrm>
          <a:prstGeom prst="rect">
            <a:avLst/>
          </a:prstGeom>
          <a:solidFill>
            <a:srgbClr val="33335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3925" tIns="71963" rIns="143925" bIns="71963"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199" dirty="0">
                <a:solidFill>
                  <a:schemeClr val="tx2"/>
                </a:solidFill>
              </a:rPr>
              <a:t>Maecenas nec odio</a:t>
            </a:r>
          </a:p>
        </p:txBody>
      </p:sp>
      <p:grpSp>
        <p:nvGrpSpPr>
          <p:cNvPr id="9" name="Group 8">
            <a:extLst>
              <a:ext uri="{FF2B5EF4-FFF2-40B4-BE49-F238E27FC236}">
                <a16:creationId xmlns:a16="http://schemas.microsoft.com/office/drawing/2014/main" id="{63592144-F7F5-4F72-B783-0DF27094FEFB}"/>
              </a:ext>
            </a:extLst>
          </p:cNvPr>
          <p:cNvGrpSpPr/>
          <p:nvPr/>
        </p:nvGrpSpPr>
        <p:grpSpPr>
          <a:xfrm>
            <a:off x="514800" y="2708282"/>
            <a:ext cx="180000" cy="2882429"/>
            <a:chOff x="514800" y="2708282"/>
            <a:chExt cx="180000" cy="2882429"/>
          </a:xfrm>
        </p:grpSpPr>
        <p:cxnSp>
          <p:nvCxnSpPr>
            <p:cNvPr id="64" name="Gewinkelte Verbindung 63"/>
            <p:cNvCxnSpPr>
              <a:cxnSpLocks/>
              <a:endCxn id="60" idx="1"/>
            </p:cNvCxnSpPr>
            <p:nvPr/>
          </p:nvCxnSpPr>
          <p:spPr>
            <a:xfrm rot="16200000" flipH="1">
              <a:off x="423585" y="2799497"/>
              <a:ext cx="362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cxnSp>
          <p:nvCxnSpPr>
            <p:cNvPr id="65" name="Gewinkelte Verbindung 64"/>
            <p:cNvCxnSpPr>
              <a:cxnSpLocks/>
              <a:endCxn id="61" idx="1"/>
            </p:cNvCxnSpPr>
            <p:nvPr/>
          </p:nvCxnSpPr>
          <p:spPr>
            <a:xfrm rot="16200000" flipH="1">
              <a:off x="171585" y="3051497"/>
              <a:ext cx="866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cxnSp>
          <p:nvCxnSpPr>
            <p:cNvPr id="66" name="Gewinkelte Verbindung 65"/>
            <p:cNvCxnSpPr>
              <a:cxnSpLocks/>
              <a:endCxn id="62" idx="1"/>
            </p:cNvCxnSpPr>
            <p:nvPr/>
          </p:nvCxnSpPr>
          <p:spPr>
            <a:xfrm rot="16200000" flipH="1">
              <a:off x="-80415" y="3303497"/>
              <a:ext cx="1370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cxnSp>
          <p:nvCxnSpPr>
            <p:cNvPr id="73" name="Gewinkelte Verbindung 72"/>
            <p:cNvCxnSpPr>
              <a:cxnSpLocks/>
              <a:endCxn id="72" idx="1"/>
            </p:cNvCxnSpPr>
            <p:nvPr/>
          </p:nvCxnSpPr>
          <p:spPr>
            <a:xfrm rot="16200000" flipH="1">
              <a:off x="-332415" y="3555497"/>
              <a:ext cx="1874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cxnSp>
          <p:nvCxnSpPr>
            <p:cNvPr id="129" name="Gewinkelte Verbindung 128"/>
            <p:cNvCxnSpPr>
              <a:cxnSpLocks/>
              <a:endCxn id="110" idx="1"/>
            </p:cNvCxnSpPr>
            <p:nvPr/>
          </p:nvCxnSpPr>
          <p:spPr>
            <a:xfrm rot="16200000" flipH="1">
              <a:off x="-836415" y="4059497"/>
              <a:ext cx="2882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cxnSp>
          <p:nvCxnSpPr>
            <p:cNvPr id="130" name="Gewinkelte Verbindung 129"/>
            <p:cNvCxnSpPr>
              <a:cxnSpLocks/>
              <a:endCxn id="109" idx="1"/>
            </p:cNvCxnSpPr>
            <p:nvPr/>
          </p:nvCxnSpPr>
          <p:spPr>
            <a:xfrm rot="16200000" flipH="1">
              <a:off x="-584415" y="3807497"/>
              <a:ext cx="2378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grpSp>
      <p:cxnSp>
        <p:nvCxnSpPr>
          <p:cNvPr id="32" name="Connector: Elbow 31">
            <a:extLst>
              <a:ext uri="{FF2B5EF4-FFF2-40B4-BE49-F238E27FC236}">
                <a16:creationId xmlns:a16="http://schemas.microsoft.com/office/drawing/2014/main" id="{4314E6E5-8567-41D5-B363-90C907958447}"/>
              </a:ext>
            </a:extLst>
          </p:cNvPr>
          <p:cNvCxnSpPr>
            <a:stCxn id="59" idx="0"/>
            <a:endCxn id="49" idx="0"/>
          </p:cNvCxnSpPr>
          <p:nvPr/>
        </p:nvCxnSpPr>
        <p:spPr bwMode="auto">
          <a:xfrm rot="5400000" flipH="1" flipV="1">
            <a:off x="6098400" y="-2329200"/>
            <a:ext cx="12700" cy="9216000"/>
          </a:xfrm>
          <a:prstGeom prst="bentConnector3">
            <a:avLst>
              <a:gd name="adj1" fmla="val 1800000"/>
            </a:avLst>
          </a:prstGeom>
          <a:solidFill>
            <a:schemeClr val="tx2"/>
          </a:solidFill>
          <a:ln w="12700" cap="flat" cmpd="sng" algn="ctr">
            <a:solidFill>
              <a:srgbClr val="9999A9"/>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4" name="Connector: Elbow 33">
            <a:extLst>
              <a:ext uri="{FF2B5EF4-FFF2-40B4-BE49-F238E27FC236}">
                <a16:creationId xmlns:a16="http://schemas.microsoft.com/office/drawing/2014/main" id="{EFE4A24D-0231-4796-BE09-70D355FB7AAA}"/>
              </a:ext>
            </a:extLst>
          </p:cNvPr>
          <p:cNvCxnSpPr>
            <a:stCxn id="7" idx="0"/>
            <a:endCxn id="6" idx="0"/>
          </p:cNvCxnSpPr>
          <p:nvPr/>
        </p:nvCxnSpPr>
        <p:spPr bwMode="auto">
          <a:xfrm rot="5400000" flipH="1" flipV="1">
            <a:off x="6098400" y="-25200"/>
            <a:ext cx="12700" cy="4608000"/>
          </a:xfrm>
          <a:prstGeom prst="bentConnector3">
            <a:avLst>
              <a:gd name="adj1" fmla="val 1800000"/>
            </a:avLst>
          </a:prstGeom>
          <a:solidFill>
            <a:schemeClr val="tx2"/>
          </a:solidFill>
          <a:ln w="12700" cap="flat" cmpd="sng" algn="ctr">
            <a:solidFill>
              <a:srgbClr val="9999A9"/>
            </a:solidFill>
            <a:prstDash val="solid"/>
            <a:round/>
            <a:headEnd type="non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114" name="Group 113">
            <a:extLst>
              <a:ext uri="{FF2B5EF4-FFF2-40B4-BE49-F238E27FC236}">
                <a16:creationId xmlns:a16="http://schemas.microsoft.com/office/drawing/2014/main" id="{9CFF6281-1F06-4FAA-AE01-5E25D3C7E52A}"/>
              </a:ext>
            </a:extLst>
          </p:cNvPr>
          <p:cNvGrpSpPr/>
          <p:nvPr/>
        </p:nvGrpSpPr>
        <p:grpSpPr>
          <a:xfrm>
            <a:off x="2818800" y="2708282"/>
            <a:ext cx="180000" cy="2882429"/>
            <a:chOff x="514800" y="2708282"/>
            <a:chExt cx="180000" cy="2882429"/>
          </a:xfrm>
        </p:grpSpPr>
        <p:cxnSp>
          <p:nvCxnSpPr>
            <p:cNvPr id="115" name="Gewinkelte Verbindung 63">
              <a:extLst>
                <a:ext uri="{FF2B5EF4-FFF2-40B4-BE49-F238E27FC236}">
                  <a16:creationId xmlns:a16="http://schemas.microsoft.com/office/drawing/2014/main" id="{444B0898-0AAF-4F51-8283-FE096D2F27DC}"/>
                </a:ext>
              </a:extLst>
            </p:cNvPr>
            <p:cNvCxnSpPr>
              <a:cxnSpLocks/>
            </p:cNvCxnSpPr>
            <p:nvPr/>
          </p:nvCxnSpPr>
          <p:spPr>
            <a:xfrm rot="16200000" flipH="1">
              <a:off x="423585" y="2799497"/>
              <a:ext cx="362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cxnSp>
          <p:nvCxnSpPr>
            <p:cNvPr id="117" name="Gewinkelte Verbindung 64">
              <a:extLst>
                <a:ext uri="{FF2B5EF4-FFF2-40B4-BE49-F238E27FC236}">
                  <a16:creationId xmlns:a16="http://schemas.microsoft.com/office/drawing/2014/main" id="{31A8D076-80C3-43DA-BE9E-007EDA5753B4}"/>
                </a:ext>
              </a:extLst>
            </p:cNvPr>
            <p:cNvCxnSpPr>
              <a:cxnSpLocks/>
            </p:cNvCxnSpPr>
            <p:nvPr/>
          </p:nvCxnSpPr>
          <p:spPr>
            <a:xfrm rot="16200000" flipH="1">
              <a:off x="171585" y="3051497"/>
              <a:ext cx="866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cxnSp>
          <p:nvCxnSpPr>
            <p:cNvPr id="118" name="Gewinkelte Verbindung 65">
              <a:extLst>
                <a:ext uri="{FF2B5EF4-FFF2-40B4-BE49-F238E27FC236}">
                  <a16:creationId xmlns:a16="http://schemas.microsoft.com/office/drawing/2014/main" id="{3D770937-6020-4AA5-AE29-4516B6D41979}"/>
                </a:ext>
              </a:extLst>
            </p:cNvPr>
            <p:cNvCxnSpPr>
              <a:cxnSpLocks/>
            </p:cNvCxnSpPr>
            <p:nvPr/>
          </p:nvCxnSpPr>
          <p:spPr>
            <a:xfrm rot="16200000" flipH="1">
              <a:off x="-80415" y="3303497"/>
              <a:ext cx="1370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cxnSp>
          <p:nvCxnSpPr>
            <p:cNvPr id="120" name="Gewinkelte Verbindung 72">
              <a:extLst>
                <a:ext uri="{FF2B5EF4-FFF2-40B4-BE49-F238E27FC236}">
                  <a16:creationId xmlns:a16="http://schemas.microsoft.com/office/drawing/2014/main" id="{845A2D6A-E72D-4C6E-BAE2-CAB34AB1FD54}"/>
                </a:ext>
              </a:extLst>
            </p:cNvPr>
            <p:cNvCxnSpPr>
              <a:cxnSpLocks/>
            </p:cNvCxnSpPr>
            <p:nvPr/>
          </p:nvCxnSpPr>
          <p:spPr>
            <a:xfrm rot="16200000" flipH="1">
              <a:off x="-332415" y="3555497"/>
              <a:ext cx="1874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cxnSp>
          <p:nvCxnSpPr>
            <p:cNvPr id="121" name="Gewinkelte Verbindung 128">
              <a:extLst>
                <a:ext uri="{FF2B5EF4-FFF2-40B4-BE49-F238E27FC236}">
                  <a16:creationId xmlns:a16="http://schemas.microsoft.com/office/drawing/2014/main" id="{4EFBADD3-2E0C-4804-9201-3304517B863D}"/>
                </a:ext>
              </a:extLst>
            </p:cNvPr>
            <p:cNvCxnSpPr>
              <a:cxnSpLocks/>
            </p:cNvCxnSpPr>
            <p:nvPr/>
          </p:nvCxnSpPr>
          <p:spPr>
            <a:xfrm rot="16200000" flipH="1">
              <a:off x="-836415" y="4059497"/>
              <a:ext cx="2882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cxnSp>
          <p:nvCxnSpPr>
            <p:cNvPr id="123" name="Gewinkelte Verbindung 129">
              <a:extLst>
                <a:ext uri="{FF2B5EF4-FFF2-40B4-BE49-F238E27FC236}">
                  <a16:creationId xmlns:a16="http://schemas.microsoft.com/office/drawing/2014/main" id="{56E45C43-8771-479F-B896-35FC3D66509B}"/>
                </a:ext>
              </a:extLst>
            </p:cNvPr>
            <p:cNvCxnSpPr>
              <a:cxnSpLocks/>
            </p:cNvCxnSpPr>
            <p:nvPr/>
          </p:nvCxnSpPr>
          <p:spPr>
            <a:xfrm rot="16200000" flipH="1">
              <a:off x="-584415" y="3807497"/>
              <a:ext cx="2378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grpSp>
      <p:grpSp>
        <p:nvGrpSpPr>
          <p:cNvPr id="124" name="Group 123">
            <a:extLst>
              <a:ext uri="{FF2B5EF4-FFF2-40B4-BE49-F238E27FC236}">
                <a16:creationId xmlns:a16="http://schemas.microsoft.com/office/drawing/2014/main" id="{35150D04-8F89-4750-BDE3-A55A44DDA5BE}"/>
              </a:ext>
            </a:extLst>
          </p:cNvPr>
          <p:cNvGrpSpPr/>
          <p:nvPr/>
        </p:nvGrpSpPr>
        <p:grpSpPr>
          <a:xfrm>
            <a:off x="5122800" y="2708282"/>
            <a:ext cx="180000" cy="2882429"/>
            <a:chOff x="514800" y="2708282"/>
            <a:chExt cx="180000" cy="2882429"/>
          </a:xfrm>
        </p:grpSpPr>
        <p:cxnSp>
          <p:nvCxnSpPr>
            <p:cNvPr id="131" name="Gewinkelte Verbindung 63">
              <a:extLst>
                <a:ext uri="{FF2B5EF4-FFF2-40B4-BE49-F238E27FC236}">
                  <a16:creationId xmlns:a16="http://schemas.microsoft.com/office/drawing/2014/main" id="{47468D21-BC46-46ED-A096-6C36FDF030F3}"/>
                </a:ext>
              </a:extLst>
            </p:cNvPr>
            <p:cNvCxnSpPr>
              <a:cxnSpLocks/>
            </p:cNvCxnSpPr>
            <p:nvPr/>
          </p:nvCxnSpPr>
          <p:spPr>
            <a:xfrm rot="16200000" flipH="1">
              <a:off x="423585" y="2799497"/>
              <a:ext cx="362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cxnSp>
          <p:nvCxnSpPr>
            <p:cNvPr id="132" name="Gewinkelte Verbindung 64">
              <a:extLst>
                <a:ext uri="{FF2B5EF4-FFF2-40B4-BE49-F238E27FC236}">
                  <a16:creationId xmlns:a16="http://schemas.microsoft.com/office/drawing/2014/main" id="{7F386A66-ACBF-45D3-AF64-6D8C954DAA72}"/>
                </a:ext>
              </a:extLst>
            </p:cNvPr>
            <p:cNvCxnSpPr>
              <a:cxnSpLocks/>
            </p:cNvCxnSpPr>
            <p:nvPr/>
          </p:nvCxnSpPr>
          <p:spPr>
            <a:xfrm rot="16200000" flipH="1">
              <a:off x="171585" y="3051497"/>
              <a:ext cx="866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cxnSp>
          <p:nvCxnSpPr>
            <p:cNvPr id="133" name="Gewinkelte Verbindung 65">
              <a:extLst>
                <a:ext uri="{FF2B5EF4-FFF2-40B4-BE49-F238E27FC236}">
                  <a16:creationId xmlns:a16="http://schemas.microsoft.com/office/drawing/2014/main" id="{A2884416-C454-440F-B66D-91CBF47332C2}"/>
                </a:ext>
              </a:extLst>
            </p:cNvPr>
            <p:cNvCxnSpPr>
              <a:cxnSpLocks/>
            </p:cNvCxnSpPr>
            <p:nvPr/>
          </p:nvCxnSpPr>
          <p:spPr>
            <a:xfrm rot="16200000" flipH="1">
              <a:off x="-80415" y="3303497"/>
              <a:ext cx="1370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cxnSp>
          <p:nvCxnSpPr>
            <p:cNvPr id="134" name="Gewinkelte Verbindung 72">
              <a:extLst>
                <a:ext uri="{FF2B5EF4-FFF2-40B4-BE49-F238E27FC236}">
                  <a16:creationId xmlns:a16="http://schemas.microsoft.com/office/drawing/2014/main" id="{A93218E9-BB22-4544-82AC-613BDE4F3639}"/>
                </a:ext>
              </a:extLst>
            </p:cNvPr>
            <p:cNvCxnSpPr>
              <a:cxnSpLocks/>
            </p:cNvCxnSpPr>
            <p:nvPr/>
          </p:nvCxnSpPr>
          <p:spPr>
            <a:xfrm rot="16200000" flipH="1">
              <a:off x="-332415" y="3555497"/>
              <a:ext cx="1874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cxnSp>
          <p:nvCxnSpPr>
            <p:cNvPr id="135" name="Gewinkelte Verbindung 128">
              <a:extLst>
                <a:ext uri="{FF2B5EF4-FFF2-40B4-BE49-F238E27FC236}">
                  <a16:creationId xmlns:a16="http://schemas.microsoft.com/office/drawing/2014/main" id="{105296BE-90B7-43A2-937C-DA010891C9D6}"/>
                </a:ext>
              </a:extLst>
            </p:cNvPr>
            <p:cNvCxnSpPr>
              <a:cxnSpLocks/>
            </p:cNvCxnSpPr>
            <p:nvPr/>
          </p:nvCxnSpPr>
          <p:spPr>
            <a:xfrm rot="16200000" flipH="1">
              <a:off x="-836415" y="4059497"/>
              <a:ext cx="2882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cxnSp>
          <p:nvCxnSpPr>
            <p:cNvPr id="136" name="Gewinkelte Verbindung 129">
              <a:extLst>
                <a:ext uri="{FF2B5EF4-FFF2-40B4-BE49-F238E27FC236}">
                  <a16:creationId xmlns:a16="http://schemas.microsoft.com/office/drawing/2014/main" id="{39746DF9-1FF2-40D5-B657-9F65333C7EFF}"/>
                </a:ext>
              </a:extLst>
            </p:cNvPr>
            <p:cNvCxnSpPr>
              <a:cxnSpLocks/>
            </p:cNvCxnSpPr>
            <p:nvPr/>
          </p:nvCxnSpPr>
          <p:spPr>
            <a:xfrm rot="16200000" flipH="1">
              <a:off x="-584415" y="3807497"/>
              <a:ext cx="2378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grpSp>
      <p:grpSp>
        <p:nvGrpSpPr>
          <p:cNvPr id="137" name="Group 136">
            <a:extLst>
              <a:ext uri="{FF2B5EF4-FFF2-40B4-BE49-F238E27FC236}">
                <a16:creationId xmlns:a16="http://schemas.microsoft.com/office/drawing/2014/main" id="{5C572CD6-E6E2-4834-84CF-13747878A368}"/>
              </a:ext>
            </a:extLst>
          </p:cNvPr>
          <p:cNvGrpSpPr/>
          <p:nvPr/>
        </p:nvGrpSpPr>
        <p:grpSpPr>
          <a:xfrm>
            <a:off x="7426800" y="2708282"/>
            <a:ext cx="180000" cy="2882429"/>
            <a:chOff x="514800" y="2708282"/>
            <a:chExt cx="180000" cy="2882429"/>
          </a:xfrm>
        </p:grpSpPr>
        <p:cxnSp>
          <p:nvCxnSpPr>
            <p:cNvPr id="138" name="Gewinkelte Verbindung 63">
              <a:extLst>
                <a:ext uri="{FF2B5EF4-FFF2-40B4-BE49-F238E27FC236}">
                  <a16:creationId xmlns:a16="http://schemas.microsoft.com/office/drawing/2014/main" id="{FBB4CF92-5339-4136-8898-CF97C08C9BC6}"/>
                </a:ext>
              </a:extLst>
            </p:cNvPr>
            <p:cNvCxnSpPr>
              <a:cxnSpLocks/>
            </p:cNvCxnSpPr>
            <p:nvPr/>
          </p:nvCxnSpPr>
          <p:spPr>
            <a:xfrm rot="16200000" flipH="1">
              <a:off x="423585" y="2799497"/>
              <a:ext cx="362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cxnSp>
          <p:nvCxnSpPr>
            <p:cNvPr id="139" name="Gewinkelte Verbindung 64">
              <a:extLst>
                <a:ext uri="{FF2B5EF4-FFF2-40B4-BE49-F238E27FC236}">
                  <a16:creationId xmlns:a16="http://schemas.microsoft.com/office/drawing/2014/main" id="{86DAFED3-0808-409C-939C-A90779B25626}"/>
                </a:ext>
              </a:extLst>
            </p:cNvPr>
            <p:cNvCxnSpPr>
              <a:cxnSpLocks/>
            </p:cNvCxnSpPr>
            <p:nvPr/>
          </p:nvCxnSpPr>
          <p:spPr>
            <a:xfrm rot="16200000" flipH="1">
              <a:off x="171585" y="3051497"/>
              <a:ext cx="866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cxnSp>
          <p:nvCxnSpPr>
            <p:cNvPr id="140" name="Gewinkelte Verbindung 65">
              <a:extLst>
                <a:ext uri="{FF2B5EF4-FFF2-40B4-BE49-F238E27FC236}">
                  <a16:creationId xmlns:a16="http://schemas.microsoft.com/office/drawing/2014/main" id="{65D8EF2A-45E5-4578-BA58-1F1E8353DC12}"/>
                </a:ext>
              </a:extLst>
            </p:cNvPr>
            <p:cNvCxnSpPr>
              <a:cxnSpLocks/>
            </p:cNvCxnSpPr>
            <p:nvPr/>
          </p:nvCxnSpPr>
          <p:spPr>
            <a:xfrm rot="16200000" flipH="1">
              <a:off x="-80415" y="3303497"/>
              <a:ext cx="1370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cxnSp>
          <p:nvCxnSpPr>
            <p:cNvPr id="141" name="Gewinkelte Verbindung 72">
              <a:extLst>
                <a:ext uri="{FF2B5EF4-FFF2-40B4-BE49-F238E27FC236}">
                  <a16:creationId xmlns:a16="http://schemas.microsoft.com/office/drawing/2014/main" id="{07113146-2164-4E68-9518-209024BBF51A}"/>
                </a:ext>
              </a:extLst>
            </p:cNvPr>
            <p:cNvCxnSpPr>
              <a:cxnSpLocks/>
            </p:cNvCxnSpPr>
            <p:nvPr/>
          </p:nvCxnSpPr>
          <p:spPr>
            <a:xfrm rot="16200000" flipH="1">
              <a:off x="-332415" y="3555497"/>
              <a:ext cx="1874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cxnSp>
          <p:nvCxnSpPr>
            <p:cNvPr id="142" name="Gewinkelte Verbindung 128">
              <a:extLst>
                <a:ext uri="{FF2B5EF4-FFF2-40B4-BE49-F238E27FC236}">
                  <a16:creationId xmlns:a16="http://schemas.microsoft.com/office/drawing/2014/main" id="{EF62E150-7CBE-4A2C-84F4-4A44F9448570}"/>
                </a:ext>
              </a:extLst>
            </p:cNvPr>
            <p:cNvCxnSpPr>
              <a:cxnSpLocks/>
            </p:cNvCxnSpPr>
            <p:nvPr/>
          </p:nvCxnSpPr>
          <p:spPr>
            <a:xfrm rot="16200000" flipH="1">
              <a:off x="-836415" y="4059497"/>
              <a:ext cx="2882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cxnSp>
          <p:nvCxnSpPr>
            <p:cNvPr id="143" name="Gewinkelte Verbindung 129">
              <a:extLst>
                <a:ext uri="{FF2B5EF4-FFF2-40B4-BE49-F238E27FC236}">
                  <a16:creationId xmlns:a16="http://schemas.microsoft.com/office/drawing/2014/main" id="{AAAD3654-1B73-41D0-928D-C40534E491A9}"/>
                </a:ext>
              </a:extLst>
            </p:cNvPr>
            <p:cNvCxnSpPr>
              <a:cxnSpLocks/>
            </p:cNvCxnSpPr>
            <p:nvPr/>
          </p:nvCxnSpPr>
          <p:spPr>
            <a:xfrm rot="16200000" flipH="1">
              <a:off x="-584415" y="3807497"/>
              <a:ext cx="2378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grpSp>
      <p:grpSp>
        <p:nvGrpSpPr>
          <p:cNvPr id="144" name="Group 143">
            <a:extLst>
              <a:ext uri="{FF2B5EF4-FFF2-40B4-BE49-F238E27FC236}">
                <a16:creationId xmlns:a16="http://schemas.microsoft.com/office/drawing/2014/main" id="{D59F89A5-359D-4A32-A659-999BB4DAAD5E}"/>
              </a:ext>
            </a:extLst>
          </p:cNvPr>
          <p:cNvGrpSpPr/>
          <p:nvPr/>
        </p:nvGrpSpPr>
        <p:grpSpPr>
          <a:xfrm>
            <a:off x="9730800" y="2708282"/>
            <a:ext cx="180000" cy="2882429"/>
            <a:chOff x="514800" y="2708282"/>
            <a:chExt cx="180000" cy="2882429"/>
          </a:xfrm>
        </p:grpSpPr>
        <p:cxnSp>
          <p:nvCxnSpPr>
            <p:cNvPr id="145" name="Gewinkelte Verbindung 63">
              <a:extLst>
                <a:ext uri="{FF2B5EF4-FFF2-40B4-BE49-F238E27FC236}">
                  <a16:creationId xmlns:a16="http://schemas.microsoft.com/office/drawing/2014/main" id="{C87E12DC-A537-4414-81A9-C8219C5D6415}"/>
                </a:ext>
              </a:extLst>
            </p:cNvPr>
            <p:cNvCxnSpPr>
              <a:cxnSpLocks/>
            </p:cNvCxnSpPr>
            <p:nvPr/>
          </p:nvCxnSpPr>
          <p:spPr>
            <a:xfrm rot="16200000" flipH="1">
              <a:off x="423585" y="2799497"/>
              <a:ext cx="362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cxnSp>
          <p:nvCxnSpPr>
            <p:cNvPr id="146" name="Gewinkelte Verbindung 64">
              <a:extLst>
                <a:ext uri="{FF2B5EF4-FFF2-40B4-BE49-F238E27FC236}">
                  <a16:creationId xmlns:a16="http://schemas.microsoft.com/office/drawing/2014/main" id="{B09D7DA4-D5BC-4DD9-92C6-99F3AF425DFC}"/>
                </a:ext>
              </a:extLst>
            </p:cNvPr>
            <p:cNvCxnSpPr>
              <a:cxnSpLocks/>
            </p:cNvCxnSpPr>
            <p:nvPr/>
          </p:nvCxnSpPr>
          <p:spPr>
            <a:xfrm rot="16200000" flipH="1">
              <a:off x="171585" y="3051497"/>
              <a:ext cx="866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cxnSp>
          <p:nvCxnSpPr>
            <p:cNvPr id="147" name="Gewinkelte Verbindung 65">
              <a:extLst>
                <a:ext uri="{FF2B5EF4-FFF2-40B4-BE49-F238E27FC236}">
                  <a16:creationId xmlns:a16="http://schemas.microsoft.com/office/drawing/2014/main" id="{9DDEE1DE-A78C-4B8B-85FD-AED488A47A4C}"/>
                </a:ext>
              </a:extLst>
            </p:cNvPr>
            <p:cNvCxnSpPr>
              <a:cxnSpLocks/>
            </p:cNvCxnSpPr>
            <p:nvPr/>
          </p:nvCxnSpPr>
          <p:spPr>
            <a:xfrm rot="16200000" flipH="1">
              <a:off x="-80415" y="3303497"/>
              <a:ext cx="1370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cxnSp>
          <p:nvCxnSpPr>
            <p:cNvPr id="148" name="Gewinkelte Verbindung 72">
              <a:extLst>
                <a:ext uri="{FF2B5EF4-FFF2-40B4-BE49-F238E27FC236}">
                  <a16:creationId xmlns:a16="http://schemas.microsoft.com/office/drawing/2014/main" id="{67811A32-48D9-4327-8040-2B6E07935AC8}"/>
                </a:ext>
              </a:extLst>
            </p:cNvPr>
            <p:cNvCxnSpPr>
              <a:cxnSpLocks/>
            </p:cNvCxnSpPr>
            <p:nvPr/>
          </p:nvCxnSpPr>
          <p:spPr>
            <a:xfrm rot="16200000" flipH="1">
              <a:off x="-332415" y="3555497"/>
              <a:ext cx="1874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cxnSp>
          <p:nvCxnSpPr>
            <p:cNvPr id="149" name="Gewinkelte Verbindung 128">
              <a:extLst>
                <a:ext uri="{FF2B5EF4-FFF2-40B4-BE49-F238E27FC236}">
                  <a16:creationId xmlns:a16="http://schemas.microsoft.com/office/drawing/2014/main" id="{642E3F02-79CB-4214-BDD5-12D813CCD116}"/>
                </a:ext>
              </a:extLst>
            </p:cNvPr>
            <p:cNvCxnSpPr>
              <a:cxnSpLocks/>
            </p:cNvCxnSpPr>
            <p:nvPr/>
          </p:nvCxnSpPr>
          <p:spPr>
            <a:xfrm rot="16200000" flipH="1">
              <a:off x="-836415" y="4059497"/>
              <a:ext cx="2882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cxnSp>
          <p:nvCxnSpPr>
            <p:cNvPr id="150" name="Gewinkelte Verbindung 129">
              <a:extLst>
                <a:ext uri="{FF2B5EF4-FFF2-40B4-BE49-F238E27FC236}">
                  <a16:creationId xmlns:a16="http://schemas.microsoft.com/office/drawing/2014/main" id="{848DEBBF-938F-4911-ADAA-ADEBFB801F66}"/>
                </a:ext>
              </a:extLst>
            </p:cNvPr>
            <p:cNvCxnSpPr>
              <a:cxnSpLocks/>
            </p:cNvCxnSpPr>
            <p:nvPr/>
          </p:nvCxnSpPr>
          <p:spPr>
            <a:xfrm rot="16200000" flipH="1">
              <a:off x="-584415" y="3807497"/>
              <a:ext cx="2378429" cy="180000"/>
            </a:xfrm>
            <a:prstGeom prst="bentConnector2">
              <a:avLst/>
            </a:prstGeom>
            <a:ln w="12700">
              <a:solidFill>
                <a:srgbClr val="9999A9"/>
              </a:solidFill>
            </a:ln>
          </p:spPr>
          <p:style>
            <a:lnRef idx="1">
              <a:schemeClr val="accent1"/>
            </a:lnRef>
            <a:fillRef idx="0">
              <a:schemeClr val="accent1"/>
            </a:fillRef>
            <a:effectRef idx="0">
              <a:schemeClr val="accent1"/>
            </a:effectRef>
            <a:fontRef idx="minor">
              <a:schemeClr val="tx1"/>
            </a:fontRef>
          </p:style>
        </p:cxnSp>
      </p:grpSp>
      <p:sp>
        <p:nvSpPr>
          <p:cNvPr id="3" name="Footer Placeholder 2">
            <a:extLst>
              <a:ext uri="{FF2B5EF4-FFF2-40B4-BE49-F238E27FC236}">
                <a16:creationId xmlns:a16="http://schemas.microsoft.com/office/drawing/2014/main" id="{1179A125-93B9-4D3A-BAEA-606887E6647C}"/>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8" name="Slide Number Placeholder 7">
            <a:extLst>
              <a:ext uri="{FF2B5EF4-FFF2-40B4-BE49-F238E27FC236}">
                <a16:creationId xmlns:a16="http://schemas.microsoft.com/office/drawing/2014/main" id="{BA1FE29B-D532-4D94-AC55-C82058ED2627}"/>
              </a:ext>
            </a:extLst>
          </p:cNvPr>
          <p:cNvSpPr>
            <a:spLocks noGrp="1"/>
          </p:cNvSpPr>
          <p:nvPr>
            <p:ph type="sldNum" sz="quarter" idx="11"/>
          </p:nvPr>
        </p:nvSpPr>
        <p:spPr/>
        <p:txBody>
          <a:bodyPr/>
          <a:lstStyle/>
          <a:p>
            <a:r>
              <a:rPr lang="en-US" dirty="0"/>
              <a:t>Page </a:t>
            </a:r>
            <a:fld id="{15EBE321-CBB1-4E91-BD14-37C8D44326FB}" type="slidenum">
              <a:rPr lang="en-US" smtClean="0"/>
              <a:pPr/>
              <a:t>77</a:t>
            </a:fld>
            <a:endParaRPr lang="en-US" dirty="0"/>
          </a:p>
        </p:txBody>
      </p:sp>
    </p:spTree>
    <p:extLst>
      <p:ext uri="{BB962C8B-B14F-4D97-AF65-F5344CB8AC3E}">
        <p14:creationId xmlns:p14="http://schemas.microsoft.com/office/powerpoint/2010/main" val="134811513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ee diagram (horizontal)</a:t>
            </a:r>
          </a:p>
        </p:txBody>
      </p:sp>
      <p:sp>
        <p:nvSpPr>
          <p:cNvPr id="4" name="Rechteck 3"/>
          <p:cNvSpPr>
            <a:spLocks/>
          </p:cNvSpPr>
          <p:nvPr/>
        </p:nvSpPr>
        <p:spPr>
          <a:xfrm>
            <a:off x="410400" y="3251821"/>
            <a:ext cx="1799063" cy="899531"/>
          </a:xfrm>
          <a:prstGeom prst="rect">
            <a:avLst/>
          </a:prstGeom>
          <a:solidFill>
            <a:srgbClr val="00646E"/>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215888"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399" b="1" dirty="0">
                <a:solidFill>
                  <a:schemeClr val="bg1"/>
                </a:solidFill>
              </a:rPr>
              <a:t>Duis arcu tortor</a:t>
            </a:r>
          </a:p>
        </p:txBody>
      </p:sp>
      <p:cxnSp>
        <p:nvCxnSpPr>
          <p:cNvPr id="35" name="Elbow Connector 34"/>
          <p:cNvCxnSpPr>
            <a:stCxn id="84" idx="1"/>
            <a:endCxn id="4" idx="3"/>
          </p:cNvCxnSpPr>
          <p:nvPr/>
        </p:nvCxnSpPr>
        <p:spPr bwMode="auto">
          <a:xfrm rot="10800000" flipV="1">
            <a:off x="2209464" y="2477915"/>
            <a:ext cx="936937" cy="1223672"/>
          </a:xfrm>
          <a:prstGeom prst="bentConnector3">
            <a:avLst>
              <a:gd name="adj1" fmla="val 50000"/>
            </a:avLst>
          </a:prstGeom>
          <a:solidFill>
            <a:schemeClr val="tx2"/>
          </a:solidFill>
          <a:ln w="12700" cap="flat" cmpd="sng" algn="ctr">
            <a:solidFill>
              <a:srgbClr val="66667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84" name="Rechteck 3"/>
          <p:cNvSpPr>
            <a:spLocks/>
          </p:cNvSpPr>
          <p:nvPr/>
        </p:nvSpPr>
        <p:spPr>
          <a:xfrm>
            <a:off x="3146400" y="2028149"/>
            <a:ext cx="1799063" cy="899531"/>
          </a:xfrm>
          <a:prstGeom prst="rect">
            <a:avLst/>
          </a:prstGeom>
          <a:solidFill>
            <a:srgbClr val="00AF8E"/>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215888"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399" b="1" dirty="0">
                <a:solidFill>
                  <a:schemeClr val="tx2"/>
                </a:solidFill>
              </a:rPr>
              <a:t>At vero eos et accusam</a:t>
            </a:r>
          </a:p>
        </p:txBody>
      </p:sp>
      <p:sp>
        <p:nvSpPr>
          <p:cNvPr id="86" name="Rechteck 3"/>
          <p:cNvSpPr>
            <a:spLocks/>
          </p:cNvSpPr>
          <p:nvPr/>
        </p:nvSpPr>
        <p:spPr>
          <a:xfrm>
            <a:off x="3146400" y="4475493"/>
            <a:ext cx="1799063" cy="899531"/>
          </a:xfrm>
          <a:prstGeom prst="rect">
            <a:avLst/>
          </a:prstGeom>
          <a:solidFill>
            <a:srgbClr val="00AF8E"/>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215888"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399" b="1" dirty="0">
                <a:solidFill>
                  <a:schemeClr val="tx2"/>
                </a:solidFill>
              </a:rPr>
              <a:t>Phasellus nec sem</a:t>
            </a:r>
          </a:p>
        </p:txBody>
      </p:sp>
      <p:cxnSp>
        <p:nvCxnSpPr>
          <p:cNvPr id="87" name="Elbow Connector 86"/>
          <p:cNvCxnSpPr>
            <a:stCxn id="86" idx="1"/>
            <a:endCxn id="4" idx="3"/>
          </p:cNvCxnSpPr>
          <p:nvPr/>
        </p:nvCxnSpPr>
        <p:spPr bwMode="auto">
          <a:xfrm rot="10800000">
            <a:off x="2209464" y="3701587"/>
            <a:ext cx="936937" cy="1223672"/>
          </a:xfrm>
          <a:prstGeom prst="bentConnector3">
            <a:avLst>
              <a:gd name="adj1" fmla="val 50000"/>
            </a:avLst>
          </a:prstGeom>
          <a:solidFill>
            <a:schemeClr val="tx2"/>
          </a:solidFill>
          <a:ln w="12700" cap="flat" cmpd="sng" algn="ctr">
            <a:solidFill>
              <a:srgbClr val="66667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97" name="Rechteck 3"/>
          <p:cNvSpPr>
            <a:spLocks/>
          </p:cNvSpPr>
          <p:nvPr/>
        </p:nvSpPr>
        <p:spPr>
          <a:xfrm>
            <a:off x="5882400" y="1415849"/>
            <a:ext cx="1799063" cy="899531"/>
          </a:xfrm>
          <a:prstGeom prst="rect">
            <a:avLst/>
          </a:prstGeom>
          <a:solidFill>
            <a:srgbClr val="00FFB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215888"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399" b="1" dirty="0">
                <a:solidFill>
                  <a:schemeClr val="tx2"/>
                </a:solidFill>
              </a:rPr>
              <a:t>Duis arcu tortor</a:t>
            </a:r>
          </a:p>
        </p:txBody>
      </p:sp>
      <p:sp>
        <p:nvSpPr>
          <p:cNvPr id="98" name="Rechteck 3"/>
          <p:cNvSpPr>
            <a:spLocks/>
          </p:cNvSpPr>
          <p:nvPr/>
        </p:nvSpPr>
        <p:spPr>
          <a:xfrm>
            <a:off x="5882400" y="2640449"/>
            <a:ext cx="1799063" cy="899531"/>
          </a:xfrm>
          <a:prstGeom prst="rect">
            <a:avLst/>
          </a:prstGeom>
          <a:solidFill>
            <a:srgbClr val="00FFB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215888"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399" b="1" dirty="0">
                <a:solidFill>
                  <a:schemeClr val="tx2"/>
                </a:solidFill>
              </a:rPr>
              <a:t>Phasellus nec sem</a:t>
            </a:r>
          </a:p>
        </p:txBody>
      </p:sp>
      <p:sp>
        <p:nvSpPr>
          <p:cNvPr id="99" name="Text Box 3"/>
          <p:cNvSpPr txBox="1">
            <a:spLocks noChangeArrowheads="1"/>
          </p:cNvSpPr>
          <p:nvPr>
            <p:custDataLst>
              <p:tags r:id="rId1"/>
            </p:custDataLst>
          </p:nvPr>
        </p:nvSpPr>
        <p:spPr bwMode="auto">
          <a:xfrm>
            <a:off x="8183203" y="1415848"/>
            <a:ext cx="3600000" cy="1079438"/>
          </a:xfrm>
          <a:prstGeom prst="rect">
            <a:avLst/>
          </a:prstGeom>
          <a:noFill/>
          <a:ln w="12700">
            <a:noFill/>
          </a:ln>
          <a:effectLst/>
        </p:spPr>
        <p:txBody>
          <a:bodyPr lIns="0" tIns="0" rIns="0" bIns="0">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180000" indent="-180000" defTabSz="913943" eaLnBrk="1" hangingPunct="1">
              <a:spcBef>
                <a:spcPts val="300"/>
              </a:spcBef>
              <a:buClr>
                <a:schemeClr val="accent1"/>
              </a:buClr>
              <a:buSzPct val="100000"/>
              <a:buFont typeface="Arial" pitchFamily="34" charset="0"/>
              <a:buChar char="•"/>
              <a:defRPr/>
            </a:pPr>
            <a:r>
              <a:rPr lang="en-US" sz="1399" dirty="0">
                <a:solidFill>
                  <a:srgbClr val="66667E"/>
                </a:solidFill>
                <a:latin typeface="+mn-lt"/>
              </a:rPr>
              <a:t>Phasellus nec sem</a:t>
            </a:r>
          </a:p>
        </p:txBody>
      </p:sp>
      <p:sp>
        <p:nvSpPr>
          <p:cNvPr id="101" name="Text Box 3"/>
          <p:cNvSpPr txBox="1">
            <a:spLocks noChangeArrowheads="1"/>
          </p:cNvSpPr>
          <p:nvPr>
            <p:custDataLst>
              <p:tags r:id="rId2"/>
            </p:custDataLst>
          </p:nvPr>
        </p:nvSpPr>
        <p:spPr bwMode="auto">
          <a:xfrm>
            <a:off x="8183203" y="5089646"/>
            <a:ext cx="3600000" cy="1079438"/>
          </a:xfrm>
          <a:prstGeom prst="rect">
            <a:avLst/>
          </a:prstGeom>
          <a:noFill/>
          <a:ln w="12700">
            <a:noFill/>
          </a:ln>
          <a:effectLst/>
        </p:spPr>
        <p:txBody>
          <a:bodyPr lIns="0" tIns="0" rIns="0" bIns="0">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180000" indent="-180000" defTabSz="913943" eaLnBrk="1" hangingPunct="1">
              <a:spcBef>
                <a:spcPts val="300"/>
              </a:spcBef>
              <a:buClr>
                <a:schemeClr val="accent1"/>
              </a:buClr>
              <a:buSzPct val="100000"/>
              <a:buFont typeface="Arial" pitchFamily="34" charset="0"/>
              <a:buChar char="•"/>
              <a:defRPr/>
            </a:pPr>
            <a:r>
              <a:rPr lang="en-US" sz="1399" dirty="0">
                <a:solidFill>
                  <a:srgbClr val="66667E"/>
                </a:solidFill>
                <a:latin typeface="+mn-lt"/>
              </a:rPr>
              <a:t>Consetetur sadipscing elitr, seddiam nonumy</a:t>
            </a:r>
          </a:p>
          <a:p>
            <a:pPr marL="180000" indent="-180000" defTabSz="913943" eaLnBrk="1" hangingPunct="1">
              <a:spcBef>
                <a:spcPts val="300"/>
              </a:spcBef>
              <a:buClr>
                <a:schemeClr val="accent1"/>
              </a:buClr>
              <a:buSzPct val="100000"/>
              <a:buFont typeface="Arial" pitchFamily="34" charset="0"/>
              <a:buChar char="•"/>
              <a:defRPr/>
            </a:pPr>
            <a:r>
              <a:rPr lang="en-US" sz="1399" dirty="0">
                <a:solidFill>
                  <a:srgbClr val="66667E"/>
                </a:solidFill>
                <a:latin typeface="+mn-lt"/>
              </a:rPr>
              <a:t>At vero eos et accusam</a:t>
            </a:r>
          </a:p>
        </p:txBody>
      </p:sp>
      <p:sp>
        <p:nvSpPr>
          <p:cNvPr id="102" name="Text Box 3"/>
          <p:cNvSpPr txBox="1">
            <a:spLocks noChangeArrowheads="1"/>
          </p:cNvSpPr>
          <p:nvPr>
            <p:custDataLst>
              <p:tags r:id="rId3"/>
            </p:custDataLst>
          </p:nvPr>
        </p:nvSpPr>
        <p:spPr bwMode="auto">
          <a:xfrm>
            <a:off x="8183203" y="2640448"/>
            <a:ext cx="3600000" cy="1079438"/>
          </a:xfrm>
          <a:prstGeom prst="rect">
            <a:avLst/>
          </a:prstGeom>
          <a:noFill/>
          <a:ln w="12700">
            <a:noFill/>
          </a:ln>
          <a:effectLst/>
        </p:spPr>
        <p:txBody>
          <a:bodyPr lIns="0" tIns="0" rIns="0" bIns="0">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180000" indent="-180000" defTabSz="913943" eaLnBrk="1" hangingPunct="1">
              <a:spcBef>
                <a:spcPts val="300"/>
              </a:spcBef>
              <a:buClr>
                <a:schemeClr val="accent1"/>
              </a:buClr>
              <a:buSzPct val="100000"/>
              <a:buFont typeface="Arial" pitchFamily="34" charset="0"/>
              <a:buChar char="•"/>
              <a:defRPr/>
            </a:pPr>
            <a:r>
              <a:rPr lang="en-US" sz="1399" dirty="0">
                <a:solidFill>
                  <a:srgbClr val="66667E"/>
                </a:solidFill>
                <a:latin typeface="+mn-lt"/>
              </a:rPr>
              <a:t>At vero eos et accusam</a:t>
            </a:r>
          </a:p>
        </p:txBody>
      </p:sp>
      <p:sp>
        <p:nvSpPr>
          <p:cNvPr id="114" name="Text Box 3"/>
          <p:cNvSpPr txBox="1">
            <a:spLocks noChangeArrowheads="1"/>
          </p:cNvSpPr>
          <p:nvPr>
            <p:custDataLst>
              <p:tags r:id="rId4"/>
            </p:custDataLst>
          </p:nvPr>
        </p:nvSpPr>
        <p:spPr bwMode="auto">
          <a:xfrm>
            <a:off x="8183203" y="3865047"/>
            <a:ext cx="3600000" cy="1079438"/>
          </a:xfrm>
          <a:prstGeom prst="rect">
            <a:avLst/>
          </a:prstGeom>
          <a:noFill/>
          <a:ln w="12700">
            <a:noFill/>
          </a:ln>
          <a:effectLst/>
        </p:spPr>
        <p:txBody>
          <a:bodyPr lIns="0" tIns="0" rIns="0" bIns="0">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180000" indent="-180000" defTabSz="913943" eaLnBrk="1" hangingPunct="1">
              <a:spcBef>
                <a:spcPts val="300"/>
              </a:spcBef>
              <a:buClr>
                <a:schemeClr val="accent1"/>
              </a:buClr>
              <a:buSzPct val="100000"/>
              <a:buFont typeface="Arial" pitchFamily="34" charset="0"/>
              <a:buChar char="•"/>
              <a:defRPr/>
            </a:pPr>
            <a:r>
              <a:rPr lang="en-US" sz="1399" dirty="0">
                <a:solidFill>
                  <a:srgbClr val="66667E"/>
                </a:solidFill>
                <a:latin typeface="+mn-lt"/>
              </a:rPr>
              <a:t>Phasellus nec sem</a:t>
            </a:r>
          </a:p>
        </p:txBody>
      </p:sp>
      <p:sp>
        <p:nvSpPr>
          <p:cNvPr id="115" name="Rechteck 3"/>
          <p:cNvSpPr>
            <a:spLocks/>
          </p:cNvSpPr>
          <p:nvPr/>
        </p:nvSpPr>
        <p:spPr>
          <a:xfrm>
            <a:off x="5882400" y="3865049"/>
            <a:ext cx="1799063" cy="899531"/>
          </a:xfrm>
          <a:prstGeom prst="rect">
            <a:avLst/>
          </a:prstGeom>
          <a:solidFill>
            <a:srgbClr val="00FFB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215888"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399" b="1" dirty="0">
                <a:solidFill>
                  <a:schemeClr val="tx2"/>
                </a:solidFill>
              </a:rPr>
              <a:t>At vero eos et accusam</a:t>
            </a:r>
          </a:p>
        </p:txBody>
      </p:sp>
      <p:sp>
        <p:nvSpPr>
          <p:cNvPr id="117" name="Rechteck 3"/>
          <p:cNvSpPr>
            <a:spLocks/>
          </p:cNvSpPr>
          <p:nvPr/>
        </p:nvSpPr>
        <p:spPr>
          <a:xfrm>
            <a:off x="5882400" y="5085937"/>
            <a:ext cx="1799063" cy="899531"/>
          </a:xfrm>
          <a:prstGeom prst="rect">
            <a:avLst/>
          </a:prstGeom>
          <a:solidFill>
            <a:srgbClr val="00FFB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215888"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399" b="1" dirty="0">
                <a:solidFill>
                  <a:schemeClr val="tx2"/>
                </a:solidFill>
              </a:rPr>
              <a:t>Maecenas nec odio</a:t>
            </a:r>
          </a:p>
        </p:txBody>
      </p:sp>
      <p:cxnSp>
        <p:nvCxnSpPr>
          <p:cNvPr id="48" name="Elbow Connector 47"/>
          <p:cNvCxnSpPr>
            <a:stCxn id="84" idx="3"/>
            <a:endCxn id="97" idx="1"/>
          </p:cNvCxnSpPr>
          <p:nvPr/>
        </p:nvCxnSpPr>
        <p:spPr bwMode="auto">
          <a:xfrm flipV="1">
            <a:off x="4945463" y="1865615"/>
            <a:ext cx="936937" cy="612300"/>
          </a:xfrm>
          <a:prstGeom prst="bentConnector3">
            <a:avLst>
              <a:gd name="adj1" fmla="val 50000"/>
            </a:avLst>
          </a:prstGeom>
          <a:solidFill>
            <a:schemeClr val="tx2"/>
          </a:solidFill>
          <a:ln w="12700" cap="flat" cmpd="sng" algn="ctr">
            <a:solidFill>
              <a:srgbClr val="66667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Elbow Connector 57"/>
          <p:cNvCxnSpPr>
            <a:stCxn id="84" idx="3"/>
            <a:endCxn id="98" idx="1"/>
          </p:cNvCxnSpPr>
          <p:nvPr/>
        </p:nvCxnSpPr>
        <p:spPr bwMode="auto">
          <a:xfrm>
            <a:off x="4945463" y="2477915"/>
            <a:ext cx="936937" cy="612300"/>
          </a:xfrm>
          <a:prstGeom prst="bentConnector3">
            <a:avLst>
              <a:gd name="adj1" fmla="val 50000"/>
            </a:avLst>
          </a:prstGeom>
          <a:solidFill>
            <a:schemeClr val="tx2"/>
          </a:solidFill>
          <a:ln w="12700" cap="flat" cmpd="sng" algn="ctr">
            <a:solidFill>
              <a:srgbClr val="66667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Elbow Connector 67"/>
          <p:cNvCxnSpPr>
            <a:stCxn id="86" idx="3"/>
            <a:endCxn id="115" idx="1"/>
          </p:cNvCxnSpPr>
          <p:nvPr/>
        </p:nvCxnSpPr>
        <p:spPr bwMode="auto">
          <a:xfrm flipV="1">
            <a:off x="4945463" y="4314815"/>
            <a:ext cx="936937" cy="610444"/>
          </a:xfrm>
          <a:prstGeom prst="bentConnector3">
            <a:avLst>
              <a:gd name="adj1" fmla="val 50000"/>
            </a:avLst>
          </a:prstGeom>
          <a:solidFill>
            <a:schemeClr val="tx2"/>
          </a:solidFill>
          <a:ln w="12700" cap="flat" cmpd="sng" algn="ctr">
            <a:solidFill>
              <a:srgbClr val="66667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Elbow Connector 69"/>
          <p:cNvCxnSpPr>
            <a:stCxn id="86" idx="3"/>
            <a:endCxn id="117" idx="1"/>
          </p:cNvCxnSpPr>
          <p:nvPr/>
        </p:nvCxnSpPr>
        <p:spPr bwMode="auto">
          <a:xfrm>
            <a:off x="4945463" y="4925259"/>
            <a:ext cx="936937" cy="610444"/>
          </a:xfrm>
          <a:prstGeom prst="bentConnector3">
            <a:avLst>
              <a:gd name="adj1" fmla="val 50000"/>
            </a:avLst>
          </a:prstGeom>
          <a:solidFill>
            <a:schemeClr val="tx2"/>
          </a:solidFill>
          <a:ln w="12700" cap="flat" cmpd="sng" algn="ctr">
            <a:solidFill>
              <a:srgbClr val="66667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 name="Footer Placeholder 2">
            <a:extLst>
              <a:ext uri="{FF2B5EF4-FFF2-40B4-BE49-F238E27FC236}">
                <a16:creationId xmlns:a16="http://schemas.microsoft.com/office/drawing/2014/main" id="{AED4054C-4E90-44C8-9AA5-933092775F0B}"/>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5" name="Slide Number Placeholder 4">
            <a:extLst>
              <a:ext uri="{FF2B5EF4-FFF2-40B4-BE49-F238E27FC236}">
                <a16:creationId xmlns:a16="http://schemas.microsoft.com/office/drawing/2014/main" id="{59E6CF08-3730-4D98-BF21-61503BE85E2D}"/>
              </a:ext>
            </a:extLst>
          </p:cNvPr>
          <p:cNvSpPr>
            <a:spLocks noGrp="1"/>
          </p:cNvSpPr>
          <p:nvPr>
            <p:ph type="sldNum" sz="quarter" idx="11"/>
          </p:nvPr>
        </p:nvSpPr>
        <p:spPr/>
        <p:txBody>
          <a:bodyPr/>
          <a:lstStyle/>
          <a:p>
            <a:r>
              <a:rPr lang="en-US" dirty="0"/>
              <a:t>Page </a:t>
            </a:r>
            <a:fld id="{15EBE321-CBB1-4E91-BD14-37C8D44326FB}" type="slidenum">
              <a:rPr lang="en-US" smtClean="0"/>
              <a:pPr/>
              <a:t>78</a:t>
            </a:fld>
            <a:endParaRPr lang="en-US" dirty="0"/>
          </a:p>
        </p:txBody>
      </p:sp>
    </p:spTree>
    <p:extLst>
      <p:ext uri="{BB962C8B-B14F-4D97-AF65-F5344CB8AC3E}">
        <p14:creationId xmlns:p14="http://schemas.microsoft.com/office/powerpoint/2010/main" val="217114882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ee diagram (horizontal)</a:t>
            </a:r>
          </a:p>
        </p:txBody>
      </p:sp>
      <p:sp>
        <p:nvSpPr>
          <p:cNvPr id="4" name="Rechteck 3"/>
          <p:cNvSpPr>
            <a:spLocks/>
          </p:cNvSpPr>
          <p:nvPr/>
        </p:nvSpPr>
        <p:spPr>
          <a:xfrm>
            <a:off x="410400" y="3251821"/>
            <a:ext cx="1799063" cy="899531"/>
          </a:xfrm>
          <a:prstGeom prst="rect">
            <a:avLst/>
          </a:prstGeom>
          <a:solidFill>
            <a:srgbClr val="00646E"/>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215888"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399" b="1" dirty="0">
                <a:solidFill>
                  <a:schemeClr val="tx1"/>
                </a:solidFill>
              </a:rPr>
              <a:t>Duis arcu tortor</a:t>
            </a:r>
          </a:p>
        </p:txBody>
      </p:sp>
      <p:cxnSp>
        <p:nvCxnSpPr>
          <p:cNvPr id="35" name="Elbow Connector 34"/>
          <p:cNvCxnSpPr>
            <a:stCxn id="84" idx="1"/>
            <a:endCxn id="4" idx="3"/>
          </p:cNvCxnSpPr>
          <p:nvPr/>
        </p:nvCxnSpPr>
        <p:spPr bwMode="auto">
          <a:xfrm rot="10800000" flipV="1">
            <a:off x="2209464" y="2477915"/>
            <a:ext cx="936937" cy="1223672"/>
          </a:xfrm>
          <a:prstGeom prst="bentConnector3">
            <a:avLst>
              <a:gd name="adj1" fmla="val 50000"/>
            </a:avLst>
          </a:prstGeom>
          <a:solidFill>
            <a:schemeClr val="tx2"/>
          </a:solidFill>
          <a:ln w="12700" cap="flat" cmpd="sng" algn="ctr">
            <a:solidFill>
              <a:srgbClr val="9999A9"/>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84" name="Rechteck 3"/>
          <p:cNvSpPr>
            <a:spLocks/>
          </p:cNvSpPr>
          <p:nvPr/>
        </p:nvSpPr>
        <p:spPr>
          <a:xfrm>
            <a:off x="3146400" y="2028149"/>
            <a:ext cx="1799063" cy="899531"/>
          </a:xfrm>
          <a:prstGeom prst="rect">
            <a:avLst/>
          </a:prstGeom>
          <a:solidFill>
            <a:srgbClr val="00AF8E"/>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215888"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399" b="1" dirty="0">
                <a:solidFill>
                  <a:schemeClr val="bg2"/>
                </a:solidFill>
              </a:rPr>
              <a:t>At vero eos et accusam</a:t>
            </a:r>
          </a:p>
        </p:txBody>
      </p:sp>
      <p:sp>
        <p:nvSpPr>
          <p:cNvPr id="86" name="Rechteck 3"/>
          <p:cNvSpPr>
            <a:spLocks/>
          </p:cNvSpPr>
          <p:nvPr/>
        </p:nvSpPr>
        <p:spPr>
          <a:xfrm>
            <a:off x="3146400" y="4475493"/>
            <a:ext cx="1799063" cy="899531"/>
          </a:xfrm>
          <a:prstGeom prst="rect">
            <a:avLst/>
          </a:prstGeom>
          <a:solidFill>
            <a:srgbClr val="00AF8E"/>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215888"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399" b="1" dirty="0">
                <a:solidFill>
                  <a:schemeClr val="bg2"/>
                </a:solidFill>
              </a:rPr>
              <a:t>Phasellus nec sem</a:t>
            </a:r>
          </a:p>
        </p:txBody>
      </p:sp>
      <p:cxnSp>
        <p:nvCxnSpPr>
          <p:cNvPr id="87" name="Elbow Connector 86"/>
          <p:cNvCxnSpPr>
            <a:stCxn id="86" idx="1"/>
            <a:endCxn id="4" idx="3"/>
          </p:cNvCxnSpPr>
          <p:nvPr/>
        </p:nvCxnSpPr>
        <p:spPr bwMode="auto">
          <a:xfrm rot="10800000">
            <a:off x="2209464" y="3701587"/>
            <a:ext cx="936937" cy="1223672"/>
          </a:xfrm>
          <a:prstGeom prst="bentConnector3">
            <a:avLst>
              <a:gd name="adj1" fmla="val 50000"/>
            </a:avLst>
          </a:prstGeom>
          <a:solidFill>
            <a:schemeClr val="tx2"/>
          </a:solidFill>
          <a:ln w="12700" cap="flat" cmpd="sng" algn="ctr">
            <a:solidFill>
              <a:srgbClr val="9999A9"/>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97" name="Rechteck 3"/>
          <p:cNvSpPr>
            <a:spLocks/>
          </p:cNvSpPr>
          <p:nvPr/>
        </p:nvSpPr>
        <p:spPr>
          <a:xfrm>
            <a:off x="5882400" y="1415849"/>
            <a:ext cx="1799063" cy="899531"/>
          </a:xfrm>
          <a:prstGeom prst="rect">
            <a:avLst/>
          </a:prstGeom>
          <a:solidFill>
            <a:srgbClr val="00FFB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215888"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399" b="1" dirty="0">
                <a:solidFill>
                  <a:schemeClr val="bg2"/>
                </a:solidFill>
              </a:rPr>
              <a:t>Duis arcu tortor</a:t>
            </a:r>
          </a:p>
        </p:txBody>
      </p:sp>
      <p:sp>
        <p:nvSpPr>
          <p:cNvPr id="98" name="Rechteck 3"/>
          <p:cNvSpPr>
            <a:spLocks/>
          </p:cNvSpPr>
          <p:nvPr/>
        </p:nvSpPr>
        <p:spPr>
          <a:xfrm>
            <a:off x="5882400" y="2640449"/>
            <a:ext cx="1799063" cy="899531"/>
          </a:xfrm>
          <a:prstGeom prst="rect">
            <a:avLst/>
          </a:prstGeom>
          <a:solidFill>
            <a:srgbClr val="00FFB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215888"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399" b="1" dirty="0">
                <a:solidFill>
                  <a:schemeClr val="bg2"/>
                </a:solidFill>
              </a:rPr>
              <a:t>Phasellus nec sem</a:t>
            </a:r>
          </a:p>
        </p:txBody>
      </p:sp>
      <p:sp>
        <p:nvSpPr>
          <p:cNvPr id="99" name="Text Box 3"/>
          <p:cNvSpPr txBox="1">
            <a:spLocks noChangeArrowheads="1"/>
          </p:cNvSpPr>
          <p:nvPr>
            <p:custDataLst>
              <p:tags r:id="rId1"/>
            </p:custDataLst>
          </p:nvPr>
        </p:nvSpPr>
        <p:spPr bwMode="auto">
          <a:xfrm>
            <a:off x="8183203" y="1415848"/>
            <a:ext cx="3600000" cy="1079438"/>
          </a:xfrm>
          <a:prstGeom prst="rect">
            <a:avLst/>
          </a:prstGeom>
          <a:noFill/>
          <a:ln w="12700">
            <a:noFill/>
          </a:ln>
          <a:effectLst/>
        </p:spPr>
        <p:txBody>
          <a:bodyPr lIns="0" tIns="0" rIns="0" bIns="0">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180000" indent="-180000" defTabSz="913943" eaLnBrk="1" hangingPunct="1">
              <a:spcBef>
                <a:spcPts val="300"/>
              </a:spcBef>
              <a:buClr>
                <a:schemeClr val="accent1"/>
              </a:buClr>
              <a:buSzPct val="100000"/>
              <a:buFont typeface="Arial" pitchFamily="34" charset="0"/>
              <a:buChar char="•"/>
              <a:defRPr/>
            </a:pPr>
            <a:r>
              <a:rPr lang="en-US" sz="1399" dirty="0">
                <a:solidFill>
                  <a:srgbClr val="9999A9"/>
                </a:solidFill>
                <a:latin typeface="+mn-lt"/>
              </a:rPr>
              <a:t>Phasellus nec sem</a:t>
            </a:r>
          </a:p>
        </p:txBody>
      </p:sp>
      <p:sp>
        <p:nvSpPr>
          <p:cNvPr id="101" name="Text Box 3"/>
          <p:cNvSpPr txBox="1">
            <a:spLocks noChangeArrowheads="1"/>
          </p:cNvSpPr>
          <p:nvPr>
            <p:custDataLst>
              <p:tags r:id="rId2"/>
            </p:custDataLst>
          </p:nvPr>
        </p:nvSpPr>
        <p:spPr bwMode="auto">
          <a:xfrm>
            <a:off x="8183203" y="5089646"/>
            <a:ext cx="3600000" cy="1079438"/>
          </a:xfrm>
          <a:prstGeom prst="rect">
            <a:avLst/>
          </a:prstGeom>
          <a:noFill/>
          <a:ln w="12700">
            <a:noFill/>
          </a:ln>
          <a:effectLst/>
        </p:spPr>
        <p:txBody>
          <a:bodyPr lIns="0" tIns="0" rIns="0" bIns="0">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180000" indent="-180000" defTabSz="913943" eaLnBrk="1" hangingPunct="1">
              <a:spcBef>
                <a:spcPts val="300"/>
              </a:spcBef>
              <a:buClr>
                <a:schemeClr val="accent1"/>
              </a:buClr>
              <a:buSzPct val="100000"/>
              <a:buFont typeface="Arial" pitchFamily="34" charset="0"/>
              <a:buChar char="•"/>
              <a:defRPr/>
            </a:pPr>
            <a:r>
              <a:rPr lang="en-US" sz="1399" dirty="0">
                <a:solidFill>
                  <a:srgbClr val="9999A9"/>
                </a:solidFill>
                <a:latin typeface="+mn-lt"/>
              </a:rPr>
              <a:t>Consetetur sadipscing elitr, seddiam nonumy</a:t>
            </a:r>
          </a:p>
          <a:p>
            <a:pPr marL="180000" indent="-180000" defTabSz="913943" eaLnBrk="1" hangingPunct="1">
              <a:spcBef>
                <a:spcPts val="300"/>
              </a:spcBef>
              <a:buClr>
                <a:schemeClr val="accent1"/>
              </a:buClr>
              <a:buSzPct val="100000"/>
              <a:buFont typeface="Arial" pitchFamily="34" charset="0"/>
              <a:buChar char="•"/>
              <a:defRPr/>
            </a:pPr>
            <a:r>
              <a:rPr lang="en-US" sz="1399" dirty="0">
                <a:solidFill>
                  <a:srgbClr val="9999A9"/>
                </a:solidFill>
                <a:latin typeface="+mn-lt"/>
              </a:rPr>
              <a:t>At vero eos et accusam</a:t>
            </a:r>
          </a:p>
        </p:txBody>
      </p:sp>
      <p:sp>
        <p:nvSpPr>
          <p:cNvPr id="102" name="Text Box 3"/>
          <p:cNvSpPr txBox="1">
            <a:spLocks noChangeArrowheads="1"/>
          </p:cNvSpPr>
          <p:nvPr>
            <p:custDataLst>
              <p:tags r:id="rId3"/>
            </p:custDataLst>
          </p:nvPr>
        </p:nvSpPr>
        <p:spPr bwMode="auto">
          <a:xfrm>
            <a:off x="8183203" y="2640448"/>
            <a:ext cx="3600000" cy="1079438"/>
          </a:xfrm>
          <a:prstGeom prst="rect">
            <a:avLst/>
          </a:prstGeom>
          <a:noFill/>
          <a:ln w="12700">
            <a:noFill/>
          </a:ln>
          <a:effectLst/>
        </p:spPr>
        <p:txBody>
          <a:bodyPr lIns="0" tIns="0" rIns="0" bIns="0">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180000" indent="-180000" defTabSz="913943" eaLnBrk="1" hangingPunct="1">
              <a:spcBef>
                <a:spcPts val="300"/>
              </a:spcBef>
              <a:buClr>
                <a:schemeClr val="accent1"/>
              </a:buClr>
              <a:buSzPct val="100000"/>
              <a:buFont typeface="Arial" pitchFamily="34" charset="0"/>
              <a:buChar char="•"/>
              <a:defRPr/>
            </a:pPr>
            <a:r>
              <a:rPr lang="en-US" sz="1399" dirty="0">
                <a:solidFill>
                  <a:srgbClr val="9999A9"/>
                </a:solidFill>
                <a:latin typeface="+mn-lt"/>
              </a:rPr>
              <a:t>At vero eos et accusam</a:t>
            </a:r>
          </a:p>
        </p:txBody>
      </p:sp>
      <p:sp>
        <p:nvSpPr>
          <p:cNvPr id="114" name="Text Box 3"/>
          <p:cNvSpPr txBox="1">
            <a:spLocks noChangeArrowheads="1"/>
          </p:cNvSpPr>
          <p:nvPr>
            <p:custDataLst>
              <p:tags r:id="rId4"/>
            </p:custDataLst>
          </p:nvPr>
        </p:nvSpPr>
        <p:spPr bwMode="auto">
          <a:xfrm>
            <a:off x="8183203" y="3865047"/>
            <a:ext cx="3600000" cy="1079438"/>
          </a:xfrm>
          <a:prstGeom prst="rect">
            <a:avLst/>
          </a:prstGeom>
          <a:noFill/>
          <a:ln w="12700">
            <a:noFill/>
          </a:ln>
          <a:effectLst/>
        </p:spPr>
        <p:txBody>
          <a:bodyPr lIns="0" tIns="0" rIns="0" bIns="0">
            <a:normAutofit/>
          </a:bodyPr>
          <a:lstStyle>
            <a:lvl1pPr marL="190500" indent="-190500" defTabSz="762000" eaLnBrk="0" hangingPunct="0">
              <a:defRPr sz="2000">
                <a:solidFill>
                  <a:schemeClr val="tx1"/>
                </a:solidFill>
                <a:latin typeface="Arial" charset="0"/>
              </a:defRPr>
            </a:lvl1pPr>
            <a:lvl2pPr marL="742950" indent="-285750" defTabSz="762000" eaLnBrk="0" hangingPunct="0">
              <a:defRPr sz="2000">
                <a:solidFill>
                  <a:schemeClr val="tx1"/>
                </a:solidFill>
                <a:latin typeface="Arial" charset="0"/>
              </a:defRPr>
            </a:lvl2pPr>
            <a:lvl3pPr marL="1143000" indent="-228600" defTabSz="762000" eaLnBrk="0" hangingPunct="0">
              <a:defRPr sz="2000">
                <a:solidFill>
                  <a:schemeClr val="tx1"/>
                </a:solidFill>
                <a:latin typeface="Arial" charset="0"/>
              </a:defRPr>
            </a:lvl3pPr>
            <a:lvl4pPr marL="1600200" indent="-228600" defTabSz="762000" eaLnBrk="0" hangingPunct="0">
              <a:defRPr sz="2000">
                <a:solidFill>
                  <a:schemeClr val="tx1"/>
                </a:solidFill>
                <a:latin typeface="Arial" charset="0"/>
              </a:defRPr>
            </a:lvl4pPr>
            <a:lvl5pPr marL="2057400" indent="-228600" defTabSz="762000" eaLnBrk="0" hangingPunct="0">
              <a:defRPr sz="2000">
                <a:solidFill>
                  <a:schemeClr val="tx1"/>
                </a:solidFill>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solidFill>
                  <a:schemeClr val="tx1"/>
                </a:solidFill>
                <a:latin typeface="Arial" charset="0"/>
              </a:defRPr>
            </a:lvl9pPr>
          </a:lstStyle>
          <a:p>
            <a:pPr marL="180000" indent="-180000" defTabSz="913943" eaLnBrk="1" hangingPunct="1">
              <a:spcBef>
                <a:spcPts val="300"/>
              </a:spcBef>
              <a:buClr>
                <a:schemeClr val="accent1"/>
              </a:buClr>
              <a:buSzPct val="100000"/>
              <a:buFont typeface="Arial" pitchFamily="34" charset="0"/>
              <a:buChar char="•"/>
              <a:defRPr/>
            </a:pPr>
            <a:r>
              <a:rPr lang="en-US" sz="1399" dirty="0">
                <a:solidFill>
                  <a:srgbClr val="9999A9"/>
                </a:solidFill>
                <a:latin typeface="+mn-lt"/>
              </a:rPr>
              <a:t>Phasellus nec sem</a:t>
            </a:r>
          </a:p>
        </p:txBody>
      </p:sp>
      <p:sp>
        <p:nvSpPr>
          <p:cNvPr id="115" name="Rechteck 3"/>
          <p:cNvSpPr>
            <a:spLocks/>
          </p:cNvSpPr>
          <p:nvPr/>
        </p:nvSpPr>
        <p:spPr>
          <a:xfrm>
            <a:off x="5882400" y="3865049"/>
            <a:ext cx="1799063" cy="899531"/>
          </a:xfrm>
          <a:prstGeom prst="rect">
            <a:avLst/>
          </a:prstGeom>
          <a:solidFill>
            <a:srgbClr val="00FFB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215888"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399" b="1" dirty="0">
                <a:solidFill>
                  <a:schemeClr val="bg2"/>
                </a:solidFill>
              </a:rPr>
              <a:t>At vero eos et accusam</a:t>
            </a:r>
          </a:p>
        </p:txBody>
      </p:sp>
      <p:sp>
        <p:nvSpPr>
          <p:cNvPr id="117" name="Rechteck 3"/>
          <p:cNvSpPr>
            <a:spLocks/>
          </p:cNvSpPr>
          <p:nvPr/>
        </p:nvSpPr>
        <p:spPr>
          <a:xfrm>
            <a:off x="5882400" y="5085937"/>
            <a:ext cx="1799063" cy="899531"/>
          </a:xfrm>
          <a:prstGeom prst="rect">
            <a:avLst/>
          </a:prstGeom>
          <a:solidFill>
            <a:srgbClr val="00FFB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215888"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399" b="1" dirty="0">
                <a:solidFill>
                  <a:schemeClr val="bg2"/>
                </a:solidFill>
              </a:rPr>
              <a:t>Maecenas nec odio</a:t>
            </a:r>
          </a:p>
        </p:txBody>
      </p:sp>
      <p:cxnSp>
        <p:nvCxnSpPr>
          <p:cNvPr id="48" name="Elbow Connector 47"/>
          <p:cNvCxnSpPr>
            <a:stCxn id="84" idx="3"/>
            <a:endCxn id="97" idx="1"/>
          </p:cNvCxnSpPr>
          <p:nvPr/>
        </p:nvCxnSpPr>
        <p:spPr bwMode="auto">
          <a:xfrm flipV="1">
            <a:off x="4945463" y="1865615"/>
            <a:ext cx="936937" cy="612300"/>
          </a:xfrm>
          <a:prstGeom prst="bentConnector3">
            <a:avLst>
              <a:gd name="adj1" fmla="val 50000"/>
            </a:avLst>
          </a:prstGeom>
          <a:solidFill>
            <a:schemeClr val="tx2"/>
          </a:solidFill>
          <a:ln w="12700" cap="flat" cmpd="sng" algn="ctr">
            <a:solidFill>
              <a:srgbClr val="9999A9"/>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Elbow Connector 57"/>
          <p:cNvCxnSpPr>
            <a:stCxn id="84" idx="3"/>
            <a:endCxn id="98" idx="1"/>
          </p:cNvCxnSpPr>
          <p:nvPr/>
        </p:nvCxnSpPr>
        <p:spPr bwMode="auto">
          <a:xfrm>
            <a:off x="4945463" y="2477915"/>
            <a:ext cx="936937" cy="612300"/>
          </a:xfrm>
          <a:prstGeom prst="bentConnector3">
            <a:avLst>
              <a:gd name="adj1" fmla="val 50000"/>
            </a:avLst>
          </a:prstGeom>
          <a:solidFill>
            <a:schemeClr val="tx2"/>
          </a:solidFill>
          <a:ln w="12700" cap="flat" cmpd="sng" algn="ctr">
            <a:solidFill>
              <a:srgbClr val="9999A9"/>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Elbow Connector 67"/>
          <p:cNvCxnSpPr>
            <a:stCxn id="86" idx="3"/>
            <a:endCxn id="115" idx="1"/>
          </p:cNvCxnSpPr>
          <p:nvPr/>
        </p:nvCxnSpPr>
        <p:spPr bwMode="auto">
          <a:xfrm flipV="1">
            <a:off x="4945463" y="4314815"/>
            <a:ext cx="936937" cy="610444"/>
          </a:xfrm>
          <a:prstGeom prst="bentConnector3">
            <a:avLst>
              <a:gd name="adj1" fmla="val 50000"/>
            </a:avLst>
          </a:prstGeom>
          <a:solidFill>
            <a:schemeClr val="tx2"/>
          </a:solidFill>
          <a:ln w="12700" cap="flat" cmpd="sng" algn="ctr">
            <a:solidFill>
              <a:srgbClr val="9999A9"/>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Elbow Connector 69"/>
          <p:cNvCxnSpPr>
            <a:stCxn id="86" idx="3"/>
            <a:endCxn id="117" idx="1"/>
          </p:cNvCxnSpPr>
          <p:nvPr/>
        </p:nvCxnSpPr>
        <p:spPr bwMode="auto">
          <a:xfrm>
            <a:off x="4945463" y="4925259"/>
            <a:ext cx="936937" cy="610444"/>
          </a:xfrm>
          <a:prstGeom prst="bentConnector3">
            <a:avLst>
              <a:gd name="adj1" fmla="val 50000"/>
            </a:avLst>
          </a:prstGeom>
          <a:solidFill>
            <a:schemeClr val="tx2"/>
          </a:solidFill>
          <a:ln w="12700" cap="flat" cmpd="sng" algn="ctr">
            <a:solidFill>
              <a:srgbClr val="9999A9"/>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 name="Footer Placeholder 2">
            <a:extLst>
              <a:ext uri="{FF2B5EF4-FFF2-40B4-BE49-F238E27FC236}">
                <a16:creationId xmlns:a16="http://schemas.microsoft.com/office/drawing/2014/main" id="{1332FA54-B33B-47B5-BF11-C88979D9C9EC}"/>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5" name="Slide Number Placeholder 4">
            <a:extLst>
              <a:ext uri="{FF2B5EF4-FFF2-40B4-BE49-F238E27FC236}">
                <a16:creationId xmlns:a16="http://schemas.microsoft.com/office/drawing/2014/main" id="{8C34BC36-3E46-470C-BB41-FC4BD916F67C}"/>
              </a:ext>
            </a:extLst>
          </p:cNvPr>
          <p:cNvSpPr>
            <a:spLocks noGrp="1"/>
          </p:cNvSpPr>
          <p:nvPr>
            <p:ph type="sldNum" sz="quarter" idx="11"/>
          </p:nvPr>
        </p:nvSpPr>
        <p:spPr/>
        <p:txBody>
          <a:bodyPr/>
          <a:lstStyle/>
          <a:p>
            <a:r>
              <a:rPr lang="en-US" dirty="0"/>
              <a:t>Page </a:t>
            </a:r>
            <a:fld id="{15EBE321-CBB1-4E91-BD14-37C8D44326FB}" type="slidenum">
              <a:rPr lang="en-US" smtClean="0"/>
              <a:pPr/>
              <a:t>79</a:t>
            </a:fld>
            <a:endParaRPr lang="en-US" dirty="0"/>
          </a:p>
        </p:txBody>
      </p:sp>
    </p:spTree>
    <p:extLst>
      <p:ext uri="{BB962C8B-B14F-4D97-AF65-F5344CB8AC3E}">
        <p14:creationId xmlns:p14="http://schemas.microsoft.com/office/powerpoint/2010/main" val="25607975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 name="Objekt 55"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3" imgW="360" imgH="360" progId="">
                  <p:embed/>
                </p:oleObj>
              </mc:Choice>
              <mc:Fallback>
                <p:oleObj name="think-cell Folie" r:id="rId3" imgW="360" imgH="360" progId="">
                  <p:embed/>
                  <p:pic>
                    <p:nvPicPr>
                      <p:cNvPr id="56" name="Objekt 5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55" name="Tabelle 54"/>
          <p:cNvGraphicFramePr>
            <a:graphicFrameLocks noGrp="1"/>
          </p:cNvGraphicFramePr>
          <p:nvPr>
            <p:extLst>
              <p:ext uri="{D42A27DB-BD31-4B8C-83A1-F6EECF244321}">
                <p14:modId xmlns:p14="http://schemas.microsoft.com/office/powerpoint/2010/main" val="3905055294"/>
              </p:ext>
            </p:extLst>
          </p:nvPr>
        </p:nvGraphicFramePr>
        <p:xfrm>
          <a:off x="410400" y="1415849"/>
          <a:ext cx="11376000" cy="4371723"/>
        </p:xfrm>
        <a:graphic>
          <a:graphicData uri="http://schemas.openxmlformats.org/drawingml/2006/table">
            <a:tbl>
              <a:tblPr firstRow="1">
                <a:tableStyleId>{0E3FDE45-AF77-4B5C-9715-49D594BDF05E}</a:tableStyleId>
              </a:tblPr>
              <a:tblGrid>
                <a:gridCol w="432000">
                  <a:extLst>
                    <a:ext uri="{9D8B030D-6E8A-4147-A177-3AD203B41FA5}">
                      <a16:colId xmlns:a16="http://schemas.microsoft.com/office/drawing/2014/main" val="20000"/>
                    </a:ext>
                  </a:extLst>
                </a:gridCol>
                <a:gridCol w="2160000">
                  <a:extLst>
                    <a:ext uri="{9D8B030D-6E8A-4147-A177-3AD203B41FA5}">
                      <a16:colId xmlns:a16="http://schemas.microsoft.com/office/drawing/2014/main" val="20001"/>
                    </a:ext>
                  </a:extLst>
                </a:gridCol>
                <a:gridCol w="5616000">
                  <a:extLst>
                    <a:ext uri="{9D8B030D-6E8A-4147-A177-3AD203B41FA5}">
                      <a16:colId xmlns:a16="http://schemas.microsoft.com/office/drawing/2014/main" val="20002"/>
                    </a:ext>
                  </a:extLst>
                </a:gridCol>
                <a:gridCol w="3168000">
                  <a:extLst>
                    <a:ext uri="{9D8B030D-6E8A-4147-A177-3AD203B41FA5}">
                      <a16:colId xmlns:a16="http://schemas.microsoft.com/office/drawing/2014/main" val="20003"/>
                    </a:ext>
                  </a:extLst>
                </a:gridCol>
              </a:tblGrid>
              <a:tr h="485747">
                <a:tc>
                  <a:txBody>
                    <a:bodyPr/>
                    <a:lstStyle/>
                    <a:p>
                      <a:endParaRPr lang="en-US" sz="1800" noProof="0" dirty="0">
                        <a:solidFill>
                          <a:srgbClr val="66667E"/>
                        </a:solidFill>
                      </a:endParaRPr>
                    </a:p>
                  </a:txBody>
                  <a:tcPr marL="107944" marR="107944" marT="71963" marB="71963" anchor="ctr">
                    <a:lnB w="28575" cap="flat" cmpd="sng" algn="ctr">
                      <a:solidFill>
                        <a:srgbClr val="66667E"/>
                      </a:solidFill>
                      <a:prstDash val="solid"/>
                      <a:round/>
                      <a:headEnd type="none" w="med" len="med"/>
                      <a:tailEnd type="none" w="med" len="med"/>
                    </a:lnB>
                  </a:tcPr>
                </a:tc>
                <a:tc>
                  <a:txBody>
                    <a:bodyPr/>
                    <a:lstStyle/>
                    <a:p>
                      <a:pPr>
                        <a:spcBef>
                          <a:spcPct val="0"/>
                        </a:spcBef>
                        <a:buFont typeface="Wingdings" charset="0"/>
                        <a:buNone/>
                      </a:pPr>
                      <a:r>
                        <a:rPr lang="en-US" sz="1800" noProof="0" dirty="0">
                          <a:solidFill>
                            <a:srgbClr val="66667E"/>
                          </a:solidFill>
                        </a:rPr>
                        <a:t>Time</a:t>
                      </a:r>
                      <a:endParaRPr lang="en-US" sz="1800" b="1" noProof="0" dirty="0">
                        <a:solidFill>
                          <a:srgbClr val="66667E"/>
                        </a:solidFill>
                        <a:latin typeface="+mn-lt"/>
                        <a:ea typeface="Arial Unicode MS"/>
                      </a:endParaRPr>
                    </a:p>
                  </a:txBody>
                  <a:tcPr marL="107944" marR="107944" marT="71963" marB="71963" anchor="ctr">
                    <a:lnB w="28575"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noProof="0" dirty="0">
                          <a:solidFill>
                            <a:srgbClr val="66667E"/>
                          </a:solidFill>
                        </a:rPr>
                        <a:t>Topic</a:t>
                      </a:r>
                      <a:endParaRPr lang="en-US" sz="1800" b="1" noProof="0" dirty="0">
                        <a:solidFill>
                          <a:srgbClr val="66667E"/>
                        </a:solidFill>
                        <a:latin typeface="+mn-lt"/>
                        <a:ea typeface="Arial Unicode MS"/>
                      </a:endParaRPr>
                    </a:p>
                  </a:txBody>
                  <a:tcPr marL="107944" marR="107944" marT="71963" marB="71963" anchor="ctr">
                    <a:lnB w="28575"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noProof="0" dirty="0">
                          <a:solidFill>
                            <a:srgbClr val="66667E"/>
                          </a:solidFill>
                        </a:rPr>
                        <a:t>Presenter</a:t>
                      </a:r>
                      <a:endParaRPr lang="en-US" sz="1800" b="1" noProof="0" dirty="0">
                        <a:solidFill>
                          <a:srgbClr val="66667E"/>
                        </a:solidFill>
                        <a:latin typeface="+mn-lt"/>
                        <a:ea typeface="Arial Unicode MS"/>
                      </a:endParaRPr>
                    </a:p>
                  </a:txBody>
                  <a:tcPr marL="107944" marR="107944" marT="71963" marB="71963" anchor="ctr">
                    <a:lnB w="28575"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0"/>
                  </a:ext>
                </a:extLst>
              </a:tr>
              <a:tr h="485747">
                <a:tc>
                  <a:txBody>
                    <a:bodyPr/>
                    <a:lstStyle/>
                    <a:p>
                      <a:endParaRPr lang="en-US" sz="1800" noProof="0" dirty="0"/>
                    </a:p>
                  </a:txBody>
                  <a:tcPr marL="107944" marR="107944" marT="71963" marB="71963" anchor="ct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r>
                        <a:rPr lang="en-US" sz="1800" noProof="0" dirty="0">
                          <a:solidFill>
                            <a:srgbClr val="66667E"/>
                          </a:solidFill>
                        </a:rPr>
                        <a:t>00:00 am</a:t>
                      </a:r>
                    </a:p>
                  </a:txBody>
                  <a:tcPr marL="107944" marR="107944" marT="71963" marB="71963" anchor="ct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noProof="0" dirty="0">
                          <a:solidFill>
                            <a:srgbClr val="66667E"/>
                          </a:solidFill>
                        </a:rPr>
                        <a:t>At vero eos et accusam</a:t>
                      </a:r>
                      <a:endParaRPr lang="en-US" sz="1800" noProof="0" dirty="0">
                        <a:solidFill>
                          <a:srgbClr val="66667E"/>
                        </a:solidFill>
                        <a:latin typeface="+mn-lt"/>
                        <a:ea typeface="Arial Unicode MS"/>
                      </a:endParaRPr>
                    </a:p>
                  </a:txBody>
                  <a:tcPr marL="107944" marR="107944" marT="71963" marB="71963" anchor="ct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noProof="0" dirty="0">
                          <a:solidFill>
                            <a:srgbClr val="66667E"/>
                          </a:solidFill>
                        </a:rPr>
                        <a:t>Vero Accusam</a:t>
                      </a:r>
                      <a:endParaRPr lang="en-US" sz="1800" noProof="0" dirty="0">
                        <a:solidFill>
                          <a:srgbClr val="66667E"/>
                        </a:solidFill>
                        <a:latin typeface="+mn-lt"/>
                        <a:ea typeface="Arial Unicode MS"/>
                      </a:endParaRPr>
                    </a:p>
                  </a:txBody>
                  <a:tcPr marL="107944" marR="107944" marT="71963" marB="71963" anchor="ct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1"/>
                  </a:ext>
                </a:extLst>
              </a:tr>
              <a:tr h="485747">
                <a:tc>
                  <a:txBody>
                    <a:bodyPr/>
                    <a:lstStyle/>
                    <a:p>
                      <a:endParaRPr lang="en-US" sz="1800" noProof="0" dirty="0"/>
                    </a:p>
                  </a:txBody>
                  <a:tcPr marL="107944"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noProof="0" dirty="0">
                          <a:solidFill>
                            <a:srgbClr val="66667E"/>
                          </a:solidFill>
                        </a:rPr>
                        <a:t>00:00 am</a:t>
                      </a:r>
                    </a:p>
                  </a:txBody>
                  <a:tcPr marL="107944"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noProof="0" dirty="0">
                          <a:solidFill>
                            <a:srgbClr val="66667E"/>
                          </a:solidFill>
                        </a:rPr>
                        <a:t>Consetetur sadipscing elitr</a:t>
                      </a:r>
                      <a:endParaRPr lang="en-US" sz="1800" noProof="0" dirty="0">
                        <a:solidFill>
                          <a:srgbClr val="66667E"/>
                        </a:solidFill>
                        <a:latin typeface="+mn-lt"/>
                        <a:ea typeface="Arial Unicode MS"/>
                      </a:endParaRPr>
                    </a:p>
                  </a:txBody>
                  <a:tcPr marL="107944"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noProof="0" dirty="0">
                          <a:solidFill>
                            <a:srgbClr val="66667E"/>
                          </a:solidFill>
                        </a:rPr>
                        <a:t>Duis Tortor</a:t>
                      </a:r>
                      <a:endParaRPr lang="en-US" sz="1800" noProof="0" dirty="0">
                        <a:solidFill>
                          <a:srgbClr val="66667E"/>
                        </a:solidFill>
                        <a:latin typeface="+mn-lt"/>
                        <a:ea typeface="Arial Unicode MS"/>
                      </a:endParaRPr>
                    </a:p>
                  </a:txBody>
                  <a:tcPr marL="107944"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2"/>
                  </a:ext>
                </a:extLst>
              </a:tr>
              <a:tr h="485747">
                <a:tc>
                  <a:txBody>
                    <a:bodyPr/>
                    <a:lstStyle/>
                    <a:p>
                      <a:endParaRPr lang="en-US" sz="1800" noProof="0" dirty="0"/>
                    </a:p>
                  </a:txBody>
                  <a:tcPr marL="107944"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noProof="0" dirty="0">
                          <a:solidFill>
                            <a:srgbClr val="66667E"/>
                          </a:solidFill>
                        </a:rPr>
                        <a:t>00:00 am</a:t>
                      </a:r>
                    </a:p>
                  </a:txBody>
                  <a:tcPr marL="107944"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noProof="0" dirty="0">
                          <a:solidFill>
                            <a:srgbClr val="66667E"/>
                          </a:solidFill>
                        </a:rPr>
                        <a:t>At vero eos et accusam</a:t>
                      </a:r>
                      <a:endParaRPr lang="en-US" sz="1800" noProof="0" dirty="0">
                        <a:solidFill>
                          <a:srgbClr val="66667E"/>
                        </a:solidFill>
                        <a:latin typeface="+mn-lt"/>
                        <a:ea typeface="Arial Unicode MS"/>
                      </a:endParaRPr>
                    </a:p>
                  </a:txBody>
                  <a:tcPr marL="107944"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noProof="0" dirty="0">
                          <a:solidFill>
                            <a:srgbClr val="66667E"/>
                          </a:solidFill>
                        </a:rPr>
                        <a:t>Phasellus Necsem</a:t>
                      </a:r>
                      <a:endParaRPr lang="en-US" sz="1800" noProof="0" dirty="0">
                        <a:solidFill>
                          <a:srgbClr val="66667E"/>
                        </a:solidFill>
                        <a:latin typeface="+mn-lt"/>
                        <a:ea typeface="Arial Unicode MS"/>
                      </a:endParaRPr>
                    </a:p>
                  </a:txBody>
                  <a:tcPr marL="107944"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3"/>
                  </a:ext>
                </a:extLst>
              </a:tr>
              <a:tr h="485747">
                <a:tc>
                  <a:txBody>
                    <a:bodyPr/>
                    <a:lstStyle/>
                    <a:p>
                      <a:endParaRPr lang="en-US" sz="1800" noProof="0" dirty="0"/>
                    </a:p>
                  </a:txBody>
                  <a:tcPr marL="107944"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noProof="0" dirty="0">
                          <a:solidFill>
                            <a:srgbClr val="66667E"/>
                          </a:solidFill>
                        </a:rPr>
                        <a:t>00:00 am</a:t>
                      </a:r>
                    </a:p>
                  </a:txBody>
                  <a:tcPr marL="107944"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noProof="0" dirty="0">
                          <a:solidFill>
                            <a:srgbClr val="66667E"/>
                          </a:solidFill>
                        </a:rPr>
                        <a:t>Duis arcu tortor</a:t>
                      </a:r>
                      <a:endParaRPr lang="en-US" sz="1800" noProof="0" dirty="0">
                        <a:solidFill>
                          <a:srgbClr val="66667E"/>
                        </a:solidFill>
                        <a:latin typeface="+mn-lt"/>
                        <a:ea typeface="Arial Unicode MS"/>
                      </a:endParaRPr>
                    </a:p>
                  </a:txBody>
                  <a:tcPr marL="107944"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noProof="0" dirty="0">
                          <a:solidFill>
                            <a:srgbClr val="66667E"/>
                          </a:solidFill>
                        </a:rPr>
                        <a:t>Odio Maecenas</a:t>
                      </a:r>
                      <a:endParaRPr lang="en-US" sz="1800" noProof="0" dirty="0">
                        <a:solidFill>
                          <a:srgbClr val="66667E"/>
                        </a:solidFill>
                        <a:latin typeface="+mn-lt"/>
                        <a:ea typeface="Arial Unicode MS"/>
                      </a:endParaRPr>
                    </a:p>
                  </a:txBody>
                  <a:tcPr marL="107944"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4"/>
                  </a:ext>
                </a:extLst>
              </a:tr>
              <a:tr h="485747">
                <a:tc>
                  <a:txBody>
                    <a:bodyPr/>
                    <a:lstStyle/>
                    <a:p>
                      <a:endParaRPr lang="en-US" sz="1800" noProof="0" dirty="0"/>
                    </a:p>
                  </a:txBody>
                  <a:tcPr marL="107944"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noProof="0" dirty="0">
                          <a:solidFill>
                            <a:srgbClr val="66667E"/>
                          </a:solidFill>
                        </a:rPr>
                        <a:t>00:00 am</a:t>
                      </a:r>
                    </a:p>
                  </a:txBody>
                  <a:tcPr marL="107944"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noProof="0" dirty="0">
                          <a:solidFill>
                            <a:srgbClr val="66667E"/>
                          </a:solidFill>
                        </a:rPr>
                        <a:t>At vero eos et accusam</a:t>
                      </a:r>
                      <a:endParaRPr lang="en-US" sz="1800" noProof="0" dirty="0">
                        <a:solidFill>
                          <a:srgbClr val="66667E"/>
                        </a:solidFill>
                        <a:latin typeface="+mn-lt"/>
                        <a:ea typeface="Arial Unicode MS"/>
                      </a:endParaRPr>
                    </a:p>
                  </a:txBody>
                  <a:tcPr marL="107944"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noProof="0" dirty="0">
                          <a:solidFill>
                            <a:srgbClr val="66667E"/>
                          </a:solidFill>
                        </a:rPr>
                        <a:t>Eos Laccusam</a:t>
                      </a:r>
                      <a:endParaRPr lang="en-US" sz="1800" noProof="0" dirty="0">
                        <a:solidFill>
                          <a:srgbClr val="66667E"/>
                        </a:solidFill>
                        <a:latin typeface="+mn-lt"/>
                        <a:ea typeface="Arial Unicode MS"/>
                      </a:endParaRPr>
                    </a:p>
                  </a:txBody>
                  <a:tcPr marL="107944"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5"/>
                  </a:ext>
                </a:extLst>
              </a:tr>
              <a:tr h="485747">
                <a:tc>
                  <a:txBody>
                    <a:bodyPr/>
                    <a:lstStyle/>
                    <a:p>
                      <a:endParaRPr lang="en-US" sz="1800" noProof="0" dirty="0"/>
                    </a:p>
                  </a:txBody>
                  <a:tcPr marL="107944"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noProof="0" dirty="0">
                          <a:solidFill>
                            <a:srgbClr val="66667E"/>
                          </a:solidFill>
                        </a:rPr>
                        <a:t>00:00 am</a:t>
                      </a:r>
                    </a:p>
                  </a:txBody>
                  <a:tcPr marL="107944"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noProof="0" dirty="0">
                          <a:solidFill>
                            <a:srgbClr val="66667E"/>
                          </a:solidFill>
                        </a:rPr>
                        <a:t>Consetetur sadipscing elitr</a:t>
                      </a:r>
                      <a:endParaRPr lang="en-US" sz="1800" noProof="0" dirty="0">
                        <a:solidFill>
                          <a:srgbClr val="66667E"/>
                        </a:solidFill>
                        <a:latin typeface="+mn-lt"/>
                        <a:ea typeface="Arial Unicode MS"/>
                      </a:endParaRPr>
                    </a:p>
                  </a:txBody>
                  <a:tcPr marL="107944"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noProof="0" dirty="0">
                          <a:solidFill>
                            <a:srgbClr val="66667E"/>
                          </a:solidFill>
                        </a:rPr>
                        <a:t>Duis Larcutortor</a:t>
                      </a:r>
                      <a:endParaRPr lang="en-US" sz="1800" noProof="0" dirty="0">
                        <a:solidFill>
                          <a:srgbClr val="66667E"/>
                        </a:solidFill>
                        <a:latin typeface="+mn-lt"/>
                        <a:ea typeface="Arial Unicode MS"/>
                      </a:endParaRPr>
                    </a:p>
                  </a:txBody>
                  <a:tcPr marL="107944"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6"/>
                  </a:ext>
                </a:extLst>
              </a:tr>
              <a:tr h="485747">
                <a:tc>
                  <a:txBody>
                    <a:bodyPr/>
                    <a:lstStyle/>
                    <a:p>
                      <a:endParaRPr lang="en-US" sz="1800" noProof="0" dirty="0"/>
                    </a:p>
                  </a:txBody>
                  <a:tcPr marL="107944"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66667E"/>
                          </a:solidFill>
                          <a:effectLst/>
                          <a:uLnTx/>
                          <a:uFillTx/>
                        </a:rPr>
                        <a:t>Name presenter</a:t>
                      </a:r>
                      <a:endParaRPr kumimoji="0" lang="en-US" sz="1800" b="0" i="0" u="none" strike="noStrike" kern="1200" cap="none" spc="0" normalizeH="0" baseline="0" noProof="0" dirty="0">
                        <a:ln>
                          <a:noFill/>
                        </a:ln>
                        <a:solidFill>
                          <a:srgbClr val="66667E"/>
                        </a:solidFill>
                        <a:effectLst/>
                        <a:uLnTx/>
                        <a:uFillTx/>
                        <a:latin typeface="+mn-lt"/>
                        <a:ea typeface="+mn-ea"/>
                        <a:cs typeface="+mn-cs"/>
                      </a:endParaRPr>
                    </a:p>
                  </a:txBody>
                  <a:tcPr marL="107944"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dirty="0">
                        <a:solidFill>
                          <a:srgbClr val="3C464B"/>
                        </a:solidFill>
                        <a:latin typeface="+mn-lt"/>
                        <a:ea typeface="Arial Unicode MS"/>
                      </a:endParaRPr>
                    </a:p>
                  </a:txBody>
                  <a:tcPr marL="108000" marR="108000" marT="72000" marB="72000" anchor="ctr">
                    <a:lnR w="12700" cmpd="sng">
                      <a:noFill/>
                    </a:lnR>
                    <a:lnT w="12700" cap="flat" cmpd="sng" algn="ctr">
                      <a:solidFill>
                        <a:srgbClr val="879BAA"/>
                      </a:solidFill>
                      <a:prstDash val="solid"/>
                      <a:round/>
                      <a:headEnd type="none" w="med" len="med"/>
                      <a:tailEnd type="none" w="med" len="med"/>
                    </a:lnT>
                    <a:lnB w="12700" cap="flat" cmpd="sng" algn="ctr">
                      <a:solidFill>
                        <a:srgbClr val="879BAA"/>
                      </a:solidFill>
                      <a:prstDash val="solid"/>
                      <a:round/>
                      <a:headEnd type="none" w="med" len="med"/>
                      <a:tailEnd type="none" w="med" len="med"/>
                    </a:lnB>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dirty="0">
                        <a:solidFill>
                          <a:schemeClr val="tx1"/>
                        </a:solidFill>
                        <a:latin typeface="+mn-lt"/>
                        <a:ea typeface="Arial Unicode MS"/>
                      </a:endParaRPr>
                    </a:p>
                  </a:txBody>
                  <a:tcPr marL="108000" marR="108000" marT="72000" marB="72000" anchor="ctr">
                    <a:lnR w="1905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0007"/>
                  </a:ext>
                </a:extLst>
              </a:tr>
              <a:tr h="485747">
                <a:tc>
                  <a:txBody>
                    <a:bodyPr/>
                    <a:lstStyle/>
                    <a:p>
                      <a:endParaRPr lang="en-US" sz="1800" noProof="0" dirty="0"/>
                    </a:p>
                  </a:txBody>
                  <a:tcPr marL="107944"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grid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noProof="0" dirty="0">
                          <a:solidFill>
                            <a:srgbClr val="66667E"/>
                          </a:solidFill>
                        </a:rPr>
                        <a:t>Guest</a:t>
                      </a:r>
                    </a:p>
                  </a:txBody>
                  <a:tcPr marL="107944"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dirty="0">
                        <a:solidFill>
                          <a:srgbClr val="3C464B"/>
                        </a:solidFill>
                        <a:latin typeface="+mn-lt"/>
                        <a:ea typeface="Arial Unicode MS"/>
                      </a:endParaRPr>
                    </a:p>
                  </a:txBody>
                  <a:tcPr marL="108000" marR="108000" marT="72000" marB="72000" anchor="ctr">
                    <a:lnR w="12700" cmpd="sng">
                      <a:noFill/>
                    </a:lnR>
                    <a:lnT w="12700" cap="flat" cmpd="sng" algn="ctr">
                      <a:solidFill>
                        <a:srgbClr val="879BAA"/>
                      </a:solidFill>
                      <a:prstDash val="solid"/>
                      <a:round/>
                      <a:headEnd type="none" w="med" len="med"/>
                      <a:tailEnd type="none" w="med" len="med"/>
                    </a:lnT>
                    <a:lnB w="12700" cap="flat" cmpd="sng" algn="ctr">
                      <a:solidFill>
                        <a:srgbClr val="00646E"/>
                      </a:solidFill>
                      <a:prstDash val="solid"/>
                      <a:round/>
                      <a:headEnd type="none" w="med" len="med"/>
                      <a:tailEnd type="none" w="med" len="med"/>
                    </a:lnB>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dirty="0">
                        <a:solidFill>
                          <a:schemeClr val="tx1"/>
                        </a:solidFill>
                        <a:latin typeface="+mn-lt"/>
                        <a:ea typeface="Arial Unicode MS"/>
                      </a:endParaRPr>
                    </a:p>
                  </a:txBody>
                  <a:tcPr marL="108000" marR="108000" marT="72000" marB="72000" anchor="ctr">
                    <a:lnR w="1905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19050" cap="flat" cmpd="sng" algn="ctr">
                      <a:solidFill>
                        <a:srgbClr val="0F8287"/>
                      </a:solid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sp>
        <p:nvSpPr>
          <p:cNvPr id="5" name="Titel 4"/>
          <p:cNvSpPr>
            <a:spLocks noGrp="1"/>
          </p:cNvSpPr>
          <p:nvPr>
            <p:ph type="title"/>
          </p:nvPr>
        </p:nvSpPr>
        <p:spPr/>
        <p:txBody>
          <a:bodyPr/>
          <a:lstStyle/>
          <a:p>
            <a:r>
              <a:rPr lang="en-US" noProof="0" dirty="0"/>
              <a:t>Agenda</a:t>
            </a:r>
          </a:p>
        </p:txBody>
      </p:sp>
      <p:sp>
        <p:nvSpPr>
          <p:cNvPr id="11" name="Rechteck 10"/>
          <p:cNvSpPr/>
          <p:nvPr/>
        </p:nvSpPr>
        <p:spPr bwMode="gray">
          <a:xfrm>
            <a:off x="410400" y="1973558"/>
            <a:ext cx="341692" cy="341692"/>
          </a:xfrm>
          <a:prstGeom prst="rect">
            <a:avLst/>
          </a:prstGeom>
          <a:solidFill>
            <a:schemeClr val="accent1"/>
          </a:solidFill>
          <a:ln>
            <a:noFill/>
          </a:ln>
          <a:effectLst/>
        </p:spPr>
        <p:txBody>
          <a:bodyPr wrap="square" lIns="143925" tIns="71963" rIns="143925" bIns="71963" numCol="1" spcCol="72000" rtlCol="0" anchor="ctr">
            <a:noAutofit/>
          </a:bodyPr>
          <a:lstStyle/>
          <a:p>
            <a:pPr algn="ctr">
              <a:spcBef>
                <a:spcPct val="0"/>
              </a:spcBef>
              <a:buFont typeface="Wingdings" charset="0"/>
              <a:buNone/>
            </a:pPr>
            <a:r>
              <a:rPr lang="en-US" sz="1599" b="1" dirty="0">
                <a:solidFill>
                  <a:schemeClr val="bg1"/>
                </a:solidFill>
                <a:ea typeface="Arial Unicode MS"/>
                <a:sym typeface="Arial"/>
              </a:rPr>
              <a:t>1</a:t>
            </a:r>
          </a:p>
        </p:txBody>
      </p:sp>
      <p:sp>
        <p:nvSpPr>
          <p:cNvPr id="19" name="Rechteck 18"/>
          <p:cNvSpPr/>
          <p:nvPr/>
        </p:nvSpPr>
        <p:spPr bwMode="gray">
          <a:xfrm>
            <a:off x="410400" y="2459305"/>
            <a:ext cx="341692" cy="341692"/>
          </a:xfrm>
          <a:prstGeom prst="rect">
            <a:avLst/>
          </a:prstGeom>
          <a:solidFill>
            <a:schemeClr val="accent1"/>
          </a:solidFill>
          <a:ln>
            <a:noFill/>
          </a:ln>
          <a:effectLst/>
        </p:spPr>
        <p:txBody>
          <a:bodyPr wrap="square" lIns="143925" tIns="71963" rIns="143925" bIns="71963" numCol="1" spcCol="72000" rtlCol="0" anchor="ctr">
            <a:noAutofit/>
          </a:bodyPr>
          <a:lstStyle/>
          <a:p>
            <a:pPr algn="ctr">
              <a:spcBef>
                <a:spcPct val="0"/>
              </a:spcBef>
              <a:buFont typeface="Wingdings" charset="0"/>
              <a:buNone/>
            </a:pPr>
            <a:r>
              <a:rPr lang="en-US" sz="1599" b="1" dirty="0">
                <a:solidFill>
                  <a:schemeClr val="bg1"/>
                </a:solidFill>
                <a:ea typeface="Arial Unicode MS"/>
                <a:sym typeface="Arial"/>
              </a:rPr>
              <a:t>2</a:t>
            </a:r>
          </a:p>
        </p:txBody>
      </p:sp>
      <p:sp>
        <p:nvSpPr>
          <p:cNvPr id="26" name="Rechteck 25"/>
          <p:cNvSpPr/>
          <p:nvPr/>
        </p:nvSpPr>
        <p:spPr bwMode="gray">
          <a:xfrm>
            <a:off x="410400" y="2945052"/>
            <a:ext cx="341692" cy="341692"/>
          </a:xfrm>
          <a:prstGeom prst="rect">
            <a:avLst/>
          </a:prstGeom>
          <a:solidFill>
            <a:schemeClr val="accent1"/>
          </a:solidFill>
          <a:ln>
            <a:noFill/>
          </a:ln>
          <a:effectLst/>
        </p:spPr>
        <p:txBody>
          <a:bodyPr wrap="square" lIns="143925" tIns="71963" rIns="143925" bIns="71963" numCol="1" spcCol="72000" rtlCol="0" anchor="ctr">
            <a:noAutofit/>
          </a:bodyPr>
          <a:lstStyle/>
          <a:p>
            <a:pPr algn="ctr">
              <a:spcBef>
                <a:spcPct val="0"/>
              </a:spcBef>
              <a:buFont typeface="Wingdings" charset="0"/>
              <a:buNone/>
            </a:pPr>
            <a:r>
              <a:rPr lang="en-US" sz="1599" b="1" dirty="0">
                <a:solidFill>
                  <a:schemeClr val="bg1"/>
                </a:solidFill>
                <a:ea typeface="Arial Unicode MS"/>
                <a:sym typeface="Arial"/>
              </a:rPr>
              <a:t>3</a:t>
            </a:r>
          </a:p>
        </p:txBody>
      </p:sp>
      <p:sp>
        <p:nvSpPr>
          <p:cNvPr id="33" name="Rechteck 32"/>
          <p:cNvSpPr/>
          <p:nvPr/>
        </p:nvSpPr>
        <p:spPr bwMode="gray">
          <a:xfrm>
            <a:off x="410400" y="3430799"/>
            <a:ext cx="341692" cy="341692"/>
          </a:xfrm>
          <a:prstGeom prst="rect">
            <a:avLst/>
          </a:prstGeom>
          <a:solidFill>
            <a:schemeClr val="accent1"/>
          </a:solidFill>
          <a:ln>
            <a:noFill/>
          </a:ln>
          <a:effectLst/>
        </p:spPr>
        <p:txBody>
          <a:bodyPr wrap="square" lIns="143925" tIns="71963" rIns="143925" bIns="71963" numCol="1" spcCol="72000" rtlCol="0" anchor="ctr">
            <a:noAutofit/>
          </a:bodyPr>
          <a:lstStyle/>
          <a:p>
            <a:pPr algn="ctr">
              <a:spcBef>
                <a:spcPct val="0"/>
              </a:spcBef>
              <a:buFont typeface="Wingdings" charset="0"/>
              <a:buNone/>
            </a:pPr>
            <a:r>
              <a:rPr lang="en-US" sz="1599" b="1" dirty="0">
                <a:solidFill>
                  <a:schemeClr val="bg1"/>
                </a:solidFill>
                <a:ea typeface="Arial Unicode MS"/>
                <a:sym typeface="Arial"/>
              </a:rPr>
              <a:t>4</a:t>
            </a:r>
          </a:p>
        </p:txBody>
      </p:sp>
      <p:sp>
        <p:nvSpPr>
          <p:cNvPr id="40" name="Rechteck 39"/>
          <p:cNvSpPr/>
          <p:nvPr/>
        </p:nvSpPr>
        <p:spPr bwMode="gray">
          <a:xfrm>
            <a:off x="410400" y="3916546"/>
            <a:ext cx="341692" cy="341692"/>
          </a:xfrm>
          <a:prstGeom prst="rect">
            <a:avLst/>
          </a:prstGeom>
          <a:solidFill>
            <a:schemeClr val="accent1"/>
          </a:solidFill>
          <a:ln>
            <a:noFill/>
          </a:ln>
          <a:effectLst/>
        </p:spPr>
        <p:txBody>
          <a:bodyPr wrap="square" lIns="143925" tIns="71963" rIns="143925" bIns="71963" numCol="1" spcCol="72000" rtlCol="0" anchor="ctr">
            <a:noAutofit/>
          </a:bodyPr>
          <a:lstStyle/>
          <a:p>
            <a:pPr algn="ctr">
              <a:spcBef>
                <a:spcPct val="0"/>
              </a:spcBef>
              <a:buFont typeface="Wingdings" charset="0"/>
              <a:buNone/>
            </a:pPr>
            <a:r>
              <a:rPr lang="en-US" sz="1599" b="1" dirty="0">
                <a:solidFill>
                  <a:schemeClr val="bg1"/>
                </a:solidFill>
                <a:ea typeface="Arial Unicode MS"/>
                <a:sym typeface="Arial"/>
              </a:rPr>
              <a:t>5</a:t>
            </a:r>
          </a:p>
        </p:txBody>
      </p:sp>
      <p:sp>
        <p:nvSpPr>
          <p:cNvPr id="47" name="Ellipse 46"/>
          <p:cNvSpPr/>
          <p:nvPr/>
        </p:nvSpPr>
        <p:spPr bwMode="gray">
          <a:xfrm>
            <a:off x="410400" y="5373787"/>
            <a:ext cx="341692" cy="341692"/>
          </a:xfrm>
          <a:prstGeom prst="ellipse">
            <a:avLst/>
          </a:prstGeom>
          <a:solidFill>
            <a:srgbClr val="66667E"/>
          </a:solidFill>
          <a:ln>
            <a:noFill/>
          </a:ln>
          <a:effectLst/>
        </p:spPr>
        <p:txBody>
          <a:bodyPr wrap="square" lIns="143925" tIns="71963" rIns="143925" bIns="71963" numCol="1" spcCol="72000" rtlCol="0" anchor="ctr">
            <a:noAutofit/>
          </a:bodyPr>
          <a:lstStyle/>
          <a:p>
            <a:pPr algn="ctr">
              <a:spcBef>
                <a:spcPct val="0"/>
              </a:spcBef>
              <a:buFont typeface="Wingdings" charset="0"/>
              <a:buNone/>
            </a:pPr>
            <a:r>
              <a:rPr lang="en-US" sz="1599" b="1" dirty="0">
                <a:solidFill>
                  <a:schemeClr val="bg1"/>
                </a:solidFill>
                <a:ea typeface="Arial Unicode MS"/>
                <a:sym typeface="Arial"/>
              </a:rPr>
              <a:t>G</a:t>
            </a:r>
          </a:p>
        </p:txBody>
      </p:sp>
      <p:sp>
        <p:nvSpPr>
          <p:cNvPr id="13" name="Rechteck 12"/>
          <p:cNvSpPr/>
          <p:nvPr/>
        </p:nvSpPr>
        <p:spPr bwMode="gray">
          <a:xfrm>
            <a:off x="410400" y="4402293"/>
            <a:ext cx="341692" cy="341692"/>
          </a:xfrm>
          <a:prstGeom prst="rect">
            <a:avLst/>
          </a:prstGeom>
          <a:solidFill>
            <a:schemeClr val="accent1"/>
          </a:solidFill>
          <a:ln>
            <a:noFill/>
          </a:ln>
          <a:effectLst/>
        </p:spPr>
        <p:txBody>
          <a:bodyPr wrap="square" lIns="143925" tIns="71963" rIns="143925" bIns="71963" numCol="1" spcCol="72000" rtlCol="0" anchor="ctr">
            <a:noAutofit/>
          </a:bodyPr>
          <a:lstStyle/>
          <a:p>
            <a:pPr algn="ctr">
              <a:spcBef>
                <a:spcPct val="0"/>
              </a:spcBef>
              <a:buFont typeface="Wingdings" charset="0"/>
              <a:buNone/>
            </a:pPr>
            <a:r>
              <a:rPr lang="en-US" sz="1599" b="1" dirty="0">
                <a:solidFill>
                  <a:schemeClr val="bg1"/>
                </a:solidFill>
                <a:ea typeface="Arial Unicode MS"/>
                <a:sym typeface="Arial"/>
              </a:rPr>
              <a:t>6</a:t>
            </a:r>
          </a:p>
        </p:txBody>
      </p:sp>
      <p:sp>
        <p:nvSpPr>
          <p:cNvPr id="15" name="Ellipse 14"/>
          <p:cNvSpPr/>
          <p:nvPr/>
        </p:nvSpPr>
        <p:spPr bwMode="gray">
          <a:xfrm>
            <a:off x="410400" y="4888040"/>
            <a:ext cx="341692" cy="341692"/>
          </a:xfrm>
          <a:prstGeom prst="ellipse">
            <a:avLst/>
          </a:prstGeom>
          <a:solidFill>
            <a:srgbClr val="66667E"/>
          </a:solidFill>
          <a:ln>
            <a:noFill/>
          </a:ln>
          <a:effectLst/>
        </p:spPr>
        <p:txBody>
          <a:bodyPr wrap="square" lIns="143925" tIns="71963" rIns="143925" bIns="71963" numCol="1" spcCol="72000" rtlCol="0" anchor="ctr">
            <a:noAutofit/>
          </a:bodyPr>
          <a:lstStyle/>
          <a:p>
            <a:pPr algn="ctr">
              <a:spcBef>
                <a:spcPct val="0"/>
              </a:spcBef>
              <a:buFont typeface="Wingdings" charset="0"/>
              <a:buNone/>
            </a:pPr>
            <a:r>
              <a:rPr lang="en-US" sz="1599" b="1" dirty="0">
                <a:solidFill>
                  <a:schemeClr val="bg1"/>
                </a:solidFill>
                <a:ea typeface="Arial Unicode MS"/>
                <a:sym typeface="Arial"/>
              </a:rPr>
              <a:t>P</a:t>
            </a:r>
          </a:p>
        </p:txBody>
      </p:sp>
      <p:sp>
        <p:nvSpPr>
          <p:cNvPr id="2" name="Footer Placeholder 1">
            <a:extLst>
              <a:ext uri="{FF2B5EF4-FFF2-40B4-BE49-F238E27FC236}">
                <a16:creationId xmlns:a16="http://schemas.microsoft.com/office/drawing/2014/main" id="{0370ADA7-D1F3-4148-BE42-7C8D5DFB786A}"/>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3" name="Slide Number Placeholder 2">
            <a:extLst>
              <a:ext uri="{FF2B5EF4-FFF2-40B4-BE49-F238E27FC236}">
                <a16:creationId xmlns:a16="http://schemas.microsoft.com/office/drawing/2014/main" id="{5D4ACFD3-5D97-40F5-A627-D5A6A9653B81}"/>
              </a:ext>
            </a:extLst>
          </p:cNvPr>
          <p:cNvSpPr>
            <a:spLocks noGrp="1"/>
          </p:cNvSpPr>
          <p:nvPr>
            <p:ph type="sldNum" sz="quarter" idx="11"/>
          </p:nvPr>
        </p:nvSpPr>
        <p:spPr/>
        <p:txBody>
          <a:bodyPr/>
          <a:lstStyle/>
          <a:p>
            <a:r>
              <a:rPr lang="en-US" dirty="0"/>
              <a:t>Page </a:t>
            </a:r>
            <a:fld id="{15EBE321-CBB1-4E91-BD14-37C8D44326FB}" type="slidenum">
              <a:rPr lang="en-US" smtClean="0"/>
              <a:pPr/>
              <a:t>8</a:t>
            </a:fld>
            <a:endParaRPr lang="en-US" dirty="0"/>
          </a:p>
        </p:txBody>
      </p:sp>
    </p:spTree>
    <p:extLst>
      <p:ext uri="{BB962C8B-B14F-4D97-AF65-F5344CB8AC3E}">
        <p14:creationId xmlns:p14="http://schemas.microsoft.com/office/powerpoint/2010/main" val="156151242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10400" y="478800"/>
            <a:ext cx="9863997" cy="576000"/>
          </a:xfrm>
        </p:spPr>
        <p:txBody>
          <a:bodyPr/>
          <a:lstStyle/>
          <a:p>
            <a:r>
              <a:rPr lang="en-US" dirty="0"/>
              <a:t>Tree diagram (horizontal) – with further levels</a:t>
            </a:r>
          </a:p>
        </p:txBody>
      </p:sp>
      <p:sp>
        <p:nvSpPr>
          <p:cNvPr id="4" name="Rechteck 3"/>
          <p:cNvSpPr>
            <a:spLocks/>
          </p:cNvSpPr>
          <p:nvPr/>
        </p:nvSpPr>
        <p:spPr>
          <a:xfrm>
            <a:off x="410400" y="3250892"/>
            <a:ext cx="1439250" cy="899531"/>
          </a:xfrm>
          <a:prstGeom prst="rect">
            <a:avLst/>
          </a:prstGeom>
          <a:solidFill>
            <a:srgbClr val="00646E"/>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215888"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399" b="1" dirty="0">
                <a:solidFill>
                  <a:schemeClr val="bg1"/>
                </a:solidFill>
              </a:rPr>
              <a:t>At vero eos et accusam</a:t>
            </a:r>
          </a:p>
        </p:txBody>
      </p:sp>
      <p:cxnSp>
        <p:nvCxnSpPr>
          <p:cNvPr id="35" name="Elbow Connector 34"/>
          <p:cNvCxnSpPr>
            <a:stCxn id="84" idx="1"/>
            <a:endCxn id="4" idx="3"/>
          </p:cNvCxnSpPr>
          <p:nvPr/>
        </p:nvCxnSpPr>
        <p:spPr bwMode="auto">
          <a:xfrm rot="10800000" flipV="1">
            <a:off x="1849650" y="2477296"/>
            <a:ext cx="1008750" cy="1223362"/>
          </a:xfrm>
          <a:prstGeom prst="bentConnector3">
            <a:avLst>
              <a:gd name="adj1" fmla="val 50000"/>
            </a:avLst>
          </a:prstGeom>
          <a:solidFill>
            <a:schemeClr val="tx2"/>
          </a:solidFill>
          <a:ln w="12700" cap="flat" cmpd="sng" algn="ctr">
            <a:solidFill>
              <a:srgbClr val="66667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84" name="Rechteck 3"/>
          <p:cNvSpPr>
            <a:spLocks/>
          </p:cNvSpPr>
          <p:nvPr/>
        </p:nvSpPr>
        <p:spPr>
          <a:xfrm>
            <a:off x="2858400" y="2027530"/>
            <a:ext cx="1439250" cy="899531"/>
          </a:xfrm>
          <a:prstGeom prst="rect">
            <a:avLst/>
          </a:prstGeom>
          <a:solidFill>
            <a:srgbClr val="00AF8E"/>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215888"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399" b="1" dirty="0">
                <a:solidFill>
                  <a:schemeClr val="tx2"/>
                </a:solidFill>
              </a:rPr>
              <a:t>Phasellus nec sem</a:t>
            </a:r>
          </a:p>
        </p:txBody>
      </p:sp>
      <p:sp>
        <p:nvSpPr>
          <p:cNvPr id="86" name="Rechteck 3"/>
          <p:cNvSpPr>
            <a:spLocks/>
          </p:cNvSpPr>
          <p:nvPr/>
        </p:nvSpPr>
        <p:spPr>
          <a:xfrm>
            <a:off x="2858400" y="4474254"/>
            <a:ext cx="1439250" cy="899531"/>
          </a:xfrm>
          <a:prstGeom prst="rect">
            <a:avLst/>
          </a:prstGeom>
          <a:solidFill>
            <a:srgbClr val="00AF8E"/>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215888"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399" b="1" dirty="0">
                <a:solidFill>
                  <a:schemeClr val="tx2"/>
                </a:solidFill>
              </a:rPr>
              <a:t>Duis arcu tortor</a:t>
            </a:r>
          </a:p>
        </p:txBody>
      </p:sp>
      <p:cxnSp>
        <p:nvCxnSpPr>
          <p:cNvPr id="87" name="Elbow Connector 86"/>
          <p:cNvCxnSpPr>
            <a:stCxn id="86" idx="1"/>
            <a:endCxn id="4" idx="3"/>
          </p:cNvCxnSpPr>
          <p:nvPr/>
        </p:nvCxnSpPr>
        <p:spPr bwMode="auto">
          <a:xfrm rot="10800000">
            <a:off x="1849650" y="3700658"/>
            <a:ext cx="1008750" cy="1223362"/>
          </a:xfrm>
          <a:prstGeom prst="bentConnector3">
            <a:avLst>
              <a:gd name="adj1" fmla="val 50000"/>
            </a:avLst>
          </a:prstGeom>
          <a:solidFill>
            <a:schemeClr val="tx2"/>
          </a:solidFill>
          <a:ln w="12700" cap="flat" cmpd="sng" algn="ctr">
            <a:solidFill>
              <a:srgbClr val="66667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97" name="Rechteck 3"/>
          <p:cNvSpPr>
            <a:spLocks/>
          </p:cNvSpPr>
          <p:nvPr/>
        </p:nvSpPr>
        <p:spPr>
          <a:xfrm>
            <a:off x="5198400" y="1415849"/>
            <a:ext cx="1439250" cy="899531"/>
          </a:xfrm>
          <a:prstGeom prst="rect">
            <a:avLst/>
          </a:prstGeom>
          <a:solidFill>
            <a:srgbClr val="00FFB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215888"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399" b="1" dirty="0">
                <a:solidFill>
                  <a:schemeClr val="tx2"/>
                </a:solidFill>
              </a:rPr>
              <a:t>Maecenas nec odio</a:t>
            </a:r>
          </a:p>
        </p:txBody>
      </p:sp>
      <p:sp>
        <p:nvSpPr>
          <p:cNvPr id="98" name="Rechteck 3"/>
          <p:cNvSpPr>
            <a:spLocks/>
          </p:cNvSpPr>
          <p:nvPr/>
        </p:nvSpPr>
        <p:spPr>
          <a:xfrm>
            <a:off x="5198400" y="2639211"/>
            <a:ext cx="1439250" cy="899531"/>
          </a:xfrm>
          <a:prstGeom prst="rect">
            <a:avLst/>
          </a:prstGeom>
          <a:solidFill>
            <a:srgbClr val="00FFB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215888"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399" b="1" dirty="0">
                <a:solidFill>
                  <a:schemeClr val="tx2"/>
                </a:solidFill>
              </a:rPr>
              <a:t>Duis arcu tortor</a:t>
            </a:r>
          </a:p>
        </p:txBody>
      </p:sp>
      <p:sp>
        <p:nvSpPr>
          <p:cNvPr id="99" name="Text Box 3"/>
          <p:cNvSpPr txBox="1">
            <a:spLocks noChangeArrowheads="1"/>
          </p:cNvSpPr>
          <p:nvPr>
            <p:custDataLst>
              <p:tags r:id="rId1"/>
            </p:custDataLst>
          </p:nvPr>
        </p:nvSpPr>
        <p:spPr bwMode="auto">
          <a:xfrm>
            <a:off x="7538400" y="1415848"/>
            <a:ext cx="4248000" cy="359813"/>
          </a:xfrm>
          <a:prstGeom prst="rect">
            <a:avLst/>
          </a:prstGeom>
          <a:noFill/>
          <a:ln w="12700">
            <a:noFill/>
          </a:ln>
          <a:effectLst/>
        </p:spPr>
        <p:txBody>
          <a:bodyPr lIns="144000" tIns="0" rIns="0" bIns="0" anchor="ctr">
            <a:normAutofit/>
          </a:bodyPr>
          <a:lstStyle>
            <a:defPPr>
              <a:defRPr lang="en-US"/>
            </a:defPPr>
            <a:lvl1pPr marL="180000" indent="-180000" defTabSz="913943">
              <a:spcBef>
                <a:spcPts val="300"/>
              </a:spcBef>
              <a:buClr>
                <a:schemeClr val="accent1"/>
              </a:buClr>
              <a:buSzPct val="100000"/>
              <a:buFont typeface="Arial" pitchFamily="34" charset="0"/>
              <a:buChar char="•"/>
              <a:defRPr sz="1399">
                <a:latin typeface="Arial" charset="0"/>
              </a:defRPr>
            </a:lvl1pPr>
            <a:lvl2pPr marL="742950" indent="-285750" defTabSz="762000" eaLnBrk="0" hangingPunct="0">
              <a:defRPr sz="2000">
                <a:latin typeface="Arial" charset="0"/>
              </a:defRPr>
            </a:lvl2pPr>
            <a:lvl3pPr marL="1143000" indent="-228600" defTabSz="762000" eaLnBrk="0" hangingPunct="0">
              <a:defRPr sz="2000">
                <a:latin typeface="Arial" charset="0"/>
              </a:defRPr>
            </a:lvl3pPr>
            <a:lvl4pPr marL="1600200" indent="-228600" defTabSz="762000" eaLnBrk="0" hangingPunct="0">
              <a:defRPr sz="2000">
                <a:latin typeface="Arial" charset="0"/>
              </a:defRPr>
            </a:lvl4pPr>
            <a:lvl5pPr marL="2057400" indent="-228600" defTabSz="762000" eaLnBrk="0" hangingPunct="0">
              <a:defRPr sz="2000">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latin typeface="Arial" charset="0"/>
              </a:defRPr>
            </a:lvl9pPr>
          </a:lstStyle>
          <a:p>
            <a:r>
              <a:rPr lang="en-US" dirty="0">
                <a:solidFill>
                  <a:srgbClr val="66667E"/>
                </a:solidFill>
                <a:latin typeface="+mn-lt"/>
              </a:rPr>
              <a:t>Phasellus nec sem</a:t>
            </a:r>
          </a:p>
        </p:txBody>
      </p:sp>
      <p:sp>
        <p:nvSpPr>
          <p:cNvPr id="101" name="Text Box 3"/>
          <p:cNvSpPr txBox="1">
            <a:spLocks noChangeArrowheads="1"/>
          </p:cNvSpPr>
          <p:nvPr>
            <p:custDataLst>
              <p:tags r:id="rId2"/>
            </p:custDataLst>
          </p:nvPr>
        </p:nvSpPr>
        <p:spPr bwMode="auto">
          <a:xfrm>
            <a:off x="7538400" y="5085937"/>
            <a:ext cx="4248000" cy="899531"/>
          </a:xfrm>
          <a:prstGeom prst="rect">
            <a:avLst/>
          </a:prstGeom>
          <a:noFill/>
          <a:ln w="12700">
            <a:noFill/>
          </a:ln>
          <a:effectLst/>
        </p:spPr>
        <p:txBody>
          <a:bodyPr lIns="144000" tIns="0" rIns="0" bIns="0" anchor="ctr">
            <a:normAutofit/>
          </a:bodyPr>
          <a:lstStyle>
            <a:defPPr>
              <a:defRPr lang="en-US"/>
            </a:defPPr>
            <a:lvl1pPr marL="180000" indent="-180000" defTabSz="913943">
              <a:spcBef>
                <a:spcPts val="300"/>
              </a:spcBef>
              <a:buClr>
                <a:schemeClr val="accent1"/>
              </a:buClr>
              <a:buSzPct val="100000"/>
              <a:buFont typeface="Arial" pitchFamily="34" charset="0"/>
              <a:buChar char="•"/>
              <a:defRPr sz="1399">
                <a:latin typeface="Arial" charset="0"/>
              </a:defRPr>
            </a:lvl1pPr>
            <a:lvl2pPr marL="742950" indent="-285750" defTabSz="762000" eaLnBrk="0" hangingPunct="0">
              <a:defRPr sz="2000">
                <a:latin typeface="Arial" charset="0"/>
              </a:defRPr>
            </a:lvl2pPr>
            <a:lvl3pPr marL="1143000" indent="-228600" defTabSz="762000" eaLnBrk="0" hangingPunct="0">
              <a:defRPr sz="2000">
                <a:latin typeface="Arial" charset="0"/>
              </a:defRPr>
            </a:lvl3pPr>
            <a:lvl4pPr marL="1600200" indent="-228600" defTabSz="762000" eaLnBrk="0" hangingPunct="0">
              <a:defRPr sz="2000">
                <a:latin typeface="Arial" charset="0"/>
              </a:defRPr>
            </a:lvl4pPr>
            <a:lvl5pPr marL="2057400" indent="-228600" defTabSz="762000" eaLnBrk="0" hangingPunct="0">
              <a:defRPr sz="2000">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latin typeface="Arial" charset="0"/>
              </a:defRPr>
            </a:lvl9pPr>
          </a:lstStyle>
          <a:p>
            <a:r>
              <a:rPr lang="en-US" dirty="0">
                <a:solidFill>
                  <a:srgbClr val="66667E"/>
                </a:solidFill>
                <a:latin typeface="+mn-lt"/>
              </a:rPr>
              <a:t>Consetetur sadipscing elitr, seddiam nonumy</a:t>
            </a:r>
          </a:p>
        </p:txBody>
      </p:sp>
      <p:sp>
        <p:nvSpPr>
          <p:cNvPr id="102" name="Text Box 3"/>
          <p:cNvSpPr txBox="1">
            <a:spLocks noChangeArrowheads="1"/>
          </p:cNvSpPr>
          <p:nvPr>
            <p:custDataLst>
              <p:tags r:id="rId3"/>
            </p:custDataLst>
          </p:nvPr>
        </p:nvSpPr>
        <p:spPr bwMode="auto">
          <a:xfrm>
            <a:off x="7538400" y="2639212"/>
            <a:ext cx="4248000" cy="899531"/>
          </a:xfrm>
          <a:prstGeom prst="rect">
            <a:avLst/>
          </a:prstGeom>
          <a:noFill/>
          <a:ln w="12700">
            <a:noFill/>
          </a:ln>
          <a:effectLst/>
        </p:spPr>
        <p:txBody>
          <a:bodyPr lIns="144000" tIns="0" rIns="0" bIns="0" anchor="ctr">
            <a:normAutofit/>
          </a:bodyPr>
          <a:lstStyle>
            <a:defPPr>
              <a:defRPr lang="en-US"/>
            </a:defPPr>
            <a:lvl1pPr marL="180000" indent="-180000" defTabSz="913943">
              <a:spcBef>
                <a:spcPts val="300"/>
              </a:spcBef>
              <a:buClr>
                <a:schemeClr val="accent1"/>
              </a:buClr>
              <a:buSzPct val="100000"/>
              <a:buFont typeface="Arial" pitchFamily="34" charset="0"/>
              <a:buChar char="•"/>
              <a:defRPr sz="1399">
                <a:latin typeface="Arial" charset="0"/>
              </a:defRPr>
            </a:lvl1pPr>
            <a:lvl2pPr marL="742950" indent="-285750" defTabSz="762000" eaLnBrk="0" hangingPunct="0">
              <a:defRPr sz="2000">
                <a:latin typeface="Arial" charset="0"/>
              </a:defRPr>
            </a:lvl2pPr>
            <a:lvl3pPr marL="1143000" indent="-228600" defTabSz="762000" eaLnBrk="0" hangingPunct="0">
              <a:defRPr sz="2000">
                <a:latin typeface="Arial" charset="0"/>
              </a:defRPr>
            </a:lvl3pPr>
            <a:lvl4pPr marL="1600200" indent="-228600" defTabSz="762000" eaLnBrk="0" hangingPunct="0">
              <a:defRPr sz="2000">
                <a:latin typeface="Arial" charset="0"/>
              </a:defRPr>
            </a:lvl4pPr>
            <a:lvl5pPr marL="2057400" indent="-228600" defTabSz="762000" eaLnBrk="0" hangingPunct="0">
              <a:defRPr sz="2000">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latin typeface="Arial" charset="0"/>
              </a:defRPr>
            </a:lvl9pPr>
          </a:lstStyle>
          <a:p>
            <a:r>
              <a:rPr lang="en-US" dirty="0">
                <a:solidFill>
                  <a:srgbClr val="66667E"/>
                </a:solidFill>
                <a:latin typeface="+mn-lt"/>
              </a:rPr>
              <a:t>Phasellus nec sem</a:t>
            </a:r>
          </a:p>
        </p:txBody>
      </p:sp>
      <p:sp>
        <p:nvSpPr>
          <p:cNvPr id="114" name="Text Box 3"/>
          <p:cNvSpPr txBox="1">
            <a:spLocks noChangeArrowheads="1"/>
          </p:cNvSpPr>
          <p:nvPr>
            <p:custDataLst>
              <p:tags r:id="rId4"/>
            </p:custDataLst>
          </p:nvPr>
        </p:nvSpPr>
        <p:spPr bwMode="auto">
          <a:xfrm>
            <a:off x="7538400" y="3845151"/>
            <a:ext cx="4248000" cy="359813"/>
          </a:xfrm>
          <a:prstGeom prst="rect">
            <a:avLst/>
          </a:prstGeom>
          <a:noFill/>
          <a:ln w="12700">
            <a:noFill/>
          </a:ln>
          <a:effectLst/>
        </p:spPr>
        <p:txBody>
          <a:bodyPr lIns="144000" tIns="0" rIns="0" bIns="0" anchor="ctr">
            <a:normAutofit/>
          </a:bodyPr>
          <a:lstStyle>
            <a:defPPr>
              <a:defRPr lang="en-US"/>
            </a:defPPr>
            <a:lvl1pPr marL="180000" indent="-180000" defTabSz="913943">
              <a:spcBef>
                <a:spcPts val="300"/>
              </a:spcBef>
              <a:buClr>
                <a:schemeClr val="accent1"/>
              </a:buClr>
              <a:buSzPct val="100000"/>
              <a:buFont typeface="Arial" pitchFamily="34" charset="0"/>
              <a:buChar char="•"/>
              <a:defRPr sz="1399">
                <a:latin typeface="Arial" charset="0"/>
              </a:defRPr>
            </a:lvl1pPr>
            <a:lvl2pPr marL="742950" indent="-285750" defTabSz="762000" eaLnBrk="0" hangingPunct="0">
              <a:defRPr sz="2000">
                <a:latin typeface="Arial" charset="0"/>
              </a:defRPr>
            </a:lvl2pPr>
            <a:lvl3pPr marL="1143000" indent="-228600" defTabSz="762000" eaLnBrk="0" hangingPunct="0">
              <a:defRPr sz="2000">
                <a:latin typeface="Arial" charset="0"/>
              </a:defRPr>
            </a:lvl3pPr>
            <a:lvl4pPr marL="1600200" indent="-228600" defTabSz="762000" eaLnBrk="0" hangingPunct="0">
              <a:defRPr sz="2000">
                <a:latin typeface="Arial" charset="0"/>
              </a:defRPr>
            </a:lvl4pPr>
            <a:lvl5pPr marL="2057400" indent="-228600" defTabSz="762000" eaLnBrk="0" hangingPunct="0">
              <a:defRPr sz="2000">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latin typeface="Arial" charset="0"/>
              </a:defRPr>
            </a:lvl9pPr>
          </a:lstStyle>
          <a:p>
            <a:r>
              <a:rPr lang="en-US" dirty="0">
                <a:solidFill>
                  <a:srgbClr val="66667E"/>
                </a:solidFill>
                <a:latin typeface="+mn-lt"/>
              </a:rPr>
              <a:t>At vero eos et accusam</a:t>
            </a:r>
          </a:p>
        </p:txBody>
      </p:sp>
      <p:sp>
        <p:nvSpPr>
          <p:cNvPr id="115" name="Rechteck 3"/>
          <p:cNvSpPr>
            <a:spLocks/>
          </p:cNvSpPr>
          <p:nvPr/>
        </p:nvSpPr>
        <p:spPr>
          <a:xfrm>
            <a:off x="5198400" y="3862573"/>
            <a:ext cx="1439250" cy="899531"/>
          </a:xfrm>
          <a:prstGeom prst="rect">
            <a:avLst/>
          </a:prstGeom>
          <a:solidFill>
            <a:srgbClr val="00FFB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215888"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399" b="1" dirty="0">
                <a:solidFill>
                  <a:schemeClr val="tx2"/>
                </a:solidFill>
              </a:rPr>
              <a:t>Sodales magna</a:t>
            </a:r>
          </a:p>
        </p:txBody>
      </p:sp>
      <p:sp>
        <p:nvSpPr>
          <p:cNvPr id="117" name="Rechteck 3"/>
          <p:cNvSpPr>
            <a:spLocks/>
          </p:cNvSpPr>
          <p:nvPr/>
        </p:nvSpPr>
        <p:spPr>
          <a:xfrm>
            <a:off x="5198400" y="5085937"/>
            <a:ext cx="1439250" cy="899531"/>
          </a:xfrm>
          <a:prstGeom prst="rect">
            <a:avLst/>
          </a:prstGeom>
          <a:solidFill>
            <a:srgbClr val="00FFB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215888"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399" b="1" dirty="0">
                <a:solidFill>
                  <a:schemeClr val="tx2"/>
                </a:solidFill>
              </a:rPr>
              <a:t>At vero eos et accusam</a:t>
            </a:r>
          </a:p>
        </p:txBody>
      </p:sp>
      <p:cxnSp>
        <p:nvCxnSpPr>
          <p:cNvPr id="48" name="Elbow Connector 47"/>
          <p:cNvCxnSpPr>
            <a:stCxn id="84" idx="3"/>
            <a:endCxn id="97" idx="1"/>
          </p:cNvCxnSpPr>
          <p:nvPr/>
        </p:nvCxnSpPr>
        <p:spPr bwMode="auto">
          <a:xfrm flipV="1">
            <a:off x="4297650" y="1865615"/>
            <a:ext cx="900750" cy="611681"/>
          </a:xfrm>
          <a:prstGeom prst="bentConnector3">
            <a:avLst>
              <a:gd name="adj1" fmla="val 50000"/>
            </a:avLst>
          </a:prstGeom>
          <a:solidFill>
            <a:schemeClr val="tx2"/>
          </a:solidFill>
          <a:ln w="12700" cap="flat" cmpd="sng" algn="ctr">
            <a:solidFill>
              <a:srgbClr val="66667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Elbow Connector 57"/>
          <p:cNvCxnSpPr>
            <a:stCxn id="84" idx="3"/>
            <a:endCxn id="98" idx="1"/>
          </p:cNvCxnSpPr>
          <p:nvPr/>
        </p:nvCxnSpPr>
        <p:spPr bwMode="auto">
          <a:xfrm>
            <a:off x="4297650" y="2477296"/>
            <a:ext cx="900750" cy="611681"/>
          </a:xfrm>
          <a:prstGeom prst="bentConnector3">
            <a:avLst>
              <a:gd name="adj1" fmla="val 50000"/>
            </a:avLst>
          </a:prstGeom>
          <a:solidFill>
            <a:schemeClr val="tx2"/>
          </a:solidFill>
          <a:ln w="12700" cap="flat" cmpd="sng" algn="ctr">
            <a:solidFill>
              <a:srgbClr val="66667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Elbow Connector 67"/>
          <p:cNvCxnSpPr>
            <a:stCxn id="86" idx="3"/>
            <a:endCxn id="115" idx="1"/>
          </p:cNvCxnSpPr>
          <p:nvPr/>
        </p:nvCxnSpPr>
        <p:spPr bwMode="auto">
          <a:xfrm flipV="1">
            <a:off x="4297650" y="4312339"/>
            <a:ext cx="900750" cy="611681"/>
          </a:xfrm>
          <a:prstGeom prst="bentConnector3">
            <a:avLst>
              <a:gd name="adj1" fmla="val 50000"/>
            </a:avLst>
          </a:prstGeom>
          <a:solidFill>
            <a:schemeClr val="tx2"/>
          </a:solidFill>
          <a:ln w="12700" cap="flat" cmpd="sng" algn="ctr">
            <a:solidFill>
              <a:srgbClr val="66667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Elbow Connector 69"/>
          <p:cNvCxnSpPr>
            <a:stCxn id="86" idx="3"/>
            <a:endCxn id="117" idx="1"/>
          </p:cNvCxnSpPr>
          <p:nvPr/>
        </p:nvCxnSpPr>
        <p:spPr bwMode="auto">
          <a:xfrm>
            <a:off x="4297650" y="4924020"/>
            <a:ext cx="900750" cy="611683"/>
          </a:xfrm>
          <a:prstGeom prst="bentConnector3">
            <a:avLst>
              <a:gd name="adj1" fmla="val 50000"/>
            </a:avLst>
          </a:prstGeom>
          <a:solidFill>
            <a:schemeClr val="tx2"/>
          </a:solidFill>
          <a:ln w="12700" cap="flat" cmpd="sng" algn="ctr">
            <a:solidFill>
              <a:srgbClr val="66667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6" name="Text Box 3"/>
          <p:cNvSpPr txBox="1">
            <a:spLocks noChangeArrowheads="1"/>
          </p:cNvSpPr>
          <p:nvPr>
            <p:custDataLst>
              <p:tags r:id="rId5"/>
            </p:custDataLst>
          </p:nvPr>
        </p:nvSpPr>
        <p:spPr bwMode="auto">
          <a:xfrm>
            <a:off x="7538400" y="1955567"/>
            <a:ext cx="4248000" cy="359813"/>
          </a:xfrm>
          <a:prstGeom prst="rect">
            <a:avLst/>
          </a:prstGeom>
          <a:noFill/>
          <a:ln w="12700">
            <a:noFill/>
          </a:ln>
          <a:effectLst/>
        </p:spPr>
        <p:txBody>
          <a:bodyPr lIns="144000" tIns="0" rIns="0" bIns="0" anchor="ctr">
            <a:normAutofit/>
          </a:bodyPr>
          <a:lstStyle>
            <a:defPPr>
              <a:defRPr lang="en-US"/>
            </a:defPPr>
            <a:lvl1pPr marL="180000" indent="-180000" defTabSz="913943">
              <a:spcBef>
                <a:spcPts val="300"/>
              </a:spcBef>
              <a:buClr>
                <a:schemeClr val="accent1"/>
              </a:buClr>
              <a:buSzPct val="100000"/>
              <a:buFont typeface="Arial" pitchFamily="34" charset="0"/>
              <a:buChar char="•"/>
              <a:defRPr sz="1399">
                <a:latin typeface="Arial" charset="0"/>
              </a:defRPr>
            </a:lvl1pPr>
            <a:lvl2pPr marL="742950" indent="-285750" defTabSz="762000" eaLnBrk="0" hangingPunct="0">
              <a:defRPr sz="2000">
                <a:latin typeface="Arial" charset="0"/>
              </a:defRPr>
            </a:lvl2pPr>
            <a:lvl3pPr marL="1143000" indent="-228600" defTabSz="762000" eaLnBrk="0" hangingPunct="0">
              <a:defRPr sz="2000">
                <a:latin typeface="Arial" charset="0"/>
              </a:defRPr>
            </a:lvl3pPr>
            <a:lvl4pPr marL="1600200" indent="-228600" defTabSz="762000" eaLnBrk="0" hangingPunct="0">
              <a:defRPr sz="2000">
                <a:latin typeface="Arial" charset="0"/>
              </a:defRPr>
            </a:lvl4pPr>
            <a:lvl5pPr marL="2057400" indent="-228600" defTabSz="762000" eaLnBrk="0" hangingPunct="0">
              <a:defRPr sz="2000">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latin typeface="Arial" charset="0"/>
              </a:defRPr>
            </a:lvl9pPr>
          </a:lstStyle>
          <a:p>
            <a:r>
              <a:rPr lang="en-US" dirty="0">
                <a:solidFill>
                  <a:srgbClr val="66667E"/>
                </a:solidFill>
                <a:latin typeface="+mn-lt"/>
              </a:rPr>
              <a:t>Consetetur sadipscing elitr, seddiam nonumy</a:t>
            </a:r>
          </a:p>
        </p:txBody>
      </p:sp>
      <p:sp>
        <p:nvSpPr>
          <p:cNvPr id="27" name="Text Box 3"/>
          <p:cNvSpPr txBox="1">
            <a:spLocks noChangeArrowheads="1"/>
          </p:cNvSpPr>
          <p:nvPr>
            <p:custDataLst>
              <p:tags r:id="rId6"/>
            </p:custDataLst>
          </p:nvPr>
        </p:nvSpPr>
        <p:spPr bwMode="auto">
          <a:xfrm>
            <a:off x="7538400" y="4332526"/>
            <a:ext cx="4248000" cy="359813"/>
          </a:xfrm>
          <a:prstGeom prst="rect">
            <a:avLst/>
          </a:prstGeom>
          <a:noFill/>
          <a:ln w="12700">
            <a:noFill/>
          </a:ln>
          <a:effectLst/>
        </p:spPr>
        <p:txBody>
          <a:bodyPr lIns="144000" tIns="0" rIns="0" bIns="0" anchor="ctr">
            <a:normAutofit/>
          </a:bodyPr>
          <a:lstStyle>
            <a:defPPr>
              <a:defRPr lang="en-US"/>
            </a:defPPr>
            <a:lvl1pPr marL="180000" indent="-180000" defTabSz="913943">
              <a:spcBef>
                <a:spcPts val="300"/>
              </a:spcBef>
              <a:buClr>
                <a:schemeClr val="accent1"/>
              </a:buClr>
              <a:buSzPct val="100000"/>
              <a:buFont typeface="Arial" pitchFamily="34" charset="0"/>
              <a:buChar char="•"/>
              <a:defRPr sz="1399">
                <a:latin typeface="Arial" charset="0"/>
              </a:defRPr>
            </a:lvl1pPr>
            <a:lvl2pPr marL="742950" indent="-285750" defTabSz="762000" eaLnBrk="0" hangingPunct="0">
              <a:defRPr sz="2000">
                <a:latin typeface="Arial" charset="0"/>
              </a:defRPr>
            </a:lvl2pPr>
            <a:lvl3pPr marL="1143000" indent="-228600" defTabSz="762000" eaLnBrk="0" hangingPunct="0">
              <a:defRPr sz="2000">
                <a:latin typeface="Arial" charset="0"/>
              </a:defRPr>
            </a:lvl3pPr>
            <a:lvl4pPr marL="1600200" indent="-228600" defTabSz="762000" eaLnBrk="0" hangingPunct="0">
              <a:defRPr sz="2000">
                <a:latin typeface="Arial" charset="0"/>
              </a:defRPr>
            </a:lvl4pPr>
            <a:lvl5pPr marL="2057400" indent="-228600" defTabSz="762000" eaLnBrk="0" hangingPunct="0">
              <a:defRPr sz="2000">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latin typeface="Arial" charset="0"/>
              </a:defRPr>
            </a:lvl9pPr>
          </a:lstStyle>
          <a:p>
            <a:r>
              <a:rPr lang="en-US" dirty="0">
                <a:solidFill>
                  <a:srgbClr val="66667E"/>
                </a:solidFill>
                <a:latin typeface="+mn-lt"/>
              </a:rPr>
              <a:t>Duis arcu tortor</a:t>
            </a:r>
          </a:p>
        </p:txBody>
      </p:sp>
      <p:cxnSp>
        <p:nvCxnSpPr>
          <p:cNvPr id="11" name="Elbow Connector 10"/>
          <p:cNvCxnSpPr>
            <a:cxnSpLocks/>
            <a:stCxn id="97" idx="3"/>
            <a:endCxn id="99" idx="1"/>
          </p:cNvCxnSpPr>
          <p:nvPr/>
        </p:nvCxnSpPr>
        <p:spPr bwMode="auto">
          <a:xfrm flipV="1">
            <a:off x="6637650" y="1595755"/>
            <a:ext cx="900750" cy="269860"/>
          </a:xfrm>
          <a:prstGeom prst="bentConnector3">
            <a:avLst>
              <a:gd name="adj1" fmla="val 50000"/>
            </a:avLst>
          </a:prstGeom>
          <a:solidFill>
            <a:schemeClr val="tx2"/>
          </a:solidFill>
          <a:ln w="12700" cap="flat" cmpd="sng" algn="ctr">
            <a:solidFill>
              <a:srgbClr val="66667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Elbow Connector 13"/>
          <p:cNvCxnSpPr>
            <a:stCxn id="97" idx="3"/>
            <a:endCxn id="26" idx="1"/>
          </p:cNvCxnSpPr>
          <p:nvPr/>
        </p:nvCxnSpPr>
        <p:spPr bwMode="auto">
          <a:xfrm>
            <a:off x="6637650" y="1865615"/>
            <a:ext cx="900750" cy="269859"/>
          </a:xfrm>
          <a:prstGeom prst="bentConnector3">
            <a:avLst>
              <a:gd name="adj1" fmla="val 50000"/>
            </a:avLst>
          </a:prstGeom>
          <a:solidFill>
            <a:schemeClr val="tx2"/>
          </a:solidFill>
          <a:ln w="12700" cap="flat" cmpd="sng" algn="ctr">
            <a:solidFill>
              <a:srgbClr val="66667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 name="Elbow Connector 15"/>
          <p:cNvCxnSpPr>
            <a:stCxn id="115" idx="3"/>
            <a:endCxn id="114" idx="1"/>
          </p:cNvCxnSpPr>
          <p:nvPr/>
        </p:nvCxnSpPr>
        <p:spPr bwMode="auto">
          <a:xfrm flipV="1">
            <a:off x="6637650" y="4025058"/>
            <a:ext cx="900750" cy="287281"/>
          </a:xfrm>
          <a:prstGeom prst="bentConnector3">
            <a:avLst>
              <a:gd name="adj1" fmla="val 50000"/>
            </a:avLst>
          </a:prstGeom>
          <a:solidFill>
            <a:schemeClr val="tx2"/>
          </a:solidFill>
          <a:ln w="12700" cap="flat" cmpd="sng" algn="ctr">
            <a:solidFill>
              <a:srgbClr val="66667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 name="Elbow Connector 17"/>
          <p:cNvCxnSpPr>
            <a:stCxn id="115" idx="3"/>
            <a:endCxn id="27" idx="1"/>
          </p:cNvCxnSpPr>
          <p:nvPr/>
        </p:nvCxnSpPr>
        <p:spPr bwMode="auto">
          <a:xfrm>
            <a:off x="6637650" y="4312339"/>
            <a:ext cx="900750" cy="200094"/>
          </a:xfrm>
          <a:prstGeom prst="bentConnector3">
            <a:avLst>
              <a:gd name="adj1" fmla="val 50000"/>
            </a:avLst>
          </a:prstGeom>
          <a:solidFill>
            <a:schemeClr val="tx2"/>
          </a:solidFill>
          <a:ln w="12700" cap="flat" cmpd="sng" algn="ctr">
            <a:solidFill>
              <a:srgbClr val="66667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Straight Connector 19"/>
          <p:cNvCxnSpPr>
            <a:stCxn id="98" idx="3"/>
            <a:endCxn id="102" idx="1"/>
          </p:cNvCxnSpPr>
          <p:nvPr/>
        </p:nvCxnSpPr>
        <p:spPr bwMode="auto">
          <a:xfrm>
            <a:off x="6637650" y="3088977"/>
            <a:ext cx="900750" cy="1"/>
          </a:xfrm>
          <a:prstGeom prst="line">
            <a:avLst/>
          </a:prstGeom>
          <a:solidFill>
            <a:schemeClr val="tx2"/>
          </a:solidFill>
          <a:ln w="12700" cap="flat" cmpd="sng" algn="ctr">
            <a:solidFill>
              <a:srgbClr val="66667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Straight Connector 21"/>
          <p:cNvCxnSpPr>
            <a:stCxn id="117" idx="3"/>
            <a:endCxn id="101" idx="1"/>
          </p:cNvCxnSpPr>
          <p:nvPr/>
        </p:nvCxnSpPr>
        <p:spPr bwMode="auto">
          <a:xfrm>
            <a:off x="6637650" y="5535703"/>
            <a:ext cx="900750" cy="0"/>
          </a:xfrm>
          <a:prstGeom prst="line">
            <a:avLst/>
          </a:prstGeom>
          <a:solidFill>
            <a:schemeClr val="tx2"/>
          </a:solidFill>
          <a:ln w="12700" cap="flat" cmpd="sng" algn="ctr">
            <a:solidFill>
              <a:srgbClr val="66667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 name="Footer Placeholder 2">
            <a:extLst>
              <a:ext uri="{FF2B5EF4-FFF2-40B4-BE49-F238E27FC236}">
                <a16:creationId xmlns:a16="http://schemas.microsoft.com/office/drawing/2014/main" id="{369CFEFC-2E34-4592-BF25-87A582767239}"/>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5" name="Slide Number Placeholder 4">
            <a:extLst>
              <a:ext uri="{FF2B5EF4-FFF2-40B4-BE49-F238E27FC236}">
                <a16:creationId xmlns:a16="http://schemas.microsoft.com/office/drawing/2014/main" id="{A60FCE82-FFDB-4AE1-9821-893BD244A13C}"/>
              </a:ext>
            </a:extLst>
          </p:cNvPr>
          <p:cNvSpPr>
            <a:spLocks noGrp="1"/>
          </p:cNvSpPr>
          <p:nvPr>
            <p:ph type="sldNum" sz="quarter" idx="11"/>
          </p:nvPr>
        </p:nvSpPr>
        <p:spPr/>
        <p:txBody>
          <a:bodyPr/>
          <a:lstStyle/>
          <a:p>
            <a:r>
              <a:rPr lang="en-US" dirty="0"/>
              <a:t>Page </a:t>
            </a:r>
            <a:fld id="{15EBE321-CBB1-4E91-BD14-37C8D44326FB}" type="slidenum">
              <a:rPr lang="en-US" smtClean="0"/>
              <a:pPr/>
              <a:t>80</a:t>
            </a:fld>
            <a:endParaRPr lang="en-US" dirty="0"/>
          </a:p>
        </p:txBody>
      </p:sp>
    </p:spTree>
    <p:extLst>
      <p:ext uri="{BB962C8B-B14F-4D97-AF65-F5344CB8AC3E}">
        <p14:creationId xmlns:p14="http://schemas.microsoft.com/office/powerpoint/2010/main" val="80745028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ee diagram (horizontal) – with further levels</a:t>
            </a:r>
          </a:p>
        </p:txBody>
      </p:sp>
      <p:sp>
        <p:nvSpPr>
          <p:cNvPr id="4" name="Rechteck 3"/>
          <p:cNvSpPr>
            <a:spLocks/>
          </p:cNvSpPr>
          <p:nvPr/>
        </p:nvSpPr>
        <p:spPr>
          <a:xfrm>
            <a:off x="410400" y="3250892"/>
            <a:ext cx="1439250" cy="899531"/>
          </a:xfrm>
          <a:prstGeom prst="rect">
            <a:avLst/>
          </a:prstGeom>
          <a:solidFill>
            <a:srgbClr val="00646E"/>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215888"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399" b="1" dirty="0">
                <a:solidFill>
                  <a:schemeClr val="tx1"/>
                </a:solidFill>
              </a:rPr>
              <a:t>At vero eos et accusam</a:t>
            </a:r>
          </a:p>
        </p:txBody>
      </p:sp>
      <p:cxnSp>
        <p:nvCxnSpPr>
          <p:cNvPr id="35" name="Elbow Connector 34"/>
          <p:cNvCxnSpPr>
            <a:stCxn id="84" idx="1"/>
            <a:endCxn id="4" idx="3"/>
          </p:cNvCxnSpPr>
          <p:nvPr/>
        </p:nvCxnSpPr>
        <p:spPr bwMode="auto">
          <a:xfrm rot="10800000" flipV="1">
            <a:off x="1849650" y="2477296"/>
            <a:ext cx="1008750" cy="1223362"/>
          </a:xfrm>
          <a:prstGeom prst="bentConnector3">
            <a:avLst>
              <a:gd name="adj1" fmla="val 50000"/>
            </a:avLst>
          </a:prstGeom>
          <a:solidFill>
            <a:schemeClr val="tx2"/>
          </a:solidFill>
          <a:ln w="12700" cap="flat" cmpd="sng" algn="ctr">
            <a:solidFill>
              <a:srgbClr val="9999A9"/>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84" name="Rechteck 3"/>
          <p:cNvSpPr>
            <a:spLocks/>
          </p:cNvSpPr>
          <p:nvPr/>
        </p:nvSpPr>
        <p:spPr>
          <a:xfrm>
            <a:off x="2858400" y="2027530"/>
            <a:ext cx="1439250" cy="899531"/>
          </a:xfrm>
          <a:prstGeom prst="rect">
            <a:avLst/>
          </a:prstGeom>
          <a:solidFill>
            <a:srgbClr val="00AF8E"/>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215888"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399" b="1" dirty="0">
                <a:solidFill>
                  <a:schemeClr val="bg2"/>
                </a:solidFill>
              </a:rPr>
              <a:t>Phasellus nec sem</a:t>
            </a:r>
          </a:p>
        </p:txBody>
      </p:sp>
      <p:sp>
        <p:nvSpPr>
          <p:cNvPr id="86" name="Rechteck 3"/>
          <p:cNvSpPr>
            <a:spLocks/>
          </p:cNvSpPr>
          <p:nvPr/>
        </p:nvSpPr>
        <p:spPr>
          <a:xfrm>
            <a:off x="2858400" y="4474254"/>
            <a:ext cx="1439250" cy="899531"/>
          </a:xfrm>
          <a:prstGeom prst="rect">
            <a:avLst/>
          </a:prstGeom>
          <a:solidFill>
            <a:srgbClr val="00AF8E"/>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215888"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399" b="1" dirty="0">
                <a:solidFill>
                  <a:schemeClr val="bg2"/>
                </a:solidFill>
              </a:rPr>
              <a:t>Duis arcu tortor</a:t>
            </a:r>
          </a:p>
        </p:txBody>
      </p:sp>
      <p:cxnSp>
        <p:nvCxnSpPr>
          <p:cNvPr id="87" name="Elbow Connector 86"/>
          <p:cNvCxnSpPr>
            <a:stCxn id="86" idx="1"/>
            <a:endCxn id="4" idx="3"/>
          </p:cNvCxnSpPr>
          <p:nvPr/>
        </p:nvCxnSpPr>
        <p:spPr bwMode="auto">
          <a:xfrm rot="10800000">
            <a:off x="1849650" y="3700658"/>
            <a:ext cx="1008750" cy="1223362"/>
          </a:xfrm>
          <a:prstGeom prst="bentConnector3">
            <a:avLst>
              <a:gd name="adj1" fmla="val 50000"/>
            </a:avLst>
          </a:prstGeom>
          <a:solidFill>
            <a:schemeClr val="tx2"/>
          </a:solidFill>
          <a:ln w="12700" cap="flat" cmpd="sng" algn="ctr">
            <a:solidFill>
              <a:srgbClr val="9999A9"/>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97" name="Rechteck 3"/>
          <p:cNvSpPr>
            <a:spLocks/>
          </p:cNvSpPr>
          <p:nvPr/>
        </p:nvSpPr>
        <p:spPr>
          <a:xfrm>
            <a:off x="5198400" y="1415849"/>
            <a:ext cx="1439250" cy="899531"/>
          </a:xfrm>
          <a:prstGeom prst="rect">
            <a:avLst/>
          </a:prstGeom>
          <a:solidFill>
            <a:srgbClr val="00FFB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215888"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399" b="1" dirty="0">
                <a:solidFill>
                  <a:schemeClr val="bg2"/>
                </a:solidFill>
              </a:rPr>
              <a:t>Maecenas nec odio</a:t>
            </a:r>
          </a:p>
        </p:txBody>
      </p:sp>
      <p:sp>
        <p:nvSpPr>
          <p:cNvPr id="98" name="Rechteck 3"/>
          <p:cNvSpPr>
            <a:spLocks/>
          </p:cNvSpPr>
          <p:nvPr/>
        </p:nvSpPr>
        <p:spPr>
          <a:xfrm>
            <a:off x="5198400" y="2639211"/>
            <a:ext cx="1439250" cy="899531"/>
          </a:xfrm>
          <a:prstGeom prst="rect">
            <a:avLst/>
          </a:prstGeom>
          <a:solidFill>
            <a:srgbClr val="00FFB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215888"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399" b="1" dirty="0">
                <a:solidFill>
                  <a:schemeClr val="bg2"/>
                </a:solidFill>
              </a:rPr>
              <a:t>Duis arcu tortor</a:t>
            </a:r>
          </a:p>
        </p:txBody>
      </p:sp>
      <p:sp>
        <p:nvSpPr>
          <p:cNvPr id="99" name="Text Box 3"/>
          <p:cNvSpPr txBox="1">
            <a:spLocks noChangeArrowheads="1"/>
          </p:cNvSpPr>
          <p:nvPr>
            <p:custDataLst>
              <p:tags r:id="rId1"/>
            </p:custDataLst>
          </p:nvPr>
        </p:nvSpPr>
        <p:spPr bwMode="auto">
          <a:xfrm>
            <a:off x="7538400" y="1415848"/>
            <a:ext cx="4248000" cy="359813"/>
          </a:xfrm>
          <a:prstGeom prst="rect">
            <a:avLst/>
          </a:prstGeom>
          <a:noFill/>
          <a:ln w="12700">
            <a:noFill/>
          </a:ln>
          <a:effectLst/>
        </p:spPr>
        <p:txBody>
          <a:bodyPr lIns="144000" tIns="0" rIns="0" bIns="0" anchor="ctr">
            <a:normAutofit/>
          </a:bodyPr>
          <a:lstStyle>
            <a:defPPr>
              <a:defRPr lang="en-US"/>
            </a:defPPr>
            <a:lvl1pPr marL="180000" indent="-180000" defTabSz="913943">
              <a:spcBef>
                <a:spcPts val="300"/>
              </a:spcBef>
              <a:buClr>
                <a:schemeClr val="accent1"/>
              </a:buClr>
              <a:buSzPct val="100000"/>
              <a:buFont typeface="Arial" pitchFamily="34" charset="0"/>
              <a:buChar char="•"/>
              <a:defRPr sz="1399">
                <a:latin typeface="Arial" charset="0"/>
              </a:defRPr>
            </a:lvl1pPr>
            <a:lvl2pPr marL="742950" indent="-285750" defTabSz="762000" eaLnBrk="0" hangingPunct="0">
              <a:defRPr sz="2000">
                <a:latin typeface="Arial" charset="0"/>
              </a:defRPr>
            </a:lvl2pPr>
            <a:lvl3pPr marL="1143000" indent="-228600" defTabSz="762000" eaLnBrk="0" hangingPunct="0">
              <a:defRPr sz="2000">
                <a:latin typeface="Arial" charset="0"/>
              </a:defRPr>
            </a:lvl3pPr>
            <a:lvl4pPr marL="1600200" indent="-228600" defTabSz="762000" eaLnBrk="0" hangingPunct="0">
              <a:defRPr sz="2000">
                <a:latin typeface="Arial" charset="0"/>
              </a:defRPr>
            </a:lvl4pPr>
            <a:lvl5pPr marL="2057400" indent="-228600" defTabSz="762000" eaLnBrk="0" hangingPunct="0">
              <a:defRPr sz="2000">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latin typeface="Arial" charset="0"/>
              </a:defRPr>
            </a:lvl9pPr>
          </a:lstStyle>
          <a:p>
            <a:r>
              <a:rPr lang="en-US" dirty="0">
                <a:solidFill>
                  <a:srgbClr val="9999A9"/>
                </a:solidFill>
                <a:latin typeface="+mn-lt"/>
              </a:rPr>
              <a:t>Phasellus nec sem</a:t>
            </a:r>
          </a:p>
        </p:txBody>
      </p:sp>
      <p:sp>
        <p:nvSpPr>
          <p:cNvPr id="101" name="Text Box 3"/>
          <p:cNvSpPr txBox="1">
            <a:spLocks noChangeArrowheads="1"/>
          </p:cNvSpPr>
          <p:nvPr>
            <p:custDataLst>
              <p:tags r:id="rId2"/>
            </p:custDataLst>
          </p:nvPr>
        </p:nvSpPr>
        <p:spPr bwMode="auto">
          <a:xfrm>
            <a:off x="7538400" y="5085937"/>
            <a:ext cx="4248000" cy="899531"/>
          </a:xfrm>
          <a:prstGeom prst="rect">
            <a:avLst/>
          </a:prstGeom>
          <a:noFill/>
          <a:ln w="12700">
            <a:noFill/>
          </a:ln>
          <a:effectLst/>
        </p:spPr>
        <p:txBody>
          <a:bodyPr lIns="144000" tIns="0" rIns="0" bIns="0" anchor="ctr">
            <a:normAutofit/>
          </a:bodyPr>
          <a:lstStyle>
            <a:defPPr>
              <a:defRPr lang="en-US"/>
            </a:defPPr>
            <a:lvl1pPr marL="180000" indent="-180000" defTabSz="913943">
              <a:spcBef>
                <a:spcPts val="300"/>
              </a:spcBef>
              <a:buClr>
                <a:schemeClr val="accent1"/>
              </a:buClr>
              <a:buSzPct val="100000"/>
              <a:buFont typeface="Arial" pitchFamily="34" charset="0"/>
              <a:buChar char="•"/>
              <a:defRPr sz="1399">
                <a:latin typeface="Arial" charset="0"/>
              </a:defRPr>
            </a:lvl1pPr>
            <a:lvl2pPr marL="742950" indent="-285750" defTabSz="762000" eaLnBrk="0" hangingPunct="0">
              <a:defRPr sz="2000">
                <a:latin typeface="Arial" charset="0"/>
              </a:defRPr>
            </a:lvl2pPr>
            <a:lvl3pPr marL="1143000" indent="-228600" defTabSz="762000" eaLnBrk="0" hangingPunct="0">
              <a:defRPr sz="2000">
                <a:latin typeface="Arial" charset="0"/>
              </a:defRPr>
            </a:lvl3pPr>
            <a:lvl4pPr marL="1600200" indent="-228600" defTabSz="762000" eaLnBrk="0" hangingPunct="0">
              <a:defRPr sz="2000">
                <a:latin typeface="Arial" charset="0"/>
              </a:defRPr>
            </a:lvl4pPr>
            <a:lvl5pPr marL="2057400" indent="-228600" defTabSz="762000" eaLnBrk="0" hangingPunct="0">
              <a:defRPr sz="2000">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latin typeface="Arial" charset="0"/>
              </a:defRPr>
            </a:lvl9pPr>
          </a:lstStyle>
          <a:p>
            <a:r>
              <a:rPr lang="en-US" dirty="0">
                <a:solidFill>
                  <a:srgbClr val="9999A9"/>
                </a:solidFill>
                <a:latin typeface="+mn-lt"/>
              </a:rPr>
              <a:t>Consetetur sadipscing elitr, seddiam nonumy</a:t>
            </a:r>
          </a:p>
        </p:txBody>
      </p:sp>
      <p:sp>
        <p:nvSpPr>
          <p:cNvPr id="102" name="Text Box 3"/>
          <p:cNvSpPr txBox="1">
            <a:spLocks noChangeArrowheads="1"/>
          </p:cNvSpPr>
          <p:nvPr>
            <p:custDataLst>
              <p:tags r:id="rId3"/>
            </p:custDataLst>
          </p:nvPr>
        </p:nvSpPr>
        <p:spPr bwMode="auto">
          <a:xfrm>
            <a:off x="7538400" y="2639212"/>
            <a:ext cx="4248000" cy="899531"/>
          </a:xfrm>
          <a:prstGeom prst="rect">
            <a:avLst/>
          </a:prstGeom>
          <a:noFill/>
          <a:ln w="12700">
            <a:noFill/>
          </a:ln>
          <a:effectLst/>
        </p:spPr>
        <p:txBody>
          <a:bodyPr lIns="144000" tIns="0" rIns="0" bIns="0" anchor="ctr">
            <a:normAutofit/>
          </a:bodyPr>
          <a:lstStyle>
            <a:defPPr>
              <a:defRPr lang="en-US"/>
            </a:defPPr>
            <a:lvl1pPr marL="180000" indent="-180000" defTabSz="913943">
              <a:spcBef>
                <a:spcPts val="300"/>
              </a:spcBef>
              <a:buClr>
                <a:schemeClr val="accent1"/>
              </a:buClr>
              <a:buSzPct val="100000"/>
              <a:buFont typeface="Arial" pitchFamily="34" charset="0"/>
              <a:buChar char="•"/>
              <a:defRPr sz="1399">
                <a:latin typeface="Arial" charset="0"/>
              </a:defRPr>
            </a:lvl1pPr>
            <a:lvl2pPr marL="742950" indent="-285750" defTabSz="762000" eaLnBrk="0" hangingPunct="0">
              <a:defRPr sz="2000">
                <a:latin typeface="Arial" charset="0"/>
              </a:defRPr>
            </a:lvl2pPr>
            <a:lvl3pPr marL="1143000" indent="-228600" defTabSz="762000" eaLnBrk="0" hangingPunct="0">
              <a:defRPr sz="2000">
                <a:latin typeface="Arial" charset="0"/>
              </a:defRPr>
            </a:lvl3pPr>
            <a:lvl4pPr marL="1600200" indent="-228600" defTabSz="762000" eaLnBrk="0" hangingPunct="0">
              <a:defRPr sz="2000">
                <a:latin typeface="Arial" charset="0"/>
              </a:defRPr>
            </a:lvl4pPr>
            <a:lvl5pPr marL="2057400" indent="-228600" defTabSz="762000" eaLnBrk="0" hangingPunct="0">
              <a:defRPr sz="2000">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latin typeface="Arial" charset="0"/>
              </a:defRPr>
            </a:lvl9pPr>
          </a:lstStyle>
          <a:p>
            <a:r>
              <a:rPr lang="en-US" dirty="0">
                <a:solidFill>
                  <a:srgbClr val="9999A9"/>
                </a:solidFill>
                <a:latin typeface="+mn-lt"/>
              </a:rPr>
              <a:t>Phasellus nec sem</a:t>
            </a:r>
          </a:p>
        </p:txBody>
      </p:sp>
      <p:sp>
        <p:nvSpPr>
          <p:cNvPr id="114" name="Text Box 3"/>
          <p:cNvSpPr txBox="1">
            <a:spLocks noChangeArrowheads="1"/>
          </p:cNvSpPr>
          <p:nvPr>
            <p:custDataLst>
              <p:tags r:id="rId4"/>
            </p:custDataLst>
          </p:nvPr>
        </p:nvSpPr>
        <p:spPr bwMode="auto">
          <a:xfrm>
            <a:off x="7538400" y="3845151"/>
            <a:ext cx="4248000" cy="359813"/>
          </a:xfrm>
          <a:prstGeom prst="rect">
            <a:avLst/>
          </a:prstGeom>
          <a:noFill/>
          <a:ln w="12700">
            <a:noFill/>
          </a:ln>
          <a:effectLst/>
        </p:spPr>
        <p:txBody>
          <a:bodyPr lIns="144000" tIns="0" rIns="0" bIns="0" anchor="ctr">
            <a:normAutofit/>
          </a:bodyPr>
          <a:lstStyle>
            <a:defPPr>
              <a:defRPr lang="en-US"/>
            </a:defPPr>
            <a:lvl1pPr marL="180000" indent="-180000" defTabSz="913943">
              <a:spcBef>
                <a:spcPts val="300"/>
              </a:spcBef>
              <a:buClr>
                <a:schemeClr val="accent1"/>
              </a:buClr>
              <a:buSzPct val="100000"/>
              <a:buFont typeface="Arial" pitchFamily="34" charset="0"/>
              <a:buChar char="•"/>
              <a:defRPr sz="1399">
                <a:latin typeface="Arial" charset="0"/>
              </a:defRPr>
            </a:lvl1pPr>
            <a:lvl2pPr marL="742950" indent="-285750" defTabSz="762000" eaLnBrk="0" hangingPunct="0">
              <a:defRPr sz="2000">
                <a:latin typeface="Arial" charset="0"/>
              </a:defRPr>
            </a:lvl2pPr>
            <a:lvl3pPr marL="1143000" indent="-228600" defTabSz="762000" eaLnBrk="0" hangingPunct="0">
              <a:defRPr sz="2000">
                <a:latin typeface="Arial" charset="0"/>
              </a:defRPr>
            </a:lvl3pPr>
            <a:lvl4pPr marL="1600200" indent="-228600" defTabSz="762000" eaLnBrk="0" hangingPunct="0">
              <a:defRPr sz="2000">
                <a:latin typeface="Arial" charset="0"/>
              </a:defRPr>
            </a:lvl4pPr>
            <a:lvl5pPr marL="2057400" indent="-228600" defTabSz="762000" eaLnBrk="0" hangingPunct="0">
              <a:defRPr sz="2000">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latin typeface="Arial" charset="0"/>
              </a:defRPr>
            </a:lvl9pPr>
          </a:lstStyle>
          <a:p>
            <a:r>
              <a:rPr lang="en-US" dirty="0">
                <a:solidFill>
                  <a:srgbClr val="9999A9"/>
                </a:solidFill>
                <a:latin typeface="+mn-lt"/>
              </a:rPr>
              <a:t>At vero eos et accusam</a:t>
            </a:r>
          </a:p>
        </p:txBody>
      </p:sp>
      <p:sp>
        <p:nvSpPr>
          <p:cNvPr id="115" name="Rechteck 3"/>
          <p:cNvSpPr>
            <a:spLocks/>
          </p:cNvSpPr>
          <p:nvPr/>
        </p:nvSpPr>
        <p:spPr>
          <a:xfrm>
            <a:off x="5198400" y="3862573"/>
            <a:ext cx="1439250" cy="899531"/>
          </a:xfrm>
          <a:prstGeom prst="rect">
            <a:avLst/>
          </a:prstGeom>
          <a:solidFill>
            <a:srgbClr val="00FFB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215888"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399" b="1" dirty="0">
                <a:solidFill>
                  <a:schemeClr val="bg2"/>
                </a:solidFill>
              </a:rPr>
              <a:t>Sodales magna</a:t>
            </a:r>
          </a:p>
        </p:txBody>
      </p:sp>
      <p:sp>
        <p:nvSpPr>
          <p:cNvPr id="117" name="Rechteck 3"/>
          <p:cNvSpPr>
            <a:spLocks/>
          </p:cNvSpPr>
          <p:nvPr/>
        </p:nvSpPr>
        <p:spPr>
          <a:xfrm>
            <a:off x="5198400" y="5085937"/>
            <a:ext cx="1439250" cy="899531"/>
          </a:xfrm>
          <a:prstGeom prst="rect">
            <a:avLst/>
          </a:prstGeom>
          <a:solidFill>
            <a:srgbClr val="00FFB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7944" tIns="71963" rIns="215888" bIns="71963"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399" b="1" dirty="0">
                <a:solidFill>
                  <a:schemeClr val="bg2"/>
                </a:solidFill>
              </a:rPr>
              <a:t>At vero eos et accusam</a:t>
            </a:r>
          </a:p>
        </p:txBody>
      </p:sp>
      <p:cxnSp>
        <p:nvCxnSpPr>
          <p:cNvPr id="48" name="Elbow Connector 47"/>
          <p:cNvCxnSpPr>
            <a:stCxn id="84" idx="3"/>
            <a:endCxn id="97" idx="1"/>
          </p:cNvCxnSpPr>
          <p:nvPr/>
        </p:nvCxnSpPr>
        <p:spPr bwMode="auto">
          <a:xfrm flipV="1">
            <a:off x="4297650" y="1865615"/>
            <a:ext cx="900750" cy="611681"/>
          </a:xfrm>
          <a:prstGeom prst="bentConnector3">
            <a:avLst>
              <a:gd name="adj1" fmla="val 50000"/>
            </a:avLst>
          </a:prstGeom>
          <a:solidFill>
            <a:schemeClr val="tx2"/>
          </a:solidFill>
          <a:ln w="12700" cap="flat" cmpd="sng" algn="ctr">
            <a:solidFill>
              <a:srgbClr val="9999A9"/>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Elbow Connector 57"/>
          <p:cNvCxnSpPr>
            <a:stCxn id="84" idx="3"/>
            <a:endCxn id="98" idx="1"/>
          </p:cNvCxnSpPr>
          <p:nvPr/>
        </p:nvCxnSpPr>
        <p:spPr bwMode="auto">
          <a:xfrm>
            <a:off x="4297650" y="2477296"/>
            <a:ext cx="900750" cy="611681"/>
          </a:xfrm>
          <a:prstGeom prst="bentConnector3">
            <a:avLst>
              <a:gd name="adj1" fmla="val 50000"/>
            </a:avLst>
          </a:prstGeom>
          <a:solidFill>
            <a:schemeClr val="tx2"/>
          </a:solidFill>
          <a:ln w="12700" cap="flat" cmpd="sng" algn="ctr">
            <a:solidFill>
              <a:srgbClr val="9999A9"/>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Elbow Connector 67"/>
          <p:cNvCxnSpPr>
            <a:stCxn id="86" idx="3"/>
            <a:endCxn id="115" idx="1"/>
          </p:cNvCxnSpPr>
          <p:nvPr/>
        </p:nvCxnSpPr>
        <p:spPr bwMode="auto">
          <a:xfrm flipV="1">
            <a:off x="4297650" y="4312339"/>
            <a:ext cx="900750" cy="611681"/>
          </a:xfrm>
          <a:prstGeom prst="bentConnector3">
            <a:avLst>
              <a:gd name="adj1" fmla="val 50000"/>
            </a:avLst>
          </a:prstGeom>
          <a:solidFill>
            <a:schemeClr val="tx2"/>
          </a:solidFill>
          <a:ln w="12700" cap="flat" cmpd="sng" algn="ctr">
            <a:solidFill>
              <a:srgbClr val="9999A9"/>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Elbow Connector 69"/>
          <p:cNvCxnSpPr>
            <a:stCxn id="86" idx="3"/>
            <a:endCxn id="117" idx="1"/>
          </p:cNvCxnSpPr>
          <p:nvPr/>
        </p:nvCxnSpPr>
        <p:spPr bwMode="auto">
          <a:xfrm>
            <a:off x="4297650" y="4924020"/>
            <a:ext cx="900750" cy="611683"/>
          </a:xfrm>
          <a:prstGeom prst="bentConnector3">
            <a:avLst>
              <a:gd name="adj1" fmla="val 50000"/>
            </a:avLst>
          </a:prstGeom>
          <a:solidFill>
            <a:schemeClr val="tx2"/>
          </a:solidFill>
          <a:ln w="12700" cap="flat" cmpd="sng" algn="ctr">
            <a:solidFill>
              <a:srgbClr val="9999A9"/>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6" name="Text Box 3"/>
          <p:cNvSpPr txBox="1">
            <a:spLocks noChangeArrowheads="1"/>
          </p:cNvSpPr>
          <p:nvPr>
            <p:custDataLst>
              <p:tags r:id="rId5"/>
            </p:custDataLst>
          </p:nvPr>
        </p:nvSpPr>
        <p:spPr bwMode="auto">
          <a:xfrm>
            <a:off x="7538400" y="1955567"/>
            <a:ext cx="4248000" cy="359813"/>
          </a:xfrm>
          <a:prstGeom prst="rect">
            <a:avLst/>
          </a:prstGeom>
          <a:noFill/>
          <a:ln w="12700">
            <a:noFill/>
          </a:ln>
          <a:effectLst/>
        </p:spPr>
        <p:txBody>
          <a:bodyPr lIns="144000" tIns="0" rIns="0" bIns="0" anchor="ctr">
            <a:normAutofit/>
          </a:bodyPr>
          <a:lstStyle>
            <a:defPPr>
              <a:defRPr lang="en-US"/>
            </a:defPPr>
            <a:lvl1pPr marL="180000" indent="-180000" defTabSz="913943">
              <a:spcBef>
                <a:spcPts val="300"/>
              </a:spcBef>
              <a:buClr>
                <a:schemeClr val="accent1"/>
              </a:buClr>
              <a:buSzPct val="100000"/>
              <a:buFont typeface="Arial" pitchFamily="34" charset="0"/>
              <a:buChar char="•"/>
              <a:defRPr sz="1399">
                <a:latin typeface="Arial" charset="0"/>
              </a:defRPr>
            </a:lvl1pPr>
            <a:lvl2pPr marL="742950" indent="-285750" defTabSz="762000" eaLnBrk="0" hangingPunct="0">
              <a:defRPr sz="2000">
                <a:latin typeface="Arial" charset="0"/>
              </a:defRPr>
            </a:lvl2pPr>
            <a:lvl3pPr marL="1143000" indent="-228600" defTabSz="762000" eaLnBrk="0" hangingPunct="0">
              <a:defRPr sz="2000">
                <a:latin typeface="Arial" charset="0"/>
              </a:defRPr>
            </a:lvl3pPr>
            <a:lvl4pPr marL="1600200" indent="-228600" defTabSz="762000" eaLnBrk="0" hangingPunct="0">
              <a:defRPr sz="2000">
                <a:latin typeface="Arial" charset="0"/>
              </a:defRPr>
            </a:lvl4pPr>
            <a:lvl5pPr marL="2057400" indent="-228600" defTabSz="762000" eaLnBrk="0" hangingPunct="0">
              <a:defRPr sz="2000">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latin typeface="Arial" charset="0"/>
              </a:defRPr>
            </a:lvl9pPr>
          </a:lstStyle>
          <a:p>
            <a:r>
              <a:rPr lang="en-US" dirty="0">
                <a:solidFill>
                  <a:srgbClr val="9999A9"/>
                </a:solidFill>
                <a:latin typeface="+mn-lt"/>
              </a:rPr>
              <a:t>Consetetur sadipscing elitr, seddiam nonumy</a:t>
            </a:r>
          </a:p>
        </p:txBody>
      </p:sp>
      <p:sp>
        <p:nvSpPr>
          <p:cNvPr id="27" name="Text Box 3"/>
          <p:cNvSpPr txBox="1">
            <a:spLocks noChangeArrowheads="1"/>
          </p:cNvSpPr>
          <p:nvPr>
            <p:custDataLst>
              <p:tags r:id="rId6"/>
            </p:custDataLst>
          </p:nvPr>
        </p:nvSpPr>
        <p:spPr bwMode="auto">
          <a:xfrm>
            <a:off x="7538400" y="4332526"/>
            <a:ext cx="4248000" cy="359813"/>
          </a:xfrm>
          <a:prstGeom prst="rect">
            <a:avLst/>
          </a:prstGeom>
          <a:noFill/>
          <a:ln w="12700">
            <a:noFill/>
          </a:ln>
          <a:effectLst/>
        </p:spPr>
        <p:txBody>
          <a:bodyPr lIns="144000" tIns="0" rIns="0" bIns="0" anchor="ctr">
            <a:normAutofit/>
          </a:bodyPr>
          <a:lstStyle>
            <a:defPPr>
              <a:defRPr lang="en-US"/>
            </a:defPPr>
            <a:lvl1pPr marL="180000" indent="-180000" defTabSz="913943">
              <a:spcBef>
                <a:spcPts val="300"/>
              </a:spcBef>
              <a:buClr>
                <a:schemeClr val="accent1"/>
              </a:buClr>
              <a:buSzPct val="100000"/>
              <a:buFont typeface="Arial" pitchFamily="34" charset="0"/>
              <a:buChar char="•"/>
              <a:defRPr sz="1399">
                <a:latin typeface="Arial" charset="0"/>
              </a:defRPr>
            </a:lvl1pPr>
            <a:lvl2pPr marL="742950" indent="-285750" defTabSz="762000" eaLnBrk="0" hangingPunct="0">
              <a:defRPr sz="2000">
                <a:latin typeface="Arial" charset="0"/>
              </a:defRPr>
            </a:lvl2pPr>
            <a:lvl3pPr marL="1143000" indent="-228600" defTabSz="762000" eaLnBrk="0" hangingPunct="0">
              <a:defRPr sz="2000">
                <a:latin typeface="Arial" charset="0"/>
              </a:defRPr>
            </a:lvl3pPr>
            <a:lvl4pPr marL="1600200" indent="-228600" defTabSz="762000" eaLnBrk="0" hangingPunct="0">
              <a:defRPr sz="2000">
                <a:latin typeface="Arial" charset="0"/>
              </a:defRPr>
            </a:lvl4pPr>
            <a:lvl5pPr marL="2057400" indent="-228600" defTabSz="762000" eaLnBrk="0" hangingPunct="0">
              <a:defRPr sz="2000">
                <a:latin typeface="Arial" charset="0"/>
              </a:defRPr>
            </a:lvl5pPr>
            <a:lvl6pPr marL="2514600" indent="-228600" algn="ctr" defTabSz="762000" eaLnBrk="0" fontAlgn="base" hangingPunct="0">
              <a:spcBef>
                <a:spcPct val="50000"/>
              </a:spcBef>
              <a:spcAft>
                <a:spcPct val="0"/>
              </a:spcAft>
              <a:buClr>
                <a:schemeClr val="tx2"/>
              </a:buClr>
              <a:buFont typeface="Wingdings" pitchFamily="2" charset="2"/>
              <a:buChar char="§"/>
              <a:defRPr sz="2000">
                <a:latin typeface="Arial" charset="0"/>
              </a:defRPr>
            </a:lvl6pPr>
            <a:lvl7pPr marL="2971800" indent="-228600" algn="ctr" defTabSz="762000" eaLnBrk="0" fontAlgn="base" hangingPunct="0">
              <a:spcBef>
                <a:spcPct val="50000"/>
              </a:spcBef>
              <a:spcAft>
                <a:spcPct val="0"/>
              </a:spcAft>
              <a:buClr>
                <a:schemeClr val="tx2"/>
              </a:buClr>
              <a:buFont typeface="Wingdings" pitchFamily="2" charset="2"/>
              <a:buChar char="§"/>
              <a:defRPr sz="2000">
                <a:latin typeface="Arial" charset="0"/>
              </a:defRPr>
            </a:lvl7pPr>
            <a:lvl8pPr marL="3429000" indent="-228600" algn="ctr" defTabSz="762000" eaLnBrk="0" fontAlgn="base" hangingPunct="0">
              <a:spcBef>
                <a:spcPct val="50000"/>
              </a:spcBef>
              <a:spcAft>
                <a:spcPct val="0"/>
              </a:spcAft>
              <a:buClr>
                <a:schemeClr val="tx2"/>
              </a:buClr>
              <a:buFont typeface="Wingdings" pitchFamily="2" charset="2"/>
              <a:buChar char="§"/>
              <a:defRPr sz="2000">
                <a:latin typeface="Arial" charset="0"/>
              </a:defRPr>
            </a:lvl8pPr>
            <a:lvl9pPr marL="3886200" indent="-228600" algn="ctr" defTabSz="762000" eaLnBrk="0" fontAlgn="base" hangingPunct="0">
              <a:spcBef>
                <a:spcPct val="50000"/>
              </a:spcBef>
              <a:spcAft>
                <a:spcPct val="0"/>
              </a:spcAft>
              <a:buClr>
                <a:schemeClr val="tx2"/>
              </a:buClr>
              <a:buFont typeface="Wingdings" pitchFamily="2" charset="2"/>
              <a:buChar char="§"/>
              <a:defRPr sz="2000">
                <a:latin typeface="Arial" charset="0"/>
              </a:defRPr>
            </a:lvl9pPr>
          </a:lstStyle>
          <a:p>
            <a:r>
              <a:rPr lang="en-US" dirty="0">
                <a:solidFill>
                  <a:srgbClr val="9999A9"/>
                </a:solidFill>
                <a:latin typeface="+mn-lt"/>
              </a:rPr>
              <a:t>Duis arcu tortor</a:t>
            </a:r>
          </a:p>
        </p:txBody>
      </p:sp>
      <p:cxnSp>
        <p:nvCxnSpPr>
          <p:cNvPr id="11" name="Elbow Connector 10"/>
          <p:cNvCxnSpPr>
            <a:cxnSpLocks/>
            <a:stCxn id="97" idx="3"/>
            <a:endCxn id="99" idx="1"/>
          </p:cNvCxnSpPr>
          <p:nvPr/>
        </p:nvCxnSpPr>
        <p:spPr bwMode="auto">
          <a:xfrm flipV="1">
            <a:off x="6637650" y="1595755"/>
            <a:ext cx="900750" cy="269860"/>
          </a:xfrm>
          <a:prstGeom prst="bentConnector3">
            <a:avLst>
              <a:gd name="adj1" fmla="val 50000"/>
            </a:avLst>
          </a:prstGeom>
          <a:solidFill>
            <a:schemeClr val="tx2"/>
          </a:solidFill>
          <a:ln w="12700" cap="flat" cmpd="sng" algn="ctr">
            <a:solidFill>
              <a:srgbClr val="9999A9"/>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Elbow Connector 13"/>
          <p:cNvCxnSpPr>
            <a:stCxn id="97" idx="3"/>
            <a:endCxn id="26" idx="1"/>
          </p:cNvCxnSpPr>
          <p:nvPr/>
        </p:nvCxnSpPr>
        <p:spPr bwMode="auto">
          <a:xfrm>
            <a:off x="6637650" y="1865615"/>
            <a:ext cx="900750" cy="269859"/>
          </a:xfrm>
          <a:prstGeom prst="bentConnector3">
            <a:avLst>
              <a:gd name="adj1" fmla="val 50000"/>
            </a:avLst>
          </a:prstGeom>
          <a:solidFill>
            <a:schemeClr val="tx2"/>
          </a:solidFill>
          <a:ln w="12700" cap="flat" cmpd="sng" algn="ctr">
            <a:solidFill>
              <a:srgbClr val="9999A9"/>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 name="Elbow Connector 15"/>
          <p:cNvCxnSpPr>
            <a:stCxn id="115" idx="3"/>
            <a:endCxn id="114" idx="1"/>
          </p:cNvCxnSpPr>
          <p:nvPr/>
        </p:nvCxnSpPr>
        <p:spPr bwMode="auto">
          <a:xfrm flipV="1">
            <a:off x="6637650" y="4025058"/>
            <a:ext cx="900750" cy="287281"/>
          </a:xfrm>
          <a:prstGeom prst="bentConnector3">
            <a:avLst>
              <a:gd name="adj1" fmla="val 50000"/>
            </a:avLst>
          </a:prstGeom>
          <a:solidFill>
            <a:schemeClr val="tx2"/>
          </a:solidFill>
          <a:ln w="12700" cap="flat" cmpd="sng" algn="ctr">
            <a:solidFill>
              <a:srgbClr val="9999A9"/>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 name="Elbow Connector 17"/>
          <p:cNvCxnSpPr>
            <a:stCxn id="115" idx="3"/>
            <a:endCxn id="27" idx="1"/>
          </p:cNvCxnSpPr>
          <p:nvPr/>
        </p:nvCxnSpPr>
        <p:spPr bwMode="auto">
          <a:xfrm>
            <a:off x="6637650" y="4312339"/>
            <a:ext cx="900750" cy="200094"/>
          </a:xfrm>
          <a:prstGeom prst="bentConnector3">
            <a:avLst>
              <a:gd name="adj1" fmla="val 50000"/>
            </a:avLst>
          </a:prstGeom>
          <a:solidFill>
            <a:schemeClr val="tx2"/>
          </a:solidFill>
          <a:ln w="12700" cap="flat" cmpd="sng" algn="ctr">
            <a:solidFill>
              <a:srgbClr val="9999A9"/>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Straight Connector 19"/>
          <p:cNvCxnSpPr>
            <a:stCxn id="98" idx="3"/>
            <a:endCxn id="102" idx="1"/>
          </p:cNvCxnSpPr>
          <p:nvPr/>
        </p:nvCxnSpPr>
        <p:spPr bwMode="auto">
          <a:xfrm>
            <a:off x="6637650" y="3088977"/>
            <a:ext cx="900750" cy="1"/>
          </a:xfrm>
          <a:prstGeom prst="line">
            <a:avLst/>
          </a:prstGeom>
          <a:solidFill>
            <a:schemeClr val="tx2"/>
          </a:solidFill>
          <a:ln w="12700" cap="flat" cmpd="sng" algn="ctr">
            <a:solidFill>
              <a:srgbClr val="9999A9"/>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Straight Connector 21"/>
          <p:cNvCxnSpPr>
            <a:stCxn id="117" idx="3"/>
            <a:endCxn id="101" idx="1"/>
          </p:cNvCxnSpPr>
          <p:nvPr/>
        </p:nvCxnSpPr>
        <p:spPr bwMode="auto">
          <a:xfrm>
            <a:off x="6637650" y="5535703"/>
            <a:ext cx="900750" cy="0"/>
          </a:xfrm>
          <a:prstGeom prst="line">
            <a:avLst/>
          </a:prstGeom>
          <a:solidFill>
            <a:schemeClr val="tx2"/>
          </a:solidFill>
          <a:ln w="12700" cap="flat" cmpd="sng" algn="ctr">
            <a:solidFill>
              <a:srgbClr val="9999A9"/>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 name="Footer Placeholder 2">
            <a:extLst>
              <a:ext uri="{FF2B5EF4-FFF2-40B4-BE49-F238E27FC236}">
                <a16:creationId xmlns:a16="http://schemas.microsoft.com/office/drawing/2014/main" id="{787A4A2A-20A0-419F-81D3-CCAB5AACD321}"/>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5" name="Slide Number Placeholder 4">
            <a:extLst>
              <a:ext uri="{FF2B5EF4-FFF2-40B4-BE49-F238E27FC236}">
                <a16:creationId xmlns:a16="http://schemas.microsoft.com/office/drawing/2014/main" id="{CE64DEB2-134E-4562-B2FE-42454A36BB1E}"/>
              </a:ext>
            </a:extLst>
          </p:cNvPr>
          <p:cNvSpPr>
            <a:spLocks noGrp="1"/>
          </p:cNvSpPr>
          <p:nvPr>
            <p:ph type="sldNum" sz="quarter" idx="11"/>
          </p:nvPr>
        </p:nvSpPr>
        <p:spPr/>
        <p:txBody>
          <a:bodyPr/>
          <a:lstStyle/>
          <a:p>
            <a:r>
              <a:rPr lang="en-US" dirty="0"/>
              <a:t>Page </a:t>
            </a:r>
            <a:fld id="{15EBE321-CBB1-4E91-BD14-37C8D44326FB}" type="slidenum">
              <a:rPr lang="en-US" smtClean="0"/>
              <a:pPr/>
              <a:t>81</a:t>
            </a:fld>
            <a:endParaRPr lang="en-US" dirty="0"/>
          </a:p>
        </p:txBody>
      </p:sp>
    </p:spTree>
    <p:extLst>
      <p:ext uri="{BB962C8B-B14F-4D97-AF65-F5344CB8AC3E}">
        <p14:creationId xmlns:p14="http://schemas.microsoft.com/office/powerpoint/2010/main" val="363404685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F1603F5-D6F3-42C3-B632-3CD370E2C2CE}"/>
              </a:ext>
            </a:extLst>
          </p:cNvPr>
          <p:cNvGrpSpPr/>
          <p:nvPr/>
        </p:nvGrpSpPr>
        <p:grpSpPr>
          <a:xfrm>
            <a:off x="3506400" y="1789080"/>
            <a:ext cx="5724000" cy="4016485"/>
            <a:chOff x="3513249" y="1813425"/>
            <a:chExt cx="5718382" cy="4018577"/>
          </a:xfrm>
        </p:grpSpPr>
        <p:sp>
          <p:nvSpPr>
            <p:cNvPr id="66" name="Freeform 65">
              <a:extLst>
                <a:ext uri="{FF2B5EF4-FFF2-40B4-BE49-F238E27FC236}">
                  <a16:creationId xmlns:a16="http://schemas.microsoft.com/office/drawing/2014/main" id="{7BCC7EE0-892E-DF49-9A4B-217E9EE1B81E}"/>
                </a:ext>
              </a:extLst>
            </p:cNvPr>
            <p:cNvSpPr/>
            <p:nvPr/>
          </p:nvSpPr>
          <p:spPr bwMode="auto">
            <a:xfrm>
              <a:off x="3513249" y="1813425"/>
              <a:ext cx="5710940" cy="2029000"/>
            </a:xfrm>
            <a:custGeom>
              <a:avLst/>
              <a:gdLst>
                <a:gd name="connsiteX0" fmla="*/ 0 w 2912533"/>
                <a:gd name="connsiteY0" fmla="*/ 386080 h 386080"/>
                <a:gd name="connsiteX1" fmla="*/ 1774613 w 2912533"/>
                <a:gd name="connsiteY1" fmla="*/ 386080 h 386080"/>
                <a:gd name="connsiteX2" fmla="*/ 2160693 w 2912533"/>
                <a:gd name="connsiteY2" fmla="*/ 0 h 386080"/>
                <a:gd name="connsiteX3" fmla="*/ 2912533 w 2912533"/>
                <a:gd name="connsiteY3" fmla="*/ 0 h 386080"/>
                <a:gd name="connsiteX0" fmla="*/ 0 w 2912533"/>
                <a:gd name="connsiteY0" fmla="*/ 386080 h 386080"/>
                <a:gd name="connsiteX1" fmla="*/ 1224314 w 2912533"/>
                <a:gd name="connsiteY1" fmla="*/ 385589 h 386080"/>
                <a:gd name="connsiteX2" fmla="*/ 1774613 w 2912533"/>
                <a:gd name="connsiteY2" fmla="*/ 386080 h 386080"/>
                <a:gd name="connsiteX3" fmla="*/ 2160693 w 2912533"/>
                <a:gd name="connsiteY3" fmla="*/ 0 h 386080"/>
                <a:gd name="connsiteX4" fmla="*/ 2912533 w 2912533"/>
                <a:gd name="connsiteY4" fmla="*/ 0 h 386080"/>
                <a:gd name="connsiteX0" fmla="*/ 0 w 2912533"/>
                <a:gd name="connsiteY0" fmla="*/ 386080 h 386080"/>
                <a:gd name="connsiteX1" fmla="*/ 1224314 w 2912533"/>
                <a:gd name="connsiteY1" fmla="*/ 385589 h 386080"/>
                <a:gd name="connsiteX2" fmla="*/ 1774613 w 2912533"/>
                <a:gd name="connsiteY2" fmla="*/ 386080 h 386080"/>
                <a:gd name="connsiteX3" fmla="*/ 2160693 w 2912533"/>
                <a:gd name="connsiteY3" fmla="*/ 0 h 386080"/>
                <a:gd name="connsiteX4" fmla="*/ 2912533 w 2912533"/>
                <a:gd name="connsiteY4" fmla="*/ 0 h 386080"/>
                <a:gd name="connsiteX0" fmla="*/ 0 w 2240264"/>
                <a:gd name="connsiteY0" fmla="*/ 682862 h 682862"/>
                <a:gd name="connsiteX1" fmla="*/ 552045 w 2240264"/>
                <a:gd name="connsiteY1" fmla="*/ 385589 h 682862"/>
                <a:gd name="connsiteX2" fmla="*/ 1102344 w 2240264"/>
                <a:gd name="connsiteY2" fmla="*/ 386080 h 682862"/>
                <a:gd name="connsiteX3" fmla="*/ 1488424 w 2240264"/>
                <a:gd name="connsiteY3" fmla="*/ 0 h 682862"/>
                <a:gd name="connsiteX4" fmla="*/ 2240264 w 2240264"/>
                <a:gd name="connsiteY4" fmla="*/ 0 h 682862"/>
                <a:gd name="connsiteX0" fmla="*/ 0 w 2240264"/>
                <a:gd name="connsiteY0" fmla="*/ 682862 h 682862"/>
                <a:gd name="connsiteX1" fmla="*/ 212631 w 2240264"/>
                <a:gd name="connsiteY1" fmla="*/ 564314 h 682862"/>
                <a:gd name="connsiteX2" fmla="*/ 552045 w 2240264"/>
                <a:gd name="connsiteY2" fmla="*/ 385589 h 682862"/>
                <a:gd name="connsiteX3" fmla="*/ 1102344 w 2240264"/>
                <a:gd name="connsiteY3" fmla="*/ 386080 h 682862"/>
                <a:gd name="connsiteX4" fmla="*/ 1488424 w 2240264"/>
                <a:gd name="connsiteY4" fmla="*/ 0 h 682862"/>
                <a:gd name="connsiteX5" fmla="*/ 2240264 w 2240264"/>
                <a:gd name="connsiteY5" fmla="*/ 0 h 682862"/>
                <a:gd name="connsiteX0" fmla="*/ 0 w 2240264"/>
                <a:gd name="connsiteY0" fmla="*/ 682862 h 684010"/>
                <a:gd name="connsiteX1" fmla="*/ 253623 w 2240264"/>
                <a:gd name="connsiteY1" fmla="*/ 684010 h 684010"/>
                <a:gd name="connsiteX2" fmla="*/ 552045 w 2240264"/>
                <a:gd name="connsiteY2" fmla="*/ 385589 h 684010"/>
                <a:gd name="connsiteX3" fmla="*/ 1102344 w 2240264"/>
                <a:gd name="connsiteY3" fmla="*/ 386080 h 684010"/>
                <a:gd name="connsiteX4" fmla="*/ 1488424 w 2240264"/>
                <a:gd name="connsiteY4" fmla="*/ 0 h 684010"/>
                <a:gd name="connsiteX5" fmla="*/ 2240264 w 2240264"/>
                <a:gd name="connsiteY5" fmla="*/ 0 h 684010"/>
                <a:gd name="connsiteX0" fmla="*/ 0 w 1925254"/>
                <a:gd name="connsiteY0" fmla="*/ 682862 h 684010"/>
                <a:gd name="connsiteX1" fmla="*/ 253623 w 1925254"/>
                <a:gd name="connsiteY1" fmla="*/ 684010 h 684010"/>
                <a:gd name="connsiteX2" fmla="*/ 552045 w 1925254"/>
                <a:gd name="connsiteY2" fmla="*/ 385589 h 684010"/>
                <a:gd name="connsiteX3" fmla="*/ 1102344 w 1925254"/>
                <a:gd name="connsiteY3" fmla="*/ 386080 h 684010"/>
                <a:gd name="connsiteX4" fmla="*/ 1488424 w 1925254"/>
                <a:gd name="connsiteY4" fmla="*/ 0 h 684010"/>
                <a:gd name="connsiteX5" fmla="*/ 1925254 w 1925254"/>
                <a:gd name="connsiteY5" fmla="*/ 0 h 684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25254" h="684010">
                  <a:moveTo>
                    <a:pt x="0" y="682862"/>
                  </a:moveTo>
                  <a:lnTo>
                    <a:pt x="253623" y="684010"/>
                  </a:lnTo>
                  <a:lnTo>
                    <a:pt x="552045" y="385589"/>
                  </a:lnTo>
                  <a:lnTo>
                    <a:pt x="1102344" y="386080"/>
                  </a:lnTo>
                  <a:lnTo>
                    <a:pt x="1488424" y="0"/>
                  </a:lnTo>
                  <a:lnTo>
                    <a:pt x="1925254" y="0"/>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67" name="Freeform 66">
              <a:extLst>
                <a:ext uri="{FF2B5EF4-FFF2-40B4-BE49-F238E27FC236}">
                  <a16:creationId xmlns:a16="http://schemas.microsoft.com/office/drawing/2014/main" id="{3EA5E0E4-ACBE-9042-B5D4-697663728D87}"/>
                </a:ext>
              </a:extLst>
            </p:cNvPr>
            <p:cNvSpPr/>
            <p:nvPr/>
          </p:nvSpPr>
          <p:spPr bwMode="auto">
            <a:xfrm>
              <a:off x="5629294" y="2582381"/>
              <a:ext cx="882562" cy="378895"/>
            </a:xfrm>
            <a:custGeom>
              <a:avLst/>
              <a:gdLst>
                <a:gd name="connsiteX0" fmla="*/ 0 w 2998381"/>
                <a:gd name="connsiteY0" fmla="*/ 1254642 h 1254642"/>
                <a:gd name="connsiteX1" fmla="*/ 909083 w 2998381"/>
                <a:gd name="connsiteY1" fmla="*/ 345559 h 1254642"/>
                <a:gd name="connsiteX2" fmla="*/ 1770320 w 2998381"/>
                <a:gd name="connsiteY2" fmla="*/ 345559 h 1254642"/>
                <a:gd name="connsiteX3" fmla="*/ 2115879 w 2998381"/>
                <a:gd name="connsiteY3" fmla="*/ 0 h 1254642"/>
                <a:gd name="connsiteX4" fmla="*/ 2174358 w 2998381"/>
                <a:gd name="connsiteY4" fmla="*/ 0 h 1254642"/>
                <a:gd name="connsiteX5" fmla="*/ 2998381 w 2998381"/>
                <a:gd name="connsiteY5" fmla="*/ 0 h 1254642"/>
                <a:gd name="connsiteX0" fmla="*/ 0 w 2089298"/>
                <a:gd name="connsiteY0" fmla="*/ 345559 h 345559"/>
                <a:gd name="connsiteX1" fmla="*/ 861237 w 2089298"/>
                <a:gd name="connsiteY1" fmla="*/ 345559 h 345559"/>
                <a:gd name="connsiteX2" fmla="*/ 1206796 w 2089298"/>
                <a:gd name="connsiteY2" fmla="*/ 0 h 345559"/>
                <a:gd name="connsiteX3" fmla="*/ 1265275 w 2089298"/>
                <a:gd name="connsiteY3" fmla="*/ 0 h 345559"/>
                <a:gd name="connsiteX4" fmla="*/ 2089298 w 2089298"/>
                <a:gd name="connsiteY4" fmla="*/ 0 h 345559"/>
                <a:gd name="connsiteX0" fmla="*/ 0 w 1228061"/>
                <a:gd name="connsiteY0" fmla="*/ 345559 h 345559"/>
                <a:gd name="connsiteX1" fmla="*/ 345559 w 1228061"/>
                <a:gd name="connsiteY1" fmla="*/ 0 h 345559"/>
                <a:gd name="connsiteX2" fmla="*/ 404038 w 1228061"/>
                <a:gd name="connsiteY2" fmla="*/ 0 h 345559"/>
                <a:gd name="connsiteX3" fmla="*/ 1228061 w 1228061"/>
                <a:gd name="connsiteY3" fmla="*/ 0 h 345559"/>
                <a:gd name="connsiteX0" fmla="*/ 0 w 1228061"/>
                <a:gd name="connsiteY0" fmla="*/ 345559 h 345559"/>
                <a:gd name="connsiteX1" fmla="*/ 345559 w 1228061"/>
                <a:gd name="connsiteY1" fmla="*/ 0 h 345559"/>
                <a:gd name="connsiteX2" fmla="*/ 1228061 w 1228061"/>
                <a:gd name="connsiteY2" fmla="*/ 0 h 345559"/>
                <a:gd name="connsiteX0" fmla="*/ 0 w 801374"/>
                <a:gd name="connsiteY0" fmla="*/ 345559 h 345559"/>
                <a:gd name="connsiteX1" fmla="*/ 345559 w 801374"/>
                <a:gd name="connsiteY1" fmla="*/ 0 h 345559"/>
                <a:gd name="connsiteX2" fmla="*/ 801374 w 801374"/>
                <a:gd name="connsiteY2" fmla="*/ 4445 h 345559"/>
                <a:gd name="connsiteX0" fmla="*/ 0 w 806500"/>
                <a:gd name="connsiteY0" fmla="*/ 346241 h 346241"/>
                <a:gd name="connsiteX1" fmla="*/ 345559 w 806500"/>
                <a:gd name="connsiteY1" fmla="*/ 682 h 346241"/>
                <a:gd name="connsiteX2" fmla="*/ 806500 w 806500"/>
                <a:gd name="connsiteY2" fmla="*/ 0 h 346241"/>
              </a:gdLst>
              <a:ahLst/>
              <a:cxnLst>
                <a:cxn ang="0">
                  <a:pos x="connsiteX0" y="connsiteY0"/>
                </a:cxn>
                <a:cxn ang="0">
                  <a:pos x="connsiteX1" y="connsiteY1"/>
                </a:cxn>
                <a:cxn ang="0">
                  <a:pos x="connsiteX2" y="connsiteY2"/>
                </a:cxn>
              </a:cxnLst>
              <a:rect l="l" t="t" r="r" b="b"/>
              <a:pathLst>
                <a:path w="806500" h="346241">
                  <a:moveTo>
                    <a:pt x="0" y="346241"/>
                  </a:moveTo>
                  <a:lnTo>
                    <a:pt x="345559" y="682"/>
                  </a:lnTo>
                  <a:lnTo>
                    <a:pt x="806500" y="0"/>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69" name="Freeform 68">
              <a:extLst>
                <a:ext uri="{FF2B5EF4-FFF2-40B4-BE49-F238E27FC236}">
                  <a16:creationId xmlns:a16="http://schemas.microsoft.com/office/drawing/2014/main" id="{1082A796-98B0-C142-8865-722BD17399EA}"/>
                </a:ext>
              </a:extLst>
            </p:cNvPr>
            <p:cNvSpPr/>
            <p:nvPr/>
          </p:nvSpPr>
          <p:spPr bwMode="auto">
            <a:xfrm>
              <a:off x="8287014" y="2602900"/>
              <a:ext cx="939665" cy="319522"/>
            </a:xfrm>
            <a:custGeom>
              <a:avLst/>
              <a:gdLst>
                <a:gd name="connsiteX0" fmla="*/ 0 w 494453"/>
                <a:gd name="connsiteY0" fmla="*/ 0 h 230293"/>
                <a:gd name="connsiteX1" fmla="*/ 230293 w 494453"/>
                <a:gd name="connsiteY1" fmla="*/ 230293 h 230293"/>
                <a:gd name="connsiteX2" fmla="*/ 494453 w 494453"/>
                <a:gd name="connsiteY2" fmla="*/ 230293 h 230293"/>
                <a:gd name="connsiteX0" fmla="*/ 0 w 677255"/>
                <a:gd name="connsiteY0" fmla="*/ 0 h 230293"/>
                <a:gd name="connsiteX1" fmla="*/ 230293 w 677255"/>
                <a:gd name="connsiteY1" fmla="*/ 230293 h 230293"/>
                <a:gd name="connsiteX2" fmla="*/ 677255 w 677255"/>
                <a:gd name="connsiteY2" fmla="*/ 230293 h 230293"/>
              </a:gdLst>
              <a:ahLst/>
              <a:cxnLst>
                <a:cxn ang="0">
                  <a:pos x="connsiteX0" y="connsiteY0"/>
                </a:cxn>
                <a:cxn ang="0">
                  <a:pos x="connsiteX1" y="connsiteY1"/>
                </a:cxn>
                <a:cxn ang="0">
                  <a:pos x="connsiteX2" y="connsiteY2"/>
                </a:cxn>
              </a:cxnLst>
              <a:rect l="l" t="t" r="r" b="b"/>
              <a:pathLst>
                <a:path w="677255" h="230293">
                  <a:moveTo>
                    <a:pt x="0" y="0"/>
                  </a:moveTo>
                  <a:lnTo>
                    <a:pt x="230293" y="230293"/>
                  </a:lnTo>
                  <a:lnTo>
                    <a:pt x="677255" y="230293"/>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70" name="Freeform 69">
              <a:extLst>
                <a:ext uri="{FF2B5EF4-FFF2-40B4-BE49-F238E27FC236}">
                  <a16:creationId xmlns:a16="http://schemas.microsoft.com/office/drawing/2014/main" id="{7BCC7EE0-892E-DF49-9A4B-217E9EE1B81E}"/>
                </a:ext>
              </a:extLst>
            </p:cNvPr>
            <p:cNvSpPr/>
            <p:nvPr/>
          </p:nvSpPr>
          <p:spPr bwMode="auto">
            <a:xfrm>
              <a:off x="7784410" y="2296011"/>
              <a:ext cx="1443022" cy="815666"/>
            </a:xfrm>
            <a:custGeom>
              <a:avLst/>
              <a:gdLst>
                <a:gd name="connsiteX0" fmla="*/ 0 w 2912533"/>
                <a:gd name="connsiteY0" fmla="*/ 386080 h 386080"/>
                <a:gd name="connsiteX1" fmla="*/ 1774613 w 2912533"/>
                <a:gd name="connsiteY1" fmla="*/ 386080 h 386080"/>
                <a:gd name="connsiteX2" fmla="*/ 2160693 w 2912533"/>
                <a:gd name="connsiteY2" fmla="*/ 0 h 386080"/>
                <a:gd name="connsiteX3" fmla="*/ 2912533 w 2912533"/>
                <a:gd name="connsiteY3" fmla="*/ 0 h 386080"/>
                <a:gd name="connsiteX0" fmla="*/ 0 w 1137920"/>
                <a:gd name="connsiteY0" fmla="*/ 386080 h 386080"/>
                <a:gd name="connsiteX1" fmla="*/ 386080 w 1137920"/>
                <a:gd name="connsiteY1" fmla="*/ 0 h 386080"/>
                <a:gd name="connsiteX2" fmla="*/ 1137920 w 1137920"/>
                <a:gd name="connsiteY2" fmla="*/ 0 h 386080"/>
                <a:gd name="connsiteX0" fmla="*/ 0 w 1137920"/>
                <a:gd name="connsiteY0" fmla="*/ 387666 h 387666"/>
                <a:gd name="connsiteX1" fmla="*/ 386080 w 1137920"/>
                <a:gd name="connsiteY1" fmla="*/ 1586 h 387666"/>
                <a:gd name="connsiteX2" fmla="*/ 685833 w 1137920"/>
                <a:gd name="connsiteY2" fmla="*/ 0 h 387666"/>
                <a:gd name="connsiteX3" fmla="*/ 1137920 w 1137920"/>
                <a:gd name="connsiteY3" fmla="*/ 1586 h 387666"/>
                <a:gd name="connsiteX0" fmla="*/ 0 w 685833"/>
                <a:gd name="connsiteY0" fmla="*/ 387666 h 387666"/>
                <a:gd name="connsiteX1" fmla="*/ 386080 w 685833"/>
                <a:gd name="connsiteY1" fmla="*/ 1586 h 387666"/>
                <a:gd name="connsiteX2" fmla="*/ 685833 w 685833"/>
                <a:gd name="connsiteY2" fmla="*/ 0 h 387666"/>
              </a:gdLst>
              <a:ahLst/>
              <a:cxnLst>
                <a:cxn ang="0">
                  <a:pos x="connsiteX0" y="connsiteY0"/>
                </a:cxn>
                <a:cxn ang="0">
                  <a:pos x="connsiteX1" y="connsiteY1"/>
                </a:cxn>
                <a:cxn ang="0">
                  <a:pos x="connsiteX2" y="connsiteY2"/>
                </a:cxn>
              </a:cxnLst>
              <a:rect l="l" t="t" r="r" b="b"/>
              <a:pathLst>
                <a:path w="685833" h="387666">
                  <a:moveTo>
                    <a:pt x="0" y="387666"/>
                  </a:moveTo>
                  <a:lnTo>
                    <a:pt x="386080" y="1586"/>
                  </a:lnTo>
                  <a:lnTo>
                    <a:pt x="685833" y="0"/>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71" name="Freeform 70">
              <a:extLst>
                <a:ext uri="{FF2B5EF4-FFF2-40B4-BE49-F238E27FC236}">
                  <a16:creationId xmlns:a16="http://schemas.microsoft.com/office/drawing/2014/main" id="{1082A796-98B0-C142-8865-722BD17399EA}"/>
                </a:ext>
              </a:extLst>
            </p:cNvPr>
            <p:cNvSpPr/>
            <p:nvPr/>
          </p:nvSpPr>
          <p:spPr bwMode="auto">
            <a:xfrm>
              <a:off x="8314107" y="4176679"/>
              <a:ext cx="915618" cy="540101"/>
            </a:xfrm>
            <a:custGeom>
              <a:avLst/>
              <a:gdLst>
                <a:gd name="connsiteX0" fmla="*/ 0 w 494453"/>
                <a:gd name="connsiteY0" fmla="*/ 0 h 230293"/>
                <a:gd name="connsiteX1" fmla="*/ 230293 w 494453"/>
                <a:gd name="connsiteY1" fmla="*/ 230293 h 230293"/>
                <a:gd name="connsiteX2" fmla="*/ 494453 w 494453"/>
                <a:gd name="connsiteY2" fmla="*/ 230293 h 230293"/>
                <a:gd name="connsiteX0" fmla="*/ 0 w 677255"/>
                <a:gd name="connsiteY0" fmla="*/ 0 h 230293"/>
                <a:gd name="connsiteX1" fmla="*/ 230293 w 677255"/>
                <a:gd name="connsiteY1" fmla="*/ 230293 h 230293"/>
                <a:gd name="connsiteX2" fmla="*/ 677255 w 677255"/>
                <a:gd name="connsiteY2" fmla="*/ 230293 h 230293"/>
                <a:gd name="connsiteX0" fmla="*/ 0 w 677255"/>
                <a:gd name="connsiteY0" fmla="*/ 0 h 230293"/>
                <a:gd name="connsiteX1" fmla="*/ 230293 w 677255"/>
                <a:gd name="connsiteY1" fmla="*/ 230293 h 230293"/>
                <a:gd name="connsiteX2" fmla="*/ 485499 w 677255"/>
                <a:gd name="connsiteY2" fmla="*/ 230293 h 230293"/>
                <a:gd name="connsiteX3" fmla="*/ 677255 w 677255"/>
                <a:gd name="connsiteY3" fmla="*/ 230293 h 230293"/>
                <a:gd name="connsiteX0" fmla="*/ 0 w 485499"/>
                <a:gd name="connsiteY0" fmla="*/ 0 h 230293"/>
                <a:gd name="connsiteX1" fmla="*/ 230293 w 485499"/>
                <a:gd name="connsiteY1" fmla="*/ 230293 h 230293"/>
                <a:gd name="connsiteX2" fmla="*/ 485499 w 485499"/>
                <a:gd name="connsiteY2" fmla="*/ 230293 h 230293"/>
                <a:gd name="connsiteX0" fmla="*/ 0 w 485499"/>
                <a:gd name="connsiteY0" fmla="*/ 0 h 230293"/>
                <a:gd name="connsiteX1" fmla="*/ 230293 w 485499"/>
                <a:gd name="connsiteY1" fmla="*/ 230293 h 230293"/>
                <a:gd name="connsiteX2" fmla="*/ 390408 w 485499"/>
                <a:gd name="connsiteY2" fmla="*/ 229481 h 230293"/>
                <a:gd name="connsiteX3" fmla="*/ 485499 w 485499"/>
                <a:gd name="connsiteY3" fmla="*/ 230293 h 230293"/>
                <a:gd name="connsiteX0" fmla="*/ 0 w 390408"/>
                <a:gd name="connsiteY0" fmla="*/ 0 h 230293"/>
                <a:gd name="connsiteX1" fmla="*/ 230293 w 390408"/>
                <a:gd name="connsiteY1" fmla="*/ 230293 h 230293"/>
                <a:gd name="connsiteX2" fmla="*/ 390408 w 390408"/>
                <a:gd name="connsiteY2" fmla="*/ 229481 h 230293"/>
              </a:gdLst>
              <a:ahLst/>
              <a:cxnLst>
                <a:cxn ang="0">
                  <a:pos x="connsiteX0" y="connsiteY0"/>
                </a:cxn>
                <a:cxn ang="0">
                  <a:pos x="connsiteX1" y="connsiteY1"/>
                </a:cxn>
                <a:cxn ang="0">
                  <a:pos x="connsiteX2" y="connsiteY2"/>
                </a:cxn>
              </a:cxnLst>
              <a:rect l="l" t="t" r="r" b="b"/>
              <a:pathLst>
                <a:path w="390408" h="230293">
                  <a:moveTo>
                    <a:pt x="0" y="0"/>
                  </a:moveTo>
                  <a:lnTo>
                    <a:pt x="230293" y="230293"/>
                  </a:lnTo>
                  <a:lnTo>
                    <a:pt x="390408" y="229481"/>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72" name="Freeform 71">
              <a:extLst>
                <a:ext uri="{FF2B5EF4-FFF2-40B4-BE49-F238E27FC236}">
                  <a16:creationId xmlns:a16="http://schemas.microsoft.com/office/drawing/2014/main" id="{1082A796-98B0-C142-8865-722BD17399EA}"/>
                </a:ext>
              </a:extLst>
            </p:cNvPr>
            <p:cNvSpPr/>
            <p:nvPr/>
          </p:nvSpPr>
          <p:spPr bwMode="auto">
            <a:xfrm flipV="1">
              <a:off x="7307457" y="4609907"/>
              <a:ext cx="800668" cy="354462"/>
            </a:xfrm>
            <a:custGeom>
              <a:avLst/>
              <a:gdLst>
                <a:gd name="connsiteX0" fmla="*/ 0 w 494453"/>
                <a:gd name="connsiteY0" fmla="*/ 0 h 230293"/>
                <a:gd name="connsiteX1" fmla="*/ 230293 w 494453"/>
                <a:gd name="connsiteY1" fmla="*/ 230293 h 230293"/>
                <a:gd name="connsiteX2" fmla="*/ 494453 w 494453"/>
                <a:gd name="connsiteY2" fmla="*/ 230293 h 230293"/>
                <a:gd name="connsiteX0" fmla="*/ 0 w 677255"/>
                <a:gd name="connsiteY0" fmla="*/ 0 h 230293"/>
                <a:gd name="connsiteX1" fmla="*/ 230293 w 677255"/>
                <a:gd name="connsiteY1" fmla="*/ 230293 h 230293"/>
                <a:gd name="connsiteX2" fmla="*/ 677255 w 677255"/>
                <a:gd name="connsiteY2" fmla="*/ 230293 h 230293"/>
                <a:gd name="connsiteX0" fmla="*/ 0 w 677255"/>
                <a:gd name="connsiteY0" fmla="*/ 0 h 230293"/>
                <a:gd name="connsiteX1" fmla="*/ 230293 w 677255"/>
                <a:gd name="connsiteY1" fmla="*/ 230293 h 230293"/>
                <a:gd name="connsiteX2" fmla="*/ 485499 w 677255"/>
                <a:gd name="connsiteY2" fmla="*/ 230293 h 230293"/>
                <a:gd name="connsiteX3" fmla="*/ 677255 w 677255"/>
                <a:gd name="connsiteY3" fmla="*/ 230293 h 230293"/>
                <a:gd name="connsiteX0" fmla="*/ 0 w 485499"/>
                <a:gd name="connsiteY0" fmla="*/ 0 h 230293"/>
                <a:gd name="connsiteX1" fmla="*/ 230293 w 485499"/>
                <a:gd name="connsiteY1" fmla="*/ 230293 h 230293"/>
                <a:gd name="connsiteX2" fmla="*/ 485499 w 485499"/>
                <a:gd name="connsiteY2" fmla="*/ 230293 h 230293"/>
                <a:gd name="connsiteX0" fmla="*/ 0 w 520190"/>
                <a:gd name="connsiteY0" fmla="*/ 0 h 230293"/>
                <a:gd name="connsiteX1" fmla="*/ 230293 w 520190"/>
                <a:gd name="connsiteY1" fmla="*/ 230293 h 230293"/>
                <a:gd name="connsiteX2" fmla="*/ 520190 w 520190"/>
                <a:gd name="connsiteY2" fmla="*/ 230293 h 230293"/>
              </a:gdLst>
              <a:ahLst/>
              <a:cxnLst>
                <a:cxn ang="0">
                  <a:pos x="connsiteX0" y="connsiteY0"/>
                </a:cxn>
                <a:cxn ang="0">
                  <a:pos x="connsiteX1" y="connsiteY1"/>
                </a:cxn>
                <a:cxn ang="0">
                  <a:pos x="connsiteX2" y="connsiteY2"/>
                </a:cxn>
              </a:cxnLst>
              <a:rect l="l" t="t" r="r" b="b"/>
              <a:pathLst>
                <a:path w="520190" h="230293">
                  <a:moveTo>
                    <a:pt x="0" y="0"/>
                  </a:moveTo>
                  <a:lnTo>
                    <a:pt x="230293" y="230293"/>
                  </a:lnTo>
                  <a:lnTo>
                    <a:pt x="520190" y="230293"/>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73" name="Freeform 72">
              <a:extLst>
                <a:ext uri="{FF2B5EF4-FFF2-40B4-BE49-F238E27FC236}">
                  <a16:creationId xmlns:a16="http://schemas.microsoft.com/office/drawing/2014/main" id="{1082A796-98B0-C142-8865-722BD17399EA}"/>
                </a:ext>
              </a:extLst>
            </p:cNvPr>
            <p:cNvSpPr/>
            <p:nvPr/>
          </p:nvSpPr>
          <p:spPr bwMode="auto">
            <a:xfrm>
              <a:off x="5842937" y="3647586"/>
              <a:ext cx="1331881" cy="498662"/>
            </a:xfrm>
            <a:custGeom>
              <a:avLst/>
              <a:gdLst>
                <a:gd name="connsiteX0" fmla="*/ 0 w 494453"/>
                <a:gd name="connsiteY0" fmla="*/ 0 h 230293"/>
                <a:gd name="connsiteX1" fmla="*/ 230293 w 494453"/>
                <a:gd name="connsiteY1" fmla="*/ 230293 h 230293"/>
                <a:gd name="connsiteX2" fmla="*/ 494453 w 494453"/>
                <a:gd name="connsiteY2" fmla="*/ 230293 h 230293"/>
                <a:gd name="connsiteX0" fmla="*/ 0 w 677255"/>
                <a:gd name="connsiteY0" fmla="*/ 0 h 230293"/>
                <a:gd name="connsiteX1" fmla="*/ 230293 w 677255"/>
                <a:gd name="connsiteY1" fmla="*/ 230293 h 230293"/>
                <a:gd name="connsiteX2" fmla="*/ 677255 w 677255"/>
                <a:gd name="connsiteY2" fmla="*/ 230293 h 230293"/>
                <a:gd name="connsiteX0" fmla="*/ 0 w 677255"/>
                <a:gd name="connsiteY0" fmla="*/ 0 h 230293"/>
                <a:gd name="connsiteX1" fmla="*/ 230293 w 677255"/>
                <a:gd name="connsiteY1" fmla="*/ 230293 h 230293"/>
                <a:gd name="connsiteX2" fmla="*/ 485499 w 677255"/>
                <a:gd name="connsiteY2" fmla="*/ 230293 h 230293"/>
                <a:gd name="connsiteX3" fmla="*/ 677255 w 677255"/>
                <a:gd name="connsiteY3" fmla="*/ 230293 h 230293"/>
                <a:gd name="connsiteX0" fmla="*/ 0 w 485499"/>
                <a:gd name="connsiteY0" fmla="*/ 0 h 230293"/>
                <a:gd name="connsiteX1" fmla="*/ 230293 w 485499"/>
                <a:gd name="connsiteY1" fmla="*/ 230293 h 230293"/>
                <a:gd name="connsiteX2" fmla="*/ 485499 w 485499"/>
                <a:gd name="connsiteY2" fmla="*/ 230293 h 230293"/>
                <a:gd name="connsiteX0" fmla="*/ 0 w 615090"/>
                <a:gd name="connsiteY0" fmla="*/ 0 h 230293"/>
                <a:gd name="connsiteX1" fmla="*/ 230293 w 615090"/>
                <a:gd name="connsiteY1" fmla="*/ 230293 h 230293"/>
                <a:gd name="connsiteX2" fmla="*/ 615090 w 615090"/>
                <a:gd name="connsiteY2" fmla="*/ 230293 h 230293"/>
              </a:gdLst>
              <a:ahLst/>
              <a:cxnLst>
                <a:cxn ang="0">
                  <a:pos x="connsiteX0" y="connsiteY0"/>
                </a:cxn>
                <a:cxn ang="0">
                  <a:pos x="connsiteX1" y="connsiteY1"/>
                </a:cxn>
                <a:cxn ang="0">
                  <a:pos x="connsiteX2" y="connsiteY2"/>
                </a:cxn>
              </a:cxnLst>
              <a:rect l="l" t="t" r="r" b="b"/>
              <a:pathLst>
                <a:path w="615090" h="230293">
                  <a:moveTo>
                    <a:pt x="0" y="0"/>
                  </a:moveTo>
                  <a:lnTo>
                    <a:pt x="230293" y="230293"/>
                  </a:lnTo>
                  <a:lnTo>
                    <a:pt x="615090" y="230293"/>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74" name="Freeform 73">
              <a:extLst>
                <a:ext uri="{FF2B5EF4-FFF2-40B4-BE49-F238E27FC236}">
                  <a16:creationId xmlns:a16="http://schemas.microsoft.com/office/drawing/2014/main" id="{1082A796-98B0-C142-8865-722BD17399EA}"/>
                </a:ext>
              </a:extLst>
            </p:cNvPr>
            <p:cNvSpPr/>
            <p:nvPr/>
          </p:nvSpPr>
          <p:spPr bwMode="auto">
            <a:xfrm>
              <a:off x="5380496" y="4031663"/>
              <a:ext cx="536494" cy="286337"/>
            </a:xfrm>
            <a:custGeom>
              <a:avLst/>
              <a:gdLst>
                <a:gd name="connsiteX0" fmla="*/ 0 w 494453"/>
                <a:gd name="connsiteY0" fmla="*/ 0 h 230293"/>
                <a:gd name="connsiteX1" fmla="*/ 230293 w 494453"/>
                <a:gd name="connsiteY1" fmla="*/ 230293 h 230293"/>
                <a:gd name="connsiteX2" fmla="*/ 494453 w 494453"/>
                <a:gd name="connsiteY2" fmla="*/ 230293 h 230293"/>
                <a:gd name="connsiteX0" fmla="*/ 0 w 677255"/>
                <a:gd name="connsiteY0" fmla="*/ 0 h 230293"/>
                <a:gd name="connsiteX1" fmla="*/ 230293 w 677255"/>
                <a:gd name="connsiteY1" fmla="*/ 230293 h 230293"/>
                <a:gd name="connsiteX2" fmla="*/ 677255 w 677255"/>
                <a:gd name="connsiteY2" fmla="*/ 230293 h 230293"/>
                <a:gd name="connsiteX0" fmla="*/ 0 w 677255"/>
                <a:gd name="connsiteY0" fmla="*/ 0 h 230293"/>
                <a:gd name="connsiteX1" fmla="*/ 230293 w 677255"/>
                <a:gd name="connsiteY1" fmla="*/ 230293 h 230293"/>
                <a:gd name="connsiteX2" fmla="*/ 485499 w 677255"/>
                <a:gd name="connsiteY2" fmla="*/ 230293 h 230293"/>
                <a:gd name="connsiteX3" fmla="*/ 677255 w 677255"/>
                <a:gd name="connsiteY3" fmla="*/ 230293 h 230293"/>
                <a:gd name="connsiteX0" fmla="*/ 0 w 485499"/>
                <a:gd name="connsiteY0" fmla="*/ 0 h 230293"/>
                <a:gd name="connsiteX1" fmla="*/ 230293 w 485499"/>
                <a:gd name="connsiteY1" fmla="*/ 230293 h 230293"/>
                <a:gd name="connsiteX2" fmla="*/ 485499 w 485499"/>
                <a:gd name="connsiteY2" fmla="*/ 230293 h 230293"/>
                <a:gd name="connsiteX0" fmla="*/ 0 w 615090"/>
                <a:gd name="connsiteY0" fmla="*/ 0 h 230293"/>
                <a:gd name="connsiteX1" fmla="*/ 230293 w 615090"/>
                <a:gd name="connsiteY1" fmla="*/ 230293 h 230293"/>
                <a:gd name="connsiteX2" fmla="*/ 615090 w 615090"/>
                <a:gd name="connsiteY2" fmla="*/ 230293 h 230293"/>
                <a:gd name="connsiteX0" fmla="*/ 0 w 615090"/>
                <a:gd name="connsiteY0" fmla="*/ 0 h 230293"/>
                <a:gd name="connsiteX1" fmla="*/ 230293 w 615090"/>
                <a:gd name="connsiteY1" fmla="*/ 230293 h 230293"/>
                <a:gd name="connsiteX2" fmla="*/ 431486 w 615090"/>
                <a:gd name="connsiteY2" fmla="*/ 228347 h 230293"/>
                <a:gd name="connsiteX3" fmla="*/ 615090 w 615090"/>
                <a:gd name="connsiteY3" fmla="*/ 230293 h 230293"/>
                <a:gd name="connsiteX0" fmla="*/ 0 w 431486"/>
                <a:gd name="connsiteY0" fmla="*/ 0 h 230293"/>
                <a:gd name="connsiteX1" fmla="*/ 230293 w 431486"/>
                <a:gd name="connsiteY1" fmla="*/ 230293 h 230293"/>
                <a:gd name="connsiteX2" fmla="*/ 431486 w 431486"/>
                <a:gd name="connsiteY2" fmla="*/ 228347 h 230293"/>
              </a:gdLst>
              <a:ahLst/>
              <a:cxnLst>
                <a:cxn ang="0">
                  <a:pos x="connsiteX0" y="connsiteY0"/>
                </a:cxn>
                <a:cxn ang="0">
                  <a:pos x="connsiteX1" y="connsiteY1"/>
                </a:cxn>
                <a:cxn ang="0">
                  <a:pos x="connsiteX2" y="connsiteY2"/>
                </a:cxn>
              </a:cxnLst>
              <a:rect l="l" t="t" r="r" b="b"/>
              <a:pathLst>
                <a:path w="431486" h="230293">
                  <a:moveTo>
                    <a:pt x="0" y="0"/>
                  </a:moveTo>
                  <a:lnTo>
                    <a:pt x="230293" y="230293"/>
                  </a:lnTo>
                  <a:lnTo>
                    <a:pt x="431486" y="228347"/>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75" name="Freeform 74">
              <a:extLst>
                <a:ext uri="{FF2B5EF4-FFF2-40B4-BE49-F238E27FC236}">
                  <a16:creationId xmlns:a16="http://schemas.microsoft.com/office/drawing/2014/main" id="{7BCC7EE0-892E-DF49-9A4B-217E9EE1B81E}"/>
                </a:ext>
              </a:extLst>
            </p:cNvPr>
            <p:cNvSpPr/>
            <p:nvPr/>
          </p:nvSpPr>
          <p:spPr bwMode="auto">
            <a:xfrm flipV="1">
              <a:off x="4450126" y="3666981"/>
              <a:ext cx="4781505" cy="1573653"/>
            </a:xfrm>
            <a:custGeom>
              <a:avLst/>
              <a:gdLst>
                <a:gd name="connsiteX0" fmla="*/ 0 w 2912533"/>
                <a:gd name="connsiteY0" fmla="*/ 386080 h 386080"/>
                <a:gd name="connsiteX1" fmla="*/ 1774613 w 2912533"/>
                <a:gd name="connsiteY1" fmla="*/ 386080 h 386080"/>
                <a:gd name="connsiteX2" fmla="*/ 2160693 w 2912533"/>
                <a:gd name="connsiteY2" fmla="*/ 0 h 386080"/>
                <a:gd name="connsiteX3" fmla="*/ 2912533 w 2912533"/>
                <a:gd name="connsiteY3" fmla="*/ 0 h 386080"/>
                <a:gd name="connsiteX0" fmla="*/ 0 w 2912533"/>
                <a:gd name="connsiteY0" fmla="*/ 386080 h 386080"/>
                <a:gd name="connsiteX1" fmla="*/ 1224314 w 2912533"/>
                <a:gd name="connsiteY1" fmla="*/ 385589 h 386080"/>
                <a:gd name="connsiteX2" fmla="*/ 1774613 w 2912533"/>
                <a:gd name="connsiteY2" fmla="*/ 386080 h 386080"/>
                <a:gd name="connsiteX3" fmla="*/ 2160693 w 2912533"/>
                <a:gd name="connsiteY3" fmla="*/ 0 h 386080"/>
                <a:gd name="connsiteX4" fmla="*/ 2912533 w 2912533"/>
                <a:gd name="connsiteY4" fmla="*/ 0 h 386080"/>
                <a:gd name="connsiteX0" fmla="*/ 0 w 2912533"/>
                <a:gd name="connsiteY0" fmla="*/ 386080 h 386080"/>
                <a:gd name="connsiteX1" fmla="*/ 1224314 w 2912533"/>
                <a:gd name="connsiteY1" fmla="*/ 385589 h 386080"/>
                <a:gd name="connsiteX2" fmla="*/ 1774613 w 2912533"/>
                <a:gd name="connsiteY2" fmla="*/ 386080 h 386080"/>
                <a:gd name="connsiteX3" fmla="*/ 2160693 w 2912533"/>
                <a:gd name="connsiteY3" fmla="*/ 0 h 386080"/>
                <a:gd name="connsiteX4" fmla="*/ 2912533 w 2912533"/>
                <a:gd name="connsiteY4" fmla="*/ 0 h 386080"/>
                <a:gd name="connsiteX0" fmla="*/ 0 w 2240264"/>
                <a:gd name="connsiteY0" fmla="*/ 682862 h 682862"/>
                <a:gd name="connsiteX1" fmla="*/ 552045 w 2240264"/>
                <a:gd name="connsiteY1" fmla="*/ 385589 h 682862"/>
                <a:gd name="connsiteX2" fmla="*/ 1102344 w 2240264"/>
                <a:gd name="connsiteY2" fmla="*/ 386080 h 682862"/>
                <a:gd name="connsiteX3" fmla="*/ 1488424 w 2240264"/>
                <a:gd name="connsiteY3" fmla="*/ 0 h 682862"/>
                <a:gd name="connsiteX4" fmla="*/ 2240264 w 2240264"/>
                <a:gd name="connsiteY4" fmla="*/ 0 h 682862"/>
                <a:gd name="connsiteX0" fmla="*/ 0 w 2240264"/>
                <a:gd name="connsiteY0" fmla="*/ 682862 h 682862"/>
                <a:gd name="connsiteX1" fmla="*/ 212631 w 2240264"/>
                <a:gd name="connsiteY1" fmla="*/ 564314 h 682862"/>
                <a:gd name="connsiteX2" fmla="*/ 552045 w 2240264"/>
                <a:gd name="connsiteY2" fmla="*/ 385589 h 682862"/>
                <a:gd name="connsiteX3" fmla="*/ 1102344 w 2240264"/>
                <a:gd name="connsiteY3" fmla="*/ 386080 h 682862"/>
                <a:gd name="connsiteX4" fmla="*/ 1488424 w 2240264"/>
                <a:gd name="connsiteY4" fmla="*/ 0 h 682862"/>
                <a:gd name="connsiteX5" fmla="*/ 2240264 w 2240264"/>
                <a:gd name="connsiteY5" fmla="*/ 0 h 682862"/>
                <a:gd name="connsiteX0" fmla="*/ 0 w 2240264"/>
                <a:gd name="connsiteY0" fmla="*/ 682862 h 684010"/>
                <a:gd name="connsiteX1" fmla="*/ 253623 w 2240264"/>
                <a:gd name="connsiteY1" fmla="*/ 684010 h 684010"/>
                <a:gd name="connsiteX2" fmla="*/ 552045 w 2240264"/>
                <a:gd name="connsiteY2" fmla="*/ 385589 h 684010"/>
                <a:gd name="connsiteX3" fmla="*/ 1102344 w 2240264"/>
                <a:gd name="connsiteY3" fmla="*/ 386080 h 684010"/>
                <a:gd name="connsiteX4" fmla="*/ 1488424 w 2240264"/>
                <a:gd name="connsiteY4" fmla="*/ 0 h 684010"/>
                <a:gd name="connsiteX5" fmla="*/ 2240264 w 2240264"/>
                <a:gd name="connsiteY5" fmla="*/ 0 h 684010"/>
                <a:gd name="connsiteX0" fmla="*/ 0 w 1925254"/>
                <a:gd name="connsiteY0" fmla="*/ 682862 h 684010"/>
                <a:gd name="connsiteX1" fmla="*/ 253623 w 1925254"/>
                <a:gd name="connsiteY1" fmla="*/ 684010 h 684010"/>
                <a:gd name="connsiteX2" fmla="*/ 552045 w 1925254"/>
                <a:gd name="connsiteY2" fmla="*/ 385589 h 684010"/>
                <a:gd name="connsiteX3" fmla="*/ 1102344 w 1925254"/>
                <a:gd name="connsiteY3" fmla="*/ 386080 h 684010"/>
                <a:gd name="connsiteX4" fmla="*/ 1488424 w 1925254"/>
                <a:gd name="connsiteY4" fmla="*/ 0 h 684010"/>
                <a:gd name="connsiteX5" fmla="*/ 1925254 w 1925254"/>
                <a:gd name="connsiteY5" fmla="*/ 0 h 684010"/>
                <a:gd name="connsiteX0" fmla="*/ 0 w 1671631"/>
                <a:gd name="connsiteY0" fmla="*/ 684010 h 684010"/>
                <a:gd name="connsiteX1" fmla="*/ 298422 w 1671631"/>
                <a:gd name="connsiteY1" fmla="*/ 385589 h 684010"/>
                <a:gd name="connsiteX2" fmla="*/ 848721 w 1671631"/>
                <a:gd name="connsiteY2" fmla="*/ 386080 h 684010"/>
                <a:gd name="connsiteX3" fmla="*/ 1234801 w 1671631"/>
                <a:gd name="connsiteY3" fmla="*/ 0 h 684010"/>
                <a:gd name="connsiteX4" fmla="*/ 1671631 w 1671631"/>
                <a:gd name="connsiteY4" fmla="*/ 0 h 684010"/>
                <a:gd name="connsiteX0" fmla="*/ 0 w 1671631"/>
                <a:gd name="connsiteY0" fmla="*/ 684010 h 684010"/>
                <a:gd name="connsiteX1" fmla="*/ 298422 w 1671631"/>
                <a:gd name="connsiteY1" fmla="*/ 385589 h 684010"/>
                <a:gd name="connsiteX2" fmla="*/ 790386 w 1671631"/>
                <a:gd name="connsiteY2" fmla="*/ 386080 h 684010"/>
                <a:gd name="connsiteX3" fmla="*/ 1234801 w 1671631"/>
                <a:gd name="connsiteY3" fmla="*/ 0 h 684010"/>
                <a:gd name="connsiteX4" fmla="*/ 1671631 w 1671631"/>
                <a:gd name="connsiteY4" fmla="*/ 0 h 684010"/>
                <a:gd name="connsiteX0" fmla="*/ 0 w 1671631"/>
                <a:gd name="connsiteY0" fmla="*/ 684010 h 684010"/>
                <a:gd name="connsiteX1" fmla="*/ 298422 w 1671631"/>
                <a:gd name="connsiteY1" fmla="*/ 385589 h 684010"/>
                <a:gd name="connsiteX2" fmla="*/ 790386 w 1671631"/>
                <a:gd name="connsiteY2" fmla="*/ 386080 h 684010"/>
                <a:gd name="connsiteX3" fmla="*/ 987617 w 1671631"/>
                <a:gd name="connsiteY3" fmla="*/ 189837 h 684010"/>
                <a:gd name="connsiteX4" fmla="*/ 1671631 w 1671631"/>
                <a:gd name="connsiteY4" fmla="*/ 0 h 684010"/>
                <a:gd name="connsiteX0" fmla="*/ 0 w 1504534"/>
                <a:gd name="connsiteY0" fmla="*/ 495161 h 495161"/>
                <a:gd name="connsiteX1" fmla="*/ 298422 w 1504534"/>
                <a:gd name="connsiteY1" fmla="*/ 196740 h 495161"/>
                <a:gd name="connsiteX2" fmla="*/ 790386 w 1504534"/>
                <a:gd name="connsiteY2" fmla="*/ 197231 h 495161"/>
                <a:gd name="connsiteX3" fmla="*/ 987617 w 1504534"/>
                <a:gd name="connsiteY3" fmla="*/ 988 h 495161"/>
                <a:gd name="connsiteX4" fmla="*/ 1504534 w 1504534"/>
                <a:gd name="connsiteY4" fmla="*/ 0 h 495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4534" h="495161">
                  <a:moveTo>
                    <a:pt x="0" y="495161"/>
                  </a:moveTo>
                  <a:lnTo>
                    <a:pt x="298422" y="196740"/>
                  </a:lnTo>
                  <a:lnTo>
                    <a:pt x="790386" y="197231"/>
                  </a:lnTo>
                  <a:lnTo>
                    <a:pt x="987617" y="988"/>
                  </a:lnTo>
                  <a:lnTo>
                    <a:pt x="1504534" y="0"/>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76" name="Freeform 75">
              <a:extLst>
                <a:ext uri="{FF2B5EF4-FFF2-40B4-BE49-F238E27FC236}">
                  <a16:creationId xmlns:a16="http://schemas.microsoft.com/office/drawing/2014/main" id="{EB49FC04-983C-B64D-A0E2-D20C22693243}"/>
                </a:ext>
              </a:extLst>
            </p:cNvPr>
            <p:cNvSpPr/>
            <p:nvPr/>
          </p:nvSpPr>
          <p:spPr bwMode="auto">
            <a:xfrm>
              <a:off x="4993699" y="4029553"/>
              <a:ext cx="609567" cy="189978"/>
            </a:xfrm>
            <a:custGeom>
              <a:avLst/>
              <a:gdLst>
                <a:gd name="connsiteX0" fmla="*/ 1594884 w 1594884"/>
                <a:gd name="connsiteY0" fmla="*/ 0 h 680484"/>
                <a:gd name="connsiteX1" fmla="*/ 680484 w 1594884"/>
                <a:gd name="connsiteY1" fmla="*/ 0 h 680484"/>
                <a:gd name="connsiteX2" fmla="*/ 0 w 1594884"/>
                <a:gd name="connsiteY2" fmla="*/ 680484 h 680484"/>
                <a:gd name="connsiteX0" fmla="*/ 2183418 w 2183418"/>
                <a:gd name="connsiteY0" fmla="*/ 0 h 680484"/>
                <a:gd name="connsiteX1" fmla="*/ 680484 w 2183418"/>
                <a:gd name="connsiteY1" fmla="*/ 0 h 680484"/>
                <a:gd name="connsiteX2" fmla="*/ 0 w 2183418"/>
                <a:gd name="connsiteY2" fmla="*/ 680484 h 680484"/>
              </a:gdLst>
              <a:ahLst/>
              <a:cxnLst>
                <a:cxn ang="0">
                  <a:pos x="connsiteX0" y="connsiteY0"/>
                </a:cxn>
                <a:cxn ang="0">
                  <a:pos x="connsiteX1" y="connsiteY1"/>
                </a:cxn>
                <a:cxn ang="0">
                  <a:pos x="connsiteX2" y="connsiteY2"/>
                </a:cxn>
              </a:cxnLst>
              <a:rect l="l" t="t" r="r" b="b"/>
              <a:pathLst>
                <a:path w="2183418" h="680484">
                  <a:moveTo>
                    <a:pt x="2183418" y="0"/>
                  </a:moveTo>
                  <a:lnTo>
                    <a:pt x="680484" y="0"/>
                  </a:lnTo>
                  <a:lnTo>
                    <a:pt x="0" y="680484"/>
                  </a:lnTo>
                </a:path>
              </a:pathLst>
            </a:custGeom>
            <a:noFill/>
            <a:ln w="22225">
              <a:solidFill>
                <a:schemeClr val="accent2"/>
              </a:solidFill>
              <a:prstDash val="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77" name="Freeform 76">
              <a:extLst>
                <a:ext uri="{FF2B5EF4-FFF2-40B4-BE49-F238E27FC236}">
                  <a16:creationId xmlns:a16="http://schemas.microsoft.com/office/drawing/2014/main" id="{7BCC7EE0-892E-DF49-9A4B-217E9EE1B81E}"/>
                </a:ext>
              </a:extLst>
            </p:cNvPr>
            <p:cNvSpPr/>
            <p:nvPr/>
          </p:nvSpPr>
          <p:spPr bwMode="auto">
            <a:xfrm flipV="1">
              <a:off x="4836206" y="3279421"/>
              <a:ext cx="4391226" cy="897890"/>
            </a:xfrm>
            <a:custGeom>
              <a:avLst/>
              <a:gdLst>
                <a:gd name="connsiteX0" fmla="*/ 0 w 2912533"/>
                <a:gd name="connsiteY0" fmla="*/ 386080 h 386080"/>
                <a:gd name="connsiteX1" fmla="*/ 1774613 w 2912533"/>
                <a:gd name="connsiteY1" fmla="*/ 386080 h 386080"/>
                <a:gd name="connsiteX2" fmla="*/ 2160693 w 2912533"/>
                <a:gd name="connsiteY2" fmla="*/ 0 h 386080"/>
                <a:gd name="connsiteX3" fmla="*/ 2912533 w 2912533"/>
                <a:gd name="connsiteY3" fmla="*/ 0 h 386080"/>
                <a:gd name="connsiteX0" fmla="*/ 0 w 2912533"/>
                <a:gd name="connsiteY0" fmla="*/ 386080 h 386080"/>
                <a:gd name="connsiteX1" fmla="*/ 1224314 w 2912533"/>
                <a:gd name="connsiteY1" fmla="*/ 385589 h 386080"/>
                <a:gd name="connsiteX2" fmla="*/ 1774613 w 2912533"/>
                <a:gd name="connsiteY2" fmla="*/ 386080 h 386080"/>
                <a:gd name="connsiteX3" fmla="*/ 2160693 w 2912533"/>
                <a:gd name="connsiteY3" fmla="*/ 0 h 386080"/>
                <a:gd name="connsiteX4" fmla="*/ 2912533 w 2912533"/>
                <a:gd name="connsiteY4" fmla="*/ 0 h 386080"/>
                <a:gd name="connsiteX0" fmla="*/ 0 w 2912533"/>
                <a:gd name="connsiteY0" fmla="*/ 386080 h 386080"/>
                <a:gd name="connsiteX1" fmla="*/ 1224314 w 2912533"/>
                <a:gd name="connsiteY1" fmla="*/ 385589 h 386080"/>
                <a:gd name="connsiteX2" fmla="*/ 1774613 w 2912533"/>
                <a:gd name="connsiteY2" fmla="*/ 386080 h 386080"/>
                <a:gd name="connsiteX3" fmla="*/ 2160693 w 2912533"/>
                <a:gd name="connsiteY3" fmla="*/ 0 h 386080"/>
                <a:gd name="connsiteX4" fmla="*/ 2912533 w 2912533"/>
                <a:gd name="connsiteY4" fmla="*/ 0 h 386080"/>
                <a:gd name="connsiteX0" fmla="*/ 0 w 2240264"/>
                <a:gd name="connsiteY0" fmla="*/ 682862 h 682862"/>
                <a:gd name="connsiteX1" fmla="*/ 552045 w 2240264"/>
                <a:gd name="connsiteY1" fmla="*/ 385589 h 682862"/>
                <a:gd name="connsiteX2" fmla="*/ 1102344 w 2240264"/>
                <a:gd name="connsiteY2" fmla="*/ 386080 h 682862"/>
                <a:gd name="connsiteX3" fmla="*/ 1488424 w 2240264"/>
                <a:gd name="connsiteY3" fmla="*/ 0 h 682862"/>
                <a:gd name="connsiteX4" fmla="*/ 2240264 w 2240264"/>
                <a:gd name="connsiteY4" fmla="*/ 0 h 682862"/>
                <a:gd name="connsiteX0" fmla="*/ 0 w 2240264"/>
                <a:gd name="connsiteY0" fmla="*/ 682862 h 682862"/>
                <a:gd name="connsiteX1" fmla="*/ 212631 w 2240264"/>
                <a:gd name="connsiteY1" fmla="*/ 564314 h 682862"/>
                <a:gd name="connsiteX2" fmla="*/ 552045 w 2240264"/>
                <a:gd name="connsiteY2" fmla="*/ 385589 h 682862"/>
                <a:gd name="connsiteX3" fmla="*/ 1102344 w 2240264"/>
                <a:gd name="connsiteY3" fmla="*/ 386080 h 682862"/>
                <a:gd name="connsiteX4" fmla="*/ 1488424 w 2240264"/>
                <a:gd name="connsiteY4" fmla="*/ 0 h 682862"/>
                <a:gd name="connsiteX5" fmla="*/ 2240264 w 2240264"/>
                <a:gd name="connsiteY5" fmla="*/ 0 h 682862"/>
                <a:gd name="connsiteX0" fmla="*/ 0 w 2240264"/>
                <a:gd name="connsiteY0" fmla="*/ 682862 h 684010"/>
                <a:gd name="connsiteX1" fmla="*/ 253623 w 2240264"/>
                <a:gd name="connsiteY1" fmla="*/ 684010 h 684010"/>
                <a:gd name="connsiteX2" fmla="*/ 552045 w 2240264"/>
                <a:gd name="connsiteY2" fmla="*/ 385589 h 684010"/>
                <a:gd name="connsiteX3" fmla="*/ 1102344 w 2240264"/>
                <a:gd name="connsiteY3" fmla="*/ 386080 h 684010"/>
                <a:gd name="connsiteX4" fmla="*/ 1488424 w 2240264"/>
                <a:gd name="connsiteY4" fmla="*/ 0 h 684010"/>
                <a:gd name="connsiteX5" fmla="*/ 2240264 w 2240264"/>
                <a:gd name="connsiteY5" fmla="*/ 0 h 684010"/>
                <a:gd name="connsiteX0" fmla="*/ 0 w 1925254"/>
                <a:gd name="connsiteY0" fmla="*/ 682862 h 684010"/>
                <a:gd name="connsiteX1" fmla="*/ 253623 w 1925254"/>
                <a:gd name="connsiteY1" fmla="*/ 684010 h 684010"/>
                <a:gd name="connsiteX2" fmla="*/ 552045 w 1925254"/>
                <a:gd name="connsiteY2" fmla="*/ 385589 h 684010"/>
                <a:gd name="connsiteX3" fmla="*/ 1102344 w 1925254"/>
                <a:gd name="connsiteY3" fmla="*/ 386080 h 684010"/>
                <a:gd name="connsiteX4" fmla="*/ 1488424 w 1925254"/>
                <a:gd name="connsiteY4" fmla="*/ 0 h 684010"/>
                <a:gd name="connsiteX5" fmla="*/ 1925254 w 1925254"/>
                <a:gd name="connsiteY5" fmla="*/ 0 h 684010"/>
                <a:gd name="connsiteX0" fmla="*/ 0 w 1671631"/>
                <a:gd name="connsiteY0" fmla="*/ 684010 h 684010"/>
                <a:gd name="connsiteX1" fmla="*/ 298422 w 1671631"/>
                <a:gd name="connsiteY1" fmla="*/ 385589 h 684010"/>
                <a:gd name="connsiteX2" fmla="*/ 848721 w 1671631"/>
                <a:gd name="connsiteY2" fmla="*/ 386080 h 684010"/>
                <a:gd name="connsiteX3" fmla="*/ 1234801 w 1671631"/>
                <a:gd name="connsiteY3" fmla="*/ 0 h 684010"/>
                <a:gd name="connsiteX4" fmla="*/ 1671631 w 1671631"/>
                <a:gd name="connsiteY4" fmla="*/ 0 h 684010"/>
                <a:gd name="connsiteX0" fmla="*/ 0 w 1671631"/>
                <a:gd name="connsiteY0" fmla="*/ 684010 h 684010"/>
                <a:gd name="connsiteX1" fmla="*/ 298422 w 1671631"/>
                <a:gd name="connsiteY1" fmla="*/ 385589 h 684010"/>
                <a:gd name="connsiteX2" fmla="*/ 790386 w 1671631"/>
                <a:gd name="connsiteY2" fmla="*/ 386080 h 684010"/>
                <a:gd name="connsiteX3" fmla="*/ 1234801 w 1671631"/>
                <a:gd name="connsiteY3" fmla="*/ 0 h 684010"/>
                <a:gd name="connsiteX4" fmla="*/ 1671631 w 1671631"/>
                <a:gd name="connsiteY4" fmla="*/ 0 h 684010"/>
                <a:gd name="connsiteX0" fmla="*/ 0 w 1671631"/>
                <a:gd name="connsiteY0" fmla="*/ 684010 h 684010"/>
                <a:gd name="connsiteX1" fmla="*/ 298422 w 1671631"/>
                <a:gd name="connsiteY1" fmla="*/ 385589 h 684010"/>
                <a:gd name="connsiteX2" fmla="*/ 790386 w 1671631"/>
                <a:gd name="connsiteY2" fmla="*/ 386080 h 684010"/>
                <a:gd name="connsiteX3" fmla="*/ 987617 w 1671631"/>
                <a:gd name="connsiteY3" fmla="*/ 189837 h 684010"/>
                <a:gd name="connsiteX4" fmla="*/ 1671631 w 1671631"/>
                <a:gd name="connsiteY4" fmla="*/ 0 h 684010"/>
                <a:gd name="connsiteX0" fmla="*/ 0 w 1504534"/>
                <a:gd name="connsiteY0" fmla="*/ 495161 h 495161"/>
                <a:gd name="connsiteX1" fmla="*/ 298422 w 1504534"/>
                <a:gd name="connsiteY1" fmla="*/ 196740 h 495161"/>
                <a:gd name="connsiteX2" fmla="*/ 790386 w 1504534"/>
                <a:gd name="connsiteY2" fmla="*/ 197231 h 495161"/>
                <a:gd name="connsiteX3" fmla="*/ 987617 w 1504534"/>
                <a:gd name="connsiteY3" fmla="*/ 988 h 495161"/>
                <a:gd name="connsiteX4" fmla="*/ 1504534 w 1504534"/>
                <a:gd name="connsiteY4" fmla="*/ 0 h 495161"/>
                <a:gd name="connsiteX0" fmla="*/ 0 w 1504534"/>
                <a:gd name="connsiteY0" fmla="*/ 495161 h 495161"/>
                <a:gd name="connsiteX1" fmla="*/ 20254 w 1504534"/>
                <a:gd name="connsiteY1" fmla="*/ 196740 h 495161"/>
                <a:gd name="connsiteX2" fmla="*/ 790386 w 1504534"/>
                <a:gd name="connsiteY2" fmla="*/ 197231 h 495161"/>
                <a:gd name="connsiteX3" fmla="*/ 987617 w 1504534"/>
                <a:gd name="connsiteY3" fmla="*/ 988 h 495161"/>
                <a:gd name="connsiteX4" fmla="*/ 1504534 w 1504534"/>
                <a:gd name="connsiteY4" fmla="*/ 0 h 495161"/>
                <a:gd name="connsiteX0" fmla="*/ 0 w 1620208"/>
                <a:gd name="connsiteY0" fmla="*/ 331290 h 331290"/>
                <a:gd name="connsiteX1" fmla="*/ 135928 w 1620208"/>
                <a:gd name="connsiteY1" fmla="*/ 196740 h 331290"/>
                <a:gd name="connsiteX2" fmla="*/ 906060 w 1620208"/>
                <a:gd name="connsiteY2" fmla="*/ 197231 h 331290"/>
                <a:gd name="connsiteX3" fmla="*/ 1103291 w 1620208"/>
                <a:gd name="connsiteY3" fmla="*/ 988 h 331290"/>
                <a:gd name="connsiteX4" fmla="*/ 1620208 w 1620208"/>
                <a:gd name="connsiteY4" fmla="*/ 0 h 331290"/>
                <a:gd name="connsiteX0" fmla="*/ 0 w 1620208"/>
                <a:gd name="connsiteY0" fmla="*/ 331290 h 331290"/>
                <a:gd name="connsiteX1" fmla="*/ 135928 w 1620208"/>
                <a:gd name="connsiteY1" fmla="*/ 196740 h 331290"/>
                <a:gd name="connsiteX2" fmla="*/ 906060 w 1620208"/>
                <a:gd name="connsiteY2" fmla="*/ 197231 h 331290"/>
                <a:gd name="connsiteX3" fmla="*/ 1044570 w 1620208"/>
                <a:gd name="connsiteY3" fmla="*/ 988 h 331290"/>
                <a:gd name="connsiteX4" fmla="*/ 1620208 w 1620208"/>
                <a:gd name="connsiteY4" fmla="*/ 0 h 331290"/>
                <a:gd name="connsiteX0" fmla="*/ 0 w 1620208"/>
                <a:gd name="connsiteY0" fmla="*/ 331290 h 331290"/>
                <a:gd name="connsiteX1" fmla="*/ 135928 w 1620208"/>
                <a:gd name="connsiteY1" fmla="*/ 196740 h 331290"/>
                <a:gd name="connsiteX2" fmla="*/ 832451 w 1620208"/>
                <a:gd name="connsiteY2" fmla="*/ 198161 h 331290"/>
                <a:gd name="connsiteX3" fmla="*/ 906060 w 1620208"/>
                <a:gd name="connsiteY3" fmla="*/ 197231 h 331290"/>
                <a:gd name="connsiteX4" fmla="*/ 1044570 w 1620208"/>
                <a:gd name="connsiteY4" fmla="*/ 988 h 331290"/>
                <a:gd name="connsiteX5" fmla="*/ 1620208 w 1620208"/>
                <a:gd name="connsiteY5" fmla="*/ 0 h 331290"/>
                <a:gd name="connsiteX0" fmla="*/ 0 w 1620208"/>
                <a:gd name="connsiteY0" fmla="*/ 331290 h 331290"/>
                <a:gd name="connsiteX1" fmla="*/ 135928 w 1620208"/>
                <a:gd name="connsiteY1" fmla="*/ 196740 h 331290"/>
                <a:gd name="connsiteX2" fmla="*/ 832451 w 1620208"/>
                <a:gd name="connsiteY2" fmla="*/ 198161 h 331290"/>
                <a:gd name="connsiteX3" fmla="*/ 1044570 w 1620208"/>
                <a:gd name="connsiteY3" fmla="*/ 988 h 331290"/>
                <a:gd name="connsiteX4" fmla="*/ 1620208 w 1620208"/>
                <a:gd name="connsiteY4" fmla="*/ 0 h 331290"/>
                <a:gd name="connsiteX0" fmla="*/ 0 w 1620208"/>
                <a:gd name="connsiteY0" fmla="*/ 331290 h 331290"/>
                <a:gd name="connsiteX1" fmla="*/ 135928 w 1620208"/>
                <a:gd name="connsiteY1" fmla="*/ 196740 h 331290"/>
                <a:gd name="connsiteX2" fmla="*/ 840993 w 1620208"/>
                <a:gd name="connsiteY2" fmla="*/ 198161 h 331290"/>
                <a:gd name="connsiteX3" fmla="*/ 1044570 w 1620208"/>
                <a:gd name="connsiteY3" fmla="*/ 988 h 331290"/>
                <a:gd name="connsiteX4" fmla="*/ 1620208 w 1620208"/>
                <a:gd name="connsiteY4" fmla="*/ 0 h 331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0208" h="331290">
                  <a:moveTo>
                    <a:pt x="0" y="331290"/>
                  </a:moveTo>
                  <a:lnTo>
                    <a:pt x="135928" y="196740"/>
                  </a:lnTo>
                  <a:lnTo>
                    <a:pt x="840993" y="198161"/>
                  </a:lnTo>
                  <a:lnTo>
                    <a:pt x="1044570" y="988"/>
                  </a:lnTo>
                  <a:lnTo>
                    <a:pt x="1620208" y="0"/>
                  </a:lnTo>
                </a:path>
              </a:pathLst>
            </a:custGeom>
            <a:noFill/>
            <a:ln w="22225">
              <a:solidFill>
                <a:schemeClr val="accent2"/>
              </a:solidFill>
              <a:prstDash val="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78" name="Freeform 77">
              <a:extLst>
                <a:ext uri="{FF2B5EF4-FFF2-40B4-BE49-F238E27FC236}">
                  <a16:creationId xmlns:a16="http://schemas.microsoft.com/office/drawing/2014/main" id="{EB49FC04-983C-B64D-A0E2-D20C22693243}"/>
                </a:ext>
              </a:extLst>
            </p:cNvPr>
            <p:cNvSpPr/>
            <p:nvPr/>
          </p:nvSpPr>
          <p:spPr bwMode="auto">
            <a:xfrm flipV="1">
              <a:off x="7209111" y="2533594"/>
              <a:ext cx="2018732" cy="1002913"/>
            </a:xfrm>
            <a:custGeom>
              <a:avLst/>
              <a:gdLst>
                <a:gd name="connsiteX0" fmla="*/ 1594884 w 1594884"/>
                <a:gd name="connsiteY0" fmla="*/ 0 h 680484"/>
                <a:gd name="connsiteX1" fmla="*/ 680484 w 1594884"/>
                <a:gd name="connsiteY1" fmla="*/ 0 h 680484"/>
                <a:gd name="connsiteX2" fmla="*/ 0 w 1594884"/>
                <a:gd name="connsiteY2" fmla="*/ 680484 h 680484"/>
                <a:gd name="connsiteX0" fmla="*/ 2183418 w 2183418"/>
                <a:gd name="connsiteY0" fmla="*/ 0 h 680484"/>
                <a:gd name="connsiteX1" fmla="*/ 680484 w 2183418"/>
                <a:gd name="connsiteY1" fmla="*/ 0 h 680484"/>
                <a:gd name="connsiteX2" fmla="*/ 0 w 2183418"/>
                <a:gd name="connsiteY2" fmla="*/ 680484 h 680484"/>
                <a:gd name="connsiteX0" fmla="*/ 2183418 w 2183418"/>
                <a:gd name="connsiteY0" fmla="*/ 0 h 680484"/>
                <a:gd name="connsiteX1" fmla="*/ 1369727 w 2183418"/>
                <a:gd name="connsiteY1" fmla="*/ 1391 h 680484"/>
                <a:gd name="connsiteX2" fmla="*/ 680484 w 2183418"/>
                <a:gd name="connsiteY2" fmla="*/ 0 h 680484"/>
                <a:gd name="connsiteX3" fmla="*/ 0 w 2183418"/>
                <a:gd name="connsiteY3" fmla="*/ 680484 h 680484"/>
                <a:gd name="connsiteX0" fmla="*/ 1369727 w 1369727"/>
                <a:gd name="connsiteY0" fmla="*/ 1391 h 680484"/>
                <a:gd name="connsiteX1" fmla="*/ 680484 w 1369727"/>
                <a:gd name="connsiteY1" fmla="*/ 0 h 680484"/>
                <a:gd name="connsiteX2" fmla="*/ 0 w 1369727"/>
                <a:gd name="connsiteY2" fmla="*/ 680484 h 680484"/>
              </a:gdLst>
              <a:ahLst/>
              <a:cxnLst>
                <a:cxn ang="0">
                  <a:pos x="connsiteX0" y="connsiteY0"/>
                </a:cxn>
                <a:cxn ang="0">
                  <a:pos x="connsiteX1" y="connsiteY1"/>
                </a:cxn>
                <a:cxn ang="0">
                  <a:pos x="connsiteX2" y="connsiteY2"/>
                </a:cxn>
              </a:cxnLst>
              <a:rect l="l" t="t" r="r" b="b"/>
              <a:pathLst>
                <a:path w="1369727" h="680484">
                  <a:moveTo>
                    <a:pt x="1369727" y="1391"/>
                  </a:moveTo>
                  <a:lnTo>
                    <a:pt x="680484" y="0"/>
                  </a:lnTo>
                  <a:lnTo>
                    <a:pt x="0" y="680484"/>
                  </a:lnTo>
                </a:path>
              </a:pathLst>
            </a:custGeom>
            <a:noFill/>
            <a:ln w="22225">
              <a:solidFill>
                <a:schemeClr val="accent2"/>
              </a:solidFill>
              <a:prstDash val="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79" name="Freeform 78">
              <a:extLst>
                <a:ext uri="{FF2B5EF4-FFF2-40B4-BE49-F238E27FC236}">
                  <a16:creationId xmlns:a16="http://schemas.microsoft.com/office/drawing/2014/main" id="{EB49FC04-983C-B64D-A0E2-D20C22693243}"/>
                </a:ext>
              </a:extLst>
            </p:cNvPr>
            <p:cNvSpPr/>
            <p:nvPr/>
          </p:nvSpPr>
          <p:spPr bwMode="auto">
            <a:xfrm flipV="1">
              <a:off x="6127768" y="4615787"/>
              <a:ext cx="3100075" cy="1216215"/>
            </a:xfrm>
            <a:custGeom>
              <a:avLst/>
              <a:gdLst>
                <a:gd name="connsiteX0" fmla="*/ 1594884 w 1594884"/>
                <a:gd name="connsiteY0" fmla="*/ 0 h 680484"/>
                <a:gd name="connsiteX1" fmla="*/ 680484 w 1594884"/>
                <a:gd name="connsiteY1" fmla="*/ 0 h 680484"/>
                <a:gd name="connsiteX2" fmla="*/ 0 w 1594884"/>
                <a:gd name="connsiteY2" fmla="*/ 680484 h 680484"/>
                <a:gd name="connsiteX0" fmla="*/ 2183418 w 2183418"/>
                <a:gd name="connsiteY0" fmla="*/ 0 h 680484"/>
                <a:gd name="connsiteX1" fmla="*/ 680484 w 2183418"/>
                <a:gd name="connsiteY1" fmla="*/ 0 h 680484"/>
                <a:gd name="connsiteX2" fmla="*/ 0 w 2183418"/>
                <a:gd name="connsiteY2" fmla="*/ 680484 h 680484"/>
                <a:gd name="connsiteX0" fmla="*/ 2183418 w 2183418"/>
                <a:gd name="connsiteY0" fmla="*/ 0 h 680484"/>
                <a:gd name="connsiteX1" fmla="*/ 1369727 w 2183418"/>
                <a:gd name="connsiteY1" fmla="*/ 1391 h 680484"/>
                <a:gd name="connsiteX2" fmla="*/ 680484 w 2183418"/>
                <a:gd name="connsiteY2" fmla="*/ 0 h 680484"/>
                <a:gd name="connsiteX3" fmla="*/ 0 w 2183418"/>
                <a:gd name="connsiteY3" fmla="*/ 680484 h 680484"/>
                <a:gd name="connsiteX0" fmla="*/ 1369727 w 1369727"/>
                <a:gd name="connsiteY0" fmla="*/ 1391 h 680484"/>
                <a:gd name="connsiteX1" fmla="*/ 680484 w 1369727"/>
                <a:gd name="connsiteY1" fmla="*/ 0 h 680484"/>
                <a:gd name="connsiteX2" fmla="*/ 0 w 1369727"/>
                <a:gd name="connsiteY2" fmla="*/ 680484 h 680484"/>
                <a:gd name="connsiteX0" fmla="*/ 1369727 w 1369727"/>
                <a:gd name="connsiteY0" fmla="*/ 1391 h 680484"/>
                <a:gd name="connsiteX1" fmla="*/ 680484 w 1369727"/>
                <a:gd name="connsiteY1" fmla="*/ 0 h 680484"/>
                <a:gd name="connsiteX2" fmla="*/ 235583 w 1369727"/>
                <a:gd name="connsiteY2" fmla="*/ 444944 h 680484"/>
                <a:gd name="connsiteX3" fmla="*/ 0 w 1369727"/>
                <a:gd name="connsiteY3" fmla="*/ 680484 h 680484"/>
                <a:gd name="connsiteX0" fmla="*/ 1134144 w 1134144"/>
                <a:gd name="connsiteY0" fmla="*/ 1391 h 444944"/>
                <a:gd name="connsiteX1" fmla="*/ 444901 w 1134144"/>
                <a:gd name="connsiteY1" fmla="*/ 0 h 444944"/>
                <a:gd name="connsiteX2" fmla="*/ 0 w 1134144"/>
                <a:gd name="connsiteY2" fmla="*/ 444944 h 444944"/>
              </a:gdLst>
              <a:ahLst/>
              <a:cxnLst>
                <a:cxn ang="0">
                  <a:pos x="connsiteX0" y="connsiteY0"/>
                </a:cxn>
                <a:cxn ang="0">
                  <a:pos x="connsiteX1" y="connsiteY1"/>
                </a:cxn>
                <a:cxn ang="0">
                  <a:pos x="connsiteX2" y="connsiteY2"/>
                </a:cxn>
              </a:cxnLst>
              <a:rect l="l" t="t" r="r" b="b"/>
              <a:pathLst>
                <a:path w="1134144" h="444944">
                  <a:moveTo>
                    <a:pt x="1134144" y="1391"/>
                  </a:moveTo>
                  <a:lnTo>
                    <a:pt x="444901" y="0"/>
                  </a:lnTo>
                  <a:lnTo>
                    <a:pt x="0" y="444944"/>
                  </a:lnTo>
                </a:path>
              </a:pathLst>
            </a:custGeom>
            <a:noFill/>
            <a:ln w="22225">
              <a:solidFill>
                <a:schemeClr val="accent2"/>
              </a:solidFill>
              <a:prstDash val="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grpSp>
      <p:sp>
        <p:nvSpPr>
          <p:cNvPr id="2" name="Titel 1"/>
          <p:cNvSpPr>
            <a:spLocks noGrp="1"/>
          </p:cNvSpPr>
          <p:nvPr>
            <p:ph type="title"/>
          </p:nvPr>
        </p:nvSpPr>
        <p:spPr/>
        <p:txBody>
          <a:bodyPr/>
          <a:lstStyle/>
          <a:p>
            <a:r>
              <a:rPr lang="en-US" dirty="0"/>
              <a:t>Tree diagram</a:t>
            </a:r>
          </a:p>
        </p:txBody>
      </p:sp>
      <p:sp>
        <p:nvSpPr>
          <p:cNvPr id="94" name="Rechteck 93"/>
          <p:cNvSpPr>
            <a:spLocks/>
          </p:cNvSpPr>
          <p:nvPr/>
        </p:nvSpPr>
        <p:spPr bwMode="auto">
          <a:xfrm>
            <a:off x="0" y="1415849"/>
            <a:ext cx="3670088" cy="4750501"/>
          </a:xfrm>
          <a:prstGeom prst="rect">
            <a:avLst/>
          </a:prstGeom>
          <a:solidFill>
            <a:srgbClr val="66667E"/>
          </a:solidFill>
          <a:ln>
            <a:noFill/>
          </a:ln>
          <a:effectLst/>
        </p:spPr>
        <p:txBody>
          <a:bodyPr wrap="square" lIns="410400" tIns="215888" rIns="431775" bIns="215888" numCol="1" spcCol="72000" rtlCol="0" anchor="ctr">
            <a:noAutofit/>
          </a:bodyPr>
          <a:lstStyle/>
          <a:p>
            <a:r>
              <a:rPr lang="en-US" sz="1799" b="1" dirty="0">
                <a:solidFill>
                  <a:schemeClr val="bg1"/>
                </a:solidFill>
                <a:ea typeface="Arial Unicode MS"/>
              </a:rPr>
              <a:t>Duis arcu tortor, suscipit eget, imperdiet nec, imperdiet iaculis, ipsum</a:t>
            </a:r>
          </a:p>
        </p:txBody>
      </p:sp>
      <p:sp>
        <p:nvSpPr>
          <p:cNvPr id="82" name="Textfeld 139"/>
          <p:cNvSpPr txBox="1"/>
          <p:nvPr/>
        </p:nvSpPr>
        <p:spPr bwMode="gray">
          <a:xfrm flipH="1">
            <a:off x="9230400" y="1591151"/>
            <a:ext cx="2556000" cy="396000"/>
          </a:xfrm>
          <a:prstGeom prst="rect">
            <a:avLst/>
          </a:prstGeom>
          <a:noFill/>
          <a:ln w="22225">
            <a:noFill/>
            <a:prstDash val="dash"/>
          </a:ln>
        </p:spPr>
        <p:txBody>
          <a:bodyPr wrap="square" lIns="143925" tIns="71963" rIns="143925" bIns="71963" rtlCol="0" anchor="ctr">
            <a:spAutoFit/>
          </a:bodyPr>
          <a:lstStyle/>
          <a:p>
            <a:pPr>
              <a:tabLst>
                <a:tab pos="0" algn="l"/>
              </a:tabLst>
            </a:pPr>
            <a:r>
              <a:rPr lang="en-US" sz="1599" dirty="0">
                <a:solidFill>
                  <a:srgbClr val="66667E"/>
                </a:solidFill>
                <a:ea typeface="Arial Unicode MS"/>
              </a:rPr>
              <a:t>At vero eos et accusam</a:t>
            </a:r>
          </a:p>
        </p:txBody>
      </p:sp>
      <p:sp>
        <p:nvSpPr>
          <p:cNvPr id="83" name="Textfeld 139"/>
          <p:cNvSpPr txBox="1"/>
          <p:nvPr/>
        </p:nvSpPr>
        <p:spPr bwMode="gray">
          <a:xfrm flipH="1">
            <a:off x="9230400" y="3312691"/>
            <a:ext cx="2556000" cy="396000"/>
          </a:xfrm>
          <a:prstGeom prst="rect">
            <a:avLst/>
          </a:prstGeom>
          <a:noFill/>
          <a:ln w="22225">
            <a:noFill/>
            <a:prstDash val="dash"/>
          </a:ln>
        </p:spPr>
        <p:txBody>
          <a:bodyPr wrap="square" lIns="143925" tIns="71963" rIns="143925" bIns="71963" rtlCol="0" anchor="ctr">
            <a:spAutoFit/>
          </a:bodyPr>
          <a:lstStyle/>
          <a:p>
            <a:pPr>
              <a:tabLst>
                <a:tab pos="0" algn="l"/>
              </a:tabLst>
            </a:pPr>
            <a:r>
              <a:rPr lang="en-US" sz="1599" dirty="0">
                <a:solidFill>
                  <a:srgbClr val="66667E"/>
                </a:solidFill>
                <a:ea typeface="Arial Unicode MS"/>
              </a:rPr>
              <a:t>Duis arcu suscipit eget</a:t>
            </a:r>
          </a:p>
        </p:txBody>
      </p:sp>
      <p:sp>
        <p:nvSpPr>
          <p:cNvPr id="84" name="Textfeld 139"/>
          <p:cNvSpPr txBox="1"/>
          <p:nvPr/>
        </p:nvSpPr>
        <p:spPr bwMode="gray">
          <a:xfrm flipH="1">
            <a:off x="9230400" y="2704126"/>
            <a:ext cx="2556000" cy="396000"/>
          </a:xfrm>
          <a:prstGeom prst="rect">
            <a:avLst/>
          </a:prstGeom>
          <a:noFill/>
          <a:ln w="22225">
            <a:noFill/>
            <a:prstDash val="dash"/>
          </a:ln>
        </p:spPr>
        <p:txBody>
          <a:bodyPr wrap="square" lIns="143925" tIns="71963" rIns="143925" bIns="71963" rtlCol="0" anchor="ctr">
            <a:spAutoFit/>
          </a:bodyPr>
          <a:lstStyle/>
          <a:p>
            <a:pPr>
              <a:tabLst>
                <a:tab pos="0" algn="l"/>
              </a:tabLst>
            </a:pPr>
            <a:r>
              <a:rPr lang="en-US" sz="1599" dirty="0">
                <a:solidFill>
                  <a:srgbClr val="66667E"/>
                </a:solidFill>
                <a:ea typeface="Arial Unicode MS"/>
              </a:rPr>
              <a:t>Phasellus nec sem</a:t>
            </a:r>
          </a:p>
        </p:txBody>
      </p:sp>
      <p:sp>
        <p:nvSpPr>
          <p:cNvPr id="85" name="Textfeld 139"/>
          <p:cNvSpPr txBox="1"/>
          <p:nvPr/>
        </p:nvSpPr>
        <p:spPr bwMode="gray">
          <a:xfrm flipH="1">
            <a:off x="9230400" y="2074172"/>
            <a:ext cx="2556000" cy="396000"/>
          </a:xfrm>
          <a:prstGeom prst="rect">
            <a:avLst/>
          </a:prstGeom>
          <a:noFill/>
          <a:ln w="22225">
            <a:noFill/>
            <a:prstDash val="dash"/>
          </a:ln>
        </p:spPr>
        <p:txBody>
          <a:bodyPr wrap="square" lIns="143925" tIns="71963" rIns="143925" bIns="71963" rtlCol="0" anchor="ctr">
            <a:spAutoFit/>
          </a:bodyPr>
          <a:lstStyle/>
          <a:p>
            <a:pPr>
              <a:tabLst>
                <a:tab pos="0" algn="l"/>
              </a:tabLst>
            </a:pPr>
            <a:r>
              <a:rPr lang="en-US" sz="1599" dirty="0">
                <a:solidFill>
                  <a:srgbClr val="66667E"/>
                </a:solidFill>
                <a:ea typeface="Arial Unicode MS"/>
              </a:rPr>
              <a:t>Maecenas nec odio</a:t>
            </a:r>
          </a:p>
        </p:txBody>
      </p:sp>
      <p:sp>
        <p:nvSpPr>
          <p:cNvPr id="86" name="Textfeld 139"/>
          <p:cNvSpPr txBox="1"/>
          <p:nvPr/>
        </p:nvSpPr>
        <p:spPr bwMode="gray">
          <a:xfrm flipH="1">
            <a:off x="9230400" y="4489448"/>
            <a:ext cx="2556000" cy="396000"/>
          </a:xfrm>
          <a:prstGeom prst="rect">
            <a:avLst/>
          </a:prstGeom>
          <a:noFill/>
          <a:ln w="22225">
            <a:noFill/>
            <a:prstDash val="dash"/>
          </a:ln>
        </p:spPr>
        <p:txBody>
          <a:bodyPr wrap="square" lIns="143925" tIns="71963" rIns="143925" bIns="71963" rtlCol="0" anchor="ctr">
            <a:spAutoFit/>
          </a:bodyPr>
          <a:lstStyle/>
          <a:p>
            <a:pPr>
              <a:tabLst>
                <a:tab pos="0" algn="l"/>
              </a:tabLst>
            </a:pPr>
            <a:r>
              <a:rPr lang="en-US" sz="1599" dirty="0">
                <a:solidFill>
                  <a:srgbClr val="66667E"/>
                </a:solidFill>
                <a:ea typeface="Arial Unicode MS"/>
              </a:rPr>
              <a:t>At vero eos et accusam</a:t>
            </a:r>
          </a:p>
        </p:txBody>
      </p:sp>
      <p:sp>
        <p:nvSpPr>
          <p:cNvPr id="87" name="Textfeld 139"/>
          <p:cNvSpPr txBox="1"/>
          <p:nvPr/>
        </p:nvSpPr>
        <p:spPr bwMode="gray">
          <a:xfrm flipH="1">
            <a:off x="9230400" y="3956309"/>
            <a:ext cx="2556000" cy="396000"/>
          </a:xfrm>
          <a:prstGeom prst="rect">
            <a:avLst/>
          </a:prstGeom>
          <a:noFill/>
          <a:ln w="22225">
            <a:noFill/>
            <a:prstDash val="dash"/>
          </a:ln>
        </p:spPr>
        <p:txBody>
          <a:bodyPr wrap="square" lIns="143925" tIns="71963" rIns="143925" bIns="71963" rtlCol="0" anchor="ctr">
            <a:spAutoFit/>
          </a:bodyPr>
          <a:lstStyle/>
          <a:p>
            <a:pPr>
              <a:tabLst>
                <a:tab pos="0" algn="l"/>
              </a:tabLst>
            </a:pPr>
            <a:r>
              <a:rPr lang="en-US" sz="1599" dirty="0">
                <a:solidFill>
                  <a:srgbClr val="66667E"/>
                </a:solidFill>
                <a:ea typeface="Arial Unicode MS"/>
              </a:rPr>
              <a:t>Phasellus nec sem</a:t>
            </a:r>
          </a:p>
        </p:txBody>
      </p:sp>
      <p:sp>
        <p:nvSpPr>
          <p:cNvPr id="103" name="Textfeld 139"/>
          <p:cNvSpPr txBox="1"/>
          <p:nvPr/>
        </p:nvSpPr>
        <p:spPr bwMode="gray">
          <a:xfrm flipH="1">
            <a:off x="9230400" y="5608074"/>
            <a:ext cx="2556000" cy="396000"/>
          </a:xfrm>
          <a:prstGeom prst="rect">
            <a:avLst/>
          </a:prstGeom>
          <a:noFill/>
          <a:ln w="22225">
            <a:noFill/>
            <a:prstDash val="dash"/>
          </a:ln>
        </p:spPr>
        <p:txBody>
          <a:bodyPr wrap="square" lIns="143925" tIns="71963" rIns="143925" bIns="71963" rtlCol="0" anchor="ctr">
            <a:spAutoFit/>
          </a:bodyPr>
          <a:lstStyle/>
          <a:p>
            <a:pPr>
              <a:tabLst>
                <a:tab pos="0" algn="l"/>
              </a:tabLst>
            </a:pPr>
            <a:r>
              <a:rPr lang="en-US" sz="1599" dirty="0">
                <a:solidFill>
                  <a:srgbClr val="66667E"/>
                </a:solidFill>
                <a:ea typeface="Arial Unicode MS"/>
              </a:rPr>
              <a:t>Duis tortor, suscipit eget</a:t>
            </a:r>
          </a:p>
        </p:txBody>
      </p:sp>
      <p:sp>
        <p:nvSpPr>
          <p:cNvPr id="104" name="Textfeld 139"/>
          <p:cNvSpPr txBox="1"/>
          <p:nvPr/>
        </p:nvSpPr>
        <p:spPr bwMode="gray">
          <a:xfrm flipH="1">
            <a:off x="9230400" y="5022586"/>
            <a:ext cx="2556000" cy="396000"/>
          </a:xfrm>
          <a:prstGeom prst="rect">
            <a:avLst/>
          </a:prstGeom>
          <a:noFill/>
          <a:ln w="22225">
            <a:noFill/>
            <a:prstDash val="dash"/>
          </a:ln>
        </p:spPr>
        <p:txBody>
          <a:bodyPr wrap="square" lIns="143925" tIns="71963" rIns="143925" bIns="71963" rtlCol="0" anchor="ctr">
            <a:spAutoFit/>
          </a:bodyPr>
          <a:lstStyle/>
          <a:p>
            <a:pPr>
              <a:tabLst>
                <a:tab pos="0" algn="l"/>
              </a:tabLst>
            </a:pPr>
            <a:r>
              <a:rPr lang="en-US" sz="1599" dirty="0">
                <a:solidFill>
                  <a:srgbClr val="66667E"/>
                </a:solidFill>
                <a:ea typeface="Arial Unicode MS"/>
              </a:rPr>
              <a:t>Maecenas nec odio</a:t>
            </a:r>
          </a:p>
        </p:txBody>
      </p:sp>
      <p:sp>
        <p:nvSpPr>
          <p:cNvPr id="4" name="Footer Placeholder 3">
            <a:extLst>
              <a:ext uri="{FF2B5EF4-FFF2-40B4-BE49-F238E27FC236}">
                <a16:creationId xmlns:a16="http://schemas.microsoft.com/office/drawing/2014/main" id="{1202CAEF-CBD7-499F-8011-B1BF55B95208}"/>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5" name="Slide Number Placeholder 4">
            <a:extLst>
              <a:ext uri="{FF2B5EF4-FFF2-40B4-BE49-F238E27FC236}">
                <a16:creationId xmlns:a16="http://schemas.microsoft.com/office/drawing/2014/main" id="{BE4E3163-068E-4548-8673-83F2B5392DCE}"/>
              </a:ext>
            </a:extLst>
          </p:cNvPr>
          <p:cNvSpPr>
            <a:spLocks noGrp="1"/>
          </p:cNvSpPr>
          <p:nvPr>
            <p:ph type="sldNum" sz="quarter" idx="11"/>
          </p:nvPr>
        </p:nvSpPr>
        <p:spPr/>
        <p:txBody>
          <a:bodyPr/>
          <a:lstStyle/>
          <a:p>
            <a:r>
              <a:rPr lang="en-US" dirty="0"/>
              <a:t>Page </a:t>
            </a:r>
            <a:fld id="{15EBE321-CBB1-4E91-BD14-37C8D44326FB}" type="slidenum">
              <a:rPr lang="en-US" smtClean="0"/>
              <a:pPr/>
              <a:t>82</a:t>
            </a:fld>
            <a:endParaRPr lang="en-US" dirty="0"/>
          </a:p>
        </p:txBody>
      </p:sp>
    </p:spTree>
    <p:extLst>
      <p:ext uri="{BB962C8B-B14F-4D97-AF65-F5344CB8AC3E}">
        <p14:creationId xmlns:p14="http://schemas.microsoft.com/office/powerpoint/2010/main" val="283660678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F1603F5-D6F3-42C3-B632-3CD370E2C2CE}"/>
              </a:ext>
            </a:extLst>
          </p:cNvPr>
          <p:cNvGrpSpPr/>
          <p:nvPr/>
        </p:nvGrpSpPr>
        <p:grpSpPr>
          <a:xfrm>
            <a:off x="3506400" y="1789080"/>
            <a:ext cx="5724000" cy="4016485"/>
            <a:chOff x="3513249" y="1813425"/>
            <a:chExt cx="5718382" cy="4018577"/>
          </a:xfrm>
        </p:grpSpPr>
        <p:sp>
          <p:nvSpPr>
            <p:cNvPr id="66" name="Freeform 65">
              <a:extLst>
                <a:ext uri="{FF2B5EF4-FFF2-40B4-BE49-F238E27FC236}">
                  <a16:creationId xmlns:a16="http://schemas.microsoft.com/office/drawing/2014/main" id="{7BCC7EE0-892E-DF49-9A4B-217E9EE1B81E}"/>
                </a:ext>
              </a:extLst>
            </p:cNvPr>
            <p:cNvSpPr/>
            <p:nvPr/>
          </p:nvSpPr>
          <p:spPr bwMode="auto">
            <a:xfrm>
              <a:off x="3513249" y="1813425"/>
              <a:ext cx="5710940" cy="2029000"/>
            </a:xfrm>
            <a:custGeom>
              <a:avLst/>
              <a:gdLst>
                <a:gd name="connsiteX0" fmla="*/ 0 w 2912533"/>
                <a:gd name="connsiteY0" fmla="*/ 386080 h 386080"/>
                <a:gd name="connsiteX1" fmla="*/ 1774613 w 2912533"/>
                <a:gd name="connsiteY1" fmla="*/ 386080 h 386080"/>
                <a:gd name="connsiteX2" fmla="*/ 2160693 w 2912533"/>
                <a:gd name="connsiteY2" fmla="*/ 0 h 386080"/>
                <a:gd name="connsiteX3" fmla="*/ 2912533 w 2912533"/>
                <a:gd name="connsiteY3" fmla="*/ 0 h 386080"/>
                <a:gd name="connsiteX0" fmla="*/ 0 w 2912533"/>
                <a:gd name="connsiteY0" fmla="*/ 386080 h 386080"/>
                <a:gd name="connsiteX1" fmla="*/ 1224314 w 2912533"/>
                <a:gd name="connsiteY1" fmla="*/ 385589 h 386080"/>
                <a:gd name="connsiteX2" fmla="*/ 1774613 w 2912533"/>
                <a:gd name="connsiteY2" fmla="*/ 386080 h 386080"/>
                <a:gd name="connsiteX3" fmla="*/ 2160693 w 2912533"/>
                <a:gd name="connsiteY3" fmla="*/ 0 h 386080"/>
                <a:gd name="connsiteX4" fmla="*/ 2912533 w 2912533"/>
                <a:gd name="connsiteY4" fmla="*/ 0 h 386080"/>
                <a:gd name="connsiteX0" fmla="*/ 0 w 2912533"/>
                <a:gd name="connsiteY0" fmla="*/ 386080 h 386080"/>
                <a:gd name="connsiteX1" fmla="*/ 1224314 w 2912533"/>
                <a:gd name="connsiteY1" fmla="*/ 385589 h 386080"/>
                <a:gd name="connsiteX2" fmla="*/ 1774613 w 2912533"/>
                <a:gd name="connsiteY2" fmla="*/ 386080 h 386080"/>
                <a:gd name="connsiteX3" fmla="*/ 2160693 w 2912533"/>
                <a:gd name="connsiteY3" fmla="*/ 0 h 386080"/>
                <a:gd name="connsiteX4" fmla="*/ 2912533 w 2912533"/>
                <a:gd name="connsiteY4" fmla="*/ 0 h 386080"/>
                <a:gd name="connsiteX0" fmla="*/ 0 w 2240264"/>
                <a:gd name="connsiteY0" fmla="*/ 682862 h 682862"/>
                <a:gd name="connsiteX1" fmla="*/ 552045 w 2240264"/>
                <a:gd name="connsiteY1" fmla="*/ 385589 h 682862"/>
                <a:gd name="connsiteX2" fmla="*/ 1102344 w 2240264"/>
                <a:gd name="connsiteY2" fmla="*/ 386080 h 682862"/>
                <a:gd name="connsiteX3" fmla="*/ 1488424 w 2240264"/>
                <a:gd name="connsiteY3" fmla="*/ 0 h 682862"/>
                <a:gd name="connsiteX4" fmla="*/ 2240264 w 2240264"/>
                <a:gd name="connsiteY4" fmla="*/ 0 h 682862"/>
                <a:gd name="connsiteX0" fmla="*/ 0 w 2240264"/>
                <a:gd name="connsiteY0" fmla="*/ 682862 h 682862"/>
                <a:gd name="connsiteX1" fmla="*/ 212631 w 2240264"/>
                <a:gd name="connsiteY1" fmla="*/ 564314 h 682862"/>
                <a:gd name="connsiteX2" fmla="*/ 552045 w 2240264"/>
                <a:gd name="connsiteY2" fmla="*/ 385589 h 682862"/>
                <a:gd name="connsiteX3" fmla="*/ 1102344 w 2240264"/>
                <a:gd name="connsiteY3" fmla="*/ 386080 h 682862"/>
                <a:gd name="connsiteX4" fmla="*/ 1488424 w 2240264"/>
                <a:gd name="connsiteY4" fmla="*/ 0 h 682862"/>
                <a:gd name="connsiteX5" fmla="*/ 2240264 w 2240264"/>
                <a:gd name="connsiteY5" fmla="*/ 0 h 682862"/>
                <a:gd name="connsiteX0" fmla="*/ 0 w 2240264"/>
                <a:gd name="connsiteY0" fmla="*/ 682862 h 684010"/>
                <a:gd name="connsiteX1" fmla="*/ 253623 w 2240264"/>
                <a:gd name="connsiteY1" fmla="*/ 684010 h 684010"/>
                <a:gd name="connsiteX2" fmla="*/ 552045 w 2240264"/>
                <a:gd name="connsiteY2" fmla="*/ 385589 h 684010"/>
                <a:gd name="connsiteX3" fmla="*/ 1102344 w 2240264"/>
                <a:gd name="connsiteY3" fmla="*/ 386080 h 684010"/>
                <a:gd name="connsiteX4" fmla="*/ 1488424 w 2240264"/>
                <a:gd name="connsiteY4" fmla="*/ 0 h 684010"/>
                <a:gd name="connsiteX5" fmla="*/ 2240264 w 2240264"/>
                <a:gd name="connsiteY5" fmla="*/ 0 h 684010"/>
                <a:gd name="connsiteX0" fmla="*/ 0 w 1925254"/>
                <a:gd name="connsiteY0" fmla="*/ 682862 h 684010"/>
                <a:gd name="connsiteX1" fmla="*/ 253623 w 1925254"/>
                <a:gd name="connsiteY1" fmla="*/ 684010 h 684010"/>
                <a:gd name="connsiteX2" fmla="*/ 552045 w 1925254"/>
                <a:gd name="connsiteY2" fmla="*/ 385589 h 684010"/>
                <a:gd name="connsiteX3" fmla="*/ 1102344 w 1925254"/>
                <a:gd name="connsiteY3" fmla="*/ 386080 h 684010"/>
                <a:gd name="connsiteX4" fmla="*/ 1488424 w 1925254"/>
                <a:gd name="connsiteY4" fmla="*/ 0 h 684010"/>
                <a:gd name="connsiteX5" fmla="*/ 1925254 w 1925254"/>
                <a:gd name="connsiteY5" fmla="*/ 0 h 684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25254" h="684010">
                  <a:moveTo>
                    <a:pt x="0" y="682862"/>
                  </a:moveTo>
                  <a:lnTo>
                    <a:pt x="253623" y="684010"/>
                  </a:lnTo>
                  <a:lnTo>
                    <a:pt x="552045" y="385589"/>
                  </a:lnTo>
                  <a:lnTo>
                    <a:pt x="1102344" y="386080"/>
                  </a:lnTo>
                  <a:lnTo>
                    <a:pt x="1488424" y="0"/>
                  </a:lnTo>
                  <a:lnTo>
                    <a:pt x="1925254" y="0"/>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67" name="Freeform 66">
              <a:extLst>
                <a:ext uri="{FF2B5EF4-FFF2-40B4-BE49-F238E27FC236}">
                  <a16:creationId xmlns:a16="http://schemas.microsoft.com/office/drawing/2014/main" id="{3EA5E0E4-ACBE-9042-B5D4-697663728D87}"/>
                </a:ext>
              </a:extLst>
            </p:cNvPr>
            <p:cNvSpPr/>
            <p:nvPr/>
          </p:nvSpPr>
          <p:spPr bwMode="auto">
            <a:xfrm>
              <a:off x="5629294" y="2582381"/>
              <a:ext cx="882562" cy="378895"/>
            </a:xfrm>
            <a:custGeom>
              <a:avLst/>
              <a:gdLst>
                <a:gd name="connsiteX0" fmla="*/ 0 w 2998381"/>
                <a:gd name="connsiteY0" fmla="*/ 1254642 h 1254642"/>
                <a:gd name="connsiteX1" fmla="*/ 909083 w 2998381"/>
                <a:gd name="connsiteY1" fmla="*/ 345559 h 1254642"/>
                <a:gd name="connsiteX2" fmla="*/ 1770320 w 2998381"/>
                <a:gd name="connsiteY2" fmla="*/ 345559 h 1254642"/>
                <a:gd name="connsiteX3" fmla="*/ 2115879 w 2998381"/>
                <a:gd name="connsiteY3" fmla="*/ 0 h 1254642"/>
                <a:gd name="connsiteX4" fmla="*/ 2174358 w 2998381"/>
                <a:gd name="connsiteY4" fmla="*/ 0 h 1254642"/>
                <a:gd name="connsiteX5" fmla="*/ 2998381 w 2998381"/>
                <a:gd name="connsiteY5" fmla="*/ 0 h 1254642"/>
                <a:gd name="connsiteX0" fmla="*/ 0 w 2089298"/>
                <a:gd name="connsiteY0" fmla="*/ 345559 h 345559"/>
                <a:gd name="connsiteX1" fmla="*/ 861237 w 2089298"/>
                <a:gd name="connsiteY1" fmla="*/ 345559 h 345559"/>
                <a:gd name="connsiteX2" fmla="*/ 1206796 w 2089298"/>
                <a:gd name="connsiteY2" fmla="*/ 0 h 345559"/>
                <a:gd name="connsiteX3" fmla="*/ 1265275 w 2089298"/>
                <a:gd name="connsiteY3" fmla="*/ 0 h 345559"/>
                <a:gd name="connsiteX4" fmla="*/ 2089298 w 2089298"/>
                <a:gd name="connsiteY4" fmla="*/ 0 h 345559"/>
                <a:gd name="connsiteX0" fmla="*/ 0 w 1228061"/>
                <a:gd name="connsiteY0" fmla="*/ 345559 h 345559"/>
                <a:gd name="connsiteX1" fmla="*/ 345559 w 1228061"/>
                <a:gd name="connsiteY1" fmla="*/ 0 h 345559"/>
                <a:gd name="connsiteX2" fmla="*/ 404038 w 1228061"/>
                <a:gd name="connsiteY2" fmla="*/ 0 h 345559"/>
                <a:gd name="connsiteX3" fmla="*/ 1228061 w 1228061"/>
                <a:gd name="connsiteY3" fmla="*/ 0 h 345559"/>
                <a:gd name="connsiteX0" fmla="*/ 0 w 1228061"/>
                <a:gd name="connsiteY0" fmla="*/ 345559 h 345559"/>
                <a:gd name="connsiteX1" fmla="*/ 345559 w 1228061"/>
                <a:gd name="connsiteY1" fmla="*/ 0 h 345559"/>
                <a:gd name="connsiteX2" fmla="*/ 1228061 w 1228061"/>
                <a:gd name="connsiteY2" fmla="*/ 0 h 345559"/>
                <a:gd name="connsiteX0" fmla="*/ 0 w 801374"/>
                <a:gd name="connsiteY0" fmla="*/ 345559 h 345559"/>
                <a:gd name="connsiteX1" fmla="*/ 345559 w 801374"/>
                <a:gd name="connsiteY1" fmla="*/ 0 h 345559"/>
                <a:gd name="connsiteX2" fmla="*/ 801374 w 801374"/>
                <a:gd name="connsiteY2" fmla="*/ 4445 h 345559"/>
                <a:gd name="connsiteX0" fmla="*/ 0 w 806500"/>
                <a:gd name="connsiteY0" fmla="*/ 346241 h 346241"/>
                <a:gd name="connsiteX1" fmla="*/ 345559 w 806500"/>
                <a:gd name="connsiteY1" fmla="*/ 682 h 346241"/>
                <a:gd name="connsiteX2" fmla="*/ 806500 w 806500"/>
                <a:gd name="connsiteY2" fmla="*/ 0 h 346241"/>
              </a:gdLst>
              <a:ahLst/>
              <a:cxnLst>
                <a:cxn ang="0">
                  <a:pos x="connsiteX0" y="connsiteY0"/>
                </a:cxn>
                <a:cxn ang="0">
                  <a:pos x="connsiteX1" y="connsiteY1"/>
                </a:cxn>
                <a:cxn ang="0">
                  <a:pos x="connsiteX2" y="connsiteY2"/>
                </a:cxn>
              </a:cxnLst>
              <a:rect l="l" t="t" r="r" b="b"/>
              <a:pathLst>
                <a:path w="806500" h="346241">
                  <a:moveTo>
                    <a:pt x="0" y="346241"/>
                  </a:moveTo>
                  <a:lnTo>
                    <a:pt x="345559" y="682"/>
                  </a:lnTo>
                  <a:lnTo>
                    <a:pt x="806500" y="0"/>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69" name="Freeform 68">
              <a:extLst>
                <a:ext uri="{FF2B5EF4-FFF2-40B4-BE49-F238E27FC236}">
                  <a16:creationId xmlns:a16="http://schemas.microsoft.com/office/drawing/2014/main" id="{1082A796-98B0-C142-8865-722BD17399EA}"/>
                </a:ext>
              </a:extLst>
            </p:cNvPr>
            <p:cNvSpPr/>
            <p:nvPr/>
          </p:nvSpPr>
          <p:spPr bwMode="auto">
            <a:xfrm>
              <a:off x="8287014" y="2602900"/>
              <a:ext cx="939665" cy="319522"/>
            </a:xfrm>
            <a:custGeom>
              <a:avLst/>
              <a:gdLst>
                <a:gd name="connsiteX0" fmla="*/ 0 w 494453"/>
                <a:gd name="connsiteY0" fmla="*/ 0 h 230293"/>
                <a:gd name="connsiteX1" fmla="*/ 230293 w 494453"/>
                <a:gd name="connsiteY1" fmla="*/ 230293 h 230293"/>
                <a:gd name="connsiteX2" fmla="*/ 494453 w 494453"/>
                <a:gd name="connsiteY2" fmla="*/ 230293 h 230293"/>
                <a:gd name="connsiteX0" fmla="*/ 0 w 677255"/>
                <a:gd name="connsiteY0" fmla="*/ 0 h 230293"/>
                <a:gd name="connsiteX1" fmla="*/ 230293 w 677255"/>
                <a:gd name="connsiteY1" fmla="*/ 230293 h 230293"/>
                <a:gd name="connsiteX2" fmla="*/ 677255 w 677255"/>
                <a:gd name="connsiteY2" fmla="*/ 230293 h 230293"/>
              </a:gdLst>
              <a:ahLst/>
              <a:cxnLst>
                <a:cxn ang="0">
                  <a:pos x="connsiteX0" y="connsiteY0"/>
                </a:cxn>
                <a:cxn ang="0">
                  <a:pos x="connsiteX1" y="connsiteY1"/>
                </a:cxn>
                <a:cxn ang="0">
                  <a:pos x="connsiteX2" y="connsiteY2"/>
                </a:cxn>
              </a:cxnLst>
              <a:rect l="l" t="t" r="r" b="b"/>
              <a:pathLst>
                <a:path w="677255" h="230293">
                  <a:moveTo>
                    <a:pt x="0" y="0"/>
                  </a:moveTo>
                  <a:lnTo>
                    <a:pt x="230293" y="230293"/>
                  </a:lnTo>
                  <a:lnTo>
                    <a:pt x="677255" y="230293"/>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70" name="Freeform 69">
              <a:extLst>
                <a:ext uri="{FF2B5EF4-FFF2-40B4-BE49-F238E27FC236}">
                  <a16:creationId xmlns:a16="http://schemas.microsoft.com/office/drawing/2014/main" id="{7BCC7EE0-892E-DF49-9A4B-217E9EE1B81E}"/>
                </a:ext>
              </a:extLst>
            </p:cNvPr>
            <p:cNvSpPr/>
            <p:nvPr/>
          </p:nvSpPr>
          <p:spPr bwMode="auto">
            <a:xfrm>
              <a:off x="7784410" y="2296011"/>
              <a:ext cx="1443022" cy="815666"/>
            </a:xfrm>
            <a:custGeom>
              <a:avLst/>
              <a:gdLst>
                <a:gd name="connsiteX0" fmla="*/ 0 w 2912533"/>
                <a:gd name="connsiteY0" fmla="*/ 386080 h 386080"/>
                <a:gd name="connsiteX1" fmla="*/ 1774613 w 2912533"/>
                <a:gd name="connsiteY1" fmla="*/ 386080 h 386080"/>
                <a:gd name="connsiteX2" fmla="*/ 2160693 w 2912533"/>
                <a:gd name="connsiteY2" fmla="*/ 0 h 386080"/>
                <a:gd name="connsiteX3" fmla="*/ 2912533 w 2912533"/>
                <a:gd name="connsiteY3" fmla="*/ 0 h 386080"/>
                <a:gd name="connsiteX0" fmla="*/ 0 w 1137920"/>
                <a:gd name="connsiteY0" fmla="*/ 386080 h 386080"/>
                <a:gd name="connsiteX1" fmla="*/ 386080 w 1137920"/>
                <a:gd name="connsiteY1" fmla="*/ 0 h 386080"/>
                <a:gd name="connsiteX2" fmla="*/ 1137920 w 1137920"/>
                <a:gd name="connsiteY2" fmla="*/ 0 h 386080"/>
                <a:gd name="connsiteX0" fmla="*/ 0 w 1137920"/>
                <a:gd name="connsiteY0" fmla="*/ 387666 h 387666"/>
                <a:gd name="connsiteX1" fmla="*/ 386080 w 1137920"/>
                <a:gd name="connsiteY1" fmla="*/ 1586 h 387666"/>
                <a:gd name="connsiteX2" fmla="*/ 685833 w 1137920"/>
                <a:gd name="connsiteY2" fmla="*/ 0 h 387666"/>
                <a:gd name="connsiteX3" fmla="*/ 1137920 w 1137920"/>
                <a:gd name="connsiteY3" fmla="*/ 1586 h 387666"/>
                <a:gd name="connsiteX0" fmla="*/ 0 w 685833"/>
                <a:gd name="connsiteY0" fmla="*/ 387666 h 387666"/>
                <a:gd name="connsiteX1" fmla="*/ 386080 w 685833"/>
                <a:gd name="connsiteY1" fmla="*/ 1586 h 387666"/>
                <a:gd name="connsiteX2" fmla="*/ 685833 w 685833"/>
                <a:gd name="connsiteY2" fmla="*/ 0 h 387666"/>
              </a:gdLst>
              <a:ahLst/>
              <a:cxnLst>
                <a:cxn ang="0">
                  <a:pos x="connsiteX0" y="connsiteY0"/>
                </a:cxn>
                <a:cxn ang="0">
                  <a:pos x="connsiteX1" y="connsiteY1"/>
                </a:cxn>
                <a:cxn ang="0">
                  <a:pos x="connsiteX2" y="connsiteY2"/>
                </a:cxn>
              </a:cxnLst>
              <a:rect l="l" t="t" r="r" b="b"/>
              <a:pathLst>
                <a:path w="685833" h="387666">
                  <a:moveTo>
                    <a:pt x="0" y="387666"/>
                  </a:moveTo>
                  <a:lnTo>
                    <a:pt x="386080" y="1586"/>
                  </a:lnTo>
                  <a:lnTo>
                    <a:pt x="685833" y="0"/>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71" name="Freeform 70">
              <a:extLst>
                <a:ext uri="{FF2B5EF4-FFF2-40B4-BE49-F238E27FC236}">
                  <a16:creationId xmlns:a16="http://schemas.microsoft.com/office/drawing/2014/main" id="{1082A796-98B0-C142-8865-722BD17399EA}"/>
                </a:ext>
              </a:extLst>
            </p:cNvPr>
            <p:cNvSpPr/>
            <p:nvPr/>
          </p:nvSpPr>
          <p:spPr bwMode="auto">
            <a:xfrm>
              <a:off x="8314107" y="4176679"/>
              <a:ext cx="915618" cy="540101"/>
            </a:xfrm>
            <a:custGeom>
              <a:avLst/>
              <a:gdLst>
                <a:gd name="connsiteX0" fmla="*/ 0 w 494453"/>
                <a:gd name="connsiteY0" fmla="*/ 0 h 230293"/>
                <a:gd name="connsiteX1" fmla="*/ 230293 w 494453"/>
                <a:gd name="connsiteY1" fmla="*/ 230293 h 230293"/>
                <a:gd name="connsiteX2" fmla="*/ 494453 w 494453"/>
                <a:gd name="connsiteY2" fmla="*/ 230293 h 230293"/>
                <a:gd name="connsiteX0" fmla="*/ 0 w 677255"/>
                <a:gd name="connsiteY0" fmla="*/ 0 h 230293"/>
                <a:gd name="connsiteX1" fmla="*/ 230293 w 677255"/>
                <a:gd name="connsiteY1" fmla="*/ 230293 h 230293"/>
                <a:gd name="connsiteX2" fmla="*/ 677255 w 677255"/>
                <a:gd name="connsiteY2" fmla="*/ 230293 h 230293"/>
                <a:gd name="connsiteX0" fmla="*/ 0 w 677255"/>
                <a:gd name="connsiteY0" fmla="*/ 0 h 230293"/>
                <a:gd name="connsiteX1" fmla="*/ 230293 w 677255"/>
                <a:gd name="connsiteY1" fmla="*/ 230293 h 230293"/>
                <a:gd name="connsiteX2" fmla="*/ 485499 w 677255"/>
                <a:gd name="connsiteY2" fmla="*/ 230293 h 230293"/>
                <a:gd name="connsiteX3" fmla="*/ 677255 w 677255"/>
                <a:gd name="connsiteY3" fmla="*/ 230293 h 230293"/>
                <a:gd name="connsiteX0" fmla="*/ 0 w 485499"/>
                <a:gd name="connsiteY0" fmla="*/ 0 h 230293"/>
                <a:gd name="connsiteX1" fmla="*/ 230293 w 485499"/>
                <a:gd name="connsiteY1" fmla="*/ 230293 h 230293"/>
                <a:gd name="connsiteX2" fmla="*/ 485499 w 485499"/>
                <a:gd name="connsiteY2" fmla="*/ 230293 h 230293"/>
                <a:gd name="connsiteX0" fmla="*/ 0 w 485499"/>
                <a:gd name="connsiteY0" fmla="*/ 0 h 230293"/>
                <a:gd name="connsiteX1" fmla="*/ 230293 w 485499"/>
                <a:gd name="connsiteY1" fmla="*/ 230293 h 230293"/>
                <a:gd name="connsiteX2" fmla="*/ 390408 w 485499"/>
                <a:gd name="connsiteY2" fmla="*/ 229481 h 230293"/>
                <a:gd name="connsiteX3" fmla="*/ 485499 w 485499"/>
                <a:gd name="connsiteY3" fmla="*/ 230293 h 230293"/>
                <a:gd name="connsiteX0" fmla="*/ 0 w 390408"/>
                <a:gd name="connsiteY0" fmla="*/ 0 h 230293"/>
                <a:gd name="connsiteX1" fmla="*/ 230293 w 390408"/>
                <a:gd name="connsiteY1" fmla="*/ 230293 h 230293"/>
                <a:gd name="connsiteX2" fmla="*/ 390408 w 390408"/>
                <a:gd name="connsiteY2" fmla="*/ 229481 h 230293"/>
              </a:gdLst>
              <a:ahLst/>
              <a:cxnLst>
                <a:cxn ang="0">
                  <a:pos x="connsiteX0" y="connsiteY0"/>
                </a:cxn>
                <a:cxn ang="0">
                  <a:pos x="connsiteX1" y="connsiteY1"/>
                </a:cxn>
                <a:cxn ang="0">
                  <a:pos x="connsiteX2" y="connsiteY2"/>
                </a:cxn>
              </a:cxnLst>
              <a:rect l="l" t="t" r="r" b="b"/>
              <a:pathLst>
                <a:path w="390408" h="230293">
                  <a:moveTo>
                    <a:pt x="0" y="0"/>
                  </a:moveTo>
                  <a:lnTo>
                    <a:pt x="230293" y="230293"/>
                  </a:lnTo>
                  <a:lnTo>
                    <a:pt x="390408" y="229481"/>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72" name="Freeform 71">
              <a:extLst>
                <a:ext uri="{FF2B5EF4-FFF2-40B4-BE49-F238E27FC236}">
                  <a16:creationId xmlns:a16="http://schemas.microsoft.com/office/drawing/2014/main" id="{1082A796-98B0-C142-8865-722BD17399EA}"/>
                </a:ext>
              </a:extLst>
            </p:cNvPr>
            <p:cNvSpPr/>
            <p:nvPr/>
          </p:nvSpPr>
          <p:spPr bwMode="auto">
            <a:xfrm flipV="1">
              <a:off x="7307457" y="4609907"/>
              <a:ext cx="800668" cy="354462"/>
            </a:xfrm>
            <a:custGeom>
              <a:avLst/>
              <a:gdLst>
                <a:gd name="connsiteX0" fmla="*/ 0 w 494453"/>
                <a:gd name="connsiteY0" fmla="*/ 0 h 230293"/>
                <a:gd name="connsiteX1" fmla="*/ 230293 w 494453"/>
                <a:gd name="connsiteY1" fmla="*/ 230293 h 230293"/>
                <a:gd name="connsiteX2" fmla="*/ 494453 w 494453"/>
                <a:gd name="connsiteY2" fmla="*/ 230293 h 230293"/>
                <a:gd name="connsiteX0" fmla="*/ 0 w 677255"/>
                <a:gd name="connsiteY0" fmla="*/ 0 h 230293"/>
                <a:gd name="connsiteX1" fmla="*/ 230293 w 677255"/>
                <a:gd name="connsiteY1" fmla="*/ 230293 h 230293"/>
                <a:gd name="connsiteX2" fmla="*/ 677255 w 677255"/>
                <a:gd name="connsiteY2" fmla="*/ 230293 h 230293"/>
                <a:gd name="connsiteX0" fmla="*/ 0 w 677255"/>
                <a:gd name="connsiteY0" fmla="*/ 0 h 230293"/>
                <a:gd name="connsiteX1" fmla="*/ 230293 w 677255"/>
                <a:gd name="connsiteY1" fmla="*/ 230293 h 230293"/>
                <a:gd name="connsiteX2" fmla="*/ 485499 w 677255"/>
                <a:gd name="connsiteY2" fmla="*/ 230293 h 230293"/>
                <a:gd name="connsiteX3" fmla="*/ 677255 w 677255"/>
                <a:gd name="connsiteY3" fmla="*/ 230293 h 230293"/>
                <a:gd name="connsiteX0" fmla="*/ 0 w 485499"/>
                <a:gd name="connsiteY0" fmla="*/ 0 h 230293"/>
                <a:gd name="connsiteX1" fmla="*/ 230293 w 485499"/>
                <a:gd name="connsiteY1" fmla="*/ 230293 h 230293"/>
                <a:gd name="connsiteX2" fmla="*/ 485499 w 485499"/>
                <a:gd name="connsiteY2" fmla="*/ 230293 h 230293"/>
                <a:gd name="connsiteX0" fmla="*/ 0 w 520190"/>
                <a:gd name="connsiteY0" fmla="*/ 0 h 230293"/>
                <a:gd name="connsiteX1" fmla="*/ 230293 w 520190"/>
                <a:gd name="connsiteY1" fmla="*/ 230293 h 230293"/>
                <a:gd name="connsiteX2" fmla="*/ 520190 w 520190"/>
                <a:gd name="connsiteY2" fmla="*/ 230293 h 230293"/>
              </a:gdLst>
              <a:ahLst/>
              <a:cxnLst>
                <a:cxn ang="0">
                  <a:pos x="connsiteX0" y="connsiteY0"/>
                </a:cxn>
                <a:cxn ang="0">
                  <a:pos x="connsiteX1" y="connsiteY1"/>
                </a:cxn>
                <a:cxn ang="0">
                  <a:pos x="connsiteX2" y="connsiteY2"/>
                </a:cxn>
              </a:cxnLst>
              <a:rect l="l" t="t" r="r" b="b"/>
              <a:pathLst>
                <a:path w="520190" h="230293">
                  <a:moveTo>
                    <a:pt x="0" y="0"/>
                  </a:moveTo>
                  <a:lnTo>
                    <a:pt x="230293" y="230293"/>
                  </a:lnTo>
                  <a:lnTo>
                    <a:pt x="520190" y="230293"/>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73" name="Freeform 72">
              <a:extLst>
                <a:ext uri="{FF2B5EF4-FFF2-40B4-BE49-F238E27FC236}">
                  <a16:creationId xmlns:a16="http://schemas.microsoft.com/office/drawing/2014/main" id="{1082A796-98B0-C142-8865-722BD17399EA}"/>
                </a:ext>
              </a:extLst>
            </p:cNvPr>
            <p:cNvSpPr/>
            <p:nvPr/>
          </p:nvSpPr>
          <p:spPr bwMode="auto">
            <a:xfrm>
              <a:off x="5842937" y="3647586"/>
              <a:ext cx="1331881" cy="498662"/>
            </a:xfrm>
            <a:custGeom>
              <a:avLst/>
              <a:gdLst>
                <a:gd name="connsiteX0" fmla="*/ 0 w 494453"/>
                <a:gd name="connsiteY0" fmla="*/ 0 h 230293"/>
                <a:gd name="connsiteX1" fmla="*/ 230293 w 494453"/>
                <a:gd name="connsiteY1" fmla="*/ 230293 h 230293"/>
                <a:gd name="connsiteX2" fmla="*/ 494453 w 494453"/>
                <a:gd name="connsiteY2" fmla="*/ 230293 h 230293"/>
                <a:gd name="connsiteX0" fmla="*/ 0 w 677255"/>
                <a:gd name="connsiteY0" fmla="*/ 0 h 230293"/>
                <a:gd name="connsiteX1" fmla="*/ 230293 w 677255"/>
                <a:gd name="connsiteY1" fmla="*/ 230293 h 230293"/>
                <a:gd name="connsiteX2" fmla="*/ 677255 w 677255"/>
                <a:gd name="connsiteY2" fmla="*/ 230293 h 230293"/>
                <a:gd name="connsiteX0" fmla="*/ 0 w 677255"/>
                <a:gd name="connsiteY0" fmla="*/ 0 h 230293"/>
                <a:gd name="connsiteX1" fmla="*/ 230293 w 677255"/>
                <a:gd name="connsiteY1" fmla="*/ 230293 h 230293"/>
                <a:gd name="connsiteX2" fmla="*/ 485499 w 677255"/>
                <a:gd name="connsiteY2" fmla="*/ 230293 h 230293"/>
                <a:gd name="connsiteX3" fmla="*/ 677255 w 677255"/>
                <a:gd name="connsiteY3" fmla="*/ 230293 h 230293"/>
                <a:gd name="connsiteX0" fmla="*/ 0 w 485499"/>
                <a:gd name="connsiteY0" fmla="*/ 0 h 230293"/>
                <a:gd name="connsiteX1" fmla="*/ 230293 w 485499"/>
                <a:gd name="connsiteY1" fmla="*/ 230293 h 230293"/>
                <a:gd name="connsiteX2" fmla="*/ 485499 w 485499"/>
                <a:gd name="connsiteY2" fmla="*/ 230293 h 230293"/>
                <a:gd name="connsiteX0" fmla="*/ 0 w 615090"/>
                <a:gd name="connsiteY0" fmla="*/ 0 h 230293"/>
                <a:gd name="connsiteX1" fmla="*/ 230293 w 615090"/>
                <a:gd name="connsiteY1" fmla="*/ 230293 h 230293"/>
                <a:gd name="connsiteX2" fmla="*/ 615090 w 615090"/>
                <a:gd name="connsiteY2" fmla="*/ 230293 h 230293"/>
              </a:gdLst>
              <a:ahLst/>
              <a:cxnLst>
                <a:cxn ang="0">
                  <a:pos x="connsiteX0" y="connsiteY0"/>
                </a:cxn>
                <a:cxn ang="0">
                  <a:pos x="connsiteX1" y="connsiteY1"/>
                </a:cxn>
                <a:cxn ang="0">
                  <a:pos x="connsiteX2" y="connsiteY2"/>
                </a:cxn>
              </a:cxnLst>
              <a:rect l="l" t="t" r="r" b="b"/>
              <a:pathLst>
                <a:path w="615090" h="230293">
                  <a:moveTo>
                    <a:pt x="0" y="0"/>
                  </a:moveTo>
                  <a:lnTo>
                    <a:pt x="230293" y="230293"/>
                  </a:lnTo>
                  <a:lnTo>
                    <a:pt x="615090" y="230293"/>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74" name="Freeform 73">
              <a:extLst>
                <a:ext uri="{FF2B5EF4-FFF2-40B4-BE49-F238E27FC236}">
                  <a16:creationId xmlns:a16="http://schemas.microsoft.com/office/drawing/2014/main" id="{1082A796-98B0-C142-8865-722BD17399EA}"/>
                </a:ext>
              </a:extLst>
            </p:cNvPr>
            <p:cNvSpPr/>
            <p:nvPr/>
          </p:nvSpPr>
          <p:spPr bwMode="auto">
            <a:xfrm>
              <a:off x="5380496" y="4031663"/>
              <a:ext cx="536494" cy="286337"/>
            </a:xfrm>
            <a:custGeom>
              <a:avLst/>
              <a:gdLst>
                <a:gd name="connsiteX0" fmla="*/ 0 w 494453"/>
                <a:gd name="connsiteY0" fmla="*/ 0 h 230293"/>
                <a:gd name="connsiteX1" fmla="*/ 230293 w 494453"/>
                <a:gd name="connsiteY1" fmla="*/ 230293 h 230293"/>
                <a:gd name="connsiteX2" fmla="*/ 494453 w 494453"/>
                <a:gd name="connsiteY2" fmla="*/ 230293 h 230293"/>
                <a:gd name="connsiteX0" fmla="*/ 0 w 677255"/>
                <a:gd name="connsiteY0" fmla="*/ 0 h 230293"/>
                <a:gd name="connsiteX1" fmla="*/ 230293 w 677255"/>
                <a:gd name="connsiteY1" fmla="*/ 230293 h 230293"/>
                <a:gd name="connsiteX2" fmla="*/ 677255 w 677255"/>
                <a:gd name="connsiteY2" fmla="*/ 230293 h 230293"/>
                <a:gd name="connsiteX0" fmla="*/ 0 w 677255"/>
                <a:gd name="connsiteY0" fmla="*/ 0 h 230293"/>
                <a:gd name="connsiteX1" fmla="*/ 230293 w 677255"/>
                <a:gd name="connsiteY1" fmla="*/ 230293 h 230293"/>
                <a:gd name="connsiteX2" fmla="*/ 485499 w 677255"/>
                <a:gd name="connsiteY2" fmla="*/ 230293 h 230293"/>
                <a:gd name="connsiteX3" fmla="*/ 677255 w 677255"/>
                <a:gd name="connsiteY3" fmla="*/ 230293 h 230293"/>
                <a:gd name="connsiteX0" fmla="*/ 0 w 485499"/>
                <a:gd name="connsiteY0" fmla="*/ 0 h 230293"/>
                <a:gd name="connsiteX1" fmla="*/ 230293 w 485499"/>
                <a:gd name="connsiteY1" fmla="*/ 230293 h 230293"/>
                <a:gd name="connsiteX2" fmla="*/ 485499 w 485499"/>
                <a:gd name="connsiteY2" fmla="*/ 230293 h 230293"/>
                <a:gd name="connsiteX0" fmla="*/ 0 w 615090"/>
                <a:gd name="connsiteY0" fmla="*/ 0 h 230293"/>
                <a:gd name="connsiteX1" fmla="*/ 230293 w 615090"/>
                <a:gd name="connsiteY1" fmla="*/ 230293 h 230293"/>
                <a:gd name="connsiteX2" fmla="*/ 615090 w 615090"/>
                <a:gd name="connsiteY2" fmla="*/ 230293 h 230293"/>
                <a:gd name="connsiteX0" fmla="*/ 0 w 615090"/>
                <a:gd name="connsiteY0" fmla="*/ 0 h 230293"/>
                <a:gd name="connsiteX1" fmla="*/ 230293 w 615090"/>
                <a:gd name="connsiteY1" fmla="*/ 230293 h 230293"/>
                <a:gd name="connsiteX2" fmla="*/ 431486 w 615090"/>
                <a:gd name="connsiteY2" fmla="*/ 228347 h 230293"/>
                <a:gd name="connsiteX3" fmla="*/ 615090 w 615090"/>
                <a:gd name="connsiteY3" fmla="*/ 230293 h 230293"/>
                <a:gd name="connsiteX0" fmla="*/ 0 w 431486"/>
                <a:gd name="connsiteY0" fmla="*/ 0 h 230293"/>
                <a:gd name="connsiteX1" fmla="*/ 230293 w 431486"/>
                <a:gd name="connsiteY1" fmla="*/ 230293 h 230293"/>
                <a:gd name="connsiteX2" fmla="*/ 431486 w 431486"/>
                <a:gd name="connsiteY2" fmla="*/ 228347 h 230293"/>
              </a:gdLst>
              <a:ahLst/>
              <a:cxnLst>
                <a:cxn ang="0">
                  <a:pos x="connsiteX0" y="connsiteY0"/>
                </a:cxn>
                <a:cxn ang="0">
                  <a:pos x="connsiteX1" y="connsiteY1"/>
                </a:cxn>
                <a:cxn ang="0">
                  <a:pos x="connsiteX2" y="connsiteY2"/>
                </a:cxn>
              </a:cxnLst>
              <a:rect l="l" t="t" r="r" b="b"/>
              <a:pathLst>
                <a:path w="431486" h="230293">
                  <a:moveTo>
                    <a:pt x="0" y="0"/>
                  </a:moveTo>
                  <a:lnTo>
                    <a:pt x="230293" y="230293"/>
                  </a:lnTo>
                  <a:lnTo>
                    <a:pt x="431486" y="228347"/>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75" name="Freeform 74">
              <a:extLst>
                <a:ext uri="{FF2B5EF4-FFF2-40B4-BE49-F238E27FC236}">
                  <a16:creationId xmlns:a16="http://schemas.microsoft.com/office/drawing/2014/main" id="{7BCC7EE0-892E-DF49-9A4B-217E9EE1B81E}"/>
                </a:ext>
              </a:extLst>
            </p:cNvPr>
            <p:cNvSpPr/>
            <p:nvPr/>
          </p:nvSpPr>
          <p:spPr bwMode="auto">
            <a:xfrm flipV="1">
              <a:off x="4450126" y="3666981"/>
              <a:ext cx="4781505" cy="1573653"/>
            </a:xfrm>
            <a:custGeom>
              <a:avLst/>
              <a:gdLst>
                <a:gd name="connsiteX0" fmla="*/ 0 w 2912533"/>
                <a:gd name="connsiteY0" fmla="*/ 386080 h 386080"/>
                <a:gd name="connsiteX1" fmla="*/ 1774613 w 2912533"/>
                <a:gd name="connsiteY1" fmla="*/ 386080 h 386080"/>
                <a:gd name="connsiteX2" fmla="*/ 2160693 w 2912533"/>
                <a:gd name="connsiteY2" fmla="*/ 0 h 386080"/>
                <a:gd name="connsiteX3" fmla="*/ 2912533 w 2912533"/>
                <a:gd name="connsiteY3" fmla="*/ 0 h 386080"/>
                <a:gd name="connsiteX0" fmla="*/ 0 w 2912533"/>
                <a:gd name="connsiteY0" fmla="*/ 386080 h 386080"/>
                <a:gd name="connsiteX1" fmla="*/ 1224314 w 2912533"/>
                <a:gd name="connsiteY1" fmla="*/ 385589 h 386080"/>
                <a:gd name="connsiteX2" fmla="*/ 1774613 w 2912533"/>
                <a:gd name="connsiteY2" fmla="*/ 386080 h 386080"/>
                <a:gd name="connsiteX3" fmla="*/ 2160693 w 2912533"/>
                <a:gd name="connsiteY3" fmla="*/ 0 h 386080"/>
                <a:gd name="connsiteX4" fmla="*/ 2912533 w 2912533"/>
                <a:gd name="connsiteY4" fmla="*/ 0 h 386080"/>
                <a:gd name="connsiteX0" fmla="*/ 0 w 2912533"/>
                <a:gd name="connsiteY0" fmla="*/ 386080 h 386080"/>
                <a:gd name="connsiteX1" fmla="*/ 1224314 w 2912533"/>
                <a:gd name="connsiteY1" fmla="*/ 385589 h 386080"/>
                <a:gd name="connsiteX2" fmla="*/ 1774613 w 2912533"/>
                <a:gd name="connsiteY2" fmla="*/ 386080 h 386080"/>
                <a:gd name="connsiteX3" fmla="*/ 2160693 w 2912533"/>
                <a:gd name="connsiteY3" fmla="*/ 0 h 386080"/>
                <a:gd name="connsiteX4" fmla="*/ 2912533 w 2912533"/>
                <a:gd name="connsiteY4" fmla="*/ 0 h 386080"/>
                <a:gd name="connsiteX0" fmla="*/ 0 w 2240264"/>
                <a:gd name="connsiteY0" fmla="*/ 682862 h 682862"/>
                <a:gd name="connsiteX1" fmla="*/ 552045 w 2240264"/>
                <a:gd name="connsiteY1" fmla="*/ 385589 h 682862"/>
                <a:gd name="connsiteX2" fmla="*/ 1102344 w 2240264"/>
                <a:gd name="connsiteY2" fmla="*/ 386080 h 682862"/>
                <a:gd name="connsiteX3" fmla="*/ 1488424 w 2240264"/>
                <a:gd name="connsiteY3" fmla="*/ 0 h 682862"/>
                <a:gd name="connsiteX4" fmla="*/ 2240264 w 2240264"/>
                <a:gd name="connsiteY4" fmla="*/ 0 h 682862"/>
                <a:gd name="connsiteX0" fmla="*/ 0 w 2240264"/>
                <a:gd name="connsiteY0" fmla="*/ 682862 h 682862"/>
                <a:gd name="connsiteX1" fmla="*/ 212631 w 2240264"/>
                <a:gd name="connsiteY1" fmla="*/ 564314 h 682862"/>
                <a:gd name="connsiteX2" fmla="*/ 552045 w 2240264"/>
                <a:gd name="connsiteY2" fmla="*/ 385589 h 682862"/>
                <a:gd name="connsiteX3" fmla="*/ 1102344 w 2240264"/>
                <a:gd name="connsiteY3" fmla="*/ 386080 h 682862"/>
                <a:gd name="connsiteX4" fmla="*/ 1488424 w 2240264"/>
                <a:gd name="connsiteY4" fmla="*/ 0 h 682862"/>
                <a:gd name="connsiteX5" fmla="*/ 2240264 w 2240264"/>
                <a:gd name="connsiteY5" fmla="*/ 0 h 682862"/>
                <a:gd name="connsiteX0" fmla="*/ 0 w 2240264"/>
                <a:gd name="connsiteY0" fmla="*/ 682862 h 684010"/>
                <a:gd name="connsiteX1" fmla="*/ 253623 w 2240264"/>
                <a:gd name="connsiteY1" fmla="*/ 684010 h 684010"/>
                <a:gd name="connsiteX2" fmla="*/ 552045 w 2240264"/>
                <a:gd name="connsiteY2" fmla="*/ 385589 h 684010"/>
                <a:gd name="connsiteX3" fmla="*/ 1102344 w 2240264"/>
                <a:gd name="connsiteY3" fmla="*/ 386080 h 684010"/>
                <a:gd name="connsiteX4" fmla="*/ 1488424 w 2240264"/>
                <a:gd name="connsiteY4" fmla="*/ 0 h 684010"/>
                <a:gd name="connsiteX5" fmla="*/ 2240264 w 2240264"/>
                <a:gd name="connsiteY5" fmla="*/ 0 h 684010"/>
                <a:gd name="connsiteX0" fmla="*/ 0 w 1925254"/>
                <a:gd name="connsiteY0" fmla="*/ 682862 h 684010"/>
                <a:gd name="connsiteX1" fmla="*/ 253623 w 1925254"/>
                <a:gd name="connsiteY1" fmla="*/ 684010 h 684010"/>
                <a:gd name="connsiteX2" fmla="*/ 552045 w 1925254"/>
                <a:gd name="connsiteY2" fmla="*/ 385589 h 684010"/>
                <a:gd name="connsiteX3" fmla="*/ 1102344 w 1925254"/>
                <a:gd name="connsiteY3" fmla="*/ 386080 h 684010"/>
                <a:gd name="connsiteX4" fmla="*/ 1488424 w 1925254"/>
                <a:gd name="connsiteY4" fmla="*/ 0 h 684010"/>
                <a:gd name="connsiteX5" fmla="*/ 1925254 w 1925254"/>
                <a:gd name="connsiteY5" fmla="*/ 0 h 684010"/>
                <a:gd name="connsiteX0" fmla="*/ 0 w 1671631"/>
                <a:gd name="connsiteY0" fmla="*/ 684010 h 684010"/>
                <a:gd name="connsiteX1" fmla="*/ 298422 w 1671631"/>
                <a:gd name="connsiteY1" fmla="*/ 385589 h 684010"/>
                <a:gd name="connsiteX2" fmla="*/ 848721 w 1671631"/>
                <a:gd name="connsiteY2" fmla="*/ 386080 h 684010"/>
                <a:gd name="connsiteX3" fmla="*/ 1234801 w 1671631"/>
                <a:gd name="connsiteY3" fmla="*/ 0 h 684010"/>
                <a:gd name="connsiteX4" fmla="*/ 1671631 w 1671631"/>
                <a:gd name="connsiteY4" fmla="*/ 0 h 684010"/>
                <a:gd name="connsiteX0" fmla="*/ 0 w 1671631"/>
                <a:gd name="connsiteY0" fmla="*/ 684010 h 684010"/>
                <a:gd name="connsiteX1" fmla="*/ 298422 w 1671631"/>
                <a:gd name="connsiteY1" fmla="*/ 385589 h 684010"/>
                <a:gd name="connsiteX2" fmla="*/ 790386 w 1671631"/>
                <a:gd name="connsiteY2" fmla="*/ 386080 h 684010"/>
                <a:gd name="connsiteX3" fmla="*/ 1234801 w 1671631"/>
                <a:gd name="connsiteY3" fmla="*/ 0 h 684010"/>
                <a:gd name="connsiteX4" fmla="*/ 1671631 w 1671631"/>
                <a:gd name="connsiteY4" fmla="*/ 0 h 684010"/>
                <a:gd name="connsiteX0" fmla="*/ 0 w 1671631"/>
                <a:gd name="connsiteY0" fmla="*/ 684010 h 684010"/>
                <a:gd name="connsiteX1" fmla="*/ 298422 w 1671631"/>
                <a:gd name="connsiteY1" fmla="*/ 385589 h 684010"/>
                <a:gd name="connsiteX2" fmla="*/ 790386 w 1671631"/>
                <a:gd name="connsiteY2" fmla="*/ 386080 h 684010"/>
                <a:gd name="connsiteX3" fmla="*/ 987617 w 1671631"/>
                <a:gd name="connsiteY3" fmla="*/ 189837 h 684010"/>
                <a:gd name="connsiteX4" fmla="*/ 1671631 w 1671631"/>
                <a:gd name="connsiteY4" fmla="*/ 0 h 684010"/>
                <a:gd name="connsiteX0" fmla="*/ 0 w 1504534"/>
                <a:gd name="connsiteY0" fmla="*/ 495161 h 495161"/>
                <a:gd name="connsiteX1" fmla="*/ 298422 w 1504534"/>
                <a:gd name="connsiteY1" fmla="*/ 196740 h 495161"/>
                <a:gd name="connsiteX2" fmla="*/ 790386 w 1504534"/>
                <a:gd name="connsiteY2" fmla="*/ 197231 h 495161"/>
                <a:gd name="connsiteX3" fmla="*/ 987617 w 1504534"/>
                <a:gd name="connsiteY3" fmla="*/ 988 h 495161"/>
                <a:gd name="connsiteX4" fmla="*/ 1504534 w 1504534"/>
                <a:gd name="connsiteY4" fmla="*/ 0 h 495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4534" h="495161">
                  <a:moveTo>
                    <a:pt x="0" y="495161"/>
                  </a:moveTo>
                  <a:lnTo>
                    <a:pt x="298422" y="196740"/>
                  </a:lnTo>
                  <a:lnTo>
                    <a:pt x="790386" y="197231"/>
                  </a:lnTo>
                  <a:lnTo>
                    <a:pt x="987617" y="988"/>
                  </a:lnTo>
                  <a:lnTo>
                    <a:pt x="1504534" y="0"/>
                  </a:lnTo>
                </a:path>
              </a:pathLst>
            </a:custGeom>
            <a:noFill/>
            <a:ln w="22225">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76" name="Freeform 75">
              <a:extLst>
                <a:ext uri="{FF2B5EF4-FFF2-40B4-BE49-F238E27FC236}">
                  <a16:creationId xmlns:a16="http://schemas.microsoft.com/office/drawing/2014/main" id="{EB49FC04-983C-B64D-A0E2-D20C22693243}"/>
                </a:ext>
              </a:extLst>
            </p:cNvPr>
            <p:cNvSpPr/>
            <p:nvPr/>
          </p:nvSpPr>
          <p:spPr bwMode="auto">
            <a:xfrm>
              <a:off x="4993699" y="4029553"/>
              <a:ext cx="609567" cy="189978"/>
            </a:xfrm>
            <a:custGeom>
              <a:avLst/>
              <a:gdLst>
                <a:gd name="connsiteX0" fmla="*/ 1594884 w 1594884"/>
                <a:gd name="connsiteY0" fmla="*/ 0 h 680484"/>
                <a:gd name="connsiteX1" fmla="*/ 680484 w 1594884"/>
                <a:gd name="connsiteY1" fmla="*/ 0 h 680484"/>
                <a:gd name="connsiteX2" fmla="*/ 0 w 1594884"/>
                <a:gd name="connsiteY2" fmla="*/ 680484 h 680484"/>
                <a:gd name="connsiteX0" fmla="*/ 2183418 w 2183418"/>
                <a:gd name="connsiteY0" fmla="*/ 0 h 680484"/>
                <a:gd name="connsiteX1" fmla="*/ 680484 w 2183418"/>
                <a:gd name="connsiteY1" fmla="*/ 0 h 680484"/>
                <a:gd name="connsiteX2" fmla="*/ 0 w 2183418"/>
                <a:gd name="connsiteY2" fmla="*/ 680484 h 680484"/>
              </a:gdLst>
              <a:ahLst/>
              <a:cxnLst>
                <a:cxn ang="0">
                  <a:pos x="connsiteX0" y="connsiteY0"/>
                </a:cxn>
                <a:cxn ang="0">
                  <a:pos x="connsiteX1" y="connsiteY1"/>
                </a:cxn>
                <a:cxn ang="0">
                  <a:pos x="connsiteX2" y="connsiteY2"/>
                </a:cxn>
              </a:cxnLst>
              <a:rect l="l" t="t" r="r" b="b"/>
              <a:pathLst>
                <a:path w="2183418" h="680484">
                  <a:moveTo>
                    <a:pt x="2183418" y="0"/>
                  </a:moveTo>
                  <a:lnTo>
                    <a:pt x="680484" y="0"/>
                  </a:lnTo>
                  <a:lnTo>
                    <a:pt x="0" y="680484"/>
                  </a:lnTo>
                </a:path>
              </a:pathLst>
            </a:custGeom>
            <a:noFill/>
            <a:ln w="22225">
              <a:solidFill>
                <a:schemeClr val="accent2"/>
              </a:solidFill>
              <a:prstDash val="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77" name="Freeform 76">
              <a:extLst>
                <a:ext uri="{FF2B5EF4-FFF2-40B4-BE49-F238E27FC236}">
                  <a16:creationId xmlns:a16="http://schemas.microsoft.com/office/drawing/2014/main" id="{7BCC7EE0-892E-DF49-9A4B-217E9EE1B81E}"/>
                </a:ext>
              </a:extLst>
            </p:cNvPr>
            <p:cNvSpPr/>
            <p:nvPr/>
          </p:nvSpPr>
          <p:spPr bwMode="auto">
            <a:xfrm flipV="1">
              <a:off x="4836206" y="3279421"/>
              <a:ext cx="4391226" cy="897890"/>
            </a:xfrm>
            <a:custGeom>
              <a:avLst/>
              <a:gdLst>
                <a:gd name="connsiteX0" fmla="*/ 0 w 2912533"/>
                <a:gd name="connsiteY0" fmla="*/ 386080 h 386080"/>
                <a:gd name="connsiteX1" fmla="*/ 1774613 w 2912533"/>
                <a:gd name="connsiteY1" fmla="*/ 386080 h 386080"/>
                <a:gd name="connsiteX2" fmla="*/ 2160693 w 2912533"/>
                <a:gd name="connsiteY2" fmla="*/ 0 h 386080"/>
                <a:gd name="connsiteX3" fmla="*/ 2912533 w 2912533"/>
                <a:gd name="connsiteY3" fmla="*/ 0 h 386080"/>
                <a:gd name="connsiteX0" fmla="*/ 0 w 2912533"/>
                <a:gd name="connsiteY0" fmla="*/ 386080 h 386080"/>
                <a:gd name="connsiteX1" fmla="*/ 1224314 w 2912533"/>
                <a:gd name="connsiteY1" fmla="*/ 385589 h 386080"/>
                <a:gd name="connsiteX2" fmla="*/ 1774613 w 2912533"/>
                <a:gd name="connsiteY2" fmla="*/ 386080 h 386080"/>
                <a:gd name="connsiteX3" fmla="*/ 2160693 w 2912533"/>
                <a:gd name="connsiteY3" fmla="*/ 0 h 386080"/>
                <a:gd name="connsiteX4" fmla="*/ 2912533 w 2912533"/>
                <a:gd name="connsiteY4" fmla="*/ 0 h 386080"/>
                <a:gd name="connsiteX0" fmla="*/ 0 w 2912533"/>
                <a:gd name="connsiteY0" fmla="*/ 386080 h 386080"/>
                <a:gd name="connsiteX1" fmla="*/ 1224314 w 2912533"/>
                <a:gd name="connsiteY1" fmla="*/ 385589 h 386080"/>
                <a:gd name="connsiteX2" fmla="*/ 1774613 w 2912533"/>
                <a:gd name="connsiteY2" fmla="*/ 386080 h 386080"/>
                <a:gd name="connsiteX3" fmla="*/ 2160693 w 2912533"/>
                <a:gd name="connsiteY3" fmla="*/ 0 h 386080"/>
                <a:gd name="connsiteX4" fmla="*/ 2912533 w 2912533"/>
                <a:gd name="connsiteY4" fmla="*/ 0 h 386080"/>
                <a:gd name="connsiteX0" fmla="*/ 0 w 2240264"/>
                <a:gd name="connsiteY0" fmla="*/ 682862 h 682862"/>
                <a:gd name="connsiteX1" fmla="*/ 552045 w 2240264"/>
                <a:gd name="connsiteY1" fmla="*/ 385589 h 682862"/>
                <a:gd name="connsiteX2" fmla="*/ 1102344 w 2240264"/>
                <a:gd name="connsiteY2" fmla="*/ 386080 h 682862"/>
                <a:gd name="connsiteX3" fmla="*/ 1488424 w 2240264"/>
                <a:gd name="connsiteY3" fmla="*/ 0 h 682862"/>
                <a:gd name="connsiteX4" fmla="*/ 2240264 w 2240264"/>
                <a:gd name="connsiteY4" fmla="*/ 0 h 682862"/>
                <a:gd name="connsiteX0" fmla="*/ 0 w 2240264"/>
                <a:gd name="connsiteY0" fmla="*/ 682862 h 682862"/>
                <a:gd name="connsiteX1" fmla="*/ 212631 w 2240264"/>
                <a:gd name="connsiteY1" fmla="*/ 564314 h 682862"/>
                <a:gd name="connsiteX2" fmla="*/ 552045 w 2240264"/>
                <a:gd name="connsiteY2" fmla="*/ 385589 h 682862"/>
                <a:gd name="connsiteX3" fmla="*/ 1102344 w 2240264"/>
                <a:gd name="connsiteY3" fmla="*/ 386080 h 682862"/>
                <a:gd name="connsiteX4" fmla="*/ 1488424 w 2240264"/>
                <a:gd name="connsiteY4" fmla="*/ 0 h 682862"/>
                <a:gd name="connsiteX5" fmla="*/ 2240264 w 2240264"/>
                <a:gd name="connsiteY5" fmla="*/ 0 h 682862"/>
                <a:gd name="connsiteX0" fmla="*/ 0 w 2240264"/>
                <a:gd name="connsiteY0" fmla="*/ 682862 h 684010"/>
                <a:gd name="connsiteX1" fmla="*/ 253623 w 2240264"/>
                <a:gd name="connsiteY1" fmla="*/ 684010 h 684010"/>
                <a:gd name="connsiteX2" fmla="*/ 552045 w 2240264"/>
                <a:gd name="connsiteY2" fmla="*/ 385589 h 684010"/>
                <a:gd name="connsiteX3" fmla="*/ 1102344 w 2240264"/>
                <a:gd name="connsiteY3" fmla="*/ 386080 h 684010"/>
                <a:gd name="connsiteX4" fmla="*/ 1488424 w 2240264"/>
                <a:gd name="connsiteY4" fmla="*/ 0 h 684010"/>
                <a:gd name="connsiteX5" fmla="*/ 2240264 w 2240264"/>
                <a:gd name="connsiteY5" fmla="*/ 0 h 684010"/>
                <a:gd name="connsiteX0" fmla="*/ 0 w 1925254"/>
                <a:gd name="connsiteY0" fmla="*/ 682862 h 684010"/>
                <a:gd name="connsiteX1" fmla="*/ 253623 w 1925254"/>
                <a:gd name="connsiteY1" fmla="*/ 684010 h 684010"/>
                <a:gd name="connsiteX2" fmla="*/ 552045 w 1925254"/>
                <a:gd name="connsiteY2" fmla="*/ 385589 h 684010"/>
                <a:gd name="connsiteX3" fmla="*/ 1102344 w 1925254"/>
                <a:gd name="connsiteY3" fmla="*/ 386080 h 684010"/>
                <a:gd name="connsiteX4" fmla="*/ 1488424 w 1925254"/>
                <a:gd name="connsiteY4" fmla="*/ 0 h 684010"/>
                <a:gd name="connsiteX5" fmla="*/ 1925254 w 1925254"/>
                <a:gd name="connsiteY5" fmla="*/ 0 h 684010"/>
                <a:gd name="connsiteX0" fmla="*/ 0 w 1671631"/>
                <a:gd name="connsiteY0" fmla="*/ 684010 h 684010"/>
                <a:gd name="connsiteX1" fmla="*/ 298422 w 1671631"/>
                <a:gd name="connsiteY1" fmla="*/ 385589 h 684010"/>
                <a:gd name="connsiteX2" fmla="*/ 848721 w 1671631"/>
                <a:gd name="connsiteY2" fmla="*/ 386080 h 684010"/>
                <a:gd name="connsiteX3" fmla="*/ 1234801 w 1671631"/>
                <a:gd name="connsiteY3" fmla="*/ 0 h 684010"/>
                <a:gd name="connsiteX4" fmla="*/ 1671631 w 1671631"/>
                <a:gd name="connsiteY4" fmla="*/ 0 h 684010"/>
                <a:gd name="connsiteX0" fmla="*/ 0 w 1671631"/>
                <a:gd name="connsiteY0" fmla="*/ 684010 h 684010"/>
                <a:gd name="connsiteX1" fmla="*/ 298422 w 1671631"/>
                <a:gd name="connsiteY1" fmla="*/ 385589 h 684010"/>
                <a:gd name="connsiteX2" fmla="*/ 790386 w 1671631"/>
                <a:gd name="connsiteY2" fmla="*/ 386080 h 684010"/>
                <a:gd name="connsiteX3" fmla="*/ 1234801 w 1671631"/>
                <a:gd name="connsiteY3" fmla="*/ 0 h 684010"/>
                <a:gd name="connsiteX4" fmla="*/ 1671631 w 1671631"/>
                <a:gd name="connsiteY4" fmla="*/ 0 h 684010"/>
                <a:gd name="connsiteX0" fmla="*/ 0 w 1671631"/>
                <a:gd name="connsiteY0" fmla="*/ 684010 h 684010"/>
                <a:gd name="connsiteX1" fmla="*/ 298422 w 1671631"/>
                <a:gd name="connsiteY1" fmla="*/ 385589 h 684010"/>
                <a:gd name="connsiteX2" fmla="*/ 790386 w 1671631"/>
                <a:gd name="connsiteY2" fmla="*/ 386080 h 684010"/>
                <a:gd name="connsiteX3" fmla="*/ 987617 w 1671631"/>
                <a:gd name="connsiteY3" fmla="*/ 189837 h 684010"/>
                <a:gd name="connsiteX4" fmla="*/ 1671631 w 1671631"/>
                <a:gd name="connsiteY4" fmla="*/ 0 h 684010"/>
                <a:gd name="connsiteX0" fmla="*/ 0 w 1504534"/>
                <a:gd name="connsiteY0" fmla="*/ 495161 h 495161"/>
                <a:gd name="connsiteX1" fmla="*/ 298422 w 1504534"/>
                <a:gd name="connsiteY1" fmla="*/ 196740 h 495161"/>
                <a:gd name="connsiteX2" fmla="*/ 790386 w 1504534"/>
                <a:gd name="connsiteY2" fmla="*/ 197231 h 495161"/>
                <a:gd name="connsiteX3" fmla="*/ 987617 w 1504534"/>
                <a:gd name="connsiteY3" fmla="*/ 988 h 495161"/>
                <a:gd name="connsiteX4" fmla="*/ 1504534 w 1504534"/>
                <a:gd name="connsiteY4" fmla="*/ 0 h 495161"/>
                <a:gd name="connsiteX0" fmla="*/ 0 w 1504534"/>
                <a:gd name="connsiteY0" fmla="*/ 495161 h 495161"/>
                <a:gd name="connsiteX1" fmla="*/ 20254 w 1504534"/>
                <a:gd name="connsiteY1" fmla="*/ 196740 h 495161"/>
                <a:gd name="connsiteX2" fmla="*/ 790386 w 1504534"/>
                <a:gd name="connsiteY2" fmla="*/ 197231 h 495161"/>
                <a:gd name="connsiteX3" fmla="*/ 987617 w 1504534"/>
                <a:gd name="connsiteY3" fmla="*/ 988 h 495161"/>
                <a:gd name="connsiteX4" fmla="*/ 1504534 w 1504534"/>
                <a:gd name="connsiteY4" fmla="*/ 0 h 495161"/>
                <a:gd name="connsiteX0" fmla="*/ 0 w 1620208"/>
                <a:gd name="connsiteY0" fmla="*/ 331290 h 331290"/>
                <a:gd name="connsiteX1" fmla="*/ 135928 w 1620208"/>
                <a:gd name="connsiteY1" fmla="*/ 196740 h 331290"/>
                <a:gd name="connsiteX2" fmla="*/ 906060 w 1620208"/>
                <a:gd name="connsiteY2" fmla="*/ 197231 h 331290"/>
                <a:gd name="connsiteX3" fmla="*/ 1103291 w 1620208"/>
                <a:gd name="connsiteY3" fmla="*/ 988 h 331290"/>
                <a:gd name="connsiteX4" fmla="*/ 1620208 w 1620208"/>
                <a:gd name="connsiteY4" fmla="*/ 0 h 331290"/>
                <a:gd name="connsiteX0" fmla="*/ 0 w 1620208"/>
                <a:gd name="connsiteY0" fmla="*/ 331290 h 331290"/>
                <a:gd name="connsiteX1" fmla="*/ 135928 w 1620208"/>
                <a:gd name="connsiteY1" fmla="*/ 196740 h 331290"/>
                <a:gd name="connsiteX2" fmla="*/ 906060 w 1620208"/>
                <a:gd name="connsiteY2" fmla="*/ 197231 h 331290"/>
                <a:gd name="connsiteX3" fmla="*/ 1044570 w 1620208"/>
                <a:gd name="connsiteY3" fmla="*/ 988 h 331290"/>
                <a:gd name="connsiteX4" fmla="*/ 1620208 w 1620208"/>
                <a:gd name="connsiteY4" fmla="*/ 0 h 331290"/>
                <a:gd name="connsiteX0" fmla="*/ 0 w 1620208"/>
                <a:gd name="connsiteY0" fmla="*/ 331290 h 331290"/>
                <a:gd name="connsiteX1" fmla="*/ 135928 w 1620208"/>
                <a:gd name="connsiteY1" fmla="*/ 196740 h 331290"/>
                <a:gd name="connsiteX2" fmla="*/ 832451 w 1620208"/>
                <a:gd name="connsiteY2" fmla="*/ 198161 h 331290"/>
                <a:gd name="connsiteX3" fmla="*/ 906060 w 1620208"/>
                <a:gd name="connsiteY3" fmla="*/ 197231 h 331290"/>
                <a:gd name="connsiteX4" fmla="*/ 1044570 w 1620208"/>
                <a:gd name="connsiteY4" fmla="*/ 988 h 331290"/>
                <a:gd name="connsiteX5" fmla="*/ 1620208 w 1620208"/>
                <a:gd name="connsiteY5" fmla="*/ 0 h 331290"/>
                <a:gd name="connsiteX0" fmla="*/ 0 w 1620208"/>
                <a:gd name="connsiteY0" fmla="*/ 331290 h 331290"/>
                <a:gd name="connsiteX1" fmla="*/ 135928 w 1620208"/>
                <a:gd name="connsiteY1" fmla="*/ 196740 h 331290"/>
                <a:gd name="connsiteX2" fmla="*/ 832451 w 1620208"/>
                <a:gd name="connsiteY2" fmla="*/ 198161 h 331290"/>
                <a:gd name="connsiteX3" fmla="*/ 1044570 w 1620208"/>
                <a:gd name="connsiteY3" fmla="*/ 988 h 331290"/>
                <a:gd name="connsiteX4" fmla="*/ 1620208 w 1620208"/>
                <a:gd name="connsiteY4" fmla="*/ 0 h 331290"/>
                <a:gd name="connsiteX0" fmla="*/ 0 w 1620208"/>
                <a:gd name="connsiteY0" fmla="*/ 331290 h 331290"/>
                <a:gd name="connsiteX1" fmla="*/ 135928 w 1620208"/>
                <a:gd name="connsiteY1" fmla="*/ 196740 h 331290"/>
                <a:gd name="connsiteX2" fmla="*/ 840993 w 1620208"/>
                <a:gd name="connsiteY2" fmla="*/ 198161 h 331290"/>
                <a:gd name="connsiteX3" fmla="*/ 1044570 w 1620208"/>
                <a:gd name="connsiteY3" fmla="*/ 988 h 331290"/>
                <a:gd name="connsiteX4" fmla="*/ 1620208 w 1620208"/>
                <a:gd name="connsiteY4" fmla="*/ 0 h 331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0208" h="331290">
                  <a:moveTo>
                    <a:pt x="0" y="331290"/>
                  </a:moveTo>
                  <a:lnTo>
                    <a:pt x="135928" y="196740"/>
                  </a:lnTo>
                  <a:lnTo>
                    <a:pt x="840993" y="198161"/>
                  </a:lnTo>
                  <a:lnTo>
                    <a:pt x="1044570" y="988"/>
                  </a:lnTo>
                  <a:lnTo>
                    <a:pt x="1620208" y="0"/>
                  </a:lnTo>
                </a:path>
              </a:pathLst>
            </a:custGeom>
            <a:noFill/>
            <a:ln w="22225">
              <a:solidFill>
                <a:schemeClr val="accent2"/>
              </a:solidFill>
              <a:prstDash val="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78" name="Freeform 77">
              <a:extLst>
                <a:ext uri="{FF2B5EF4-FFF2-40B4-BE49-F238E27FC236}">
                  <a16:creationId xmlns:a16="http://schemas.microsoft.com/office/drawing/2014/main" id="{EB49FC04-983C-B64D-A0E2-D20C22693243}"/>
                </a:ext>
              </a:extLst>
            </p:cNvPr>
            <p:cNvSpPr/>
            <p:nvPr/>
          </p:nvSpPr>
          <p:spPr bwMode="auto">
            <a:xfrm flipV="1">
              <a:off x="7209111" y="2533594"/>
              <a:ext cx="2018732" cy="1002913"/>
            </a:xfrm>
            <a:custGeom>
              <a:avLst/>
              <a:gdLst>
                <a:gd name="connsiteX0" fmla="*/ 1594884 w 1594884"/>
                <a:gd name="connsiteY0" fmla="*/ 0 h 680484"/>
                <a:gd name="connsiteX1" fmla="*/ 680484 w 1594884"/>
                <a:gd name="connsiteY1" fmla="*/ 0 h 680484"/>
                <a:gd name="connsiteX2" fmla="*/ 0 w 1594884"/>
                <a:gd name="connsiteY2" fmla="*/ 680484 h 680484"/>
                <a:gd name="connsiteX0" fmla="*/ 2183418 w 2183418"/>
                <a:gd name="connsiteY0" fmla="*/ 0 h 680484"/>
                <a:gd name="connsiteX1" fmla="*/ 680484 w 2183418"/>
                <a:gd name="connsiteY1" fmla="*/ 0 h 680484"/>
                <a:gd name="connsiteX2" fmla="*/ 0 w 2183418"/>
                <a:gd name="connsiteY2" fmla="*/ 680484 h 680484"/>
                <a:gd name="connsiteX0" fmla="*/ 2183418 w 2183418"/>
                <a:gd name="connsiteY0" fmla="*/ 0 h 680484"/>
                <a:gd name="connsiteX1" fmla="*/ 1369727 w 2183418"/>
                <a:gd name="connsiteY1" fmla="*/ 1391 h 680484"/>
                <a:gd name="connsiteX2" fmla="*/ 680484 w 2183418"/>
                <a:gd name="connsiteY2" fmla="*/ 0 h 680484"/>
                <a:gd name="connsiteX3" fmla="*/ 0 w 2183418"/>
                <a:gd name="connsiteY3" fmla="*/ 680484 h 680484"/>
                <a:gd name="connsiteX0" fmla="*/ 1369727 w 1369727"/>
                <a:gd name="connsiteY0" fmla="*/ 1391 h 680484"/>
                <a:gd name="connsiteX1" fmla="*/ 680484 w 1369727"/>
                <a:gd name="connsiteY1" fmla="*/ 0 h 680484"/>
                <a:gd name="connsiteX2" fmla="*/ 0 w 1369727"/>
                <a:gd name="connsiteY2" fmla="*/ 680484 h 680484"/>
              </a:gdLst>
              <a:ahLst/>
              <a:cxnLst>
                <a:cxn ang="0">
                  <a:pos x="connsiteX0" y="connsiteY0"/>
                </a:cxn>
                <a:cxn ang="0">
                  <a:pos x="connsiteX1" y="connsiteY1"/>
                </a:cxn>
                <a:cxn ang="0">
                  <a:pos x="connsiteX2" y="connsiteY2"/>
                </a:cxn>
              </a:cxnLst>
              <a:rect l="l" t="t" r="r" b="b"/>
              <a:pathLst>
                <a:path w="1369727" h="680484">
                  <a:moveTo>
                    <a:pt x="1369727" y="1391"/>
                  </a:moveTo>
                  <a:lnTo>
                    <a:pt x="680484" y="0"/>
                  </a:lnTo>
                  <a:lnTo>
                    <a:pt x="0" y="680484"/>
                  </a:lnTo>
                </a:path>
              </a:pathLst>
            </a:custGeom>
            <a:noFill/>
            <a:ln w="22225">
              <a:solidFill>
                <a:schemeClr val="accent2"/>
              </a:solidFill>
              <a:prstDash val="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sp>
          <p:nvSpPr>
            <p:cNvPr id="79" name="Freeform 78">
              <a:extLst>
                <a:ext uri="{FF2B5EF4-FFF2-40B4-BE49-F238E27FC236}">
                  <a16:creationId xmlns:a16="http://schemas.microsoft.com/office/drawing/2014/main" id="{EB49FC04-983C-B64D-A0E2-D20C22693243}"/>
                </a:ext>
              </a:extLst>
            </p:cNvPr>
            <p:cNvSpPr/>
            <p:nvPr/>
          </p:nvSpPr>
          <p:spPr bwMode="auto">
            <a:xfrm flipV="1">
              <a:off x="6127768" y="4615787"/>
              <a:ext cx="3100075" cy="1216215"/>
            </a:xfrm>
            <a:custGeom>
              <a:avLst/>
              <a:gdLst>
                <a:gd name="connsiteX0" fmla="*/ 1594884 w 1594884"/>
                <a:gd name="connsiteY0" fmla="*/ 0 h 680484"/>
                <a:gd name="connsiteX1" fmla="*/ 680484 w 1594884"/>
                <a:gd name="connsiteY1" fmla="*/ 0 h 680484"/>
                <a:gd name="connsiteX2" fmla="*/ 0 w 1594884"/>
                <a:gd name="connsiteY2" fmla="*/ 680484 h 680484"/>
                <a:gd name="connsiteX0" fmla="*/ 2183418 w 2183418"/>
                <a:gd name="connsiteY0" fmla="*/ 0 h 680484"/>
                <a:gd name="connsiteX1" fmla="*/ 680484 w 2183418"/>
                <a:gd name="connsiteY1" fmla="*/ 0 h 680484"/>
                <a:gd name="connsiteX2" fmla="*/ 0 w 2183418"/>
                <a:gd name="connsiteY2" fmla="*/ 680484 h 680484"/>
                <a:gd name="connsiteX0" fmla="*/ 2183418 w 2183418"/>
                <a:gd name="connsiteY0" fmla="*/ 0 h 680484"/>
                <a:gd name="connsiteX1" fmla="*/ 1369727 w 2183418"/>
                <a:gd name="connsiteY1" fmla="*/ 1391 h 680484"/>
                <a:gd name="connsiteX2" fmla="*/ 680484 w 2183418"/>
                <a:gd name="connsiteY2" fmla="*/ 0 h 680484"/>
                <a:gd name="connsiteX3" fmla="*/ 0 w 2183418"/>
                <a:gd name="connsiteY3" fmla="*/ 680484 h 680484"/>
                <a:gd name="connsiteX0" fmla="*/ 1369727 w 1369727"/>
                <a:gd name="connsiteY0" fmla="*/ 1391 h 680484"/>
                <a:gd name="connsiteX1" fmla="*/ 680484 w 1369727"/>
                <a:gd name="connsiteY1" fmla="*/ 0 h 680484"/>
                <a:gd name="connsiteX2" fmla="*/ 0 w 1369727"/>
                <a:gd name="connsiteY2" fmla="*/ 680484 h 680484"/>
                <a:gd name="connsiteX0" fmla="*/ 1369727 w 1369727"/>
                <a:gd name="connsiteY0" fmla="*/ 1391 h 680484"/>
                <a:gd name="connsiteX1" fmla="*/ 680484 w 1369727"/>
                <a:gd name="connsiteY1" fmla="*/ 0 h 680484"/>
                <a:gd name="connsiteX2" fmla="*/ 235583 w 1369727"/>
                <a:gd name="connsiteY2" fmla="*/ 444944 h 680484"/>
                <a:gd name="connsiteX3" fmla="*/ 0 w 1369727"/>
                <a:gd name="connsiteY3" fmla="*/ 680484 h 680484"/>
                <a:gd name="connsiteX0" fmla="*/ 1134144 w 1134144"/>
                <a:gd name="connsiteY0" fmla="*/ 1391 h 444944"/>
                <a:gd name="connsiteX1" fmla="*/ 444901 w 1134144"/>
                <a:gd name="connsiteY1" fmla="*/ 0 h 444944"/>
                <a:gd name="connsiteX2" fmla="*/ 0 w 1134144"/>
                <a:gd name="connsiteY2" fmla="*/ 444944 h 444944"/>
              </a:gdLst>
              <a:ahLst/>
              <a:cxnLst>
                <a:cxn ang="0">
                  <a:pos x="connsiteX0" y="connsiteY0"/>
                </a:cxn>
                <a:cxn ang="0">
                  <a:pos x="connsiteX1" y="connsiteY1"/>
                </a:cxn>
                <a:cxn ang="0">
                  <a:pos x="connsiteX2" y="connsiteY2"/>
                </a:cxn>
              </a:cxnLst>
              <a:rect l="l" t="t" r="r" b="b"/>
              <a:pathLst>
                <a:path w="1134144" h="444944">
                  <a:moveTo>
                    <a:pt x="1134144" y="1391"/>
                  </a:moveTo>
                  <a:lnTo>
                    <a:pt x="444901" y="0"/>
                  </a:lnTo>
                  <a:lnTo>
                    <a:pt x="0" y="444944"/>
                  </a:lnTo>
                </a:path>
              </a:pathLst>
            </a:custGeom>
            <a:noFill/>
            <a:ln w="22225">
              <a:solidFill>
                <a:schemeClr val="accent2"/>
              </a:solidFill>
              <a:prstDash val="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defTabSz="913943" fontAlgn="base">
                <a:spcBef>
                  <a:spcPct val="50000"/>
                </a:spcBef>
                <a:spcAft>
                  <a:spcPct val="0"/>
                </a:spcAft>
              </a:pPr>
              <a:endParaRPr lang="en-US" sz="2399" dirty="0">
                <a:solidFill>
                  <a:srgbClr val="000000"/>
                </a:solidFill>
                <a:ea typeface="ヒラギノ角ゴ Pro W3" charset="0"/>
              </a:endParaRPr>
            </a:p>
          </p:txBody>
        </p:sp>
      </p:grpSp>
      <p:sp>
        <p:nvSpPr>
          <p:cNvPr id="2" name="Titel 1"/>
          <p:cNvSpPr>
            <a:spLocks noGrp="1"/>
          </p:cNvSpPr>
          <p:nvPr>
            <p:ph type="title"/>
          </p:nvPr>
        </p:nvSpPr>
        <p:spPr/>
        <p:txBody>
          <a:bodyPr/>
          <a:lstStyle/>
          <a:p>
            <a:r>
              <a:rPr lang="en-US" dirty="0"/>
              <a:t>Tree diagram</a:t>
            </a:r>
          </a:p>
        </p:txBody>
      </p:sp>
      <p:sp>
        <p:nvSpPr>
          <p:cNvPr id="94" name="Rechteck 93"/>
          <p:cNvSpPr>
            <a:spLocks/>
          </p:cNvSpPr>
          <p:nvPr/>
        </p:nvSpPr>
        <p:spPr bwMode="auto">
          <a:xfrm>
            <a:off x="0" y="1415849"/>
            <a:ext cx="3670088" cy="4750501"/>
          </a:xfrm>
          <a:prstGeom prst="rect">
            <a:avLst/>
          </a:prstGeom>
          <a:solidFill>
            <a:srgbClr val="9999A9"/>
          </a:solidFill>
          <a:ln>
            <a:noFill/>
          </a:ln>
          <a:effectLst/>
        </p:spPr>
        <p:txBody>
          <a:bodyPr wrap="square" lIns="410400" tIns="215888" rIns="431775" bIns="215888" numCol="1" spcCol="72000" rtlCol="0" anchor="ctr">
            <a:noAutofit/>
          </a:bodyPr>
          <a:lstStyle/>
          <a:p>
            <a:r>
              <a:rPr lang="en-US" sz="1799" b="1" dirty="0">
                <a:solidFill>
                  <a:schemeClr val="bg2"/>
                </a:solidFill>
                <a:ea typeface="Arial Unicode MS"/>
              </a:rPr>
              <a:t>Duis arcu tortor, suscipit eget, imperdiet nec, imperdiet iaculis, ipsum</a:t>
            </a:r>
          </a:p>
        </p:txBody>
      </p:sp>
      <p:sp>
        <p:nvSpPr>
          <p:cNvPr id="82" name="Textfeld 139"/>
          <p:cNvSpPr txBox="1"/>
          <p:nvPr/>
        </p:nvSpPr>
        <p:spPr bwMode="gray">
          <a:xfrm flipH="1">
            <a:off x="9230400" y="1591151"/>
            <a:ext cx="2556000" cy="396000"/>
          </a:xfrm>
          <a:prstGeom prst="rect">
            <a:avLst/>
          </a:prstGeom>
          <a:noFill/>
          <a:ln w="22225">
            <a:noFill/>
            <a:prstDash val="dash"/>
          </a:ln>
        </p:spPr>
        <p:txBody>
          <a:bodyPr wrap="square" lIns="143925" tIns="71963" rIns="143925" bIns="71963" rtlCol="0" anchor="ctr">
            <a:spAutoFit/>
          </a:bodyPr>
          <a:lstStyle/>
          <a:p>
            <a:pPr>
              <a:tabLst>
                <a:tab pos="0" algn="l"/>
              </a:tabLst>
            </a:pPr>
            <a:r>
              <a:rPr lang="en-US" sz="1599" dirty="0">
                <a:solidFill>
                  <a:srgbClr val="9999A9"/>
                </a:solidFill>
                <a:ea typeface="Arial Unicode MS"/>
              </a:rPr>
              <a:t>At vero eos et accusam</a:t>
            </a:r>
          </a:p>
        </p:txBody>
      </p:sp>
      <p:sp>
        <p:nvSpPr>
          <p:cNvPr id="83" name="Textfeld 139"/>
          <p:cNvSpPr txBox="1"/>
          <p:nvPr/>
        </p:nvSpPr>
        <p:spPr bwMode="gray">
          <a:xfrm flipH="1">
            <a:off x="9230400" y="3312691"/>
            <a:ext cx="2556000" cy="396000"/>
          </a:xfrm>
          <a:prstGeom prst="rect">
            <a:avLst/>
          </a:prstGeom>
          <a:noFill/>
          <a:ln w="22225">
            <a:noFill/>
            <a:prstDash val="dash"/>
          </a:ln>
        </p:spPr>
        <p:txBody>
          <a:bodyPr wrap="square" lIns="143925" tIns="71963" rIns="143925" bIns="71963" rtlCol="0" anchor="ctr">
            <a:spAutoFit/>
          </a:bodyPr>
          <a:lstStyle/>
          <a:p>
            <a:pPr>
              <a:tabLst>
                <a:tab pos="0" algn="l"/>
              </a:tabLst>
            </a:pPr>
            <a:r>
              <a:rPr lang="en-US" sz="1599" dirty="0">
                <a:solidFill>
                  <a:srgbClr val="9999A9"/>
                </a:solidFill>
                <a:ea typeface="Arial Unicode MS"/>
              </a:rPr>
              <a:t>Duis arcu suscipit eget</a:t>
            </a:r>
          </a:p>
        </p:txBody>
      </p:sp>
      <p:sp>
        <p:nvSpPr>
          <p:cNvPr id="84" name="Textfeld 139"/>
          <p:cNvSpPr txBox="1"/>
          <p:nvPr/>
        </p:nvSpPr>
        <p:spPr bwMode="gray">
          <a:xfrm flipH="1">
            <a:off x="9230400" y="2704126"/>
            <a:ext cx="2556000" cy="396000"/>
          </a:xfrm>
          <a:prstGeom prst="rect">
            <a:avLst/>
          </a:prstGeom>
          <a:noFill/>
          <a:ln w="22225">
            <a:noFill/>
            <a:prstDash val="dash"/>
          </a:ln>
        </p:spPr>
        <p:txBody>
          <a:bodyPr wrap="square" lIns="143925" tIns="71963" rIns="143925" bIns="71963" rtlCol="0" anchor="ctr">
            <a:spAutoFit/>
          </a:bodyPr>
          <a:lstStyle/>
          <a:p>
            <a:pPr>
              <a:tabLst>
                <a:tab pos="0" algn="l"/>
              </a:tabLst>
            </a:pPr>
            <a:r>
              <a:rPr lang="en-US" sz="1599" dirty="0">
                <a:solidFill>
                  <a:srgbClr val="9999A9"/>
                </a:solidFill>
                <a:ea typeface="Arial Unicode MS"/>
              </a:rPr>
              <a:t>Phasellus nec sem</a:t>
            </a:r>
          </a:p>
        </p:txBody>
      </p:sp>
      <p:sp>
        <p:nvSpPr>
          <p:cNvPr id="85" name="Textfeld 139"/>
          <p:cNvSpPr txBox="1"/>
          <p:nvPr/>
        </p:nvSpPr>
        <p:spPr bwMode="gray">
          <a:xfrm flipH="1">
            <a:off x="9230400" y="2074172"/>
            <a:ext cx="2556000" cy="396000"/>
          </a:xfrm>
          <a:prstGeom prst="rect">
            <a:avLst/>
          </a:prstGeom>
          <a:noFill/>
          <a:ln w="22225">
            <a:noFill/>
            <a:prstDash val="dash"/>
          </a:ln>
        </p:spPr>
        <p:txBody>
          <a:bodyPr wrap="square" lIns="143925" tIns="71963" rIns="143925" bIns="71963" rtlCol="0" anchor="ctr">
            <a:spAutoFit/>
          </a:bodyPr>
          <a:lstStyle/>
          <a:p>
            <a:pPr>
              <a:tabLst>
                <a:tab pos="0" algn="l"/>
              </a:tabLst>
            </a:pPr>
            <a:r>
              <a:rPr lang="en-US" sz="1599" dirty="0">
                <a:solidFill>
                  <a:srgbClr val="9999A9"/>
                </a:solidFill>
                <a:ea typeface="Arial Unicode MS"/>
              </a:rPr>
              <a:t>Maecenas nec odio</a:t>
            </a:r>
          </a:p>
        </p:txBody>
      </p:sp>
      <p:sp>
        <p:nvSpPr>
          <p:cNvPr id="86" name="Textfeld 139"/>
          <p:cNvSpPr txBox="1"/>
          <p:nvPr/>
        </p:nvSpPr>
        <p:spPr bwMode="gray">
          <a:xfrm flipH="1">
            <a:off x="9230400" y="4489448"/>
            <a:ext cx="2556000" cy="396000"/>
          </a:xfrm>
          <a:prstGeom prst="rect">
            <a:avLst/>
          </a:prstGeom>
          <a:noFill/>
          <a:ln w="22225">
            <a:noFill/>
            <a:prstDash val="dash"/>
          </a:ln>
        </p:spPr>
        <p:txBody>
          <a:bodyPr wrap="square" lIns="143925" tIns="71963" rIns="143925" bIns="71963" rtlCol="0" anchor="ctr">
            <a:spAutoFit/>
          </a:bodyPr>
          <a:lstStyle/>
          <a:p>
            <a:pPr>
              <a:tabLst>
                <a:tab pos="0" algn="l"/>
              </a:tabLst>
            </a:pPr>
            <a:r>
              <a:rPr lang="en-US" sz="1599" dirty="0">
                <a:solidFill>
                  <a:srgbClr val="9999A9"/>
                </a:solidFill>
                <a:ea typeface="Arial Unicode MS"/>
              </a:rPr>
              <a:t>At vero eos et accusam</a:t>
            </a:r>
          </a:p>
        </p:txBody>
      </p:sp>
      <p:sp>
        <p:nvSpPr>
          <p:cNvPr id="87" name="Textfeld 139"/>
          <p:cNvSpPr txBox="1"/>
          <p:nvPr/>
        </p:nvSpPr>
        <p:spPr bwMode="gray">
          <a:xfrm flipH="1">
            <a:off x="9230400" y="3956309"/>
            <a:ext cx="2556000" cy="396000"/>
          </a:xfrm>
          <a:prstGeom prst="rect">
            <a:avLst/>
          </a:prstGeom>
          <a:noFill/>
          <a:ln w="22225">
            <a:noFill/>
            <a:prstDash val="dash"/>
          </a:ln>
        </p:spPr>
        <p:txBody>
          <a:bodyPr wrap="square" lIns="143925" tIns="71963" rIns="143925" bIns="71963" rtlCol="0" anchor="ctr">
            <a:spAutoFit/>
          </a:bodyPr>
          <a:lstStyle/>
          <a:p>
            <a:pPr>
              <a:tabLst>
                <a:tab pos="0" algn="l"/>
              </a:tabLst>
            </a:pPr>
            <a:r>
              <a:rPr lang="en-US" sz="1599" dirty="0">
                <a:solidFill>
                  <a:srgbClr val="9999A9"/>
                </a:solidFill>
                <a:ea typeface="Arial Unicode MS"/>
              </a:rPr>
              <a:t>Phasellus nec sem</a:t>
            </a:r>
          </a:p>
        </p:txBody>
      </p:sp>
      <p:sp>
        <p:nvSpPr>
          <p:cNvPr id="103" name="Textfeld 139"/>
          <p:cNvSpPr txBox="1"/>
          <p:nvPr/>
        </p:nvSpPr>
        <p:spPr bwMode="gray">
          <a:xfrm flipH="1">
            <a:off x="9230400" y="5608074"/>
            <a:ext cx="2556000" cy="396000"/>
          </a:xfrm>
          <a:prstGeom prst="rect">
            <a:avLst/>
          </a:prstGeom>
          <a:noFill/>
          <a:ln w="22225">
            <a:noFill/>
            <a:prstDash val="dash"/>
          </a:ln>
        </p:spPr>
        <p:txBody>
          <a:bodyPr wrap="square" lIns="143925" tIns="71963" rIns="143925" bIns="71963" rtlCol="0" anchor="ctr">
            <a:spAutoFit/>
          </a:bodyPr>
          <a:lstStyle/>
          <a:p>
            <a:pPr>
              <a:tabLst>
                <a:tab pos="0" algn="l"/>
              </a:tabLst>
            </a:pPr>
            <a:r>
              <a:rPr lang="en-US" sz="1599" dirty="0">
                <a:solidFill>
                  <a:srgbClr val="9999A9"/>
                </a:solidFill>
                <a:ea typeface="Arial Unicode MS"/>
              </a:rPr>
              <a:t>Duis tortor, suscipit eget</a:t>
            </a:r>
          </a:p>
        </p:txBody>
      </p:sp>
      <p:sp>
        <p:nvSpPr>
          <p:cNvPr id="104" name="Textfeld 139"/>
          <p:cNvSpPr txBox="1"/>
          <p:nvPr/>
        </p:nvSpPr>
        <p:spPr bwMode="gray">
          <a:xfrm flipH="1">
            <a:off x="9230400" y="5022586"/>
            <a:ext cx="2556000" cy="396000"/>
          </a:xfrm>
          <a:prstGeom prst="rect">
            <a:avLst/>
          </a:prstGeom>
          <a:noFill/>
          <a:ln w="22225">
            <a:noFill/>
            <a:prstDash val="dash"/>
          </a:ln>
        </p:spPr>
        <p:txBody>
          <a:bodyPr wrap="square" lIns="143925" tIns="71963" rIns="143925" bIns="71963" rtlCol="0" anchor="ctr">
            <a:spAutoFit/>
          </a:bodyPr>
          <a:lstStyle/>
          <a:p>
            <a:pPr>
              <a:tabLst>
                <a:tab pos="0" algn="l"/>
              </a:tabLst>
            </a:pPr>
            <a:r>
              <a:rPr lang="en-US" sz="1599" dirty="0">
                <a:solidFill>
                  <a:srgbClr val="9999A9"/>
                </a:solidFill>
                <a:ea typeface="Arial Unicode MS"/>
              </a:rPr>
              <a:t>Maecenas nec odio</a:t>
            </a:r>
          </a:p>
        </p:txBody>
      </p:sp>
      <p:sp>
        <p:nvSpPr>
          <p:cNvPr id="4" name="Footer Placeholder 3">
            <a:extLst>
              <a:ext uri="{FF2B5EF4-FFF2-40B4-BE49-F238E27FC236}">
                <a16:creationId xmlns:a16="http://schemas.microsoft.com/office/drawing/2014/main" id="{293B05F2-85AF-48A4-8FDD-5A97E3B8781B}"/>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5" name="Slide Number Placeholder 4">
            <a:extLst>
              <a:ext uri="{FF2B5EF4-FFF2-40B4-BE49-F238E27FC236}">
                <a16:creationId xmlns:a16="http://schemas.microsoft.com/office/drawing/2014/main" id="{D2C9B931-E4B9-47BF-8701-C30EBDF9312F}"/>
              </a:ext>
            </a:extLst>
          </p:cNvPr>
          <p:cNvSpPr>
            <a:spLocks noGrp="1"/>
          </p:cNvSpPr>
          <p:nvPr>
            <p:ph type="sldNum" sz="quarter" idx="11"/>
          </p:nvPr>
        </p:nvSpPr>
        <p:spPr/>
        <p:txBody>
          <a:bodyPr/>
          <a:lstStyle/>
          <a:p>
            <a:r>
              <a:rPr lang="en-US" dirty="0"/>
              <a:t>Page </a:t>
            </a:r>
            <a:fld id="{15EBE321-CBB1-4E91-BD14-37C8D44326FB}" type="slidenum">
              <a:rPr lang="en-US" smtClean="0"/>
              <a:pPr/>
              <a:t>83</a:t>
            </a:fld>
            <a:endParaRPr lang="en-US" dirty="0"/>
          </a:p>
        </p:txBody>
      </p:sp>
    </p:spTree>
    <p:extLst>
      <p:ext uri="{BB962C8B-B14F-4D97-AF65-F5344CB8AC3E}">
        <p14:creationId xmlns:p14="http://schemas.microsoft.com/office/powerpoint/2010/main" val="355245303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8" name="Objekt 187"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3" imgW="360" imgH="360" progId="">
                  <p:embed/>
                </p:oleObj>
              </mc:Choice>
              <mc:Fallback>
                <p:oleObj name="think-cell Folie" r:id="rId3" imgW="360" imgH="360" progId="">
                  <p:embed/>
                  <p:pic>
                    <p:nvPicPr>
                      <p:cNvPr id="188" name="Objekt 18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en-US" dirty="0"/>
              <a:t>Flow charts</a:t>
            </a:r>
          </a:p>
        </p:txBody>
      </p:sp>
      <p:sp>
        <p:nvSpPr>
          <p:cNvPr id="200" name="Raute 199"/>
          <p:cNvSpPr/>
          <p:nvPr/>
        </p:nvSpPr>
        <p:spPr bwMode="auto">
          <a:xfrm>
            <a:off x="2739937" y="2314547"/>
            <a:ext cx="864861" cy="864000"/>
          </a:xfrm>
          <a:prstGeom prst="diamond">
            <a:avLst/>
          </a:prstGeom>
          <a:gradFill flip="none" rotWithShape="1">
            <a:gsLst>
              <a:gs pos="0">
                <a:srgbClr val="00FFB9"/>
              </a:gs>
              <a:gs pos="100000">
                <a:srgbClr val="00E6DC"/>
              </a:gs>
            </a:gsLst>
            <a:lin ang="5400000" scaled="1"/>
            <a:tileRect/>
          </a:gradFill>
          <a:ln>
            <a:noFill/>
          </a:ln>
          <a:effectLst/>
        </p:spPr>
        <p:txBody>
          <a:bodyPr wrap="square" lIns="0" tIns="71963" rIns="0" bIns="71963" numCol="1" spcCol="72000" rtlCol="0" anchor="ctr">
            <a:noAutofit/>
          </a:bodyPr>
          <a:lstStyle/>
          <a:p>
            <a:pPr algn="ctr">
              <a:lnSpc>
                <a:spcPct val="90000"/>
              </a:lnSpc>
              <a:spcBef>
                <a:spcPct val="0"/>
              </a:spcBef>
              <a:buFont typeface="Wingdings" charset="0"/>
              <a:buNone/>
            </a:pPr>
            <a:r>
              <a:rPr lang="en-US" sz="1599" b="1" dirty="0">
                <a:solidFill>
                  <a:schemeClr val="tx2"/>
                </a:solidFill>
                <a:ea typeface="Arial Unicode MS" panose="020B0604020202020204" pitchFamily="34" charset="-128"/>
                <a:cs typeface="Arial Unicode MS" panose="020B0604020202020204" pitchFamily="34" charset="-128"/>
              </a:rPr>
              <a:t>Lor</a:t>
            </a:r>
          </a:p>
        </p:txBody>
      </p:sp>
      <p:sp>
        <p:nvSpPr>
          <p:cNvPr id="213" name="Ellipse 212"/>
          <p:cNvSpPr/>
          <p:nvPr/>
        </p:nvSpPr>
        <p:spPr bwMode="auto">
          <a:xfrm>
            <a:off x="861402" y="2394510"/>
            <a:ext cx="719521" cy="720000"/>
          </a:xfrm>
          <a:prstGeom prst="ellipse">
            <a:avLst/>
          </a:prstGeom>
          <a:gradFill flip="none" rotWithShape="1">
            <a:gsLst>
              <a:gs pos="0">
                <a:srgbClr val="00FFB9"/>
              </a:gs>
              <a:gs pos="100000">
                <a:srgbClr val="00E6DC"/>
              </a:gs>
            </a:gsLst>
            <a:lin ang="5400000" scaled="1"/>
            <a:tileRect/>
          </a:gradFill>
          <a:ln>
            <a:noFill/>
          </a:ln>
          <a:effectLst/>
        </p:spPr>
        <p:txBody>
          <a:bodyPr wrap="square" lIns="0" tIns="71963" rIns="0" bIns="71963" numCol="1" spcCol="72000" rtlCol="0" anchor="ctr">
            <a:noAutofit/>
          </a:bodyPr>
          <a:lstStyle/>
          <a:p>
            <a:pPr algn="ctr">
              <a:lnSpc>
                <a:spcPct val="90000"/>
              </a:lnSpc>
              <a:spcBef>
                <a:spcPct val="0"/>
              </a:spcBef>
              <a:buFont typeface="Wingdings" charset="0"/>
              <a:buNone/>
            </a:pPr>
            <a:r>
              <a:rPr lang="en-US" sz="1599" b="1" dirty="0">
                <a:solidFill>
                  <a:schemeClr val="tx2"/>
                </a:solidFill>
                <a:ea typeface="Arial Unicode MS" panose="020B0604020202020204" pitchFamily="34" charset="-128"/>
                <a:cs typeface="Arial Unicode MS" panose="020B0604020202020204" pitchFamily="34" charset="-128"/>
              </a:rPr>
              <a:t>Lore</a:t>
            </a:r>
          </a:p>
        </p:txBody>
      </p:sp>
      <p:sp>
        <p:nvSpPr>
          <p:cNvPr id="198" name="Raute 197"/>
          <p:cNvSpPr/>
          <p:nvPr/>
        </p:nvSpPr>
        <p:spPr bwMode="auto">
          <a:xfrm>
            <a:off x="6642347" y="2314547"/>
            <a:ext cx="864861" cy="864000"/>
          </a:xfrm>
          <a:prstGeom prst="diamond">
            <a:avLst/>
          </a:prstGeom>
          <a:gradFill flip="none" rotWithShape="1">
            <a:gsLst>
              <a:gs pos="0">
                <a:srgbClr val="00FFB9"/>
              </a:gs>
              <a:gs pos="100000">
                <a:srgbClr val="00E6DC"/>
              </a:gs>
            </a:gsLst>
            <a:lin ang="5400000" scaled="1"/>
            <a:tileRect/>
          </a:gradFill>
          <a:ln>
            <a:noFill/>
          </a:ln>
          <a:effectLst/>
        </p:spPr>
        <p:txBody>
          <a:bodyPr wrap="square" lIns="0" tIns="71963" rIns="0" bIns="71963" numCol="1" spcCol="72000" rtlCol="0" anchor="ctr">
            <a:noAutofit/>
          </a:bodyPr>
          <a:lstStyle/>
          <a:p>
            <a:pPr algn="ctr">
              <a:lnSpc>
                <a:spcPct val="90000"/>
              </a:lnSpc>
              <a:spcBef>
                <a:spcPct val="0"/>
              </a:spcBef>
              <a:buFont typeface="Wingdings" charset="0"/>
              <a:buNone/>
            </a:pPr>
            <a:r>
              <a:rPr lang="en-US" sz="1599" b="1" dirty="0">
                <a:solidFill>
                  <a:schemeClr val="tx2"/>
                </a:solidFill>
                <a:ea typeface="Arial Unicode MS" panose="020B0604020202020204" pitchFamily="34" charset="-128"/>
                <a:cs typeface="Arial Unicode MS" panose="020B0604020202020204" pitchFamily="34" charset="-128"/>
              </a:rPr>
              <a:t>Lor</a:t>
            </a:r>
          </a:p>
        </p:txBody>
      </p:sp>
      <p:sp>
        <p:nvSpPr>
          <p:cNvPr id="201" name="Raute 200"/>
          <p:cNvSpPr/>
          <p:nvPr/>
        </p:nvSpPr>
        <p:spPr bwMode="auto">
          <a:xfrm>
            <a:off x="8593552" y="2314547"/>
            <a:ext cx="864861" cy="864000"/>
          </a:xfrm>
          <a:prstGeom prst="diamond">
            <a:avLst/>
          </a:prstGeom>
          <a:gradFill flip="none" rotWithShape="1">
            <a:gsLst>
              <a:gs pos="0">
                <a:srgbClr val="00FFB9"/>
              </a:gs>
              <a:gs pos="100000">
                <a:srgbClr val="00E6DC"/>
              </a:gs>
            </a:gsLst>
            <a:lin ang="5400000" scaled="1"/>
            <a:tileRect/>
          </a:gradFill>
          <a:ln>
            <a:noFill/>
          </a:ln>
          <a:effectLst/>
        </p:spPr>
        <p:txBody>
          <a:bodyPr wrap="square" lIns="0" tIns="71963" rIns="0" bIns="71963" numCol="1" spcCol="72000" rtlCol="0" anchor="ctr">
            <a:noAutofit/>
          </a:bodyPr>
          <a:lstStyle/>
          <a:p>
            <a:pPr algn="ctr">
              <a:lnSpc>
                <a:spcPct val="90000"/>
              </a:lnSpc>
              <a:spcBef>
                <a:spcPct val="0"/>
              </a:spcBef>
              <a:buFont typeface="Wingdings" charset="0"/>
              <a:buNone/>
            </a:pPr>
            <a:r>
              <a:rPr lang="en-US" sz="1599" b="1" dirty="0">
                <a:solidFill>
                  <a:schemeClr val="tx2"/>
                </a:solidFill>
                <a:ea typeface="Arial Unicode MS" panose="020B0604020202020204" pitchFamily="34" charset="-128"/>
                <a:cs typeface="Arial Unicode MS" panose="020B0604020202020204" pitchFamily="34" charset="-128"/>
              </a:rPr>
              <a:t>Lor</a:t>
            </a:r>
          </a:p>
        </p:txBody>
      </p:sp>
      <p:sp>
        <p:nvSpPr>
          <p:cNvPr id="202" name="Raute 201"/>
          <p:cNvSpPr/>
          <p:nvPr/>
        </p:nvSpPr>
        <p:spPr bwMode="auto">
          <a:xfrm>
            <a:off x="10544758" y="2314547"/>
            <a:ext cx="864861" cy="864000"/>
          </a:xfrm>
          <a:prstGeom prst="diamond">
            <a:avLst/>
          </a:prstGeom>
          <a:gradFill flip="none" rotWithShape="1">
            <a:gsLst>
              <a:gs pos="0">
                <a:srgbClr val="00FFB9"/>
              </a:gs>
              <a:gs pos="100000">
                <a:srgbClr val="00E6DC"/>
              </a:gs>
            </a:gsLst>
            <a:lin ang="5400000" scaled="1"/>
            <a:tileRect/>
          </a:gradFill>
          <a:ln>
            <a:noFill/>
          </a:ln>
          <a:effectLst/>
        </p:spPr>
        <p:txBody>
          <a:bodyPr wrap="square" lIns="0" tIns="71963" rIns="0" bIns="71963" numCol="1" spcCol="72000" rtlCol="0" anchor="ctr">
            <a:noAutofit/>
          </a:bodyPr>
          <a:lstStyle/>
          <a:p>
            <a:pPr algn="ctr">
              <a:lnSpc>
                <a:spcPct val="90000"/>
              </a:lnSpc>
              <a:spcBef>
                <a:spcPct val="0"/>
              </a:spcBef>
              <a:buFont typeface="Wingdings" charset="0"/>
              <a:buNone/>
            </a:pPr>
            <a:r>
              <a:rPr lang="en-US" sz="1599" b="1" dirty="0">
                <a:solidFill>
                  <a:schemeClr val="tx2"/>
                </a:solidFill>
                <a:ea typeface="Arial Unicode MS" panose="020B0604020202020204" pitchFamily="34" charset="-128"/>
                <a:cs typeface="Arial Unicode MS" panose="020B0604020202020204" pitchFamily="34" charset="-128"/>
              </a:rPr>
              <a:t>Lor</a:t>
            </a:r>
          </a:p>
        </p:txBody>
      </p:sp>
      <p:sp>
        <p:nvSpPr>
          <p:cNvPr id="199" name="Raute 198"/>
          <p:cNvSpPr/>
          <p:nvPr/>
        </p:nvSpPr>
        <p:spPr bwMode="auto">
          <a:xfrm>
            <a:off x="4691142" y="2314547"/>
            <a:ext cx="864861" cy="864000"/>
          </a:xfrm>
          <a:prstGeom prst="diamond">
            <a:avLst/>
          </a:prstGeom>
          <a:gradFill flip="none" rotWithShape="1">
            <a:gsLst>
              <a:gs pos="0">
                <a:srgbClr val="00FFB9"/>
              </a:gs>
              <a:gs pos="100000">
                <a:srgbClr val="00E6DC"/>
              </a:gs>
            </a:gsLst>
            <a:lin ang="5400000" scaled="1"/>
            <a:tileRect/>
          </a:gradFill>
          <a:ln>
            <a:noFill/>
          </a:ln>
          <a:effectLst/>
        </p:spPr>
        <p:txBody>
          <a:bodyPr wrap="square" lIns="0" tIns="71963" rIns="0" bIns="71963" numCol="1" spcCol="72000" rtlCol="0" anchor="ctr">
            <a:noAutofit/>
          </a:bodyPr>
          <a:lstStyle/>
          <a:p>
            <a:pPr algn="ctr">
              <a:lnSpc>
                <a:spcPct val="90000"/>
              </a:lnSpc>
              <a:spcBef>
                <a:spcPct val="0"/>
              </a:spcBef>
              <a:buFont typeface="Wingdings" charset="0"/>
              <a:buNone/>
            </a:pPr>
            <a:r>
              <a:rPr lang="en-US" sz="1599" b="1" dirty="0">
                <a:solidFill>
                  <a:schemeClr val="tx2"/>
                </a:solidFill>
                <a:ea typeface="Arial Unicode MS" panose="020B0604020202020204" pitchFamily="34" charset="-128"/>
                <a:cs typeface="Arial Unicode MS" panose="020B0604020202020204" pitchFamily="34" charset="-128"/>
              </a:rPr>
              <a:t>Lor</a:t>
            </a:r>
          </a:p>
        </p:txBody>
      </p:sp>
      <p:sp>
        <p:nvSpPr>
          <p:cNvPr id="216" name="Abgerundetes Rechteck 215"/>
          <p:cNvSpPr/>
          <p:nvPr/>
        </p:nvSpPr>
        <p:spPr bwMode="auto">
          <a:xfrm>
            <a:off x="2362367" y="4546800"/>
            <a:ext cx="1620000" cy="576000"/>
          </a:xfrm>
          <a:prstGeom prst="roundRect">
            <a:avLst>
              <a:gd name="adj" fmla="val 50000"/>
            </a:avLst>
          </a:prstGeom>
          <a:solidFill>
            <a:srgbClr val="E5E5E9"/>
          </a:solidFill>
          <a:ln>
            <a:noFill/>
          </a:ln>
          <a:effectLst/>
        </p:spPr>
        <p:txBody>
          <a:bodyPr wrap="square" lIns="107944" tIns="71963" rIns="107944" bIns="71963" numCol="1" spcCol="72000" rtlCol="0" anchor="ctr">
            <a:noAutofit/>
          </a:bodyPr>
          <a:lstStyle/>
          <a:p>
            <a:pPr algn="ctr">
              <a:lnSpc>
                <a:spcPct val="90000"/>
              </a:lnSpc>
              <a:spcBef>
                <a:spcPct val="0"/>
              </a:spcBef>
              <a:buFont typeface="Wingdings" charset="0"/>
              <a:buNone/>
            </a:pPr>
            <a:r>
              <a:rPr lang="en-US" sz="1599" dirty="0">
                <a:solidFill>
                  <a:srgbClr val="333353"/>
                </a:solidFill>
                <a:ea typeface="Arial Unicode MS" panose="020B0604020202020204" pitchFamily="34" charset="-128"/>
                <a:cs typeface="Arial Unicode MS" panose="020B0604020202020204" pitchFamily="34" charset="-128"/>
              </a:rPr>
              <a:t>Lorem ipsum</a:t>
            </a:r>
          </a:p>
        </p:txBody>
      </p:sp>
      <p:sp>
        <p:nvSpPr>
          <p:cNvPr id="217" name="Abgerundetes Rechteck 216"/>
          <p:cNvSpPr/>
          <p:nvPr/>
        </p:nvSpPr>
        <p:spPr bwMode="auto">
          <a:xfrm>
            <a:off x="2362367" y="5590800"/>
            <a:ext cx="1620000" cy="576000"/>
          </a:xfrm>
          <a:prstGeom prst="roundRect">
            <a:avLst>
              <a:gd name="adj" fmla="val 50000"/>
            </a:avLst>
          </a:prstGeom>
          <a:solidFill>
            <a:srgbClr val="E5E5E9"/>
          </a:solidFill>
          <a:ln>
            <a:noFill/>
          </a:ln>
          <a:effectLst/>
        </p:spPr>
        <p:txBody>
          <a:bodyPr wrap="square" lIns="107944" tIns="71963" rIns="107944" bIns="71963" numCol="1" spcCol="72000" rtlCol="0" anchor="ctr">
            <a:noAutofit/>
          </a:bodyPr>
          <a:lstStyle/>
          <a:p>
            <a:pPr algn="ctr">
              <a:lnSpc>
                <a:spcPct val="90000"/>
              </a:lnSpc>
              <a:spcBef>
                <a:spcPct val="0"/>
              </a:spcBef>
              <a:buFont typeface="Wingdings" charset="0"/>
              <a:buNone/>
            </a:pPr>
            <a:r>
              <a:rPr lang="en-US" sz="1599" dirty="0">
                <a:solidFill>
                  <a:srgbClr val="333353"/>
                </a:solidFill>
                <a:ea typeface="Arial Unicode MS" panose="020B0604020202020204" pitchFamily="34" charset="-128"/>
                <a:cs typeface="Arial Unicode MS" panose="020B0604020202020204" pitchFamily="34" charset="-128"/>
              </a:rPr>
              <a:t>Lorem ipsum</a:t>
            </a:r>
          </a:p>
        </p:txBody>
      </p:sp>
      <p:sp>
        <p:nvSpPr>
          <p:cNvPr id="215" name="Abgerundetes Rechteck 214"/>
          <p:cNvSpPr/>
          <p:nvPr/>
        </p:nvSpPr>
        <p:spPr bwMode="auto">
          <a:xfrm>
            <a:off x="411162" y="4546800"/>
            <a:ext cx="1620000" cy="576000"/>
          </a:xfrm>
          <a:prstGeom prst="roundRect">
            <a:avLst>
              <a:gd name="adj" fmla="val 50000"/>
            </a:avLst>
          </a:prstGeom>
          <a:solidFill>
            <a:srgbClr val="E5E5E9"/>
          </a:solidFill>
          <a:ln>
            <a:noFill/>
          </a:ln>
          <a:effectLst/>
        </p:spPr>
        <p:txBody>
          <a:bodyPr wrap="square" lIns="107944" tIns="71963" rIns="107944" bIns="71963" numCol="1" spcCol="72000" rtlCol="0" anchor="ctr">
            <a:noAutofit/>
          </a:bodyPr>
          <a:lstStyle/>
          <a:p>
            <a:pPr algn="ctr">
              <a:lnSpc>
                <a:spcPct val="90000"/>
              </a:lnSpc>
              <a:spcBef>
                <a:spcPct val="0"/>
              </a:spcBef>
              <a:buFont typeface="Wingdings" charset="0"/>
              <a:buNone/>
            </a:pPr>
            <a:r>
              <a:rPr lang="en-US" sz="1599" dirty="0">
                <a:solidFill>
                  <a:srgbClr val="333353"/>
                </a:solidFill>
                <a:ea typeface="Arial Unicode MS" panose="020B0604020202020204" pitchFamily="34" charset="-128"/>
                <a:cs typeface="Arial Unicode MS" panose="020B0604020202020204" pitchFamily="34" charset="-128"/>
              </a:rPr>
              <a:t>Lorem ipsum</a:t>
            </a:r>
          </a:p>
        </p:txBody>
      </p:sp>
      <p:sp>
        <p:nvSpPr>
          <p:cNvPr id="218" name="Abgerundetes Rechteck 217"/>
          <p:cNvSpPr/>
          <p:nvPr/>
        </p:nvSpPr>
        <p:spPr bwMode="auto">
          <a:xfrm>
            <a:off x="411162" y="5590800"/>
            <a:ext cx="1620000" cy="576000"/>
          </a:xfrm>
          <a:prstGeom prst="roundRect">
            <a:avLst>
              <a:gd name="adj" fmla="val 50000"/>
            </a:avLst>
          </a:prstGeom>
          <a:solidFill>
            <a:srgbClr val="E5E5E9"/>
          </a:solidFill>
          <a:ln>
            <a:noFill/>
          </a:ln>
          <a:effectLst/>
        </p:spPr>
        <p:txBody>
          <a:bodyPr wrap="square" lIns="107944" tIns="71963" rIns="107944" bIns="71963" numCol="1" spcCol="72000" rtlCol="0" anchor="ctr">
            <a:noAutofit/>
          </a:bodyPr>
          <a:lstStyle/>
          <a:p>
            <a:pPr algn="ctr">
              <a:lnSpc>
                <a:spcPct val="90000"/>
              </a:lnSpc>
              <a:spcBef>
                <a:spcPct val="0"/>
              </a:spcBef>
              <a:buFont typeface="Wingdings" charset="0"/>
              <a:buNone/>
            </a:pPr>
            <a:r>
              <a:rPr lang="en-US" sz="1599" dirty="0">
                <a:solidFill>
                  <a:srgbClr val="333353"/>
                </a:solidFill>
                <a:ea typeface="Arial Unicode MS" panose="020B0604020202020204" pitchFamily="34" charset="-128"/>
                <a:cs typeface="Arial Unicode MS" panose="020B0604020202020204" pitchFamily="34" charset="-128"/>
              </a:rPr>
              <a:t>Lorem ipsum</a:t>
            </a:r>
          </a:p>
        </p:txBody>
      </p:sp>
      <p:sp>
        <p:nvSpPr>
          <p:cNvPr id="210" name="Raute 209"/>
          <p:cNvSpPr/>
          <p:nvPr/>
        </p:nvSpPr>
        <p:spPr bwMode="auto">
          <a:xfrm>
            <a:off x="6642347" y="4402800"/>
            <a:ext cx="864861" cy="864000"/>
          </a:xfrm>
          <a:prstGeom prst="diamond">
            <a:avLst/>
          </a:prstGeom>
          <a:solidFill>
            <a:srgbClr val="E5E5E9"/>
          </a:solidFill>
          <a:ln>
            <a:noFill/>
          </a:ln>
          <a:effectLst/>
        </p:spPr>
        <p:txBody>
          <a:bodyPr wrap="square" lIns="0" tIns="71963" rIns="0" bIns="71963" numCol="1" spcCol="72000" rtlCol="0" anchor="ctr">
            <a:noAutofit/>
          </a:bodyPr>
          <a:lstStyle/>
          <a:p>
            <a:pPr algn="ctr">
              <a:lnSpc>
                <a:spcPct val="90000"/>
              </a:lnSpc>
              <a:spcBef>
                <a:spcPct val="0"/>
              </a:spcBef>
            </a:pPr>
            <a:r>
              <a:rPr lang="en-US" sz="1599" dirty="0">
                <a:solidFill>
                  <a:srgbClr val="333353"/>
                </a:solidFill>
                <a:ea typeface="Arial Unicode MS" panose="020B0604020202020204" pitchFamily="34" charset="-128"/>
              </a:rPr>
              <a:t>Lor</a:t>
            </a:r>
          </a:p>
        </p:txBody>
      </p:sp>
      <p:sp>
        <p:nvSpPr>
          <p:cNvPr id="211" name="Ellipse 210"/>
          <p:cNvSpPr/>
          <p:nvPr/>
        </p:nvSpPr>
        <p:spPr bwMode="auto">
          <a:xfrm>
            <a:off x="8666222" y="4474800"/>
            <a:ext cx="719521" cy="720000"/>
          </a:xfrm>
          <a:prstGeom prst="ellipse">
            <a:avLst/>
          </a:prstGeom>
          <a:solidFill>
            <a:srgbClr val="E5E5E9"/>
          </a:solidFill>
          <a:ln>
            <a:noFill/>
          </a:ln>
          <a:effectLst/>
        </p:spPr>
        <p:txBody>
          <a:bodyPr wrap="square" lIns="0" tIns="71963" rIns="0" bIns="71963" numCol="1" spcCol="72000" rtlCol="0" anchor="ctr">
            <a:noAutofit/>
          </a:bodyPr>
          <a:lstStyle/>
          <a:p>
            <a:pPr algn="ctr">
              <a:lnSpc>
                <a:spcPct val="90000"/>
              </a:lnSpc>
              <a:spcBef>
                <a:spcPct val="0"/>
              </a:spcBef>
            </a:pPr>
            <a:r>
              <a:rPr lang="en-US" sz="1599" dirty="0">
                <a:solidFill>
                  <a:srgbClr val="333353"/>
                </a:solidFill>
                <a:ea typeface="Arial Unicode MS" panose="020B0604020202020204" pitchFamily="34" charset="-128"/>
                <a:cs typeface="Arial Unicode MS" panose="020B0604020202020204" pitchFamily="34" charset="-128"/>
              </a:rPr>
              <a:t>Lor</a:t>
            </a:r>
          </a:p>
        </p:txBody>
      </p:sp>
      <p:sp>
        <p:nvSpPr>
          <p:cNvPr id="212" name="Ellipse 211"/>
          <p:cNvSpPr/>
          <p:nvPr/>
        </p:nvSpPr>
        <p:spPr bwMode="auto">
          <a:xfrm>
            <a:off x="10617428" y="4474800"/>
            <a:ext cx="719521" cy="720000"/>
          </a:xfrm>
          <a:prstGeom prst="ellipse">
            <a:avLst/>
          </a:prstGeom>
          <a:solidFill>
            <a:srgbClr val="E5E5E9"/>
          </a:solidFill>
          <a:ln>
            <a:noFill/>
          </a:ln>
          <a:effectLst/>
        </p:spPr>
        <p:txBody>
          <a:bodyPr wrap="square" lIns="0" tIns="71963" rIns="0" bIns="71963" numCol="1" spcCol="72000" rtlCol="0" anchor="ctr">
            <a:noAutofit/>
          </a:bodyPr>
          <a:lstStyle/>
          <a:p>
            <a:pPr algn="ctr">
              <a:lnSpc>
                <a:spcPct val="90000"/>
              </a:lnSpc>
              <a:spcBef>
                <a:spcPct val="0"/>
              </a:spcBef>
            </a:pPr>
            <a:r>
              <a:rPr lang="en-US" sz="1599" dirty="0">
                <a:solidFill>
                  <a:srgbClr val="333353"/>
                </a:solidFill>
                <a:ea typeface="Arial Unicode MS" panose="020B0604020202020204" pitchFamily="34" charset="-128"/>
                <a:cs typeface="Arial Unicode MS" panose="020B0604020202020204" pitchFamily="34" charset="-128"/>
              </a:rPr>
              <a:t>Lor</a:t>
            </a:r>
          </a:p>
        </p:txBody>
      </p:sp>
      <p:sp>
        <p:nvSpPr>
          <p:cNvPr id="191" name="Rechteck 190"/>
          <p:cNvSpPr/>
          <p:nvPr/>
        </p:nvSpPr>
        <p:spPr bwMode="auto">
          <a:xfrm>
            <a:off x="2550504" y="1414800"/>
            <a:ext cx="1260000" cy="576000"/>
          </a:xfrm>
          <a:prstGeom prst="rect">
            <a:avLst/>
          </a:prstGeom>
          <a:solidFill>
            <a:srgbClr val="E5E5E9"/>
          </a:solidFill>
          <a:ln>
            <a:noFill/>
          </a:ln>
          <a:effectLst/>
        </p:spPr>
        <p:txBody>
          <a:bodyPr wrap="square" lIns="107944" tIns="71963" rIns="107944" bIns="71963" numCol="1" spcCol="72000" rtlCol="0" anchor="ctr">
            <a:noAutofit/>
          </a:bodyPr>
          <a:lstStyle/>
          <a:p>
            <a:pPr algn="ctr">
              <a:lnSpc>
                <a:spcPct val="90000"/>
              </a:lnSpc>
              <a:spcBef>
                <a:spcPct val="0"/>
              </a:spcBef>
              <a:buFont typeface="Wingdings" charset="0"/>
              <a:buNone/>
            </a:pPr>
            <a:r>
              <a:rPr lang="en-US" sz="1599" dirty="0">
                <a:solidFill>
                  <a:srgbClr val="333353"/>
                </a:solidFill>
                <a:ea typeface="Arial Unicode MS" panose="020B0604020202020204" pitchFamily="34" charset="-128"/>
                <a:cs typeface="Arial Unicode MS" panose="020B0604020202020204" pitchFamily="34" charset="-128"/>
              </a:rPr>
              <a:t>Lorem</a:t>
            </a:r>
          </a:p>
        </p:txBody>
      </p:sp>
      <p:sp>
        <p:nvSpPr>
          <p:cNvPr id="193" name="Rechteck 192"/>
          <p:cNvSpPr/>
          <p:nvPr/>
        </p:nvSpPr>
        <p:spPr bwMode="auto">
          <a:xfrm>
            <a:off x="4501709" y="1414800"/>
            <a:ext cx="1260000" cy="576000"/>
          </a:xfrm>
          <a:prstGeom prst="rect">
            <a:avLst/>
          </a:prstGeom>
          <a:solidFill>
            <a:srgbClr val="E5E5E9"/>
          </a:solidFill>
          <a:ln>
            <a:noFill/>
          </a:ln>
          <a:effectLst/>
        </p:spPr>
        <p:txBody>
          <a:bodyPr wrap="square" lIns="107944" tIns="71963" rIns="107944" bIns="71963" numCol="1" spcCol="72000" rtlCol="0" anchor="ctr">
            <a:noAutofit/>
          </a:bodyPr>
          <a:lstStyle/>
          <a:p>
            <a:pPr algn="ctr">
              <a:lnSpc>
                <a:spcPct val="90000"/>
              </a:lnSpc>
              <a:spcBef>
                <a:spcPct val="0"/>
              </a:spcBef>
              <a:buFont typeface="Wingdings" charset="0"/>
              <a:buNone/>
            </a:pPr>
            <a:r>
              <a:rPr lang="en-US" sz="1599" dirty="0">
                <a:solidFill>
                  <a:srgbClr val="333353"/>
                </a:solidFill>
                <a:ea typeface="Arial Unicode MS" panose="020B0604020202020204" pitchFamily="34" charset="-128"/>
                <a:cs typeface="Arial Unicode MS" panose="020B0604020202020204" pitchFamily="34" charset="-128"/>
              </a:rPr>
              <a:t>Lorem</a:t>
            </a:r>
          </a:p>
        </p:txBody>
      </p:sp>
      <p:sp>
        <p:nvSpPr>
          <p:cNvPr id="194" name="Rechteck 193"/>
          <p:cNvSpPr/>
          <p:nvPr/>
        </p:nvSpPr>
        <p:spPr bwMode="auto">
          <a:xfrm>
            <a:off x="8404119" y="1414800"/>
            <a:ext cx="1260000" cy="576000"/>
          </a:xfrm>
          <a:prstGeom prst="rect">
            <a:avLst/>
          </a:prstGeom>
          <a:solidFill>
            <a:srgbClr val="E5E5E9"/>
          </a:solidFill>
          <a:ln>
            <a:noFill/>
          </a:ln>
          <a:effectLst/>
        </p:spPr>
        <p:txBody>
          <a:bodyPr wrap="square" lIns="107944" tIns="71963" rIns="107944" bIns="71963" numCol="1" spcCol="72000" rtlCol="0" anchor="ctr">
            <a:noAutofit/>
          </a:bodyPr>
          <a:lstStyle/>
          <a:p>
            <a:pPr algn="ctr">
              <a:lnSpc>
                <a:spcPct val="90000"/>
              </a:lnSpc>
              <a:spcBef>
                <a:spcPct val="0"/>
              </a:spcBef>
              <a:buFont typeface="Wingdings" charset="0"/>
              <a:buNone/>
            </a:pPr>
            <a:r>
              <a:rPr lang="en-US" sz="1599" dirty="0">
                <a:solidFill>
                  <a:srgbClr val="333353"/>
                </a:solidFill>
                <a:ea typeface="Arial Unicode MS" panose="020B0604020202020204" pitchFamily="34" charset="-128"/>
                <a:cs typeface="Arial Unicode MS" panose="020B0604020202020204" pitchFamily="34" charset="-128"/>
              </a:rPr>
              <a:t>Lorem</a:t>
            </a:r>
          </a:p>
        </p:txBody>
      </p:sp>
      <p:sp>
        <p:nvSpPr>
          <p:cNvPr id="195" name="Rechteck 194"/>
          <p:cNvSpPr/>
          <p:nvPr/>
        </p:nvSpPr>
        <p:spPr bwMode="auto">
          <a:xfrm>
            <a:off x="10355325" y="1414800"/>
            <a:ext cx="1260000" cy="576000"/>
          </a:xfrm>
          <a:prstGeom prst="rect">
            <a:avLst/>
          </a:prstGeom>
          <a:solidFill>
            <a:srgbClr val="E5E5E9"/>
          </a:solidFill>
          <a:ln>
            <a:noFill/>
          </a:ln>
          <a:effectLst/>
        </p:spPr>
        <p:txBody>
          <a:bodyPr wrap="square" lIns="107944" tIns="71963" rIns="107944" bIns="71963" numCol="1" spcCol="72000" rtlCol="0" anchor="ctr">
            <a:noAutofit/>
          </a:bodyPr>
          <a:lstStyle/>
          <a:p>
            <a:pPr algn="ctr">
              <a:lnSpc>
                <a:spcPct val="90000"/>
              </a:lnSpc>
              <a:spcBef>
                <a:spcPct val="0"/>
              </a:spcBef>
              <a:buFont typeface="Wingdings" charset="0"/>
              <a:buNone/>
            </a:pPr>
            <a:r>
              <a:rPr lang="en-US" sz="1599" dirty="0">
                <a:solidFill>
                  <a:srgbClr val="333353"/>
                </a:solidFill>
                <a:ea typeface="Arial Unicode MS" panose="020B0604020202020204" pitchFamily="34" charset="-128"/>
                <a:cs typeface="Arial Unicode MS" panose="020B0604020202020204" pitchFamily="34" charset="-128"/>
              </a:rPr>
              <a:t>Lorem</a:t>
            </a:r>
          </a:p>
        </p:txBody>
      </p:sp>
      <p:sp>
        <p:nvSpPr>
          <p:cNvPr id="203" name="Rechteck 202"/>
          <p:cNvSpPr/>
          <p:nvPr/>
        </p:nvSpPr>
        <p:spPr bwMode="auto">
          <a:xfrm>
            <a:off x="2542367" y="3502631"/>
            <a:ext cx="1260000" cy="576000"/>
          </a:xfrm>
          <a:prstGeom prst="rect">
            <a:avLst/>
          </a:prstGeom>
          <a:solidFill>
            <a:srgbClr val="E5E5E9"/>
          </a:solidFill>
          <a:ln>
            <a:noFill/>
          </a:ln>
          <a:effectLst/>
        </p:spPr>
        <p:txBody>
          <a:bodyPr wrap="square" lIns="107944" tIns="71963" rIns="107944" bIns="71963" numCol="1" spcCol="72000" rtlCol="0" anchor="ctr">
            <a:noAutofit/>
          </a:bodyPr>
          <a:lstStyle/>
          <a:p>
            <a:pPr algn="ctr">
              <a:lnSpc>
                <a:spcPct val="90000"/>
              </a:lnSpc>
              <a:spcBef>
                <a:spcPct val="0"/>
              </a:spcBef>
              <a:buFont typeface="Wingdings" charset="0"/>
              <a:buNone/>
            </a:pPr>
            <a:r>
              <a:rPr lang="en-US" sz="1599" dirty="0">
                <a:solidFill>
                  <a:srgbClr val="333353"/>
                </a:solidFill>
                <a:ea typeface="Arial Unicode MS" panose="020B0604020202020204" pitchFamily="34" charset="-128"/>
                <a:cs typeface="Arial Unicode MS" panose="020B0604020202020204" pitchFamily="34" charset="-128"/>
              </a:rPr>
              <a:t>Lorem</a:t>
            </a:r>
          </a:p>
        </p:txBody>
      </p:sp>
      <p:sp>
        <p:nvSpPr>
          <p:cNvPr id="214" name="Rechteck 213"/>
          <p:cNvSpPr/>
          <p:nvPr/>
        </p:nvSpPr>
        <p:spPr bwMode="auto">
          <a:xfrm>
            <a:off x="591162" y="3502631"/>
            <a:ext cx="1260000" cy="576000"/>
          </a:xfrm>
          <a:prstGeom prst="rect">
            <a:avLst/>
          </a:prstGeom>
          <a:solidFill>
            <a:srgbClr val="E5E5E9"/>
          </a:solidFill>
          <a:ln>
            <a:noFill/>
          </a:ln>
          <a:effectLst/>
        </p:spPr>
        <p:txBody>
          <a:bodyPr wrap="square" lIns="107944" tIns="71963" rIns="107944" bIns="71963" numCol="1" spcCol="72000" rtlCol="0" anchor="ctr">
            <a:noAutofit/>
          </a:bodyPr>
          <a:lstStyle/>
          <a:p>
            <a:pPr algn="ctr">
              <a:lnSpc>
                <a:spcPct val="90000"/>
              </a:lnSpc>
              <a:spcBef>
                <a:spcPct val="0"/>
              </a:spcBef>
              <a:buFont typeface="Wingdings" charset="0"/>
              <a:buNone/>
            </a:pPr>
            <a:r>
              <a:rPr lang="en-US" sz="1599" dirty="0">
                <a:solidFill>
                  <a:srgbClr val="333353"/>
                </a:solidFill>
                <a:ea typeface="Arial Unicode MS" panose="020B0604020202020204" pitchFamily="34" charset="-128"/>
                <a:cs typeface="Arial Unicode MS" panose="020B0604020202020204" pitchFamily="34" charset="-128"/>
              </a:rPr>
              <a:t>Lorem</a:t>
            </a:r>
          </a:p>
        </p:txBody>
      </p:sp>
      <p:sp>
        <p:nvSpPr>
          <p:cNvPr id="207" name="Rechteck 206"/>
          <p:cNvSpPr/>
          <p:nvPr/>
        </p:nvSpPr>
        <p:spPr bwMode="auto">
          <a:xfrm>
            <a:off x="6444777" y="3502631"/>
            <a:ext cx="1260000" cy="576000"/>
          </a:xfrm>
          <a:prstGeom prst="rect">
            <a:avLst/>
          </a:prstGeom>
          <a:solidFill>
            <a:srgbClr val="E5E5E9"/>
          </a:solidFill>
          <a:ln>
            <a:noFill/>
          </a:ln>
          <a:effectLst/>
        </p:spPr>
        <p:txBody>
          <a:bodyPr wrap="square" lIns="107944" tIns="71963" rIns="107944" bIns="71963" numCol="1" spcCol="72000" rtlCol="0" anchor="ctr">
            <a:noAutofit/>
          </a:bodyPr>
          <a:lstStyle/>
          <a:p>
            <a:pPr algn="ctr">
              <a:lnSpc>
                <a:spcPct val="90000"/>
              </a:lnSpc>
              <a:spcBef>
                <a:spcPct val="0"/>
              </a:spcBef>
              <a:buFont typeface="Wingdings" charset="0"/>
              <a:buNone/>
            </a:pPr>
            <a:r>
              <a:rPr lang="en-US" sz="1599" dirty="0">
                <a:solidFill>
                  <a:srgbClr val="333353"/>
                </a:solidFill>
                <a:ea typeface="Arial Unicode MS" panose="020B0604020202020204" pitchFamily="34" charset="-128"/>
                <a:cs typeface="Arial Unicode MS" panose="020B0604020202020204" pitchFamily="34" charset="-128"/>
              </a:rPr>
              <a:t>Lorem</a:t>
            </a:r>
          </a:p>
        </p:txBody>
      </p:sp>
      <p:sp>
        <p:nvSpPr>
          <p:cNvPr id="205" name="Rechteck 204"/>
          <p:cNvSpPr/>
          <p:nvPr/>
        </p:nvSpPr>
        <p:spPr bwMode="auto">
          <a:xfrm>
            <a:off x="8395982" y="3502631"/>
            <a:ext cx="1260000" cy="576000"/>
          </a:xfrm>
          <a:prstGeom prst="rect">
            <a:avLst/>
          </a:prstGeom>
          <a:solidFill>
            <a:srgbClr val="E5E5E9"/>
          </a:solidFill>
          <a:ln>
            <a:noFill/>
          </a:ln>
          <a:effectLst/>
        </p:spPr>
        <p:txBody>
          <a:bodyPr wrap="square" lIns="107944" tIns="71963" rIns="107944" bIns="71963" numCol="1" spcCol="72000" rtlCol="0" anchor="ctr">
            <a:noAutofit/>
          </a:bodyPr>
          <a:lstStyle/>
          <a:p>
            <a:pPr algn="ctr">
              <a:lnSpc>
                <a:spcPct val="90000"/>
              </a:lnSpc>
              <a:spcBef>
                <a:spcPct val="0"/>
              </a:spcBef>
              <a:buFont typeface="Wingdings" charset="0"/>
              <a:buNone/>
            </a:pPr>
            <a:r>
              <a:rPr lang="en-US" sz="1599" dirty="0">
                <a:solidFill>
                  <a:srgbClr val="333353"/>
                </a:solidFill>
                <a:ea typeface="Arial Unicode MS" panose="020B0604020202020204" pitchFamily="34" charset="-128"/>
                <a:cs typeface="Arial Unicode MS" panose="020B0604020202020204" pitchFamily="34" charset="-128"/>
              </a:rPr>
              <a:t>Lorem</a:t>
            </a:r>
          </a:p>
        </p:txBody>
      </p:sp>
      <p:sp>
        <p:nvSpPr>
          <p:cNvPr id="206" name="Rechteck 205"/>
          <p:cNvSpPr/>
          <p:nvPr/>
        </p:nvSpPr>
        <p:spPr bwMode="auto">
          <a:xfrm>
            <a:off x="10347188" y="3502631"/>
            <a:ext cx="1260000" cy="576000"/>
          </a:xfrm>
          <a:prstGeom prst="rect">
            <a:avLst/>
          </a:prstGeom>
          <a:solidFill>
            <a:srgbClr val="E5E5E9"/>
          </a:solidFill>
          <a:ln>
            <a:noFill/>
          </a:ln>
          <a:effectLst/>
        </p:spPr>
        <p:txBody>
          <a:bodyPr wrap="square" lIns="107944" tIns="71963" rIns="107944" bIns="71963" numCol="1" spcCol="72000" rtlCol="0" anchor="ctr">
            <a:noAutofit/>
          </a:bodyPr>
          <a:lstStyle/>
          <a:p>
            <a:pPr algn="ctr">
              <a:lnSpc>
                <a:spcPct val="90000"/>
              </a:lnSpc>
              <a:spcBef>
                <a:spcPct val="0"/>
              </a:spcBef>
              <a:buFont typeface="Wingdings" charset="0"/>
              <a:buNone/>
            </a:pPr>
            <a:r>
              <a:rPr lang="en-US" sz="1599" dirty="0">
                <a:solidFill>
                  <a:srgbClr val="333353"/>
                </a:solidFill>
                <a:ea typeface="Arial Unicode MS" panose="020B0604020202020204" pitchFamily="34" charset="-128"/>
                <a:cs typeface="Arial Unicode MS" panose="020B0604020202020204" pitchFamily="34" charset="-128"/>
              </a:rPr>
              <a:t>Lorem</a:t>
            </a:r>
          </a:p>
        </p:txBody>
      </p:sp>
      <p:sp>
        <p:nvSpPr>
          <p:cNvPr id="204" name="Rechteck 203"/>
          <p:cNvSpPr/>
          <p:nvPr/>
        </p:nvSpPr>
        <p:spPr bwMode="auto">
          <a:xfrm>
            <a:off x="4493572" y="3502631"/>
            <a:ext cx="1260000" cy="576000"/>
          </a:xfrm>
          <a:prstGeom prst="rect">
            <a:avLst/>
          </a:prstGeom>
          <a:solidFill>
            <a:srgbClr val="E5E5E9"/>
          </a:solidFill>
          <a:ln>
            <a:noFill/>
          </a:ln>
          <a:effectLst/>
        </p:spPr>
        <p:txBody>
          <a:bodyPr wrap="square" lIns="107944" tIns="71963" rIns="107944" bIns="71963" numCol="1" spcCol="72000" rtlCol="0" anchor="ctr">
            <a:noAutofit/>
          </a:bodyPr>
          <a:lstStyle/>
          <a:p>
            <a:pPr algn="ctr">
              <a:lnSpc>
                <a:spcPct val="90000"/>
              </a:lnSpc>
              <a:spcBef>
                <a:spcPct val="0"/>
              </a:spcBef>
              <a:buFont typeface="Wingdings" charset="0"/>
              <a:buNone/>
            </a:pPr>
            <a:r>
              <a:rPr lang="en-US" sz="1599" dirty="0">
                <a:solidFill>
                  <a:srgbClr val="333353"/>
                </a:solidFill>
                <a:ea typeface="Arial Unicode MS" panose="020B0604020202020204" pitchFamily="34" charset="-128"/>
                <a:cs typeface="Arial Unicode MS" panose="020B0604020202020204" pitchFamily="34" charset="-128"/>
              </a:rPr>
              <a:t>Lorem</a:t>
            </a:r>
          </a:p>
        </p:txBody>
      </p:sp>
      <p:sp>
        <p:nvSpPr>
          <p:cNvPr id="208" name="Rechteck 207"/>
          <p:cNvSpPr/>
          <p:nvPr/>
        </p:nvSpPr>
        <p:spPr bwMode="auto">
          <a:xfrm>
            <a:off x="4501709" y="4546800"/>
            <a:ext cx="1260000" cy="576000"/>
          </a:xfrm>
          <a:prstGeom prst="rect">
            <a:avLst/>
          </a:prstGeom>
          <a:solidFill>
            <a:srgbClr val="E5E5E9"/>
          </a:solidFill>
          <a:ln>
            <a:noFill/>
          </a:ln>
          <a:effectLst/>
        </p:spPr>
        <p:txBody>
          <a:bodyPr wrap="square" lIns="107944" tIns="71963" rIns="107944" bIns="71963" numCol="1" spcCol="72000" rtlCol="0" anchor="ctr">
            <a:noAutofit/>
          </a:bodyPr>
          <a:lstStyle/>
          <a:p>
            <a:pPr algn="ctr">
              <a:lnSpc>
                <a:spcPct val="90000"/>
              </a:lnSpc>
              <a:spcBef>
                <a:spcPct val="0"/>
              </a:spcBef>
              <a:buFont typeface="Wingdings" charset="0"/>
              <a:buNone/>
            </a:pPr>
            <a:r>
              <a:rPr lang="en-US" sz="1599" dirty="0">
                <a:solidFill>
                  <a:srgbClr val="333353"/>
                </a:solidFill>
                <a:ea typeface="Arial Unicode MS" panose="020B0604020202020204" pitchFamily="34" charset="-128"/>
                <a:cs typeface="Arial Unicode MS" panose="020B0604020202020204" pitchFamily="34" charset="-128"/>
              </a:rPr>
              <a:t>Lorem</a:t>
            </a:r>
          </a:p>
        </p:txBody>
      </p:sp>
      <p:sp>
        <p:nvSpPr>
          <p:cNvPr id="209" name="Rechteck 208"/>
          <p:cNvSpPr/>
          <p:nvPr/>
        </p:nvSpPr>
        <p:spPr bwMode="auto">
          <a:xfrm>
            <a:off x="4501709" y="5590800"/>
            <a:ext cx="1260000" cy="576000"/>
          </a:xfrm>
          <a:prstGeom prst="rect">
            <a:avLst/>
          </a:prstGeom>
          <a:solidFill>
            <a:srgbClr val="E5E5E9"/>
          </a:solidFill>
          <a:ln>
            <a:noFill/>
          </a:ln>
          <a:effectLst/>
        </p:spPr>
        <p:txBody>
          <a:bodyPr wrap="square" lIns="107944" tIns="71963" rIns="107944" bIns="71963" numCol="1" spcCol="72000" rtlCol="0" anchor="ctr">
            <a:noAutofit/>
          </a:bodyPr>
          <a:lstStyle/>
          <a:p>
            <a:pPr algn="ctr">
              <a:lnSpc>
                <a:spcPct val="90000"/>
              </a:lnSpc>
              <a:spcBef>
                <a:spcPct val="0"/>
              </a:spcBef>
              <a:buFont typeface="Wingdings" charset="0"/>
              <a:buNone/>
            </a:pPr>
            <a:r>
              <a:rPr lang="en-US" sz="1599" dirty="0">
                <a:solidFill>
                  <a:srgbClr val="333353"/>
                </a:solidFill>
                <a:ea typeface="Arial Unicode MS" panose="020B0604020202020204" pitchFamily="34" charset="-128"/>
                <a:cs typeface="Arial Unicode MS" panose="020B0604020202020204" pitchFamily="34" charset="-128"/>
              </a:rPr>
              <a:t>Lorem</a:t>
            </a:r>
          </a:p>
        </p:txBody>
      </p:sp>
      <p:sp>
        <p:nvSpPr>
          <p:cNvPr id="190" name="Abgerundetes Rechteck 189"/>
          <p:cNvSpPr/>
          <p:nvPr/>
        </p:nvSpPr>
        <p:spPr bwMode="auto">
          <a:xfrm>
            <a:off x="411162" y="1414463"/>
            <a:ext cx="1620000" cy="576000"/>
          </a:xfrm>
          <a:prstGeom prst="roundRect">
            <a:avLst>
              <a:gd name="adj" fmla="val 50000"/>
            </a:avLst>
          </a:prstGeom>
          <a:solidFill>
            <a:srgbClr val="E5E5E9"/>
          </a:solidFill>
          <a:ln>
            <a:noFill/>
          </a:ln>
          <a:effectLst/>
        </p:spPr>
        <p:txBody>
          <a:bodyPr wrap="square" lIns="107944" tIns="71963" rIns="107944" bIns="71963" numCol="1" spcCol="72000" rtlCol="0" anchor="ctr">
            <a:noAutofit/>
          </a:bodyPr>
          <a:lstStyle/>
          <a:p>
            <a:pPr algn="ctr">
              <a:lnSpc>
                <a:spcPct val="90000"/>
              </a:lnSpc>
              <a:spcBef>
                <a:spcPct val="0"/>
              </a:spcBef>
              <a:buFont typeface="Wingdings" charset="0"/>
              <a:buNone/>
            </a:pPr>
            <a:r>
              <a:rPr lang="en-US" sz="1599" dirty="0">
                <a:solidFill>
                  <a:srgbClr val="333353"/>
                </a:solidFill>
                <a:ea typeface="Arial Unicode MS" panose="020B0604020202020204" pitchFamily="34" charset="-128"/>
                <a:cs typeface="Arial Unicode MS" panose="020B0604020202020204" pitchFamily="34" charset="-128"/>
              </a:rPr>
              <a:t>Lorem ipsum</a:t>
            </a:r>
          </a:p>
        </p:txBody>
      </p:sp>
      <p:sp>
        <p:nvSpPr>
          <p:cNvPr id="197" name="Raute 196"/>
          <p:cNvSpPr/>
          <p:nvPr/>
        </p:nvSpPr>
        <p:spPr bwMode="auto">
          <a:xfrm>
            <a:off x="6642347" y="1270463"/>
            <a:ext cx="864861" cy="864000"/>
          </a:xfrm>
          <a:prstGeom prst="diamond">
            <a:avLst/>
          </a:prstGeom>
          <a:solidFill>
            <a:srgbClr val="E5E5E9"/>
          </a:solidFill>
          <a:ln>
            <a:noFill/>
          </a:ln>
          <a:effectLst/>
        </p:spPr>
        <p:txBody>
          <a:bodyPr wrap="none" lIns="0" tIns="71963" rIns="0" bIns="71963" numCol="1" spcCol="72000" rtlCol="0" anchor="ctr">
            <a:noAutofit/>
          </a:bodyPr>
          <a:lstStyle/>
          <a:p>
            <a:pPr algn="ctr">
              <a:lnSpc>
                <a:spcPct val="90000"/>
              </a:lnSpc>
              <a:spcBef>
                <a:spcPct val="0"/>
              </a:spcBef>
              <a:buFont typeface="Wingdings" charset="0"/>
              <a:buNone/>
            </a:pPr>
            <a:r>
              <a:rPr lang="en-US" sz="1599" dirty="0">
                <a:solidFill>
                  <a:srgbClr val="333353"/>
                </a:solidFill>
                <a:ea typeface="Arial Unicode MS" panose="020B0604020202020204" pitchFamily="34" charset="-128"/>
                <a:cs typeface="Arial Unicode MS" panose="020B0604020202020204" pitchFamily="34" charset="-128"/>
              </a:rPr>
              <a:t>Lor</a:t>
            </a:r>
          </a:p>
        </p:txBody>
      </p:sp>
      <p:cxnSp>
        <p:nvCxnSpPr>
          <p:cNvPr id="233" name="Gerade Verbindung 232"/>
          <p:cNvCxnSpPr>
            <a:stCxn id="190" idx="3"/>
            <a:endCxn id="191" idx="1"/>
          </p:cNvCxnSpPr>
          <p:nvPr/>
        </p:nvCxnSpPr>
        <p:spPr bwMode="auto">
          <a:xfrm>
            <a:off x="2031162" y="1702463"/>
            <a:ext cx="519342" cy="337"/>
          </a:xfrm>
          <a:prstGeom prst="line">
            <a:avLst/>
          </a:prstGeom>
          <a:noFill/>
          <a:ln w="12700" cap="flat" cmpd="sng" algn="ctr">
            <a:solidFill>
              <a:srgbClr val="66667E"/>
            </a:solidFill>
            <a:prstDash val="solid"/>
            <a:round/>
            <a:headEnd type="oval" w="med" len="med"/>
            <a:tailEnd type="oval" w="med" len="med"/>
          </a:ln>
          <a:effectLst/>
        </p:spPr>
      </p:cxnSp>
      <p:cxnSp>
        <p:nvCxnSpPr>
          <p:cNvPr id="236" name="Gerade Verbindung 235"/>
          <p:cNvCxnSpPr>
            <a:stCxn id="191" idx="3"/>
            <a:endCxn id="193" idx="1"/>
          </p:cNvCxnSpPr>
          <p:nvPr/>
        </p:nvCxnSpPr>
        <p:spPr bwMode="auto">
          <a:xfrm>
            <a:off x="3810504" y="1702800"/>
            <a:ext cx="691205" cy="0"/>
          </a:xfrm>
          <a:prstGeom prst="line">
            <a:avLst/>
          </a:prstGeom>
          <a:noFill/>
          <a:ln w="12700" cap="flat" cmpd="sng" algn="ctr">
            <a:solidFill>
              <a:srgbClr val="66667E"/>
            </a:solidFill>
            <a:prstDash val="solid"/>
            <a:round/>
            <a:headEnd type="oval" w="med" len="med"/>
            <a:tailEnd type="oval" w="med" len="med"/>
          </a:ln>
          <a:effectLst/>
        </p:spPr>
      </p:cxnSp>
      <p:cxnSp>
        <p:nvCxnSpPr>
          <p:cNvPr id="237" name="Gerade Verbindung 236"/>
          <p:cNvCxnSpPr>
            <a:stCxn id="193" idx="3"/>
            <a:endCxn id="197" idx="1"/>
          </p:cNvCxnSpPr>
          <p:nvPr/>
        </p:nvCxnSpPr>
        <p:spPr bwMode="auto">
          <a:xfrm flipV="1">
            <a:off x="5761709" y="1702463"/>
            <a:ext cx="880638" cy="337"/>
          </a:xfrm>
          <a:prstGeom prst="line">
            <a:avLst/>
          </a:prstGeom>
          <a:noFill/>
          <a:ln w="12700" cap="flat" cmpd="sng" algn="ctr">
            <a:solidFill>
              <a:srgbClr val="66667E"/>
            </a:solidFill>
            <a:prstDash val="solid"/>
            <a:round/>
            <a:headEnd type="oval" w="med" len="med"/>
            <a:tailEnd type="oval" w="med" len="med"/>
          </a:ln>
          <a:effectLst/>
        </p:spPr>
      </p:cxnSp>
      <p:cxnSp>
        <p:nvCxnSpPr>
          <p:cNvPr id="238" name="Gerade Verbindung 237"/>
          <p:cNvCxnSpPr>
            <a:stCxn id="197" idx="3"/>
            <a:endCxn id="194" idx="1"/>
          </p:cNvCxnSpPr>
          <p:nvPr/>
        </p:nvCxnSpPr>
        <p:spPr bwMode="auto">
          <a:xfrm>
            <a:off x="7507208" y="1702463"/>
            <a:ext cx="896911" cy="337"/>
          </a:xfrm>
          <a:prstGeom prst="line">
            <a:avLst/>
          </a:prstGeom>
          <a:noFill/>
          <a:ln w="12700" cap="flat" cmpd="sng" algn="ctr">
            <a:solidFill>
              <a:srgbClr val="66667E"/>
            </a:solidFill>
            <a:prstDash val="solid"/>
            <a:round/>
            <a:headEnd type="oval" w="med" len="med"/>
            <a:tailEnd type="oval" w="med" len="med"/>
          </a:ln>
          <a:effectLst/>
        </p:spPr>
      </p:cxnSp>
      <p:cxnSp>
        <p:nvCxnSpPr>
          <p:cNvPr id="239" name="Gerade Verbindung 238"/>
          <p:cNvCxnSpPr>
            <a:stCxn id="194" idx="3"/>
            <a:endCxn id="195" idx="1"/>
          </p:cNvCxnSpPr>
          <p:nvPr/>
        </p:nvCxnSpPr>
        <p:spPr bwMode="auto">
          <a:xfrm>
            <a:off x="9664119" y="1702800"/>
            <a:ext cx="691206" cy="0"/>
          </a:xfrm>
          <a:prstGeom prst="line">
            <a:avLst/>
          </a:prstGeom>
          <a:noFill/>
          <a:ln w="12700" cap="flat" cmpd="sng" algn="ctr">
            <a:solidFill>
              <a:srgbClr val="66667E"/>
            </a:solidFill>
            <a:prstDash val="solid"/>
            <a:round/>
            <a:headEnd type="oval" w="med" len="med"/>
            <a:tailEnd type="oval" w="med" len="med"/>
          </a:ln>
          <a:effectLst/>
        </p:spPr>
      </p:cxnSp>
      <p:cxnSp>
        <p:nvCxnSpPr>
          <p:cNvPr id="248" name="Gerade Verbindung 247"/>
          <p:cNvCxnSpPr>
            <a:cxnSpLocks/>
            <a:stCxn id="213" idx="6"/>
            <a:endCxn id="200" idx="1"/>
          </p:cNvCxnSpPr>
          <p:nvPr/>
        </p:nvCxnSpPr>
        <p:spPr bwMode="auto">
          <a:xfrm flipV="1">
            <a:off x="1580923" y="2746547"/>
            <a:ext cx="1159014" cy="7963"/>
          </a:xfrm>
          <a:prstGeom prst="line">
            <a:avLst/>
          </a:prstGeom>
          <a:noFill/>
          <a:ln w="12700" cap="flat" cmpd="sng" algn="ctr">
            <a:solidFill>
              <a:srgbClr val="66667E"/>
            </a:solidFill>
            <a:prstDash val="solid"/>
            <a:round/>
            <a:headEnd type="oval" w="med" len="med"/>
            <a:tailEnd type="oval" w="med" len="med"/>
          </a:ln>
          <a:effectLst/>
        </p:spPr>
      </p:cxnSp>
      <p:cxnSp>
        <p:nvCxnSpPr>
          <p:cNvPr id="249" name="Gerade Verbindung 248"/>
          <p:cNvCxnSpPr>
            <a:cxnSpLocks/>
            <a:stCxn id="200" idx="3"/>
          </p:cNvCxnSpPr>
          <p:nvPr/>
        </p:nvCxnSpPr>
        <p:spPr bwMode="auto">
          <a:xfrm>
            <a:off x="3604798" y="2746547"/>
            <a:ext cx="1086344" cy="5641"/>
          </a:xfrm>
          <a:prstGeom prst="line">
            <a:avLst/>
          </a:prstGeom>
          <a:noFill/>
          <a:ln w="12700" cap="flat" cmpd="sng" algn="ctr">
            <a:solidFill>
              <a:srgbClr val="66667E"/>
            </a:solidFill>
            <a:prstDash val="solid"/>
            <a:round/>
            <a:headEnd type="oval" w="med" len="med"/>
            <a:tailEnd type="oval" w="med" len="med"/>
          </a:ln>
          <a:effectLst/>
        </p:spPr>
      </p:cxnSp>
      <p:cxnSp>
        <p:nvCxnSpPr>
          <p:cNvPr id="251" name="Gerade Verbindung 250"/>
          <p:cNvCxnSpPr>
            <a:cxnSpLocks/>
            <a:stCxn id="198" idx="3"/>
            <a:endCxn id="201" idx="1"/>
          </p:cNvCxnSpPr>
          <p:nvPr/>
        </p:nvCxnSpPr>
        <p:spPr bwMode="auto">
          <a:xfrm>
            <a:off x="7507208" y="2746547"/>
            <a:ext cx="1086344" cy="0"/>
          </a:xfrm>
          <a:prstGeom prst="line">
            <a:avLst/>
          </a:prstGeom>
          <a:noFill/>
          <a:ln w="12700" cap="flat" cmpd="sng" algn="ctr">
            <a:solidFill>
              <a:srgbClr val="66667E"/>
            </a:solidFill>
            <a:prstDash val="solid"/>
            <a:round/>
            <a:headEnd type="oval" w="med" len="med"/>
            <a:tailEnd type="oval" w="med" len="med"/>
          </a:ln>
          <a:effectLst/>
        </p:spPr>
      </p:cxnSp>
      <p:cxnSp>
        <p:nvCxnSpPr>
          <p:cNvPr id="252" name="Gerade Verbindung 251"/>
          <p:cNvCxnSpPr>
            <a:cxnSpLocks/>
            <a:stCxn id="201" idx="3"/>
            <a:endCxn id="202" idx="1"/>
          </p:cNvCxnSpPr>
          <p:nvPr/>
        </p:nvCxnSpPr>
        <p:spPr bwMode="auto">
          <a:xfrm>
            <a:off x="9458413" y="2746547"/>
            <a:ext cx="1086345" cy="0"/>
          </a:xfrm>
          <a:prstGeom prst="line">
            <a:avLst/>
          </a:prstGeom>
          <a:noFill/>
          <a:ln w="12700" cap="flat" cmpd="sng" algn="ctr">
            <a:solidFill>
              <a:srgbClr val="66667E"/>
            </a:solidFill>
            <a:prstDash val="solid"/>
            <a:round/>
            <a:headEnd type="oval" w="med" len="med"/>
            <a:tailEnd type="oval" w="med" len="med"/>
          </a:ln>
          <a:effectLst/>
        </p:spPr>
      </p:cxnSp>
      <p:cxnSp>
        <p:nvCxnSpPr>
          <p:cNvPr id="253" name="Gerade Verbindung 252"/>
          <p:cNvCxnSpPr>
            <a:stCxn id="214" idx="3"/>
            <a:endCxn id="203" idx="1"/>
          </p:cNvCxnSpPr>
          <p:nvPr/>
        </p:nvCxnSpPr>
        <p:spPr bwMode="auto">
          <a:xfrm>
            <a:off x="1851162" y="3790631"/>
            <a:ext cx="691205" cy="0"/>
          </a:xfrm>
          <a:prstGeom prst="line">
            <a:avLst/>
          </a:prstGeom>
          <a:noFill/>
          <a:ln w="12700" cap="flat" cmpd="sng" algn="ctr">
            <a:solidFill>
              <a:srgbClr val="66667E"/>
            </a:solidFill>
            <a:prstDash val="solid"/>
            <a:round/>
            <a:headEnd type="oval" w="med" len="med"/>
            <a:tailEnd type="oval" w="med" len="med"/>
          </a:ln>
          <a:effectLst/>
        </p:spPr>
      </p:cxnSp>
      <p:cxnSp>
        <p:nvCxnSpPr>
          <p:cNvPr id="254" name="Gerade Verbindung 253"/>
          <p:cNvCxnSpPr>
            <a:stCxn id="203" idx="3"/>
            <a:endCxn id="204" idx="1"/>
          </p:cNvCxnSpPr>
          <p:nvPr/>
        </p:nvCxnSpPr>
        <p:spPr bwMode="auto">
          <a:xfrm>
            <a:off x="3802367" y="3790631"/>
            <a:ext cx="691205" cy="0"/>
          </a:xfrm>
          <a:prstGeom prst="line">
            <a:avLst/>
          </a:prstGeom>
          <a:noFill/>
          <a:ln w="12700" cap="flat" cmpd="sng" algn="ctr">
            <a:solidFill>
              <a:srgbClr val="66667E"/>
            </a:solidFill>
            <a:prstDash val="solid"/>
            <a:round/>
            <a:headEnd type="oval" w="med" len="med"/>
            <a:tailEnd type="oval" w="med" len="med"/>
          </a:ln>
          <a:effectLst/>
        </p:spPr>
      </p:cxnSp>
      <p:cxnSp>
        <p:nvCxnSpPr>
          <p:cNvPr id="255" name="Gerade Verbindung 254"/>
          <p:cNvCxnSpPr>
            <a:cxnSpLocks/>
            <a:stCxn id="204" idx="3"/>
            <a:endCxn id="207" idx="1"/>
          </p:cNvCxnSpPr>
          <p:nvPr/>
        </p:nvCxnSpPr>
        <p:spPr bwMode="auto">
          <a:xfrm>
            <a:off x="5753572" y="3790631"/>
            <a:ext cx="691205" cy="0"/>
          </a:xfrm>
          <a:prstGeom prst="line">
            <a:avLst/>
          </a:prstGeom>
          <a:noFill/>
          <a:ln w="12700" cap="flat" cmpd="sng" algn="ctr">
            <a:solidFill>
              <a:srgbClr val="66667E"/>
            </a:solidFill>
            <a:prstDash val="solid"/>
            <a:round/>
            <a:headEnd type="oval" w="med" len="med"/>
            <a:tailEnd type="oval" w="med" len="med"/>
          </a:ln>
          <a:effectLst/>
        </p:spPr>
      </p:cxnSp>
      <p:cxnSp>
        <p:nvCxnSpPr>
          <p:cNvPr id="256" name="Gerade Verbindung 255"/>
          <p:cNvCxnSpPr>
            <a:stCxn id="207" idx="3"/>
            <a:endCxn id="205" idx="1"/>
          </p:cNvCxnSpPr>
          <p:nvPr/>
        </p:nvCxnSpPr>
        <p:spPr bwMode="auto">
          <a:xfrm>
            <a:off x="7704777" y="3790631"/>
            <a:ext cx="691205" cy="0"/>
          </a:xfrm>
          <a:prstGeom prst="line">
            <a:avLst/>
          </a:prstGeom>
          <a:noFill/>
          <a:ln w="12700" cap="flat" cmpd="sng" algn="ctr">
            <a:solidFill>
              <a:srgbClr val="66667E"/>
            </a:solidFill>
            <a:prstDash val="solid"/>
            <a:round/>
            <a:headEnd type="oval" w="med" len="med"/>
            <a:tailEnd type="oval" w="med" len="med"/>
          </a:ln>
          <a:effectLst/>
        </p:spPr>
      </p:cxnSp>
      <p:cxnSp>
        <p:nvCxnSpPr>
          <p:cNvPr id="257" name="Gerade Verbindung 256"/>
          <p:cNvCxnSpPr>
            <a:cxnSpLocks/>
            <a:stCxn id="205" idx="3"/>
            <a:endCxn id="206" idx="1"/>
          </p:cNvCxnSpPr>
          <p:nvPr/>
        </p:nvCxnSpPr>
        <p:spPr bwMode="auto">
          <a:xfrm>
            <a:off x="9655982" y="3790631"/>
            <a:ext cx="691206" cy="0"/>
          </a:xfrm>
          <a:prstGeom prst="line">
            <a:avLst/>
          </a:prstGeom>
          <a:noFill/>
          <a:ln w="12700" cap="flat" cmpd="sng" algn="ctr">
            <a:solidFill>
              <a:srgbClr val="66667E"/>
            </a:solidFill>
            <a:prstDash val="solid"/>
            <a:round/>
            <a:headEnd type="oval" w="med" len="med"/>
            <a:tailEnd type="oval" w="med" len="med"/>
          </a:ln>
          <a:effectLst/>
        </p:spPr>
      </p:cxnSp>
      <p:cxnSp>
        <p:nvCxnSpPr>
          <p:cNvPr id="260" name="Gerade Verbindung 259"/>
          <p:cNvCxnSpPr>
            <a:stCxn id="208" idx="3"/>
            <a:endCxn id="210" idx="1"/>
          </p:cNvCxnSpPr>
          <p:nvPr/>
        </p:nvCxnSpPr>
        <p:spPr bwMode="auto">
          <a:xfrm>
            <a:off x="5761709" y="4834800"/>
            <a:ext cx="880638" cy="0"/>
          </a:xfrm>
          <a:prstGeom prst="line">
            <a:avLst/>
          </a:prstGeom>
          <a:noFill/>
          <a:ln w="12700" cap="flat" cmpd="sng" algn="ctr">
            <a:solidFill>
              <a:srgbClr val="66667E"/>
            </a:solidFill>
            <a:prstDash val="solid"/>
            <a:round/>
            <a:headEnd type="oval" w="med" len="med"/>
            <a:tailEnd type="oval" w="med" len="med"/>
          </a:ln>
          <a:effectLst/>
        </p:spPr>
      </p:cxnSp>
      <p:cxnSp>
        <p:nvCxnSpPr>
          <p:cNvPr id="261" name="Gerade Verbindung 260"/>
          <p:cNvCxnSpPr>
            <a:stCxn id="210" idx="3"/>
            <a:endCxn id="211" idx="2"/>
          </p:cNvCxnSpPr>
          <p:nvPr/>
        </p:nvCxnSpPr>
        <p:spPr bwMode="auto">
          <a:xfrm>
            <a:off x="7507208" y="4834800"/>
            <a:ext cx="1159014" cy="0"/>
          </a:xfrm>
          <a:prstGeom prst="line">
            <a:avLst/>
          </a:prstGeom>
          <a:noFill/>
          <a:ln w="12700" cap="flat" cmpd="sng" algn="ctr">
            <a:solidFill>
              <a:srgbClr val="66667E"/>
            </a:solidFill>
            <a:prstDash val="solid"/>
            <a:round/>
            <a:headEnd type="oval" w="med" len="med"/>
            <a:tailEnd type="oval" w="med" len="med"/>
          </a:ln>
          <a:effectLst/>
        </p:spPr>
      </p:cxnSp>
      <p:cxnSp>
        <p:nvCxnSpPr>
          <p:cNvPr id="262" name="Gerade Verbindung 261"/>
          <p:cNvCxnSpPr>
            <a:stCxn id="211" idx="6"/>
            <a:endCxn id="212" idx="2"/>
          </p:cNvCxnSpPr>
          <p:nvPr/>
        </p:nvCxnSpPr>
        <p:spPr bwMode="auto">
          <a:xfrm>
            <a:off x="9385743" y="4834800"/>
            <a:ext cx="1231685" cy="0"/>
          </a:xfrm>
          <a:prstGeom prst="line">
            <a:avLst/>
          </a:prstGeom>
          <a:noFill/>
          <a:ln w="12700" cap="flat" cmpd="sng" algn="ctr">
            <a:solidFill>
              <a:srgbClr val="66667E"/>
            </a:solidFill>
            <a:prstDash val="solid"/>
            <a:round/>
            <a:headEnd type="oval" w="med" len="med"/>
            <a:tailEnd type="oval" w="med" len="med"/>
          </a:ln>
          <a:effectLst/>
        </p:spPr>
      </p:cxnSp>
      <p:cxnSp>
        <p:nvCxnSpPr>
          <p:cNvPr id="263" name="Gerade Verbindung 262"/>
          <p:cNvCxnSpPr>
            <a:stCxn id="218" idx="3"/>
            <a:endCxn id="217" idx="1"/>
          </p:cNvCxnSpPr>
          <p:nvPr/>
        </p:nvCxnSpPr>
        <p:spPr bwMode="auto">
          <a:xfrm>
            <a:off x="2031162" y="5878800"/>
            <a:ext cx="331205" cy="0"/>
          </a:xfrm>
          <a:prstGeom prst="line">
            <a:avLst/>
          </a:prstGeom>
          <a:noFill/>
          <a:ln w="12700" cap="flat" cmpd="sng" algn="ctr">
            <a:solidFill>
              <a:srgbClr val="66667E"/>
            </a:solidFill>
            <a:prstDash val="solid"/>
            <a:round/>
            <a:headEnd type="oval" w="med" len="med"/>
            <a:tailEnd type="oval" w="med" len="med"/>
          </a:ln>
          <a:effectLst/>
        </p:spPr>
      </p:cxnSp>
      <p:cxnSp>
        <p:nvCxnSpPr>
          <p:cNvPr id="264" name="Gerade Verbindung 263"/>
          <p:cNvCxnSpPr>
            <a:stCxn id="217" idx="3"/>
            <a:endCxn id="209" idx="1"/>
          </p:cNvCxnSpPr>
          <p:nvPr/>
        </p:nvCxnSpPr>
        <p:spPr bwMode="auto">
          <a:xfrm>
            <a:off x="3982367" y="5878800"/>
            <a:ext cx="519342" cy="0"/>
          </a:xfrm>
          <a:prstGeom prst="line">
            <a:avLst/>
          </a:prstGeom>
          <a:noFill/>
          <a:ln w="12700" cap="flat" cmpd="sng" algn="ctr">
            <a:solidFill>
              <a:srgbClr val="66667E"/>
            </a:solidFill>
            <a:prstDash val="solid"/>
            <a:round/>
            <a:headEnd type="oval" w="med" len="med"/>
            <a:tailEnd type="oval" w="med" len="med"/>
          </a:ln>
          <a:effectLst/>
        </p:spPr>
      </p:cxnSp>
      <p:cxnSp>
        <p:nvCxnSpPr>
          <p:cNvPr id="297" name="Gewinkelte Verbindung 296"/>
          <p:cNvCxnSpPr>
            <a:stCxn id="190" idx="2"/>
            <a:endCxn id="200" idx="0"/>
          </p:cNvCxnSpPr>
          <p:nvPr/>
        </p:nvCxnSpPr>
        <p:spPr bwMode="auto">
          <a:xfrm rot="16200000" flipH="1">
            <a:off x="2034723" y="1176902"/>
            <a:ext cx="324084" cy="1951206"/>
          </a:xfrm>
          <a:prstGeom prst="bentConnector3">
            <a:avLst>
              <a:gd name="adj1" fmla="val 50000"/>
            </a:avLst>
          </a:prstGeom>
          <a:noFill/>
          <a:ln w="12700" cap="flat" cmpd="sng" algn="ctr">
            <a:solidFill>
              <a:srgbClr val="66667E"/>
            </a:solidFill>
            <a:prstDash val="solid"/>
            <a:round/>
            <a:headEnd type="oval" w="med" len="med"/>
            <a:tailEnd type="oval" w="med" len="med"/>
          </a:ln>
          <a:effectLst/>
        </p:spPr>
      </p:cxnSp>
      <p:cxnSp>
        <p:nvCxnSpPr>
          <p:cNvPr id="300" name="Gewinkelte Verbindung 299"/>
          <p:cNvCxnSpPr>
            <a:stCxn id="198" idx="0"/>
            <a:endCxn id="194" idx="2"/>
          </p:cNvCxnSpPr>
          <p:nvPr/>
        </p:nvCxnSpPr>
        <p:spPr bwMode="auto">
          <a:xfrm rot="5400000" flipH="1" flipV="1">
            <a:off x="7892575" y="1173004"/>
            <a:ext cx="323747" cy="1959341"/>
          </a:xfrm>
          <a:prstGeom prst="bentConnector3">
            <a:avLst>
              <a:gd name="adj1" fmla="val 50000"/>
            </a:avLst>
          </a:prstGeom>
          <a:noFill/>
          <a:ln w="12700" cap="flat" cmpd="sng" algn="ctr">
            <a:solidFill>
              <a:srgbClr val="66667E"/>
            </a:solidFill>
            <a:prstDash val="solid"/>
            <a:round/>
            <a:headEnd type="oval" w="med" len="med"/>
            <a:tailEnd type="oval" w="med" len="med"/>
          </a:ln>
          <a:effectLst/>
        </p:spPr>
      </p:cxnSp>
      <p:cxnSp>
        <p:nvCxnSpPr>
          <p:cNvPr id="303" name="Gewinkelte Verbindung 302"/>
          <p:cNvCxnSpPr>
            <a:stCxn id="214" idx="0"/>
            <a:endCxn id="213" idx="4"/>
          </p:cNvCxnSpPr>
          <p:nvPr/>
        </p:nvCxnSpPr>
        <p:spPr bwMode="auto">
          <a:xfrm rot="5400000" flipH="1" flipV="1">
            <a:off x="1027102" y="3308571"/>
            <a:ext cx="388121" cy="1"/>
          </a:xfrm>
          <a:prstGeom prst="bentConnector3">
            <a:avLst>
              <a:gd name="adj1" fmla="val 50000"/>
            </a:avLst>
          </a:prstGeom>
          <a:noFill/>
          <a:ln w="12700" cap="flat" cmpd="sng" algn="ctr">
            <a:solidFill>
              <a:srgbClr val="66667E"/>
            </a:solidFill>
            <a:prstDash val="solid"/>
            <a:round/>
            <a:headEnd type="oval" w="med" len="med"/>
            <a:tailEnd type="oval" w="med" len="med"/>
          </a:ln>
          <a:effectLst/>
        </p:spPr>
      </p:cxnSp>
      <p:cxnSp>
        <p:nvCxnSpPr>
          <p:cNvPr id="307" name="Gewinkelte Verbindung 306"/>
          <p:cNvCxnSpPr>
            <a:stCxn id="207" idx="0"/>
            <a:endCxn id="199" idx="2"/>
          </p:cNvCxnSpPr>
          <p:nvPr/>
        </p:nvCxnSpPr>
        <p:spPr bwMode="auto">
          <a:xfrm rot="16200000" flipV="1">
            <a:off x="5937133" y="2364987"/>
            <a:ext cx="324084" cy="1951204"/>
          </a:xfrm>
          <a:prstGeom prst="bentConnector3">
            <a:avLst>
              <a:gd name="adj1" fmla="val 50000"/>
            </a:avLst>
          </a:prstGeom>
          <a:noFill/>
          <a:ln w="12700" cap="flat" cmpd="sng" algn="ctr">
            <a:solidFill>
              <a:srgbClr val="66667E"/>
            </a:solidFill>
            <a:prstDash val="solid"/>
            <a:round/>
            <a:headEnd type="oval" w="med" len="med"/>
            <a:tailEnd type="oval" w="med" len="med"/>
          </a:ln>
          <a:effectLst/>
        </p:spPr>
      </p:cxnSp>
      <p:cxnSp>
        <p:nvCxnSpPr>
          <p:cNvPr id="315" name="Gerade Verbindung 314"/>
          <p:cNvCxnSpPr>
            <a:stCxn id="203" idx="2"/>
            <a:endCxn id="216" idx="0"/>
          </p:cNvCxnSpPr>
          <p:nvPr/>
        </p:nvCxnSpPr>
        <p:spPr bwMode="auto">
          <a:xfrm>
            <a:off x="3172367" y="4078631"/>
            <a:ext cx="0" cy="468169"/>
          </a:xfrm>
          <a:prstGeom prst="line">
            <a:avLst/>
          </a:prstGeom>
          <a:noFill/>
          <a:ln w="12700" cap="flat" cmpd="sng" algn="ctr">
            <a:solidFill>
              <a:srgbClr val="66667E"/>
            </a:solidFill>
            <a:prstDash val="solid"/>
            <a:round/>
            <a:headEnd type="oval" w="med" len="med"/>
            <a:tailEnd type="oval" w="med" len="med"/>
          </a:ln>
          <a:effectLst/>
        </p:spPr>
      </p:cxnSp>
      <p:cxnSp>
        <p:nvCxnSpPr>
          <p:cNvPr id="318" name="Gerade Verbindung 317"/>
          <p:cNvCxnSpPr>
            <a:stCxn id="216" idx="2"/>
            <a:endCxn id="217" idx="0"/>
          </p:cNvCxnSpPr>
          <p:nvPr/>
        </p:nvCxnSpPr>
        <p:spPr bwMode="auto">
          <a:xfrm>
            <a:off x="3172367" y="5122800"/>
            <a:ext cx="0" cy="468000"/>
          </a:xfrm>
          <a:prstGeom prst="line">
            <a:avLst/>
          </a:prstGeom>
          <a:noFill/>
          <a:ln w="12700" cap="flat" cmpd="sng" algn="ctr">
            <a:solidFill>
              <a:srgbClr val="66667E"/>
            </a:solidFill>
            <a:prstDash val="solid"/>
            <a:round/>
            <a:headEnd type="oval" w="med" len="med"/>
            <a:tailEnd type="oval" w="med" len="med"/>
          </a:ln>
          <a:effectLst/>
        </p:spPr>
      </p:cxnSp>
      <p:cxnSp>
        <p:nvCxnSpPr>
          <p:cNvPr id="324" name="Gerade Verbindung 323"/>
          <p:cNvCxnSpPr>
            <a:stCxn id="208" idx="2"/>
            <a:endCxn id="209" idx="0"/>
          </p:cNvCxnSpPr>
          <p:nvPr/>
        </p:nvCxnSpPr>
        <p:spPr bwMode="auto">
          <a:xfrm>
            <a:off x="5131709" y="5122800"/>
            <a:ext cx="0" cy="468000"/>
          </a:xfrm>
          <a:prstGeom prst="line">
            <a:avLst/>
          </a:prstGeom>
          <a:noFill/>
          <a:ln w="12700" cap="flat" cmpd="sng" algn="ctr">
            <a:solidFill>
              <a:srgbClr val="66667E"/>
            </a:solidFill>
            <a:prstDash val="solid"/>
            <a:round/>
            <a:headEnd type="oval" w="med" len="med"/>
            <a:tailEnd type="oval" w="med" len="med"/>
          </a:ln>
          <a:effectLst/>
        </p:spPr>
      </p:cxnSp>
      <p:cxnSp>
        <p:nvCxnSpPr>
          <p:cNvPr id="327" name="Gerade Verbindung 326"/>
          <p:cNvCxnSpPr>
            <a:stCxn id="214" idx="2"/>
            <a:endCxn id="215" idx="0"/>
          </p:cNvCxnSpPr>
          <p:nvPr/>
        </p:nvCxnSpPr>
        <p:spPr bwMode="auto">
          <a:xfrm>
            <a:off x="1221162" y="4078631"/>
            <a:ext cx="0" cy="468169"/>
          </a:xfrm>
          <a:prstGeom prst="line">
            <a:avLst/>
          </a:prstGeom>
          <a:noFill/>
          <a:ln w="12700" cap="flat" cmpd="sng" algn="ctr">
            <a:solidFill>
              <a:srgbClr val="66667E"/>
            </a:solidFill>
            <a:prstDash val="solid"/>
            <a:round/>
            <a:headEnd type="oval" w="med" len="med"/>
            <a:tailEnd type="oval" w="med" len="med"/>
          </a:ln>
          <a:effectLst/>
        </p:spPr>
      </p:cxnSp>
      <p:sp>
        <p:nvSpPr>
          <p:cNvPr id="7" name="Footer Placeholder 6">
            <a:extLst>
              <a:ext uri="{FF2B5EF4-FFF2-40B4-BE49-F238E27FC236}">
                <a16:creationId xmlns:a16="http://schemas.microsoft.com/office/drawing/2014/main" id="{E06C972C-A632-4C46-BA79-D7F52CAF5711}"/>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8" name="Slide Number Placeholder 7">
            <a:extLst>
              <a:ext uri="{FF2B5EF4-FFF2-40B4-BE49-F238E27FC236}">
                <a16:creationId xmlns:a16="http://schemas.microsoft.com/office/drawing/2014/main" id="{79D93AC1-CE9E-42CC-AD9F-6D2538A0A266}"/>
              </a:ext>
            </a:extLst>
          </p:cNvPr>
          <p:cNvSpPr>
            <a:spLocks noGrp="1"/>
          </p:cNvSpPr>
          <p:nvPr>
            <p:ph type="sldNum" sz="quarter" idx="11"/>
          </p:nvPr>
        </p:nvSpPr>
        <p:spPr/>
        <p:txBody>
          <a:bodyPr/>
          <a:lstStyle/>
          <a:p>
            <a:r>
              <a:rPr lang="en-US" dirty="0"/>
              <a:t>Page </a:t>
            </a:r>
            <a:fld id="{15EBE321-CBB1-4E91-BD14-37C8D44326FB}" type="slidenum">
              <a:rPr lang="en-US" smtClean="0"/>
              <a:pPr/>
              <a:t>84</a:t>
            </a:fld>
            <a:endParaRPr lang="en-US" dirty="0"/>
          </a:p>
        </p:txBody>
      </p:sp>
    </p:spTree>
    <p:extLst>
      <p:ext uri="{BB962C8B-B14F-4D97-AF65-F5344CB8AC3E}">
        <p14:creationId xmlns:p14="http://schemas.microsoft.com/office/powerpoint/2010/main" val="198155726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8" name="Objekt 187"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3" imgW="360" imgH="360" progId="">
                  <p:embed/>
                </p:oleObj>
              </mc:Choice>
              <mc:Fallback>
                <p:oleObj name="think-cell Folie" r:id="rId3" imgW="360" imgH="360" progId="">
                  <p:embed/>
                  <p:pic>
                    <p:nvPicPr>
                      <p:cNvPr id="188" name="Objekt 18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en-US" dirty="0"/>
              <a:t>Flow charts</a:t>
            </a:r>
          </a:p>
        </p:txBody>
      </p:sp>
      <p:sp>
        <p:nvSpPr>
          <p:cNvPr id="200" name="Raute 199"/>
          <p:cNvSpPr/>
          <p:nvPr/>
        </p:nvSpPr>
        <p:spPr bwMode="auto">
          <a:xfrm>
            <a:off x="2739937" y="2314547"/>
            <a:ext cx="864861" cy="864000"/>
          </a:xfrm>
          <a:prstGeom prst="diamond">
            <a:avLst/>
          </a:prstGeom>
          <a:gradFill flip="none" rotWithShape="1">
            <a:gsLst>
              <a:gs pos="0">
                <a:srgbClr val="00FFB9"/>
              </a:gs>
              <a:gs pos="100000">
                <a:srgbClr val="00E6DC"/>
              </a:gs>
            </a:gsLst>
            <a:lin ang="5400000" scaled="1"/>
            <a:tileRect/>
          </a:gradFill>
          <a:ln>
            <a:noFill/>
          </a:ln>
          <a:effectLst/>
        </p:spPr>
        <p:txBody>
          <a:bodyPr wrap="square" lIns="0" tIns="71963" rIns="0" bIns="71963" numCol="1" spcCol="72000" rtlCol="0" anchor="ctr">
            <a:noAutofit/>
          </a:bodyPr>
          <a:lstStyle/>
          <a:p>
            <a:pPr algn="ctr">
              <a:lnSpc>
                <a:spcPct val="90000"/>
              </a:lnSpc>
              <a:spcBef>
                <a:spcPct val="0"/>
              </a:spcBef>
              <a:buFont typeface="Wingdings" charset="0"/>
              <a:buNone/>
            </a:pPr>
            <a:r>
              <a:rPr lang="en-US" sz="1599" b="1" dirty="0">
                <a:solidFill>
                  <a:schemeClr val="bg1"/>
                </a:solidFill>
                <a:ea typeface="Arial Unicode MS" panose="020B0604020202020204" pitchFamily="34" charset="-128"/>
                <a:cs typeface="Arial Unicode MS" panose="020B0604020202020204" pitchFamily="34" charset="-128"/>
              </a:rPr>
              <a:t>Lor</a:t>
            </a:r>
          </a:p>
        </p:txBody>
      </p:sp>
      <p:sp>
        <p:nvSpPr>
          <p:cNvPr id="213" name="Ellipse 212"/>
          <p:cNvSpPr/>
          <p:nvPr/>
        </p:nvSpPr>
        <p:spPr bwMode="auto">
          <a:xfrm>
            <a:off x="861402" y="2394510"/>
            <a:ext cx="719521" cy="720000"/>
          </a:xfrm>
          <a:prstGeom prst="ellipse">
            <a:avLst/>
          </a:prstGeom>
          <a:gradFill flip="none" rotWithShape="1">
            <a:gsLst>
              <a:gs pos="0">
                <a:srgbClr val="00FFB9"/>
              </a:gs>
              <a:gs pos="100000">
                <a:srgbClr val="00E6DC"/>
              </a:gs>
            </a:gsLst>
            <a:lin ang="5400000" scaled="1"/>
            <a:tileRect/>
          </a:gradFill>
          <a:ln>
            <a:noFill/>
          </a:ln>
          <a:effectLst/>
        </p:spPr>
        <p:txBody>
          <a:bodyPr wrap="square" lIns="0" tIns="71963" rIns="0" bIns="71963" numCol="1" spcCol="72000" rtlCol="0" anchor="ctr">
            <a:noAutofit/>
          </a:bodyPr>
          <a:lstStyle/>
          <a:p>
            <a:pPr algn="ctr">
              <a:lnSpc>
                <a:spcPct val="90000"/>
              </a:lnSpc>
              <a:spcBef>
                <a:spcPct val="0"/>
              </a:spcBef>
              <a:buFont typeface="Wingdings" charset="0"/>
              <a:buNone/>
            </a:pPr>
            <a:r>
              <a:rPr lang="en-US" sz="1599" b="1" dirty="0">
                <a:solidFill>
                  <a:schemeClr val="bg1"/>
                </a:solidFill>
                <a:ea typeface="Arial Unicode MS" panose="020B0604020202020204" pitchFamily="34" charset="-128"/>
                <a:cs typeface="Arial Unicode MS" panose="020B0604020202020204" pitchFamily="34" charset="-128"/>
              </a:rPr>
              <a:t>Lore</a:t>
            </a:r>
          </a:p>
        </p:txBody>
      </p:sp>
      <p:sp>
        <p:nvSpPr>
          <p:cNvPr id="198" name="Raute 197"/>
          <p:cNvSpPr/>
          <p:nvPr/>
        </p:nvSpPr>
        <p:spPr bwMode="auto">
          <a:xfrm>
            <a:off x="6642347" y="2314547"/>
            <a:ext cx="864861" cy="864000"/>
          </a:xfrm>
          <a:prstGeom prst="diamond">
            <a:avLst/>
          </a:prstGeom>
          <a:gradFill flip="none" rotWithShape="1">
            <a:gsLst>
              <a:gs pos="0">
                <a:srgbClr val="00FFB9"/>
              </a:gs>
              <a:gs pos="100000">
                <a:srgbClr val="00E6DC"/>
              </a:gs>
            </a:gsLst>
            <a:lin ang="5400000" scaled="1"/>
            <a:tileRect/>
          </a:gradFill>
          <a:ln>
            <a:noFill/>
          </a:ln>
          <a:effectLst/>
        </p:spPr>
        <p:txBody>
          <a:bodyPr wrap="square" lIns="0" tIns="71963" rIns="0" bIns="71963" numCol="1" spcCol="72000" rtlCol="0" anchor="ctr">
            <a:noAutofit/>
          </a:bodyPr>
          <a:lstStyle/>
          <a:p>
            <a:pPr algn="ctr">
              <a:lnSpc>
                <a:spcPct val="90000"/>
              </a:lnSpc>
              <a:spcBef>
                <a:spcPct val="0"/>
              </a:spcBef>
              <a:buFont typeface="Wingdings" charset="0"/>
              <a:buNone/>
            </a:pPr>
            <a:r>
              <a:rPr lang="en-US" sz="1599" b="1" dirty="0">
                <a:solidFill>
                  <a:schemeClr val="bg1"/>
                </a:solidFill>
                <a:ea typeface="Arial Unicode MS" panose="020B0604020202020204" pitchFamily="34" charset="-128"/>
                <a:cs typeface="Arial Unicode MS" panose="020B0604020202020204" pitchFamily="34" charset="-128"/>
              </a:rPr>
              <a:t>Lor</a:t>
            </a:r>
          </a:p>
        </p:txBody>
      </p:sp>
      <p:sp>
        <p:nvSpPr>
          <p:cNvPr id="201" name="Raute 200"/>
          <p:cNvSpPr/>
          <p:nvPr/>
        </p:nvSpPr>
        <p:spPr bwMode="auto">
          <a:xfrm>
            <a:off x="8593552" y="2314547"/>
            <a:ext cx="864861" cy="864000"/>
          </a:xfrm>
          <a:prstGeom prst="diamond">
            <a:avLst/>
          </a:prstGeom>
          <a:gradFill flip="none" rotWithShape="1">
            <a:gsLst>
              <a:gs pos="0">
                <a:srgbClr val="00FFB9"/>
              </a:gs>
              <a:gs pos="100000">
                <a:srgbClr val="00E6DC"/>
              </a:gs>
            </a:gsLst>
            <a:lin ang="5400000" scaled="1"/>
            <a:tileRect/>
          </a:gradFill>
          <a:ln>
            <a:noFill/>
          </a:ln>
          <a:effectLst/>
        </p:spPr>
        <p:txBody>
          <a:bodyPr wrap="square" lIns="0" tIns="71963" rIns="0" bIns="71963" numCol="1" spcCol="72000" rtlCol="0" anchor="ctr">
            <a:noAutofit/>
          </a:bodyPr>
          <a:lstStyle/>
          <a:p>
            <a:pPr algn="ctr">
              <a:lnSpc>
                <a:spcPct val="90000"/>
              </a:lnSpc>
              <a:spcBef>
                <a:spcPct val="0"/>
              </a:spcBef>
              <a:buFont typeface="Wingdings" charset="0"/>
              <a:buNone/>
            </a:pPr>
            <a:r>
              <a:rPr lang="en-US" sz="1599" b="1" dirty="0">
                <a:solidFill>
                  <a:schemeClr val="bg1"/>
                </a:solidFill>
                <a:ea typeface="Arial Unicode MS" panose="020B0604020202020204" pitchFamily="34" charset="-128"/>
                <a:cs typeface="Arial Unicode MS" panose="020B0604020202020204" pitchFamily="34" charset="-128"/>
              </a:rPr>
              <a:t>Lor</a:t>
            </a:r>
          </a:p>
        </p:txBody>
      </p:sp>
      <p:sp>
        <p:nvSpPr>
          <p:cNvPr id="202" name="Raute 201"/>
          <p:cNvSpPr/>
          <p:nvPr/>
        </p:nvSpPr>
        <p:spPr bwMode="auto">
          <a:xfrm>
            <a:off x="10544758" y="2314547"/>
            <a:ext cx="864861" cy="864000"/>
          </a:xfrm>
          <a:prstGeom prst="diamond">
            <a:avLst/>
          </a:prstGeom>
          <a:gradFill flip="none" rotWithShape="1">
            <a:gsLst>
              <a:gs pos="0">
                <a:srgbClr val="00FFB9"/>
              </a:gs>
              <a:gs pos="100000">
                <a:srgbClr val="00E6DC"/>
              </a:gs>
            </a:gsLst>
            <a:lin ang="5400000" scaled="1"/>
            <a:tileRect/>
          </a:gradFill>
          <a:ln>
            <a:noFill/>
          </a:ln>
          <a:effectLst/>
        </p:spPr>
        <p:txBody>
          <a:bodyPr wrap="square" lIns="0" tIns="71963" rIns="0" bIns="71963" numCol="1" spcCol="72000" rtlCol="0" anchor="ctr">
            <a:noAutofit/>
          </a:bodyPr>
          <a:lstStyle/>
          <a:p>
            <a:pPr algn="ctr">
              <a:lnSpc>
                <a:spcPct val="90000"/>
              </a:lnSpc>
              <a:spcBef>
                <a:spcPct val="0"/>
              </a:spcBef>
              <a:buFont typeface="Wingdings" charset="0"/>
              <a:buNone/>
            </a:pPr>
            <a:r>
              <a:rPr lang="en-US" sz="1599" b="1" dirty="0">
                <a:solidFill>
                  <a:schemeClr val="bg1"/>
                </a:solidFill>
                <a:ea typeface="Arial Unicode MS" panose="020B0604020202020204" pitchFamily="34" charset="-128"/>
                <a:cs typeface="Arial Unicode MS" panose="020B0604020202020204" pitchFamily="34" charset="-128"/>
              </a:rPr>
              <a:t>Lor</a:t>
            </a:r>
          </a:p>
        </p:txBody>
      </p:sp>
      <p:sp>
        <p:nvSpPr>
          <p:cNvPr id="199" name="Raute 198"/>
          <p:cNvSpPr/>
          <p:nvPr/>
        </p:nvSpPr>
        <p:spPr bwMode="auto">
          <a:xfrm>
            <a:off x="4691142" y="2314547"/>
            <a:ext cx="864861" cy="864000"/>
          </a:xfrm>
          <a:prstGeom prst="diamond">
            <a:avLst/>
          </a:prstGeom>
          <a:gradFill flip="none" rotWithShape="1">
            <a:gsLst>
              <a:gs pos="0">
                <a:srgbClr val="00FFB9"/>
              </a:gs>
              <a:gs pos="100000">
                <a:srgbClr val="00E6DC"/>
              </a:gs>
            </a:gsLst>
            <a:lin ang="5400000" scaled="1"/>
            <a:tileRect/>
          </a:gradFill>
          <a:ln>
            <a:noFill/>
          </a:ln>
          <a:effectLst/>
        </p:spPr>
        <p:txBody>
          <a:bodyPr wrap="square" lIns="0" tIns="71963" rIns="0" bIns="71963" numCol="1" spcCol="72000" rtlCol="0" anchor="ctr">
            <a:noAutofit/>
          </a:bodyPr>
          <a:lstStyle/>
          <a:p>
            <a:pPr algn="ctr">
              <a:lnSpc>
                <a:spcPct val="90000"/>
              </a:lnSpc>
              <a:spcBef>
                <a:spcPct val="0"/>
              </a:spcBef>
              <a:buFont typeface="Wingdings" charset="0"/>
              <a:buNone/>
            </a:pPr>
            <a:r>
              <a:rPr lang="en-US" sz="1599" b="1" dirty="0">
                <a:solidFill>
                  <a:schemeClr val="bg1"/>
                </a:solidFill>
                <a:ea typeface="Arial Unicode MS" panose="020B0604020202020204" pitchFamily="34" charset="-128"/>
                <a:cs typeface="Arial Unicode MS" panose="020B0604020202020204" pitchFamily="34" charset="-128"/>
              </a:rPr>
              <a:t>Lor</a:t>
            </a:r>
          </a:p>
        </p:txBody>
      </p:sp>
      <p:sp>
        <p:nvSpPr>
          <p:cNvPr id="216" name="Abgerundetes Rechteck 215"/>
          <p:cNvSpPr/>
          <p:nvPr/>
        </p:nvSpPr>
        <p:spPr bwMode="auto">
          <a:xfrm>
            <a:off x="2362367" y="4546800"/>
            <a:ext cx="1620000" cy="576000"/>
          </a:xfrm>
          <a:prstGeom prst="roundRect">
            <a:avLst>
              <a:gd name="adj" fmla="val 50000"/>
            </a:avLst>
          </a:prstGeom>
          <a:solidFill>
            <a:srgbClr val="333353"/>
          </a:solidFill>
          <a:ln>
            <a:noFill/>
          </a:ln>
          <a:effectLst/>
        </p:spPr>
        <p:txBody>
          <a:bodyPr wrap="square" lIns="107944" tIns="71963" rIns="107944" bIns="71963" numCol="1" spcCol="72000" rtlCol="0" anchor="ctr">
            <a:noAutofit/>
          </a:bodyPr>
          <a:lstStyle/>
          <a:p>
            <a:pPr algn="ctr">
              <a:lnSpc>
                <a:spcPct val="90000"/>
              </a:lnSpc>
              <a:spcBef>
                <a:spcPct val="0"/>
              </a:spcBef>
              <a:buFont typeface="Wingdings" charset="0"/>
              <a:buNone/>
            </a:pPr>
            <a:r>
              <a:rPr lang="en-US" sz="1599" dirty="0">
                <a:solidFill>
                  <a:schemeClr val="tx2"/>
                </a:solidFill>
                <a:ea typeface="Arial Unicode MS" panose="020B0604020202020204" pitchFamily="34" charset="-128"/>
                <a:cs typeface="Arial Unicode MS" panose="020B0604020202020204" pitchFamily="34" charset="-128"/>
              </a:rPr>
              <a:t>Lorem ipsum</a:t>
            </a:r>
          </a:p>
        </p:txBody>
      </p:sp>
      <p:sp>
        <p:nvSpPr>
          <p:cNvPr id="217" name="Abgerundetes Rechteck 216"/>
          <p:cNvSpPr/>
          <p:nvPr/>
        </p:nvSpPr>
        <p:spPr bwMode="auto">
          <a:xfrm>
            <a:off x="2362367" y="5590800"/>
            <a:ext cx="1620000" cy="576000"/>
          </a:xfrm>
          <a:prstGeom prst="roundRect">
            <a:avLst>
              <a:gd name="adj" fmla="val 50000"/>
            </a:avLst>
          </a:prstGeom>
          <a:solidFill>
            <a:srgbClr val="333353"/>
          </a:solidFill>
          <a:ln>
            <a:noFill/>
          </a:ln>
          <a:effectLst/>
        </p:spPr>
        <p:txBody>
          <a:bodyPr wrap="square" lIns="107944" tIns="71963" rIns="107944" bIns="71963" numCol="1" spcCol="72000" rtlCol="0" anchor="ctr">
            <a:noAutofit/>
          </a:bodyPr>
          <a:lstStyle/>
          <a:p>
            <a:pPr algn="ctr">
              <a:lnSpc>
                <a:spcPct val="90000"/>
              </a:lnSpc>
              <a:spcBef>
                <a:spcPct val="0"/>
              </a:spcBef>
              <a:buFont typeface="Wingdings" charset="0"/>
              <a:buNone/>
            </a:pPr>
            <a:r>
              <a:rPr lang="en-US" sz="1599" dirty="0">
                <a:solidFill>
                  <a:schemeClr val="tx2"/>
                </a:solidFill>
                <a:ea typeface="Arial Unicode MS" panose="020B0604020202020204" pitchFamily="34" charset="-128"/>
                <a:cs typeface="Arial Unicode MS" panose="020B0604020202020204" pitchFamily="34" charset="-128"/>
              </a:rPr>
              <a:t>Lorem ipsum</a:t>
            </a:r>
          </a:p>
        </p:txBody>
      </p:sp>
      <p:sp>
        <p:nvSpPr>
          <p:cNvPr id="215" name="Abgerundetes Rechteck 214"/>
          <p:cNvSpPr/>
          <p:nvPr/>
        </p:nvSpPr>
        <p:spPr bwMode="auto">
          <a:xfrm>
            <a:off x="411162" y="4546800"/>
            <a:ext cx="1620000" cy="576000"/>
          </a:xfrm>
          <a:prstGeom prst="roundRect">
            <a:avLst>
              <a:gd name="adj" fmla="val 50000"/>
            </a:avLst>
          </a:prstGeom>
          <a:solidFill>
            <a:srgbClr val="333353"/>
          </a:solidFill>
          <a:ln>
            <a:noFill/>
          </a:ln>
          <a:effectLst/>
        </p:spPr>
        <p:txBody>
          <a:bodyPr wrap="square" lIns="107944" tIns="71963" rIns="107944" bIns="71963" numCol="1" spcCol="72000" rtlCol="0" anchor="ctr">
            <a:noAutofit/>
          </a:bodyPr>
          <a:lstStyle/>
          <a:p>
            <a:pPr algn="ctr">
              <a:lnSpc>
                <a:spcPct val="90000"/>
              </a:lnSpc>
              <a:spcBef>
                <a:spcPct val="0"/>
              </a:spcBef>
              <a:buFont typeface="Wingdings" charset="0"/>
              <a:buNone/>
            </a:pPr>
            <a:r>
              <a:rPr lang="en-US" sz="1599" dirty="0">
                <a:solidFill>
                  <a:schemeClr val="tx2"/>
                </a:solidFill>
                <a:ea typeface="Arial Unicode MS" panose="020B0604020202020204" pitchFamily="34" charset="-128"/>
                <a:cs typeface="Arial Unicode MS" panose="020B0604020202020204" pitchFamily="34" charset="-128"/>
              </a:rPr>
              <a:t>Lorem ipsum</a:t>
            </a:r>
          </a:p>
        </p:txBody>
      </p:sp>
      <p:sp>
        <p:nvSpPr>
          <p:cNvPr id="218" name="Abgerundetes Rechteck 217"/>
          <p:cNvSpPr/>
          <p:nvPr/>
        </p:nvSpPr>
        <p:spPr bwMode="auto">
          <a:xfrm>
            <a:off x="411162" y="5590800"/>
            <a:ext cx="1620000" cy="576000"/>
          </a:xfrm>
          <a:prstGeom prst="roundRect">
            <a:avLst>
              <a:gd name="adj" fmla="val 50000"/>
            </a:avLst>
          </a:prstGeom>
          <a:solidFill>
            <a:srgbClr val="333353"/>
          </a:solidFill>
          <a:ln>
            <a:noFill/>
          </a:ln>
          <a:effectLst/>
        </p:spPr>
        <p:txBody>
          <a:bodyPr wrap="square" lIns="107944" tIns="71963" rIns="107944" bIns="71963" numCol="1" spcCol="72000" rtlCol="0" anchor="ctr">
            <a:noAutofit/>
          </a:bodyPr>
          <a:lstStyle/>
          <a:p>
            <a:pPr algn="ctr">
              <a:lnSpc>
                <a:spcPct val="90000"/>
              </a:lnSpc>
              <a:spcBef>
                <a:spcPct val="0"/>
              </a:spcBef>
              <a:buFont typeface="Wingdings" charset="0"/>
              <a:buNone/>
            </a:pPr>
            <a:r>
              <a:rPr lang="en-US" sz="1599" dirty="0">
                <a:solidFill>
                  <a:schemeClr val="tx2"/>
                </a:solidFill>
                <a:ea typeface="Arial Unicode MS" panose="020B0604020202020204" pitchFamily="34" charset="-128"/>
                <a:cs typeface="Arial Unicode MS" panose="020B0604020202020204" pitchFamily="34" charset="-128"/>
              </a:rPr>
              <a:t>Lorem ipsum</a:t>
            </a:r>
          </a:p>
        </p:txBody>
      </p:sp>
      <p:sp>
        <p:nvSpPr>
          <p:cNvPr id="210" name="Raute 209"/>
          <p:cNvSpPr/>
          <p:nvPr/>
        </p:nvSpPr>
        <p:spPr bwMode="auto">
          <a:xfrm>
            <a:off x="6642347" y="4402800"/>
            <a:ext cx="864861" cy="864000"/>
          </a:xfrm>
          <a:prstGeom prst="diamond">
            <a:avLst/>
          </a:prstGeom>
          <a:solidFill>
            <a:srgbClr val="333353"/>
          </a:solidFill>
          <a:ln>
            <a:noFill/>
          </a:ln>
          <a:effectLst/>
        </p:spPr>
        <p:txBody>
          <a:bodyPr wrap="square" lIns="0" tIns="71963" rIns="0" bIns="71963" numCol="1" spcCol="72000" rtlCol="0" anchor="ctr">
            <a:noAutofit/>
          </a:bodyPr>
          <a:lstStyle/>
          <a:p>
            <a:pPr algn="ctr">
              <a:lnSpc>
                <a:spcPct val="90000"/>
              </a:lnSpc>
              <a:spcBef>
                <a:spcPct val="0"/>
              </a:spcBef>
            </a:pPr>
            <a:r>
              <a:rPr lang="en-US" sz="1599" dirty="0">
                <a:solidFill>
                  <a:schemeClr val="tx2"/>
                </a:solidFill>
                <a:ea typeface="Arial Unicode MS" panose="020B0604020202020204" pitchFamily="34" charset="-128"/>
              </a:rPr>
              <a:t>Lor</a:t>
            </a:r>
          </a:p>
        </p:txBody>
      </p:sp>
      <p:sp>
        <p:nvSpPr>
          <p:cNvPr id="211" name="Ellipse 210"/>
          <p:cNvSpPr/>
          <p:nvPr/>
        </p:nvSpPr>
        <p:spPr bwMode="auto">
          <a:xfrm>
            <a:off x="8666222" y="4474800"/>
            <a:ext cx="719521" cy="720000"/>
          </a:xfrm>
          <a:prstGeom prst="ellipse">
            <a:avLst/>
          </a:prstGeom>
          <a:solidFill>
            <a:srgbClr val="333353"/>
          </a:solidFill>
          <a:ln>
            <a:noFill/>
          </a:ln>
          <a:effectLst/>
        </p:spPr>
        <p:txBody>
          <a:bodyPr wrap="square" lIns="0" tIns="71963" rIns="0" bIns="71963" numCol="1" spcCol="72000" rtlCol="0" anchor="ctr">
            <a:noAutofit/>
          </a:bodyPr>
          <a:lstStyle/>
          <a:p>
            <a:pPr algn="ctr">
              <a:lnSpc>
                <a:spcPct val="90000"/>
              </a:lnSpc>
              <a:spcBef>
                <a:spcPct val="0"/>
              </a:spcBef>
            </a:pPr>
            <a:r>
              <a:rPr lang="en-US" sz="1599" dirty="0">
                <a:solidFill>
                  <a:schemeClr val="tx2"/>
                </a:solidFill>
                <a:ea typeface="Arial Unicode MS" panose="020B0604020202020204" pitchFamily="34" charset="-128"/>
                <a:cs typeface="Arial Unicode MS" panose="020B0604020202020204" pitchFamily="34" charset="-128"/>
              </a:rPr>
              <a:t>Lor</a:t>
            </a:r>
          </a:p>
        </p:txBody>
      </p:sp>
      <p:sp>
        <p:nvSpPr>
          <p:cNvPr id="212" name="Ellipse 211"/>
          <p:cNvSpPr/>
          <p:nvPr/>
        </p:nvSpPr>
        <p:spPr bwMode="auto">
          <a:xfrm>
            <a:off x="10617428" y="4474800"/>
            <a:ext cx="719521" cy="720000"/>
          </a:xfrm>
          <a:prstGeom prst="ellipse">
            <a:avLst/>
          </a:prstGeom>
          <a:solidFill>
            <a:srgbClr val="333353"/>
          </a:solidFill>
          <a:ln>
            <a:noFill/>
          </a:ln>
          <a:effectLst/>
        </p:spPr>
        <p:txBody>
          <a:bodyPr wrap="square" lIns="0" tIns="71963" rIns="0" bIns="71963" numCol="1" spcCol="72000" rtlCol="0" anchor="ctr">
            <a:noAutofit/>
          </a:bodyPr>
          <a:lstStyle/>
          <a:p>
            <a:pPr algn="ctr">
              <a:lnSpc>
                <a:spcPct val="90000"/>
              </a:lnSpc>
              <a:spcBef>
                <a:spcPct val="0"/>
              </a:spcBef>
            </a:pPr>
            <a:r>
              <a:rPr lang="en-US" sz="1599" dirty="0">
                <a:solidFill>
                  <a:schemeClr val="tx2"/>
                </a:solidFill>
                <a:ea typeface="Arial Unicode MS" panose="020B0604020202020204" pitchFamily="34" charset="-128"/>
                <a:cs typeface="Arial Unicode MS" panose="020B0604020202020204" pitchFamily="34" charset="-128"/>
              </a:rPr>
              <a:t>Lor</a:t>
            </a:r>
          </a:p>
        </p:txBody>
      </p:sp>
      <p:sp>
        <p:nvSpPr>
          <p:cNvPr id="191" name="Rechteck 190"/>
          <p:cNvSpPr/>
          <p:nvPr/>
        </p:nvSpPr>
        <p:spPr bwMode="auto">
          <a:xfrm>
            <a:off x="2550504" y="1414800"/>
            <a:ext cx="1260000" cy="576000"/>
          </a:xfrm>
          <a:prstGeom prst="rect">
            <a:avLst/>
          </a:prstGeom>
          <a:solidFill>
            <a:srgbClr val="333353"/>
          </a:solidFill>
          <a:ln>
            <a:noFill/>
          </a:ln>
          <a:effectLst/>
        </p:spPr>
        <p:txBody>
          <a:bodyPr wrap="square" lIns="107944" tIns="71963" rIns="107944" bIns="71963" numCol="1" spcCol="72000" rtlCol="0" anchor="ctr">
            <a:noAutofit/>
          </a:bodyPr>
          <a:lstStyle/>
          <a:p>
            <a:pPr algn="ctr">
              <a:lnSpc>
                <a:spcPct val="90000"/>
              </a:lnSpc>
              <a:spcBef>
                <a:spcPct val="0"/>
              </a:spcBef>
              <a:buFont typeface="Wingdings" charset="0"/>
              <a:buNone/>
            </a:pPr>
            <a:r>
              <a:rPr lang="en-US" sz="1599" dirty="0">
                <a:solidFill>
                  <a:schemeClr val="tx2"/>
                </a:solidFill>
                <a:ea typeface="Arial Unicode MS" panose="020B0604020202020204" pitchFamily="34" charset="-128"/>
                <a:cs typeface="Arial Unicode MS" panose="020B0604020202020204" pitchFamily="34" charset="-128"/>
              </a:rPr>
              <a:t>Lorem</a:t>
            </a:r>
          </a:p>
        </p:txBody>
      </p:sp>
      <p:sp>
        <p:nvSpPr>
          <p:cNvPr id="193" name="Rechteck 192"/>
          <p:cNvSpPr/>
          <p:nvPr/>
        </p:nvSpPr>
        <p:spPr bwMode="auto">
          <a:xfrm>
            <a:off x="4501709" y="1414800"/>
            <a:ext cx="1260000" cy="576000"/>
          </a:xfrm>
          <a:prstGeom prst="rect">
            <a:avLst/>
          </a:prstGeom>
          <a:solidFill>
            <a:srgbClr val="333353"/>
          </a:solidFill>
          <a:ln>
            <a:noFill/>
          </a:ln>
          <a:effectLst/>
        </p:spPr>
        <p:txBody>
          <a:bodyPr wrap="square" lIns="107944" tIns="71963" rIns="107944" bIns="71963" numCol="1" spcCol="72000" rtlCol="0" anchor="ctr">
            <a:noAutofit/>
          </a:bodyPr>
          <a:lstStyle/>
          <a:p>
            <a:pPr algn="ctr">
              <a:lnSpc>
                <a:spcPct val="90000"/>
              </a:lnSpc>
              <a:spcBef>
                <a:spcPct val="0"/>
              </a:spcBef>
              <a:buFont typeface="Wingdings" charset="0"/>
              <a:buNone/>
            </a:pPr>
            <a:r>
              <a:rPr lang="en-US" sz="1599" dirty="0">
                <a:solidFill>
                  <a:schemeClr val="tx2"/>
                </a:solidFill>
                <a:ea typeface="Arial Unicode MS" panose="020B0604020202020204" pitchFamily="34" charset="-128"/>
                <a:cs typeface="Arial Unicode MS" panose="020B0604020202020204" pitchFamily="34" charset="-128"/>
              </a:rPr>
              <a:t>Lorem</a:t>
            </a:r>
          </a:p>
        </p:txBody>
      </p:sp>
      <p:sp>
        <p:nvSpPr>
          <p:cNvPr id="194" name="Rechteck 193"/>
          <p:cNvSpPr/>
          <p:nvPr/>
        </p:nvSpPr>
        <p:spPr bwMode="auto">
          <a:xfrm>
            <a:off x="8404119" y="1414800"/>
            <a:ext cx="1260000" cy="576000"/>
          </a:xfrm>
          <a:prstGeom prst="rect">
            <a:avLst/>
          </a:prstGeom>
          <a:solidFill>
            <a:srgbClr val="333353"/>
          </a:solidFill>
          <a:ln>
            <a:noFill/>
          </a:ln>
          <a:effectLst/>
        </p:spPr>
        <p:txBody>
          <a:bodyPr wrap="square" lIns="107944" tIns="71963" rIns="107944" bIns="71963" numCol="1" spcCol="72000" rtlCol="0" anchor="ctr">
            <a:noAutofit/>
          </a:bodyPr>
          <a:lstStyle/>
          <a:p>
            <a:pPr algn="ctr">
              <a:lnSpc>
                <a:spcPct val="90000"/>
              </a:lnSpc>
              <a:spcBef>
                <a:spcPct val="0"/>
              </a:spcBef>
              <a:buFont typeface="Wingdings" charset="0"/>
              <a:buNone/>
            </a:pPr>
            <a:r>
              <a:rPr lang="en-US" sz="1599" dirty="0">
                <a:solidFill>
                  <a:schemeClr val="tx2"/>
                </a:solidFill>
                <a:ea typeface="Arial Unicode MS" panose="020B0604020202020204" pitchFamily="34" charset="-128"/>
                <a:cs typeface="Arial Unicode MS" panose="020B0604020202020204" pitchFamily="34" charset="-128"/>
              </a:rPr>
              <a:t>Lorem</a:t>
            </a:r>
          </a:p>
        </p:txBody>
      </p:sp>
      <p:sp>
        <p:nvSpPr>
          <p:cNvPr id="195" name="Rechteck 194"/>
          <p:cNvSpPr/>
          <p:nvPr/>
        </p:nvSpPr>
        <p:spPr bwMode="auto">
          <a:xfrm>
            <a:off x="10355325" y="1414800"/>
            <a:ext cx="1260000" cy="576000"/>
          </a:xfrm>
          <a:prstGeom prst="rect">
            <a:avLst/>
          </a:prstGeom>
          <a:solidFill>
            <a:srgbClr val="333353"/>
          </a:solidFill>
          <a:ln>
            <a:noFill/>
          </a:ln>
          <a:effectLst/>
        </p:spPr>
        <p:txBody>
          <a:bodyPr wrap="square" lIns="107944" tIns="71963" rIns="107944" bIns="71963" numCol="1" spcCol="72000" rtlCol="0" anchor="ctr">
            <a:noAutofit/>
          </a:bodyPr>
          <a:lstStyle/>
          <a:p>
            <a:pPr algn="ctr">
              <a:lnSpc>
                <a:spcPct val="90000"/>
              </a:lnSpc>
              <a:spcBef>
                <a:spcPct val="0"/>
              </a:spcBef>
              <a:buFont typeface="Wingdings" charset="0"/>
              <a:buNone/>
            </a:pPr>
            <a:r>
              <a:rPr lang="en-US" sz="1599" dirty="0">
                <a:solidFill>
                  <a:schemeClr val="tx2"/>
                </a:solidFill>
                <a:ea typeface="Arial Unicode MS" panose="020B0604020202020204" pitchFamily="34" charset="-128"/>
                <a:cs typeface="Arial Unicode MS" panose="020B0604020202020204" pitchFamily="34" charset="-128"/>
              </a:rPr>
              <a:t>Lorem</a:t>
            </a:r>
          </a:p>
        </p:txBody>
      </p:sp>
      <p:sp>
        <p:nvSpPr>
          <p:cNvPr id="203" name="Rechteck 202"/>
          <p:cNvSpPr/>
          <p:nvPr/>
        </p:nvSpPr>
        <p:spPr bwMode="auto">
          <a:xfrm>
            <a:off x="2542367" y="3502631"/>
            <a:ext cx="1260000" cy="576000"/>
          </a:xfrm>
          <a:prstGeom prst="rect">
            <a:avLst/>
          </a:prstGeom>
          <a:solidFill>
            <a:srgbClr val="333353"/>
          </a:solidFill>
          <a:ln>
            <a:noFill/>
          </a:ln>
          <a:effectLst/>
        </p:spPr>
        <p:txBody>
          <a:bodyPr wrap="square" lIns="107944" tIns="71963" rIns="107944" bIns="71963" numCol="1" spcCol="72000" rtlCol="0" anchor="ctr">
            <a:noAutofit/>
          </a:bodyPr>
          <a:lstStyle/>
          <a:p>
            <a:pPr algn="ctr">
              <a:lnSpc>
                <a:spcPct val="90000"/>
              </a:lnSpc>
              <a:spcBef>
                <a:spcPct val="0"/>
              </a:spcBef>
              <a:buFont typeface="Wingdings" charset="0"/>
              <a:buNone/>
            </a:pPr>
            <a:r>
              <a:rPr lang="en-US" sz="1599" dirty="0">
                <a:solidFill>
                  <a:schemeClr val="tx2"/>
                </a:solidFill>
                <a:ea typeface="Arial Unicode MS" panose="020B0604020202020204" pitchFamily="34" charset="-128"/>
                <a:cs typeface="Arial Unicode MS" panose="020B0604020202020204" pitchFamily="34" charset="-128"/>
              </a:rPr>
              <a:t>Lorem</a:t>
            </a:r>
          </a:p>
        </p:txBody>
      </p:sp>
      <p:sp>
        <p:nvSpPr>
          <p:cNvPr id="214" name="Rechteck 213"/>
          <p:cNvSpPr/>
          <p:nvPr/>
        </p:nvSpPr>
        <p:spPr bwMode="auto">
          <a:xfrm>
            <a:off x="591162" y="3502631"/>
            <a:ext cx="1260000" cy="576000"/>
          </a:xfrm>
          <a:prstGeom prst="rect">
            <a:avLst/>
          </a:prstGeom>
          <a:solidFill>
            <a:srgbClr val="333353"/>
          </a:solidFill>
          <a:ln>
            <a:noFill/>
          </a:ln>
          <a:effectLst/>
        </p:spPr>
        <p:txBody>
          <a:bodyPr wrap="square" lIns="107944" tIns="71963" rIns="107944" bIns="71963" numCol="1" spcCol="72000" rtlCol="0" anchor="ctr">
            <a:noAutofit/>
          </a:bodyPr>
          <a:lstStyle/>
          <a:p>
            <a:pPr algn="ctr">
              <a:lnSpc>
                <a:spcPct val="90000"/>
              </a:lnSpc>
              <a:spcBef>
                <a:spcPct val="0"/>
              </a:spcBef>
              <a:buFont typeface="Wingdings" charset="0"/>
              <a:buNone/>
            </a:pPr>
            <a:r>
              <a:rPr lang="en-US" sz="1599" dirty="0">
                <a:solidFill>
                  <a:schemeClr val="tx2"/>
                </a:solidFill>
                <a:ea typeface="Arial Unicode MS" panose="020B0604020202020204" pitchFamily="34" charset="-128"/>
                <a:cs typeface="Arial Unicode MS" panose="020B0604020202020204" pitchFamily="34" charset="-128"/>
              </a:rPr>
              <a:t>Lorem</a:t>
            </a:r>
          </a:p>
        </p:txBody>
      </p:sp>
      <p:sp>
        <p:nvSpPr>
          <p:cNvPr id="207" name="Rechteck 206"/>
          <p:cNvSpPr/>
          <p:nvPr/>
        </p:nvSpPr>
        <p:spPr bwMode="auto">
          <a:xfrm>
            <a:off x="6444777" y="3502631"/>
            <a:ext cx="1260000" cy="576000"/>
          </a:xfrm>
          <a:prstGeom prst="rect">
            <a:avLst/>
          </a:prstGeom>
          <a:solidFill>
            <a:srgbClr val="333353"/>
          </a:solidFill>
          <a:ln>
            <a:noFill/>
          </a:ln>
          <a:effectLst/>
        </p:spPr>
        <p:txBody>
          <a:bodyPr wrap="square" lIns="107944" tIns="71963" rIns="107944" bIns="71963" numCol="1" spcCol="72000" rtlCol="0" anchor="ctr">
            <a:noAutofit/>
          </a:bodyPr>
          <a:lstStyle/>
          <a:p>
            <a:pPr algn="ctr">
              <a:lnSpc>
                <a:spcPct val="90000"/>
              </a:lnSpc>
              <a:spcBef>
                <a:spcPct val="0"/>
              </a:spcBef>
              <a:buFont typeface="Wingdings" charset="0"/>
              <a:buNone/>
            </a:pPr>
            <a:r>
              <a:rPr lang="en-US" sz="1599" dirty="0">
                <a:solidFill>
                  <a:schemeClr val="tx2"/>
                </a:solidFill>
                <a:ea typeface="Arial Unicode MS" panose="020B0604020202020204" pitchFamily="34" charset="-128"/>
                <a:cs typeface="Arial Unicode MS" panose="020B0604020202020204" pitchFamily="34" charset="-128"/>
              </a:rPr>
              <a:t>Lorem</a:t>
            </a:r>
          </a:p>
        </p:txBody>
      </p:sp>
      <p:sp>
        <p:nvSpPr>
          <p:cNvPr id="205" name="Rechteck 204"/>
          <p:cNvSpPr/>
          <p:nvPr/>
        </p:nvSpPr>
        <p:spPr bwMode="auto">
          <a:xfrm>
            <a:off x="8395982" y="3502631"/>
            <a:ext cx="1260000" cy="576000"/>
          </a:xfrm>
          <a:prstGeom prst="rect">
            <a:avLst/>
          </a:prstGeom>
          <a:solidFill>
            <a:srgbClr val="333353"/>
          </a:solidFill>
          <a:ln>
            <a:noFill/>
          </a:ln>
          <a:effectLst/>
        </p:spPr>
        <p:txBody>
          <a:bodyPr wrap="square" lIns="107944" tIns="71963" rIns="107944" bIns="71963" numCol="1" spcCol="72000" rtlCol="0" anchor="ctr">
            <a:noAutofit/>
          </a:bodyPr>
          <a:lstStyle/>
          <a:p>
            <a:pPr algn="ctr">
              <a:lnSpc>
                <a:spcPct val="90000"/>
              </a:lnSpc>
              <a:spcBef>
                <a:spcPct val="0"/>
              </a:spcBef>
              <a:buFont typeface="Wingdings" charset="0"/>
              <a:buNone/>
            </a:pPr>
            <a:r>
              <a:rPr lang="en-US" sz="1599" dirty="0">
                <a:solidFill>
                  <a:schemeClr val="tx2"/>
                </a:solidFill>
                <a:ea typeface="Arial Unicode MS" panose="020B0604020202020204" pitchFamily="34" charset="-128"/>
                <a:cs typeface="Arial Unicode MS" panose="020B0604020202020204" pitchFamily="34" charset="-128"/>
              </a:rPr>
              <a:t>Lorem</a:t>
            </a:r>
          </a:p>
        </p:txBody>
      </p:sp>
      <p:sp>
        <p:nvSpPr>
          <p:cNvPr id="206" name="Rechteck 205"/>
          <p:cNvSpPr/>
          <p:nvPr/>
        </p:nvSpPr>
        <p:spPr bwMode="auto">
          <a:xfrm>
            <a:off x="10347188" y="3502631"/>
            <a:ext cx="1260000" cy="576000"/>
          </a:xfrm>
          <a:prstGeom prst="rect">
            <a:avLst/>
          </a:prstGeom>
          <a:solidFill>
            <a:srgbClr val="333353"/>
          </a:solidFill>
          <a:ln>
            <a:noFill/>
          </a:ln>
          <a:effectLst/>
        </p:spPr>
        <p:txBody>
          <a:bodyPr wrap="square" lIns="107944" tIns="71963" rIns="107944" bIns="71963" numCol="1" spcCol="72000" rtlCol="0" anchor="ctr">
            <a:noAutofit/>
          </a:bodyPr>
          <a:lstStyle/>
          <a:p>
            <a:pPr algn="ctr">
              <a:lnSpc>
                <a:spcPct val="90000"/>
              </a:lnSpc>
              <a:spcBef>
                <a:spcPct val="0"/>
              </a:spcBef>
              <a:buFont typeface="Wingdings" charset="0"/>
              <a:buNone/>
            </a:pPr>
            <a:r>
              <a:rPr lang="en-US" sz="1599" dirty="0">
                <a:solidFill>
                  <a:schemeClr val="tx2"/>
                </a:solidFill>
                <a:ea typeface="Arial Unicode MS" panose="020B0604020202020204" pitchFamily="34" charset="-128"/>
                <a:cs typeface="Arial Unicode MS" panose="020B0604020202020204" pitchFamily="34" charset="-128"/>
              </a:rPr>
              <a:t>Lorem</a:t>
            </a:r>
          </a:p>
        </p:txBody>
      </p:sp>
      <p:sp>
        <p:nvSpPr>
          <p:cNvPr id="204" name="Rechteck 203"/>
          <p:cNvSpPr/>
          <p:nvPr/>
        </p:nvSpPr>
        <p:spPr bwMode="auto">
          <a:xfrm>
            <a:off x="4493572" y="3502631"/>
            <a:ext cx="1260000" cy="576000"/>
          </a:xfrm>
          <a:prstGeom prst="rect">
            <a:avLst/>
          </a:prstGeom>
          <a:solidFill>
            <a:srgbClr val="333353"/>
          </a:solidFill>
          <a:ln>
            <a:noFill/>
          </a:ln>
          <a:effectLst/>
        </p:spPr>
        <p:txBody>
          <a:bodyPr wrap="square" lIns="107944" tIns="71963" rIns="107944" bIns="71963" numCol="1" spcCol="72000" rtlCol="0" anchor="ctr">
            <a:noAutofit/>
          </a:bodyPr>
          <a:lstStyle/>
          <a:p>
            <a:pPr algn="ctr">
              <a:lnSpc>
                <a:spcPct val="90000"/>
              </a:lnSpc>
              <a:spcBef>
                <a:spcPct val="0"/>
              </a:spcBef>
              <a:buFont typeface="Wingdings" charset="0"/>
              <a:buNone/>
            </a:pPr>
            <a:r>
              <a:rPr lang="en-US" sz="1599" dirty="0">
                <a:solidFill>
                  <a:schemeClr val="tx2"/>
                </a:solidFill>
                <a:ea typeface="Arial Unicode MS" panose="020B0604020202020204" pitchFamily="34" charset="-128"/>
                <a:cs typeface="Arial Unicode MS" panose="020B0604020202020204" pitchFamily="34" charset="-128"/>
              </a:rPr>
              <a:t>Lorem</a:t>
            </a:r>
          </a:p>
        </p:txBody>
      </p:sp>
      <p:sp>
        <p:nvSpPr>
          <p:cNvPr id="208" name="Rechteck 207"/>
          <p:cNvSpPr/>
          <p:nvPr/>
        </p:nvSpPr>
        <p:spPr bwMode="auto">
          <a:xfrm>
            <a:off x="4501709" y="4546800"/>
            <a:ext cx="1260000" cy="576000"/>
          </a:xfrm>
          <a:prstGeom prst="rect">
            <a:avLst/>
          </a:prstGeom>
          <a:solidFill>
            <a:srgbClr val="333353"/>
          </a:solidFill>
          <a:ln>
            <a:noFill/>
          </a:ln>
          <a:effectLst/>
        </p:spPr>
        <p:txBody>
          <a:bodyPr wrap="square" lIns="107944" tIns="71963" rIns="107944" bIns="71963" numCol="1" spcCol="72000" rtlCol="0" anchor="ctr">
            <a:noAutofit/>
          </a:bodyPr>
          <a:lstStyle/>
          <a:p>
            <a:pPr algn="ctr">
              <a:lnSpc>
                <a:spcPct val="90000"/>
              </a:lnSpc>
              <a:spcBef>
                <a:spcPct val="0"/>
              </a:spcBef>
              <a:buFont typeface="Wingdings" charset="0"/>
              <a:buNone/>
            </a:pPr>
            <a:r>
              <a:rPr lang="en-US" sz="1599" dirty="0">
                <a:solidFill>
                  <a:schemeClr val="tx2"/>
                </a:solidFill>
                <a:ea typeface="Arial Unicode MS" panose="020B0604020202020204" pitchFamily="34" charset="-128"/>
                <a:cs typeface="Arial Unicode MS" panose="020B0604020202020204" pitchFamily="34" charset="-128"/>
              </a:rPr>
              <a:t>Lorem</a:t>
            </a:r>
          </a:p>
        </p:txBody>
      </p:sp>
      <p:sp>
        <p:nvSpPr>
          <p:cNvPr id="209" name="Rechteck 208"/>
          <p:cNvSpPr/>
          <p:nvPr/>
        </p:nvSpPr>
        <p:spPr bwMode="auto">
          <a:xfrm>
            <a:off x="4501709" y="5590800"/>
            <a:ext cx="1260000" cy="576000"/>
          </a:xfrm>
          <a:prstGeom prst="rect">
            <a:avLst/>
          </a:prstGeom>
          <a:solidFill>
            <a:srgbClr val="333353"/>
          </a:solidFill>
          <a:ln>
            <a:noFill/>
          </a:ln>
          <a:effectLst/>
        </p:spPr>
        <p:txBody>
          <a:bodyPr wrap="square" lIns="107944" tIns="71963" rIns="107944" bIns="71963" numCol="1" spcCol="72000" rtlCol="0" anchor="ctr">
            <a:noAutofit/>
          </a:bodyPr>
          <a:lstStyle/>
          <a:p>
            <a:pPr algn="ctr">
              <a:lnSpc>
                <a:spcPct val="90000"/>
              </a:lnSpc>
              <a:spcBef>
                <a:spcPct val="0"/>
              </a:spcBef>
              <a:buFont typeface="Wingdings" charset="0"/>
              <a:buNone/>
            </a:pPr>
            <a:r>
              <a:rPr lang="en-US" sz="1599" dirty="0">
                <a:solidFill>
                  <a:schemeClr val="tx2"/>
                </a:solidFill>
                <a:ea typeface="Arial Unicode MS" panose="020B0604020202020204" pitchFamily="34" charset="-128"/>
                <a:cs typeface="Arial Unicode MS" panose="020B0604020202020204" pitchFamily="34" charset="-128"/>
              </a:rPr>
              <a:t>Lorem</a:t>
            </a:r>
          </a:p>
        </p:txBody>
      </p:sp>
      <p:sp>
        <p:nvSpPr>
          <p:cNvPr id="190" name="Abgerundetes Rechteck 189"/>
          <p:cNvSpPr/>
          <p:nvPr/>
        </p:nvSpPr>
        <p:spPr bwMode="auto">
          <a:xfrm>
            <a:off x="411162" y="1414463"/>
            <a:ext cx="1620000" cy="576000"/>
          </a:xfrm>
          <a:prstGeom prst="roundRect">
            <a:avLst>
              <a:gd name="adj" fmla="val 50000"/>
            </a:avLst>
          </a:prstGeom>
          <a:solidFill>
            <a:srgbClr val="333353"/>
          </a:solidFill>
          <a:ln>
            <a:noFill/>
          </a:ln>
          <a:effectLst/>
        </p:spPr>
        <p:txBody>
          <a:bodyPr wrap="square" lIns="107944" tIns="71963" rIns="107944" bIns="71963" numCol="1" spcCol="72000" rtlCol="0" anchor="ctr">
            <a:noAutofit/>
          </a:bodyPr>
          <a:lstStyle/>
          <a:p>
            <a:pPr algn="ctr">
              <a:lnSpc>
                <a:spcPct val="90000"/>
              </a:lnSpc>
              <a:spcBef>
                <a:spcPct val="0"/>
              </a:spcBef>
              <a:buFont typeface="Wingdings" charset="0"/>
              <a:buNone/>
            </a:pPr>
            <a:r>
              <a:rPr lang="en-US" sz="1599" dirty="0">
                <a:solidFill>
                  <a:schemeClr val="tx2"/>
                </a:solidFill>
                <a:ea typeface="Arial Unicode MS" panose="020B0604020202020204" pitchFamily="34" charset="-128"/>
                <a:cs typeface="Arial Unicode MS" panose="020B0604020202020204" pitchFamily="34" charset="-128"/>
              </a:rPr>
              <a:t>Lorem ipsum</a:t>
            </a:r>
          </a:p>
        </p:txBody>
      </p:sp>
      <p:sp>
        <p:nvSpPr>
          <p:cNvPr id="197" name="Raute 196"/>
          <p:cNvSpPr/>
          <p:nvPr/>
        </p:nvSpPr>
        <p:spPr bwMode="auto">
          <a:xfrm>
            <a:off x="6642347" y="1270463"/>
            <a:ext cx="864861" cy="864000"/>
          </a:xfrm>
          <a:prstGeom prst="diamond">
            <a:avLst/>
          </a:prstGeom>
          <a:solidFill>
            <a:srgbClr val="333353"/>
          </a:solidFill>
          <a:ln>
            <a:noFill/>
          </a:ln>
          <a:effectLst/>
        </p:spPr>
        <p:txBody>
          <a:bodyPr wrap="none" lIns="0" tIns="71963" rIns="0" bIns="71963" numCol="1" spcCol="72000" rtlCol="0" anchor="ctr">
            <a:noAutofit/>
          </a:bodyPr>
          <a:lstStyle/>
          <a:p>
            <a:pPr algn="ctr">
              <a:lnSpc>
                <a:spcPct val="90000"/>
              </a:lnSpc>
              <a:spcBef>
                <a:spcPct val="0"/>
              </a:spcBef>
              <a:buFont typeface="Wingdings" charset="0"/>
              <a:buNone/>
            </a:pPr>
            <a:r>
              <a:rPr lang="en-US" sz="1599" dirty="0">
                <a:solidFill>
                  <a:schemeClr val="tx2"/>
                </a:solidFill>
                <a:ea typeface="Arial Unicode MS" panose="020B0604020202020204" pitchFamily="34" charset="-128"/>
                <a:cs typeface="Arial Unicode MS" panose="020B0604020202020204" pitchFamily="34" charset="-128"/>
              </a:rPr>
              <a:t>Lor</a:t>
            </a:r>
          </a:p>
        </p:txBody>
      </p:sp>
      <p:cxnSp>
        <p:nvCxnSpPr>
          <p:cNvPr id="233" name="Gerade Verbindung 232"/>
          <p:cNvCxnSpPr>
            <a:stCxn id="190" idx="3"/>
            <a:endCxn id="191" idx="1"/>
          </p:cNvCxnSpPr>
          <p:nvPr/>
        </p:nvCxnSpPr>
        <p:spPr bwMode="auto">
          <a:xfrm>
            <a:off x="2031162" y="1702463"/>
            <a:ext cx="519342" cy="337"/>
          </a:xfrm>
          <a:prstGeom prst="line">
            <a:avLst/>
          </a:prstGeom>
          <a:noFill/>
          <a:ln w="12700" cap="flat" cmpd="sng" algn="ctr">
            <a:solidFill>
              <a:srgbClr val="9999A9"/>
            </a:solidFill>
            <a:prstDash val="solid"/>
            <a:round/>
            <a:headEnd type="oval" w="med" len="med"/>
            <a:tailEnd type="oval" w="med" len="med"/>
          </a:ln>
          <a:effectLst/>
        </p:spPr>
      </p:cxnSp>
      <p:cxnSp>
        <p:nvCxnSpPr>
          <p:cNvPr id="236" name="Gerade Verbindung 235"/>
          <p:cNvCxnSpPr>
            <a:stCxn id="191" idx="3"/>
            <a:endCxn id="193" idx="1"/>
          </p:cNvCxnSpPr>
          <p:nvPr/>
        </p:nvCxnSpPr>
        <p:spPr bwMode="auto">
          <a:xfrm>
            <a:off x="3810504" y="1702800"/>
            <a:ext cx="691205" cy="0"/>
          </a:xfrm>
          <a:prstGeom prst="line">
            <a:avLst/>
          </a:prstGeom>
          <a:noFill/>
          <a:ln w="12700" cap="flat" cmpd="sng" algn="ctr">
            <a:solidFill>
              <a:srgbClr val="9999A9"/>
            </a:solidFill>
            <a:prstDash val="solid"/>
            <a:round/>
            <a:headEnd type="oval" w="med" len="med"/>
            <a:tailEnd type="oval" w="med" len="med"/>
          </a:ln>
          <a:effectLst/>
        </p:spPr>
      </p:cxnSp>
      <p:cxnSp>
        <p:nvCxnSpPr>
          <p:cNvPr id="237" name="Gerade Verbindung 236"/>
          <p:cNvCxnSpPr>
            <a:stCxn id="193" idx="3"/>
            <a:endCxn id="197" idx="1"/>
          </p:cNvCxnSpPr>
          <p:nvPr/>
        </p:nvCxnSpPr>
        <p:spPr bwMode="auto">
          <a:xfrm flipV="1">
            <a:off x="5761709" y="1702463"/>
            <a:ext cx="880638" cy="337"/>
          </a:xfrm>
          <a:prstGeom prst="line">
            <a:avLst/>
          </a:prstGeom>
          <a:noFill/>
          <a:ln w="12700" cap="flat" cmpd="sng" algn="ctr">
            <a:solidFill>
              <a:srgbClr val="9999A9"/>
            </a:solidFill>
            <a:prstDash val="solid"/>
            <a:round/>
            <a:headEnd type="oval" w="med" len="med"/>
            <a:tailEnd type="oval" w="med" len="med"/>
          </a:ln>
          <a:effectLst/>
        </p:spPr>
      </p:cxnSp>
      <p:cxnSp>
        <p:nvCxnSpPr>
          <p:cNvPr id="238" name="Gerade Verbindung 237"/>
          <p:cNvCxnSpPr>
            <a:stCxn id="197" idx="3"/>
            <a:endCxn id="194" idx="1"/>
          </p:cNvCxnSpPr>
          <p:nvPr/>
        </p:nvCxnSpPr>
        <p:spPr bwMode="auto">
          <a:xfrm>
            <a:off x="7507208" y="1702463"/>
            <a:ext cx="896911" cy="337"/>
          </a:xfrm>
          <a:prstGeom prst="line">
            <a:avLst/>
          </a:prstGeom>
          <a:noFill/>
          <a:ln w="12700" cap="flat" cmpd="sng" algn="ctr">
            <a:solidFill>
              <a:srgbClr val="9999A9"/>
            </a:solidFill>
            <a:prstDash val="solid"/>
            <a:round/>
            <a:headEnd type="oval" w="med" len="med"/>
            <a:tailEnd type="oval" w="med" len="med"/>
          </a:ln>
          <a:effectLst/>
        </p:spPr>
      </p:cxnSp>
      <p:cxnSp>
        <p:nvCxnSpPr>
          <p:cNvPr id="239" name="Gerade Verbindung 238"/>
          <p:cNvCxnSpPr>
            <a:stCxn id="194" idx="3"/>
            <a:endCxn id="195" idx="1"/>
          </p:cNvCxnSpPr>
          <p:nvPr/>
        </p:nvCxnSpPr>
        <p:spPr bwMode="auto">
          <a:xfrm>
            <a:off x="9664119" y="1702800"/>
            <a:ext cx="691206" cy="0"/>
          </a:xfrm>
          <a:prstGeom prst="line">
            <a:avLst/>
          </a:prstGeom>
          <a:noFill/>
          <a:ln w="12700" cap="flat" cmpd="sng" algn="ctr">
            <a:solidFill>
              <a:srgbClr val="9999A9"/>
            </a:solidFill>
            <a:prstDash val="solid"/>
            <a:round/>
            <a:headEnd type="oval" w="med" len="med"/>
            <a:tailEnd type="oval" w="med" len="med"/>
          </a:ln>
          <a:effectLst/>
        </p:spPr>
      </p:cxnSp>
      <p:cxnSp>
        <p:nvCxnSpPr>
          <p:cNvPr id="248" name="Gerade Verbindung 247"/>
          <p:cNvCxnSpPr>
            <a:cxnSpLocks/>
            <a:endCxn id="200" idx="1"/>
          </p:cNvCxnSpPr>
          <p:nvPr/>
        </p:nvCxnSpPr>
        <p:spPr bwMode="auto">
          <a:xfrm flipV="1">
            <a:off x="1574563" y="2746547"/>
            <a:ext cx="1165374" cy="5642"/>
          </a:xfrm>
          <a:prstGeom prst="line">
            <a:avLst/>
          </a:prstGeom>
          <a:noFill/>
          <a:ln w="12700" cap="flat" cmpd="sng" algn="ctr">
            <a:solidFill>
              <a:srgbClr val="9999A9"/>
            </a:solidFill>
            <a:prstDash val="solid"/>
            <a:round/>
            <a:headEnd type="oval" w="med" len="med"/>
            <a:tailEnd type="oval" w="med" len="med"/>
          </a:ln>
          <a:effectLst/>
        </p:spPr>
      </p:cxnSp>
      <p:cxnSp>
        <p:nvCxnSpPr>
          <p:cNvPr id="249" name="Gerade Verbindung 248"/>
          <p:cNvCxnSpPr>
            <a:cxnSpLocks/>
            <a:stCxn id="200" idx="3"/>
            <a:endCxn id="199" idx="1"/>
          </p:cNvCxnSpPr>
          <p:nvPr/>
        </p:nvCxnSpPr>
        <p:spPr bwMode="auto">
          <a:xfrm>
            <a:off x="3604798" y="2746547"/>
            <a:ext cx="1086344" cy="0"/>
          </a:xfrm>
          <a:prstGeom prst="line">
            <a:avLst/>
          </a:prstGeom>
          <a:noFill/>
          <a:ln w="12700" cap="flat" cmpd="sng" algn="ctr">
            <a:solidFill>
              <a:srgbClr val="9999A9"/>
            </a:solidFill>
            <a:prstDash val="solid"/>
            <a:round/>
            <a:headEnd type="oval" w="med" len="med"/>
            <a:tailEnd type="oval" w="med" len="med"/>
          </a:ln>
          <a:effectLst/>
        </p:spPr>
      </p:cxnSp>
      <p:cxnSp>
        <p:nvCxnSpPr>
          <p:cNvPr id="251" name="Gerade Verbindung 250"/>
          <p:cNvCxnSpPr>
            <a:cxnSpLocks/>
            <a:stCxn id="198" idx="3"/>
            <a:endCxn id="201" idx="1"/>
          </p:cNvCxnSpPr>
          <p:nvPr/>
        </p:nvCxnSpPr>
        <p:spPr bwMode="auto">
          <a:xfrm>
            <a:off x="7507208" y="2746547"/>
            <a:ext cx="1086344" cy="0"/>
          </a:xfrm>
          <a:prstGeom prst="line">
            <a:avLst/>
          </a:prstGeom>
          <a:noFill/>
          <a:ln w="12700" cap="flat" cmpd="sng" algn="ctr">
            <a:solidFill>
              <a:srgbClr val="9999A9"/>
            </a:solidFill>
            <a:prstDash val="solid"/>
            <a:round/>
            <a:headEnd type="oval" w="med" len="med"/>
            <a:tailEnd type="oval" w="med" len="med"/>
          </a:ln>
          <a:effectLst/>
        </p:spPr>
      </p:cxnSp>
      <p:cxnSp>
        <p:nvCxnSpPr>
          <p:cNvPr id="252" name="Gerade Verbindung 251"/>
          <p:cNvCxnSpPr>
            <a:cxnSpLocks/>
            <a:stCxn id="201" idx="3"/>
            <a:endCxn id="202" idx="1"/>
          </p:cNvCxnSpPr>
          <p:nvPr/>
        </p:nvCxnSpPr>
        <p:spPr bwMode="auto">
          <a:xfrm>
            <a:off x="9458413" y="2746547"/>
            <a:ext cx="1086345" cy="0"/>
          </a:xfrm>
          <a:prstGeom prst="line">
            <a:avLst/>
          </a:prstGeom>
          <a:noFill/>
          <a:ln w="12700" cap="flat" cmpd="sng" algn="ctr">
            <a:solidFill>
              <a:srgbClr val="9999A9"/>
            </a:solidFill>
            <a:prstDash val="solid"/>
            <a:round/>
            <a:headEnd type="oval" w="med" len="med"/>
            <a:tailEnd type="oval" w="med" len="med"/>
          </a:ln>
          <a:effectLst/>
        </p:spPr>
      </p:cxnSp>
      <p:cxnSp>
        <p:nvCxnSpPr>
          <p:cNvPr id="253" name="Gerade Verbindung 252"/>
          <p:cNvCxnSpPr>
            <a:stCxn id="214" idx="3"/>
            <a:endCxn id="203" idx="1"/>
          </p:cNvCxnSpPr>
          <p:nvPr/>
        </p:nvCxnSpPr>
        <p:spPr bwMode="auto">
          <a:xfrm>
            <a:off x="1851162" y="3790631"/>
            <a:ext cx="691205" cy="0"/>
          </a:xfrm>
          <a:prstGeom prst="line">
            <a:avLst/>
          </a:prstGeom>
          <a:noFill/>
          <a:ln w="12700" cap="flat" cmpd="sng" algn="ctr">
            <a:solidFill>
              <a:srgbClr val="9999A9"/>
            </a:solidFill>
            <a:prstDash val="solid"/>
            <a:round/>
            <a:headEnd type="oval" w="med" len="med"/>
            <a:tailEnd type="oval" w="med" len="med"/>
          </a:ln>
          <a:effectLst/>
        </p:spPr>
      </p:cxnSp>
      <p:cxnSp>
        <p:nvCxnSpPr>
          <p:cNvPr id="254" name="Gerade Verbindung 253"/>
          <p:cNvCxnSpPr>
            <a:stCxn id="203" idx="3"/>
            <a:endCxn id="204" idx="1"/>
          </p:cNvCxnSpPr>
          <p:nvPr/>
        </p:nvCxnSpPr>
        <p:spPr bwMode="auto">
          <a:xfrm>
            <a:off x="3802367" y="3790631"/>
            <a:ext cx="691205" cy="0"/>
          </a:xfrm>
          <a:prstGeom prst="line">
            <a:avLst/>
          </a:prstGeom>
          <a:noFill/>
          <a:ln w="12700" cap="flat" cmpd="sng" algn="ctr">
            <a:solidFill>
              <a:srgbClr val="9999A9"/>
            </a:solidFill>
            <a:prstDash val="solid"/>
            <a:round/>
            <a:headEnd type="oval" w="med" len="med"/>
            <a:tailEnd type="oval" w="med" len="med"/>
          </a:ln>
          <a:effectLst/>
        </p:spPr>
      </p:cxnSp>
      <p:cxnSp>
        <p:nvCxnSpPr>
          <p:cNvPr id="255" name="Gerade Verbindung 254"/>
          <p:cNvCxnSpPr>
            <a:cxnSpLocks/>
            <a:stCxn id="204" idx="3"/>
            <a:endCxn id="207" idx="1"/>
          </p:cNvCxnSpPr>
          <p:nvPr/>
        </p:nvCxnSpPr>
        <p:spPr bwMode="auto">
          <a:xfrm>
            <a:off x="5753572" y="3790631"/>
            <a:ext cx="691205" cy="0"/>
          </a:xfrm>
          <a:prstGeom prst="line">
            <a:avLst/>
          </a:prstGeom>
          <a:noFill/>
          <a:ln w="12700" cap="flat" cmpd="sng" algn="ctr">
            <a:solidFill>
              <a:srgbClr val="9999A9"/>
            </a:solidFill>
            <a:prstDash val="solid"/>
            <a:round/>
            <a:headEnd type="oval" w="med" len="med"/>
            <a:tailEnd type="oval" w="med" len="med"/>
          </a:ln>
          <a:effectLst/>
        </p:spPr>
      </p:cxnSp>
      <p:cxnSp>
        <p:nvCxnSpPr>
          <p:cNvPr id="256" name="Gerade Verbindung 255"/>
          <p:cNvCxnSpPr>
            <a:stCxn id="207" idx="3"/>
            <a:endCxn id="205" idx="1"/>
          </p:cNvCxnSpPr>
          <p:nvPr/>
        </p:nvCxnSpPr>
        <p:spPr bwMode="auto">
          <a:xfrm>
            <a:off x="7704777" y="3790631"/>
            <a:ext cx="691205" cy="0"/>
          </a:xfrm>
          <a:prstGeom prst="line">
            <a:avLst/>
          </a:prstGeom>
          <a:noFill/>
          <a:ln w="12700" cap="flat" cmpd="sng" algn="ctr">
            <a:solidFill>
              <a:srgbClr val="9999A9"/>
            </a:solidFill>
            <a:prstDash val="solid"/>
            <a:round/>
            <a:headEnd type="oval" w="med" len="med"/>
            <a:tailEnd type="oval" w="med" len="med"/>
          </a:ln>
          <a:effectLst/>
        </p:spPr>
      </p:cxnSp>
      <p:cxnSp>
        <p:nvCxnSpPr>
          <p:cNvPr id="257" name="Gerade Verbindung 256"/>
          <p:cNvCxnSpPr>
            <a:cxnSpLocks/>
            <a:stCxn id="205" idx="3"/>
            <a:endCxn id="206" idx="1"/>
          </p:cNvCxnSpPr>
          <p:nvPr/>
        </p:nvCxnSpPr>
        <p:spPr bwMode="auto">
          <a:xfrm>
            <a:off x="9655982" y="3790631"/>
            <a:ext cx="691206" cy="0"/>
          </a:xfrm>
          <a:prstGeom prst="line">
            <a:avLst/>
          </a:prstGeom>
          <a:noFill/>
          <a:ln w="12700" cap="flat" cmpd="sng" algn="ctr">
            <a:solidFill>
              <a:srgbClr val="9999A9"/>
            </a:solidFill>
            <a:prstDash val="solid"/>
            <a:round/>
            <a:headEnd type="oval" w="med" len="med"/>
            <a:tailEnd type="oval" w="med" len="med"/>
          </a:ln>
          <a:effectLst/>
        </p:spPr>
      </p:cxnSp>
      <p:cxnSp>
        <p:nvCxnSpPr>
          <p:cNvPr id="260" name="Gerade Verbindung 259"/>
          <p:cNvCxnSpPr>
            <a:stCxn id="208" idx="3"/>
            <a:endCxn id="210" idx="1"/>
          </p:cNvCxnSpPr>
          <p:nvPr/>
        </p:nvCxnSpPr>
        <p:spPr bwMode="auto">
          <a:xfrm>
            <a:off x="5761709" y="4834800"/>
            <a:ext cx="880638" cy="0"/>
          </a:xfrm>
          <a:prstGeom prst="line">
            <a:avLst/>
          </a:prstGeom>
          <a:noFill/>
          <a:ln w="12700" cap="flat" cmpd="sng" algn="ctr">
            <a:solidFill>
              <a:srgbClr val="9999A9"/>
            </a:solidFill>
            <a:prstDash val="solid"/>
            <a:round/>
            <a:headEnd type="oval" w="med" len="med"/>
            <a:tailEnd type="oval" w="med" len="med"/>
          </a:ln>
          <a:effectLst/>
        </p:spPr>
      </p:cxnSp>
      <p:cxnSp>
        <p:nvCxnSpPr>
          <p:cNvPr id="261" name="Gerade Verbindung 260"/>
          <p:cNvCxnSpPr>
            <a:stCxn id="210" idx="3"/>
            <a:endCxn id="211" idx="2"/>
          </p:cNvCxnSpPr>
          <p:nvPr/>
        </p:nvCxnSpPr>
        <p:spPr bwMode="auto">
          <a:xfrm>
            <a:off x="7507208" y="4834800"/>
            <a:ext cx="1159014" cy="0"/>
          </a:xfrm>
          <a:prstGeom prst="line">
            <a:avLst/>
          </a:prstGeom>
          <a:noFill/>
          <a:ln w="12700" cap="flat" cmpd="sng" algn="ctr">
            <a:solidFill>
              <a:srgbClr val="9999A9"/>
            </a:solidFill>
            <a:prstDash val="solid"/>
            <a:round/>
            <a:headEnd type="oval" w="med" len="med"/>
            <a:tailEnd type="oval" w="med" len="med"/>
          </a:ln>
          <a:effectLst/>
        </p:spPr>
      </p:cxnSp>
      <p:cxnSp>
        <p:nvCxnSpPr>
          <p:cNvPr id="262" name="Gerade Verbindung 261"/>
          <p:cNvCxnSpPr>
            <a:stCxn id="211" idx="6"/>
            <a:endCxn id="212" idx="2"/>
          </p:cNvCxnSpPr>
          <p:nvPr/>
        </p:nvCxnSpPr>
        <p:spPr bwMode="auto">
          <a:xfrm>
            <a:off x="9385743" y="4834800"/>
            <a:ext cx="1231685" cy="0"/>
          </a:xfrm>
          <a:prstGeom prst="line">
            <a:avLst/>
          </a:prstGeom>
          <a:noFill/>
          <a:ln w="12700" cap="flat" cmpd="sng" algn="ctr">
            <a:solidFill>
              <a:srgbClr val="9999A9"/>
            </a:solidFill>
            <a:prstDash val="solid"/>
            <a:round/>
            <a:headEnd type="oval" w="med" len="med"/>
            <a:tailEnd type="oval" w="med" len="med"/>
          </a:ln>
          <a:effectLst/>
        </p:spPr>
      </p:cxnSp>
      <p:cxnSp>
        <p:nvCxnSpPr>
          <p:cNvPr id="263" name="Gerade Verbindung 262"/>
          <p:cNvCxnSpPr>
            <a:stCxn id="218" idx="3"/>
            <a:endCxn id="217" idx="1"/>
          </p:cNvCxnSpPr>
          <p:nvPr/>
        </p:nvCxnSpPr>
        <p:spPr bwMode="auto">
          <a:xfrm>
            <a:off x="2031162" y="5878800"/>
            <a:ext cx="331205" cy="0"/>
          </a:xfrm>
          <a:prstGeom prst="line">
            <a:avLst/>
          </a:prstGeom>
          <a:noFill/>
          <a:ln w="12700" cap="flat" cmpd="sng" algn="ctr">
            <a:solidFill>
              <a:srgbClr val="9999A9"/>
            </a:solidFill>
            <a:prstDash val="solid"/>
            <a:round/>
            <a:headEnd type="oval" w="med" len="med"/>
            <a:tailEnd type="oval" w="med" len="med"/>
          </a:ln>
          <a:effectLst/>
        </p:spPr>
      </p:cxnSp>
      <p:cxnSp>
        <p:nvCxnSpPr>
          <p:cNvPr id="264" name="Gerade Verbindung 263"/>
          <p:cNvCxnSpPr>
            <a:stCxn id="217" idx="3"/>
            <a:endCxn id="209" idx="1"/>
          </p:cNvCxnSpPr>
          <p:nvPr/>
        </p:nvCxnSpPr>
        <p:spPr bwMode="auto">
          <a:xfrm>
            <a:off x="3982367" y="5878800"/>
            <a:ext cx="519342" cy="0"/>
          </a:xfrm>
          <a:prstGeom prst="line">
            <a:avLst/>
          </a:prstGeom>
          <a:noFill/>
          <a:ln w="12700" cap="flat" cmpd="sng" algn="ctr">
            <a:solidFill>
              <a:srgbClr val="9999A9"/>
            </a:solidFill>
            <a:prstDash val="solid"/>
            <a:round/>
            <a:headEnd type="oval" w="med" len="med"/>
            <a:tailEnd type="oval" w="med" len="med"/>
          </a:ln>
          <a:effectLst/>
        </p:spPr>
      </p:cxnSp>
      <p:cxnSp>
        <p:nvCxnSpPr>
          <p:cNvPr id="297" name="Gewinkelte Verbindung 296"/>
          <p:cNvCxnSpPr>
            <a:stCxn id="190" idx="2"/>
            <a:endCxn id="200" idx="0"/>
          </p:cNvCxnSpPr>
          <p:nvPr/>
        </p:nvCxnSpPr>
        <p:spPr bwMode="auto">
          <a:xfrm rot="16200000" flipH="1">
            <a:off x="2034723" y="1176902"/>
            <a:ext cx="324084" cy="1951206"/>
          </a:xfrm>
          <a:prstGeom prst="bentConnector3">
            <a:avLst>
              <a:gd name="adj1" fmla="val 50000"/>
            </a:avLst>
          </a:prstGeom>
          <a:noFill/>
          <a:ln w="12700" cap="flat" cmpd="sng" algn="ctr">
            <a:solidFill>
              <a:srgbClr val="9999A9"/>
            </a:solidFill>
            <a:prstDash val="solid"/>
            <a:round/>
            <a:headEnd type="oval" w="med" len="med"/>
            <a:tailEnd type="oval" w="med" len="med"/>
          </a:ln>
          <a:effectLst/>
        </p:spPr>
      </p:cxnSp>
      <p:cxnSp>
        <p:nvCxnSpPr>
          <p:cNvPr id="300" name="Gewinkelte Verbindung 299"/>
          <p:cNvCxnSpPr>
            <a:stCxn id="198" idx="0"/>
            <a:endCxn id="194" idx="2"/>
          </p:cNvCxnSpPr>
          <p:nvPr/>
        </p:nvCxnSpPr>
        <p:spPr bwMode="auto">
          <a:xfrm rot="5400000" flipH="1" flipV="1">
            <a:off x="7892575" y="1173004"/>
            <a:ext cx="323747" cy="1959341"/>
          </a:xfrm>
          <a:prstGeom prst="bentConnector3">
            <a:avLst>
              <a:gd name="adj1" fmla="val 50000"/>
            </a:avLst>
          </a:prstGeom>
          <a:noFill/>
          <a:ln w="12700" cap="flat" cmpd="sng" algn="ctr">
            <a:solidFill>
              <a:srgbClr val="9999A9"/>
            </a:solidFill>
            <a:prstDash val="solid"/>
            <a:round/>
            <a:headEnd type="oval" w="med" len="med"/>
            <a:tailEnd type="oval" w="med" len="med"/>
          </a:ln>
          <a:effectLst/>
        </p:spPr>
      </p:cxnSp>
      <p:cxnSp>
        <p:nvCxnSpPr>
          <p:cNvPr id="303" name="Gewinkelte Verbindung 302"/>
          <p:cNvCxnSpPr>
            <a:stCxn id="214" idx="0"/>
            <a:endCxn id="213" idx="4"/>
          </p:cNvCxnSpPr>
          <p:nvPr/>
        </p:nvCxnSpPr>
        <p:spPr bwMode="auto">
          <a:xfrm rot="5400000" flipH="1" flipV="1">
            <a:off x="1027102" y="3308571"/>
            <a:ext cx="388121" cy="1"/>
          </a:xfrm>
          <a:prstGeom prst="bentConnector3">
            <a:avLst>
              <a:gd name="adj1" fmla="val 50000"/>
            </a:avLst>
          </a:prstGeom>
          <a:noFill/>
          <a:ln w="12700" cap="flat" cmpd="sng" algn="ctr">
            <a:solidFill>
              <a:srgbClr val="9999A9"/>
            </a:solidFill>
            <a:prstDash val="solid"/>
            <a:round/>
            <a:headEnd type="oval" w="med" len="med"/>
            <a:tailEnd type="oval" w="med" len="med"/>
          </a:ln>
          <a:effectLst/>
        </p:spPr>
      </p:cxnSp>
      <p:cxnSp>
        <p:nvCxnSpPr>
          <p:cNvPr id="307" name="Gewinkelte Verbindung 306"/>
          <p:cNvCxnSpPr>
            <a:stCxn id="207" idx="0"/>
            <a:endCxn id="199" idx="2"/>
          </p:cNvCxnSpPr>
          <p:nvPr/>
        </p:nvCxnSpPr>
        <p:spPr bwMode="auto">
          <a:xfrm rot="16200000" flipV="1">
            <a:off x="5937133" y="2364987"/>
            <a:ext cx="324084" cy="1951204"/>
          </a:xfrm>
          <a:prstGeom prst="bentConnector3">
            <a:avLst>
              <a:gd name="adj1" fmla="val 50000"/>
            </a:avLst>
          </a:prstGeom>
          <a:noFill/>
          <a:ln w="12700" cap="flat" cmpd="sng" algn="ctr">
            <a:solidFill>
              <a:srgbClr val="9999A9"/>
            </a:solidFill>
            <a:prstDash val="solid"/>
            <a:round/>
            <a:headEnd type="oval" w="med" len="med"/>
            <a:tailEnd type="oval" w="med" len="med"/>
          </a:ln>
          <a:effectLst/>
        </p:spPr>
      </p:cxnSp>
      <p:cxnSp>
        <p:nvCxnSpPr>
          <p:cNvPr id="315" name="Gerade Verbindung 314"/>
          <p:cNvCxnSpPr>
            <a:stCxn id="203" idx="2"/>
            <a:endCxn id="216" idx="0"/>
          </p:cNvCxnSpPr>
          <p:nvPr/>
        </p:nvCxnSpPr>
        <p:spPr bwMode="auto">
          <a:xfrm>
            <a:off x="3172367" y="4078631"/>
            <a:ext cx="0" cy="468169"/>
          </a:xfrm>
          <a:prstGeom prst="line">
            <a:avLst/>
          </a:prstGeom>
          <a:noFill/>
          <a:ln w="12700" cap="flat" cmpd="sng" algn="ctr">
            <a:solidFill>
              <a:srgbClr val="9999A9"/>
            </a:solidFill>
            <a:prstDash val="solid"/>
            <a:round/>
            <a:headEnd type="oval" w="med" len="med"/>
            <a:tailEnd type="oval" w="med" len="med"/>
          </a:ln>
          <a:effectLst/>
        </p:spPr>
      </p:cxnSp>
      <p:cxnSp>
        <p:nvCxnSpPr>
          <p:cNvPr id="318" name="Gerade Verbindung 317"/>
          <p:cNvCxnSpPr>
            <a:stCxn id="216" idx="2"/>
            <a:endCxn id="217" idx="0"/>
          </p:cNvCxnSpPr>
          <p:nvPr/>
        </p:nvCxnSpPr>
        <p:spPr bwMode="auto">
          <a:xfrm>
            <a:off x="3172367" y="5122800"/>
            <a:ext cx="0" cy="468000"/>
          </a:xfrm>
          <a:prstGeom prst="line">
            <a:avLst/>
          </a:prstGeom>
          <a:noFill/>
          <a:ln w="12700" cap="flat" cmpd="sng" algn="ctr">
            <a:solidFill>
              <a:srgbClr val="9999A9"/>
            </a:solidFill>
            <a:prstDash val="solid"/>
            <a:round/>
            <a:headEnd type="oval" w="med" len="med"/>
            <a:tailEnd type="oval" w="med" len="med"/>
          </a:ln>
          <a:effectLst/>
        </p:spPr>
      </p:cxnSp>
      <p:cxnSp>
        <p:nvCxnSpPr>
          <p:cNvPr id="324" name="Gerade Verbindung 323"/>
          <p:cNvCxnSpPr>
            <a:stCxn id="208" idx="2"/>
            <a:endCxn id="209" idx="0"/>
          </p:cNvCxnSpPr>
          <p:nvPr/>
        </p:nvCxnSpPr>
        <p:spPr bwMode="auto">
          <a:xfrm>
            <a:off x="5131709" y="5122800"/>
            <a:ext cx="0" cy="468000"/>
          </a:xfrm>
          <a:prstGeom prst="line">
            <a:avLst/>
          </a:prstGeom>
          <a:noFill/>
          <a:ln w="12700" cap="flat" cmpd="sng" algn="ctr">
            <a:solidFill>
              <a:srgbClr val="9999A9"/>
            </a:solidFill>
            <a:prstDash val="solid"/>
            <a:round/>
            <a:headEnd type="oval" w="med" len="med"/>
            <a:tailEnd type="oval" w="med" len="med"/>
          </a:ln>
          <a:effectLst/>
        </p:spPr>
      </p:cxnSp>
      <p:cxnSp>
        <p:nvCxnSpPr>
          <p:cNvPr id="327" name="Gerade Verbindung 326"/>
          <p:cNvCxnSpPr>
            <a:stCxn id="214" idx="2"/>
            <a:endCxn id="215" idx="0"/>
          </p:cNvCxnSpPr>
          <p:nvPr/>
        </p:nvCxnSpPr>
        <p:spPr bwMode="auto">
          <a:xfrm>
            <a:off x="1221162" y="4078631"/>
            <a:ext cx="0" cy="468169"/>
          </a:xfrm>
          <a:prstGeom prst="line">
            <a:avLst/>
          </a:prstGeom>
          <a:noFill/>
          <a:ln w="12700" cap="flat" cmpd="sng" algn="ctr">
            <a:solidFill>
              <a:srgbClr val="9999A9"/>
            </a:solidFill>
            <a:prstDash val="solid"/>
            <a:round/>
            <a:headEnd type="oval" w="med" len="med"/>
            <a:tailEnd type="oval" w="med" len="med"/>
          </a:ln>
          <a:effectLst/>
        </p:spPr>
      </p:cxnSp>
      <p:sp>
        <p:nvSpPr>
          <p:cNvPr id="6" name="Footer Placeholder 5">
            <a:extLst>
              <a:ext uri="{FF2B5EF4-FFF2-40B4-BE49-F238E27FC236}">
                <a16:creationId xmlns:a16="http://schemas.microsoft.com/office/drawing/2014/main" id="{32DFBA22-79DF-4A6F-AA20-09D82418A930}"/>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7" name="Slide Number Placeholder 6">
            <a:extLst>
              <a:ext uri="{FF2B5EF4-FFF2-40B4-BE49-F238E27FC236}">
                <a16:creationId xmlns:a16="http://schemas.microsoft.com/office/drawing/2014/main" id="{6F24E885-A238-4AB8-86F1-3158ADC12BF6}"/>
              </a:ext>
            </a:extLst>
          </p:cNvPr>
          <p:cNvSpPr>
            <a:spLocks noGrp="1"/>
          </p:cNvSpPr>
          <p:nvPr>
            <p:ph type="sldNum" sz="quarter" idx="11"/>
          </p:nvPr>
        </p:nvSpPr>
        <p:spPr/>
        <p:txBody>
          <a:bodyPr/>
          <a:lstStyle/>
          <a:p>
            <a:r>
              <a:rPr lang="en-US" dirty="0"/>
              <a:t>Page </a:t>
            </a:r>
            <a:fld id="{15EBE321-CBB1-4E91-BD14-37C8D44326FB}" type="slidenum">
              <a:rPr lang="en-US" smtClean="0"/>
              <a:pPr/>
              <a:t>85</a:t>
            </a:fld>
            <a:endParaRPr lang="en-US" dirty="0"/>
          </a:p>
        </p:txBody>
      </p:sp>
    </p:spTree>
    <p:extLst>
      <p:ext uri="{BB962C8B-B14F-4D97-AF65-F5344CB8AC3E}">
        <p14:creationId xmlns:p14="http://schemas.microsoft.com/office/powerpoint/2010/main" val="164911243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kt 27"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3" imgW="360" imgH="360" progId="">
                  <p:embed/>
                </p:oleObj>
              </mc:Choice>
              <mc:Fallback>
                <p:oleObj name="think-cell Folie" r:id="rId3" imgW="360" imgH="360" progId="">
                  <p:embed/>
                  <p:pic>
                    <p:nvPicPr>
                      <p:cNvPr id="28" name="Objekt 2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a:xfrm>
            <a:off x="410400" y="478800"/>
            <a:ext cx="9863997" cy="576000"/>
          </a:xfrm>
        </p:spPr>
        <p:txBody>
          <a:bodyPr/>
          <a:lstStyle/>
          <a:p>
            <a:r>
              <a:rPr lang="en-US" dirty="0"/>
              <a:t>Pyramid</a:t>
            </a:r>
          </a:p>
        </p:txBody>
      </p:sp>
      <p:cxnSp>
        <p:nvCxnSpPr>
          <p:cNvPr id="7" name="Gerade Verbindung 6"/>
          <p:cNvCxnSpPr/>
          <p:nvPr/>
        </p:nvCxnSpPr>
        <p:spPr bwMode="gray">
          <a:xfrm>
            <a:off x="411163" y="2562907"/>
            <a:ext cx="9080319" cy="0"/>
          </a:xfrm>
          <a:prstGeom prst="line">
            <a:avLst/>
          </a:prstGeom>
          <a:solidFill>
            <a:schemeClr val="bg1"/>
          </a:solidFill>
          <a:ln w="12700">
            <a:solidFill>
              <a:srgbClr val="66667E"/>
            </a:solidFill>
            <a:miter lim="800000"/>
            <a:headEnd/>
            <a:tailEnd/>
          </a:ln>
          <a:effectLst/>
          <a:extLst>
            <a:ext uri="{AF507438-7753-43E0-B8FC-AC1667EBCBE1}">
              <a14:hiddenEffects xmlns:a14="http://schemas.microsoft.com/office/drawing/2010/main">
                <a:effectLst>
                  <a:outerShdw dist="35921" dir="2700000" algn="ctr" rotWithShape="0">
                    <a:schemeClr val="tx1"/>
                  </a:outerShdw>
                </a:effectLst>
              </a14:hiddenEffects>
            </a:ext>
          </a:extLst>
        </p:spPr>
      </p:cxnSp>
      <p:cxnSp>
        <p:nvCxnSpPr>
          <p:cNvPr id="8" name="Gerade Verbindung 7"/>
          <p:cNvCxnSpPr/>
          <p:nvPr/>
        </p:nvCxnSpPr>
        <p:spPr bwMode="gray">
          <a:xfrm>
            <a:off x="411163" y="3799891"/>
            <a:ext cx="9839543" cy="0"/>
          </a:xfrm>
          <a:prstGeom prst="line">
            <a:avLst/>
          </a:prstGeom>
          <a:solidFill>
            <a:schemeClr val="bg1"/>
          </a:solidFill>
          <a:ln w="12700">
            <a:solidFill>
              <a:srgbClr val="66667E"/>
            </a:solidFill>
            <a:miter lim="800000"/>
            <a:headEnd/>
            <a:tailEnd/>
          </a:ln>
          <a:effectLst/>
          <a:extLst>
            <a:ext uri="{AF507438-7753-43E0-B8FC-AC1667EBCBE1}">
              <a14:hiddenEffects xmlns:a14="http://schemas.microsoft.com/office/drawing/2010/main">
                <a:effectLst>
                  <a:outerShdw dist="35921" dir="2700000" algn="ctr" rotWithShape="0">
                    <a:schemeClr val="tx1"/>
                  </a:outerShdw>
                </a:effectLst>
              </a14:hiddenEffects>
            </a:ext>
          </a:extLst>
        </p:spPr>
      </p:cxnSp>
      <p:cxnSp>
        <p:nvCxnSpPr>
          <p:cNvPr id="9" name="Gerade Verbindung 8"/>
          <p:cNvCxnSpPr/>
          <p:nvPr/>
        </p:nvCxnSpPr>
        <p:spPr bwMode="gray">
          <a:xfrm>
            <a:off x="410400" y="5032026"/>
            <a:ext cx="10601909" cy="0"/>
          </a:xfrm>
          <a:prstGeom prst="line">
            <a:avLst/>
          </a:prstGeom>
          <a:solidFill>
            <a:schemeClr val="bg1"/>
          </a:solidFill>
          <a:ln w="12700">
            <a:solidFill>
              <a:srgbClr val="66667E"/>
            </a:solidFill>
            <a:miter lim="800000"/>
            <a:headEnd/>
            <a:tailEnd/>
          </a:ln>
          <a:effectLst/>
          <a:extLst>
            <a:ext uri="{AF507438-7753-43E0-B8FC-AC1667EBCBE1}">
              <a14:hiddenEffects xmlns:a14="http://schemas.microsoft.com/office/drawing/2010/main">
                <a:effectLst>
                  <a:outerShdw dist="35921" dir="2700000" algn="ctr" rotWithShape="0">
                    <a:schemeClr val="tx1"/>
                  </a:outerShdw>
                </a:effectLst>
              </a14:hiddenEffects>
            </a:ext>
          </a:extLst>
        </p:spPr>
      </p:cxnSp>
      <p:sp>
        <p:nvSpPr>
          <p:cNvPr id="3" name="Textfeld 2"/>
          <p:cNvSpPr txBox="1">
            <a:spLocks/>
          </p:cNvSpPr>
          <p:nvPr/>
        </p:nvSpPr>
        <p:spPr bwMode="gray">
          <a:xfrm>
            <a:off x="410400" y="1415849"/>
            <a:ext cx="2520000" cy="1061447"/>
          </a:xfrm>
          <a:prstGeom prst="rect">
            <a:avLst/>
          </a:prstGeom>
          <a:noFill/>
          <a:ln w="38100" cap="rnd">
            <a:noFill/>
            <a:prstDash val="sysDot"/>
          </a:ln>
        </p:spPr>
        <p:txBody>
          <a:bodyPr wrap="square" lIns="0" tIns="0" rIns="0" bIns="0" rtlCol="0" anchor="t">
            <a:noAutofit/>
          </a:bodyPr>
          <a:lstStyle/>
          <a:p>
            <a:pPr>
              <a:defRPr/>
            </a:pPr>
            <a:r>
              <a:rPr lang="en-US" altLang="de-DE" sz="1599" b="1" dirty="0">
                <a:solidFill>
                  <a:schemeClr val="accent1"/>
                </a:solidFill>
                <a:ea typeface="Arial Unicode MS"/>
              </a:rPr>
              <a:t>Duis arcu tortor</a:t>
            </a:r>
          </a:p>
          <a:p>
            <a:pPr marL="0" lvl="1">
              <a:spcBef>
                <a:spcPts val="300"/>
              </a:spcBef>
              <a:buClr>
                <a:srgbClr val="3C464B"/>
              </a:buClr>
              <a:defRPr/>
            </a:pPr>
            <a:r>
              <a:rPr lang="en-US" altLang="de-DE" sz="1199" dirty="0">
                <a:solidFill>
                  <a:srgbClr val="66667E"/>
                </a:solidFill>
                <a:ea typeface="Arial Unicode MS"/>
                <a:cs typeface="Arial" pitchFamily="34" charset="0"/>
              </a:rPr>
              <a:t>Duis arcu tortor, suscipit eget</a:t>
            </a:r>
            <a:br>
              <a:rPr lang="en-US" altLang="de-DE" sz="1199" dirty="0">
                <a:solidFill>
                  <a:srgbClr val="66667E"/>
                </a:solidFill>
                <a:ea typeface="Arial Unicode MS"/>
                <a:cs typeface="Arial" pitchFamily="34" charset="0"/>
              </a:rPr>
            </a:br>
            <a:r>
              <a:rPr lang="en-US" altLang="de-DE" sz="1199" dirty="0">
                <a:solidFill>
                  <a:srgbClr val="66667E"/>
                </a:solidFill>
                <a:ea typeface="Arial Unicode MS"/>
                <a:cs typeface="Arial" pitchFamily="34" charset="0"/>
              </a:rPr>
              <a:t>Donec sodales sagittis magna</a:t>
            </a:r>
          </a:p>
        </p:txBody>
      </p:sp>
      <p:sp>
        <p:nvSpPr>
          <p:cNvPr id="4" name="Textfeld 3"/>
          <p:cNvSpPr txBox="1">
            <a:spLocks/>
          </p:cNvSpPr>
          <p:nvPr/>
        </p:nvSpPr>
        <p:spPr bwMode="gray">
          <a:xfrm>
            <a:off x="410400" y="2647984"/>
            <a:ext cx="2520000" cy="1068643"/>
          </a:xfrm>
          <a:prstGeom prst="rect">
            <a:avLst/>
          </a:prstGeom>
          <a:noFill/>
          <a:ln w="38100" cap="rnd">
            <a:noFill/>
            <a:prstDash val="sysDot"/>
          </a:ln>
        </p:spPr>
        <p:txBody>
          <a:bodyPr wrap="square" lIns="0" tIns="0" rIns="0" bIns="0" rtlCol="0" anchor="t">
            <a:noAutofit/>
          </a:bodyPr>
          <a:lstStyle>
            <a:defPPr>
              <a:defRPr lang="de-DE"/>
            </a:defPPr>
            <a:lvl1pPr>
              <a:defRPr sz="2000" b="1"/>
            </a:lvl1pPr>
          </a:lstStyle>
          <a:p>
            <a:pPr>
              <a:defRPr/>
            </a:pPr>
            <a:r>
              <a:rPr lang="en-US" altLang="de-DE" sz="1599" dirty="0">
                <a:solidFill>
                  <a:schemeClr val="accent1"/>
                </a:solidFill>
                <a:ea typeface="Arial Unicode MS"/>
              </a:rPr>
              <a:t>Phasellus nec sem</a:t>
            </a:r>
          </a:p>
          <a:p>
            <a:pPr marL="0" lvl="1">
              <a:spcBef>
                <a:spcPts val="300"/>
              </a:spcBef>
              <a:buClr>
                <a:srgbClr val="3C464B"/>
              </a:buClr>
              <a:defRPr/>
            </a:pPr>
            <a:r>
              <a:rPr lang="en-US" altLang="de-DE" sz="1199" dirty="0">
                <a:solidFill>
                  <a:srgbClr val="66667E"/>
                </a:solidFill>
                <a:ea typeface="Arial Unicode MS"/>
                <a:cs typeface="Arial" pitchFamily="34" charset="0"/>
              </a:rPr>
              <a:t>Consetetur sadipscing elitr, seddiam nonumy</a:t>
            </a:r>
          </a:p>
        </p:txBody>
      </p:sp>
      <p:sp>
        <p:nvSpPr>
          <p:cNvPr id="5" name="Textfeld 4"/>
          <p:cNvSpPr txBox="1">
            <a:spLocks/>
          </p:cNvSpPr>
          <p:nvPr/>
        </p:nvSpPr>
        <p:spPr bwMode="gray">
          <a:xfrm>
            <a:off x="410400" y="3884968"/>
            <a:ext cx="2520000" cy="1061447"/>
          </a:xfrm>
          <a:prstGeom prst="rect">
            <a:avLst/>
          </a:prstGeom>
          <a:noFill/>
          <a:ln w="38100" cap="rnd">
            <a:noFill/>
            <a:prstDash val="sysDot"/>
          </a:ln>
        </p:spPr>
        <p:txBody>
          <a:bodyPr wrap="square" lIns="0" tIns="0" rIns="0" bIns="0" rtlCol="0" anchor="t">
            <a:noAutofit/>
          </a:bodyPr>
          <a:lstStyle/>
          <a:p>
            <a:pPr>
              <a:defRPr/>
            </a:pPr>
            <a:r>
              <a:rPr lang="en-US" altLang="de-DE" sz="1599" b="1" dirty="0">
                <a:solidFill>
                  <a:schemeClr val="accent1"/>
                </a:solidFill>
                <a:ea typeface="Arial Unicode MS"/>
              </a:rPr>
              <a:t>Duis arcu tortor, </a:t>
            </a:r>
            <a:br>
              <a:rPr lang="en-US" altLang="de-DE" sz="1599" b="1" dirty="0">
                <a:solidFill>
                  <a:schemeClr val="accent1"/>
                </a:solidFill>
                <a:ea typeface="Arial Unicode MS"/>
              </a:rPr>
            </a:br>
            <a:r>
              <a:rPr lang="en-US" altLang="de-DE" sz="1599" b="1" dirty="0">
                <a:solidFill>
                  <a:schemeClr val="accent1"/>
                </a:solidFill>
                <a:ea typeface="Arial Unicode MS"/>
              </a:rPr>
              <a:t>suscipit eget</a:t>
            </a:r>
          </a:p>
          <a:p>
            <a:pPr marL="0" lvl="1">
              <a:spcBef>
                <a:spcPts val="300"/>
              </a:spcBef>
              <a:buClr>
                <a:srgbClr val="3C464B"/>
              </a:buClr>
              <a:defRPr/>
            </a:pPr>
            <a:r>
              <a:rPr lang="en-US" altLang="de-DE" sz="1199" dirty="0">
                <a:solidFill>
                  <a:srgbClr val="66667E"/>
                </a:solidFill>
                <a:ea typeface="Arial Unicode MS"/>
                <a:cs typeface="Arial" pitchFamily="34" charset="0"/>
              </a:rPr>
              <a:t>At vero eos et accusam</a:t>
            </a:r>
            <a:br>
              <a:rPr lang="en-US" altLang="de-DE" sz="1199" dirty="0">
                <a:solidFill>
                  <a:srgbClr val="66667E"/>
                </a:solidFill>
                <a:ea typeface="Arial Unicode MS"/>
                <a:cs typeface="Arial" pitchFamily="34" charset="0"/>
              </a:rPr>
            </a:br>
            <a:r>
              <a:rPr lang="en-US" altLang="de-DE" sz="1199" dirty="0">
                <a:solidFill>
                  <a:srgbClr val="66667E"/>
                </a:solidFill>
                <a:ea typeface="Arial Unicode MS"/>
                <a:cs typeface="Arial" pitchFamily="34" charset="0"/>
              </a:rPr>
              <a:t>Duis arcu tortor</a:t>
            </a:r>
          </a:p>
        </p:txBody>
      </p:sp>
      <p:sp>
        <p:nvSpPr>
          <p:cNvPr id="6" name="Textfeld 5"/>
          <p:cNvSpPr txBox="1">
            <a:spLocks/>
          </p:cNvSpPr>
          <p:nvPr/>
        </p:nvSpPr>
        <p:spPr bwMode="gray">
          <a:xfrm>
            <a:off x="410400" y="5117103"/>
            <a:ext cx="2520000" cy="1054251"/>
          </a:xfrm>
          <a:prstGeom prst="rect">
            <a:avLst/>
          </a:prstGeom>
          <a:noFill/>
          <a:ln w="38100" cap="rnd">
            <a:noFill/>
            <a:prstDash val="sysDot"/>
          </a:ln>
        </p:spPr>
        <p:txBody>
          <a:bodyPr wrap="square" lIns="0" tIns="0" rIns="0" bIns="0" rtlCol="0" anchor="t">
            <a:noAutofit/>
          </a:bodyPr>
          <a:lstStyle/>
          <a:p>
            <a:pPr>
              <a:defRPr/>
            </a:pPr>
            <a:r>
              <a:rPr lang="en-US" altLang="de-DE" sz="1599" b="1" dirty="0">
                <a:solidFill>
                  <a:schemeClr val="accent1"/>
                </a:solidFill>
                <a:ea typeface="Arial Unicode MS"/>
              </a:rPr>
              <a:t>At vero eos et accusam</a:t>
            </a:r>
          </a:p>
          <a:p>
            <a:pPr marL="0" lvl="1">
              <a:spcBef>
                <a:spcPts val="300"/>
              </a:spcBef>
              <a:buClr>
                <a:srgbClr val="3C464B"/>
              </a:buClr>
              <a:defRPr/>
            </a:pPr>
            <a:r>
              <a:rPr lang="en-US" altLang="de-DE" sz="1199" dirty="0">
                <a:solidFill>
                  <a:srgbClr val="66667E"/>
                </a:solidFill>
                <a:ea typeface="Arial Unicode MS"/>
                <a:cs typeface="Arial" pitchFamily="34" charset="0"/>
              </a:rPr>
              <a:t>Stet clita kasd gubergren, no sea takimata sanctus est lorem ipsum dolor sit amet</a:t>
            </a:r>
          </a:p>
        </p:txBody>
      </p:sp>
      <p:sp>
        <p:nvSpPr>
          <p:cNvPr id="14" name="Freeform 75"/>
          <p:cNvSpPr>
            <a:spLocks noChangeAspect="1"/>
          </p:cNvSpPr>
          <p:nvPr/>
        </p:nvSpPr>
        <p:spPr bwMode="gray">
          <a:xfrm>
            <a:off x="7390012" y="2647984"/>
            <a:ext cx="2798576" cy="1066830"/>
          </a:xfrm>
          <a:custGeom>
            <a:avLst/>
            <a:gdLst>
              <a:gd name="T0" fmla="*/ 0 w 2154"/>
              <a:gd name="T1" fmla="*/ 853 h 853"/>
              <a:gd name="T2" fmla="*/ 2154 w 2154"/>
              <a:gd name="T3" fmla="*/ 853 h 853"/>
              <a:gd name="T4" fmla="*/ 1662 w 2154"/>
              <a:gd name="T5" fmla="*/ 0 h 853"/>
              <a:gd name="T6" fmla="*/ 492 w 2154"/>
              <a:gd name="T7" fmla="*/ 0 h 853"/>
              <a:gd name="T8" fmla="*/ 0 w 2154"/>
              <a:gd name="T9" fmla="*/ 853 h 853"/>
            </a:gdLst>
            <a:ahLst/>
            <a:cxnLst>
              <a:cxn ang="0">
                <a:pos x="T0" y="T1"/>
              </a:cxn>
              <a:cxn ang="0">
                <a:pos x="T2" y="T3"/>
              </a:cxn>
              <a:cxn ang="0">
                <a:pos x="T4" y="T5"/>
              </a:cxn>
              <a:cxn ang="0">
                <a:pos x="T6" y="T7"/>
              </a:cxn>
              <a:cxn ang="0">
                <a:pos x="T8" y="T9"/>
              </a:cxn>
            </a:cxnLst>
            <a:rect l="0" t="0" r="r" b="b"/>
            <a:pathLst>
              <a:path w="2154" h="853">
                <a:moveTo>
                  <a:pt x="0" y="853"/>
                </a:moveTo>
                <a:lnTo>
                  <a:pt x="2154" y="853"/>
                </a:lnTo>
                <a:lnTo>
                  <a:pt x="1662" y="0"/>
                </a:lnTo>
                <a:lnTo>
                  <a:pt x="492" y="0"/>
                </a:lnTo>
                <a:lnTo>
                  <a:pt x="0" y="853"/>
                </a:lnTo>
                <a:close/>
              </a:path>
            </a:pathLst>
          </a:custGeom>
          <a:solidFill>
            <a:schemeClr val="accent2"/>
          </a:solidFill>
          <a:ln>
            <a:noFill/>
          </a:ln>
        </p:spPr>
        <p:txBody>
          <a:bodyPr/>
          <a:lstStyle/>
          <a:p>
            <a:endParaRPr lang="en-US" sz="1799" dirty="0"/>
          </a:p>
        </p:txBody>
      </p:sp>
      <p:sp>
        <p:nvSpPr>
          <p:cNvPr id="17" name="Freeform 77"/>
          <p:cNvSpPr>
            <a:spLocks noChangeAspect="1"/>
          </p:cNvSpPr>
          <p:nvPr/>
        </p:nvSpPr>
        <p:spPr bwMode="gray">
          <a:xfrm>
            <a:off x="6627183" y="3884967"/>
            <a:ext cx="4324235" cy="1061981"/>
          </a:xfrm>
          <a:custGeom>
            <a:avLst/>
            <a:gdLst>
              <a:gd name="T0" fmla="*/ 0 w 3326"/>
              <a:gd name="T1" fmla="*/ 852 h 852"/>
              <a:gd name="T2" fmla="*/ 3326 w 3326"/>
              <a:gd name="T3" fmla="*/ 852 h 852"/>
              <a:gd name="T4" fmla="*/ 2834 w 3326"/>
              <a:gd name="T5" fmla="*/ 0 h 852"/>
              <a:gd name="T6" fmla="*/ 492 w 3326"/>
              <a:gd name="T7" fmla="*/ 0 h 852"/>
              <a:gd name="T8" fmla="*/ 0 w 3326"/>
              <a:gd name="T9" fmla="*/ 852 h 852"/>
            </a:gdLst>
            <a:ahLst/>
            <a:cxnLst>
              <a:cxn ang="0">
                <a:pos x="T0" y="T1"/>
              </a:cxn>
              <a:cxn ang="0">
                <a:pos x="T2" y="T3"/>
              </a:cxn>
              <a:cxn ang="0">
                <a:pos x="T4" y="T5"/>
              </a:cxn>
              <a:cxn ang="0">
                <a:pos x="T6" y="T7"/>
              </a:cxn>
              <a:cxn ang="0">
                <a:pos x="T8" y="T9"/>
              </a:cxn>
            </a:cxnLst>
            <a:rect l="0" t="0" r="r" b="b"/>
            <a:pathLst>
              <a:path w="3326" h="852">
                <a:moveTo>
                  <a:pt x="0" y="852"/>
                </a:moveTo>
                <a:lnTo>
                  <a:pt x="3326" y="852"/>
                </a:lnTo>
                <a:lnTo>
                  <a:pt x="2834" y="0"/>
                </a:lnTo>
                <a:lnTo>
                  <a:pt x="492" y="0"/>
                </a:lnTo>
                <a:lnTo>
                  <a:pt x="0" y="852"/>
                </a:lnTo>
                <a:close/>
              </a:path>
            </a:pathLst>
          </a:custGeom>
          <a:solidFill>
            <a:srgbClr val="00AF8E"/>
          </a:solidFill>
          <a:ln>
            <a:noFill/>
          </a:ln>
        </p:spPr>
        <p:txBody>
          <a:bodyPr/>
          <a:lstStyle/>
          <a:p>
            <a:endParaRPr lang="en-US" sz="1799" dirty="0"/>
          </a:p>
        </p:txBody>
      </p:sp>
      <p:sp>
        <p:nvSpPr>
          <p:cNvPr id="20" name="Freeform 78"/>
          <p:cNvSpPr>
            <a:spLocks noChangeAspect="1"/>
          </p:cNvSpPr>
          <p:nvPr/>
        </p:nvSpPr>
        <p:spPr bwMode="gray">
          <a:xfrm>
            <a:off x="5868947" y="5117103"/>
            <a:ext cx="5840704" cy="1052284"/>
          </a:xfrm>
          <a:custGeom>
            <a:avLst/>
            <a:gdLst>
              <a:gd name="T0" fmla="*/ 0 w 4490"/>
              <a:gd name="T1" fmla="*/ 845 h 845"/>
              <a:gd name="T2" fmla="*/ 4490 w 4490"/>
              <a:gd name="T3" fmla="*/ 845 h 845"/>
              <a:gd name="T4" fmla="*/ 4002 w 4490"/>
              <a:gd name="T5" fmla="*/ 0 h 845"/>
              <a:gd name="T6" fmla="*/ 488 w 4490"/>
              <a:gd name="T7" fmla="*/ 0 h 845"/>
              <a:gd name="T8" fmla="*/ 0 w 4490"/>
              <a:gd name="T9" fmla="*/ 845 h 845"/>
            </a:gdLst>
            <a:ahLst/>
            <a:cxnLst>
              <a:cxn ang="0">
                <a:pos x="T0" y="T1"/>
              </a:cxn>
              <a:cxn ang="0">
                <a:pos x="T2" y="T3"/>
              </a:cxn>
              <a:cxn ang="0">
                <a:pos x="T4" y="T5"/>
              </a:cxn>
              <a:cxn ang="0">
                <a:pos x="T6" y="T7"/>
              </a:cxn>
              <a:cxn ang="0">
                <a:pos x="T8" y="T9"/>
              </a:cxn>
            </a:cxnLst>
            <a:rect l="0" t="0" r="r" b="b"/>
            <a:pathLst>
              <a:path w="4490" h="845">
                <a:moveTo>
                  <a:pt x="0" y="845"/>
                </a:moveTo>
                <a:lnTo>
                  <a:pt x="4490" y="845"/>
                </a:lnTo>
                <a:lnTo>
                  <a:pt x="4002" y="0"/>
                </a:lnTo>
                <a:lnTo>
                  <a:pt x="488" y="0"/>
                </a:lnTo>
                <a:lnTo>
                  <a:pt x="0" y="845"/>
                </a:lnTo>
                <a:close/>
              </a:path>
            </a:pathLst>
          </a:custGeom>
          <a:solidFill>
            <a:srgbClr val="00646E"/>
          </a:solidFill>
          <a:ln>
            <a:noFill/>
          </a:ln>
        </p:spPr>
        <p:txBody>
          <a:bodyPr/>
          <a:lstStyle/>
          <a:p>
            <a:endParaRPr lang="en-US" sz="1799" dirty="0"/>
          </a:p>
        </p:txBody>
      </p:sp>
      <p:sp>
        <p:nvSpPr>
          <p:cNvPr id="23" name="Freeform 76"/>
          <p:cNvSpPr>
            <a:spLocks noChangeAspect="1"/>
          </p:cNvSpPr>
          <p:nvPr/>
        </p:nvSpPr>
        <p:spPr bwMode="gray">
          <a:xfrm>
            <a:off x="8148247" y="1415849"/>
            <a:ext cx="1277511" cy="1061981"/>
          </a:xfrm>
          <a:custGeom>
            <a:avLst/>
            <a:gdLst>
              <a:gd name="T0" fmla="*/ 490 w 982"/>
              <a:gd name="T1" fmla="*/ 0 h 850"/>
              <a:gd name="T2" fmla="*/ 0 w 982"/>
              <a:gd name="T3" fmla="*/ 850 h 850"/>
              <a:gd name="T4" fmla="*/ 982 w 982"/>
              <a:gd name="T5" fmla="*/ 850 h 850"/>
              <a:gd name="T6" fmla="*/ 490 w 982"/>
              <a:gd name="T7" fmla="*/ 0 h 850"/>
            </a:gdLst>
            <a:ahLst/>
            <a:cxnLst>
              <a:cxn ang="0">
                <a:pos x="T0" y="T1"/>
              </a:cxn>
              <a:cxn ang="0">
                <a:pos x="T2" y="T3"/>
              </a:cxn>
              <a:cxn ang="0">
                <a:pos x="T4" y="T5"/>
              </a:cxn>
              <a:cxn ang="0">
                <a:pos x="T6" y="T7"/>
              </a:cxn>
            </a:cxnLst>
            <a:rect l="0" t="0" r="r" b="b"/>
            <a:pathLst>
              <a:path w="982" h="850">
                <a:moveTo>
                  <a:pt x="490" y="0"/>
                </a:moveTo>
                <a:lnTo>
                  <a:pt x="0" y="850"/>
                </a:lnTo>
                <a:lnTo>
                  <a:pt x="982" y="850"/>
                </a:lnTo>
                <a:lnTo>
                  <a:pt x="490" y="0"/>
                </a:lnTo>
                <a:close/>
              </a:path>
            </a:pathLst>
          </a:custGeom>
          <a:solidFill>
            <a:srgbClr val="00FFB9"/>
          </a:solidFill>
          <a:ln>
            <a:noFill/>
          </a:ln>
        </p:spPr>
        <p:txBody>
          <a:bodyPr/>
          <a:lstStyle/>
          <a:p>
            <a:endParaRPr lang="en-US" sz="1799" dirty="0"/>
          </a:p>
        </p:txBody>
      </p:sp>
      <p:sp>
        <p:nvSpPr>
          <p:cNvPr id="10" name="Footer Placeholder 9">
            <a:extLst>
              <a:ext uri="{FF2B5EF4-FFF2-40B4-BE49-F238E27FC236}">
                <a16:creationId xmlns:a16="http://schemas.microsoft.com/office/drawing/2014/main" id="{B65A72C6-2475-43BE-8210-399F127FE081}"/>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11" name="Slide Number Placeholder 10">
            <a:extLst>
              <a:ext uri="{FF2B5EF4-FFF2-40B4-BE49-F238E27FC236}">
                <a16:creationId xmlns:a16="http://schemas.microsoft.com/office/drawing/2014/main" id="{4A789236-6C72-4697-829A-5AAF3AB02EB2}"/>
              </a:ext>
            </a:extLst>
          </p:cNvPr>
          <p:cNvSpPr>
            <a:spLocks noGrp="1"/>
          </p:cNvSpPr>
          <p:nvPr>
            <p:ph type="sldNum" sz="quarter" idx="11"/>
          </p:nvPr>
        </p:nvSpPr>
        <p:spPr/>
        <p:txBody>
          <a:bodyPr/>
          <a:lstStyle/>
          <a:p>
            <a:r>
              <a:rPr lang="en-US" dirty="0"/>
              <a:t>Page </a:t>
            </a:r>
            <a:fld id="{15EBE321-CBB1-4E91-BD14-37C8D44326FB}" type="slidenum">
              <a:rPr lang="en-US" smtClean="0"/>
              <a:pPr/>
              <a:t>86</a:t>
            </a:fld>
            <a:endParaRPr lang="en-US" dirty="0"/>
          </a:p>
        </p:txBody>
      </p:sp>
    </p:spTree>
    <p:extLst>
      <p:ext uri="{BB962C8B-B14F-4D97-AF65-F5344CB8AC3E}">
        <p14:creationId xmlns:p14="http://schemas.microsoft.com/office/powerpoint/2010/main" val="159308265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kt 27"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3" imgW="360" imgH="360" progId="">
                  <p:embed/>
                </p:oleObj>
              </mc:Choice>
              <mc:Fallback>
                <p:oleObj name="think-cell Folie" r:id="rId3" imgW="360" imgH="360" progId="">
                  <p:embed/>
                  <p:pic>
                    <p:nvPicPr>
                      <p:cNvPr id="28" name="Objekt 2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en-US" dirty="0"/>
              <a:t>Pyramid</a:t>
            </a:r>
          </a:p>
        </p:txBody>
      </p:sp>
      <p:cxnSp>
        <p:nvCxnSpPr>
          <p:cNvPr id="7" name="Gerade Verbindung 6"/>
          <p:cNvCxnSpPr/>
          <p:nvPr/>
        </p:nvCxnSpPr>
        <p:spPr bwMode="gray">
          <a:xfrm>
            <a:off x="411163" y="2562907"/>
            <a:ext cx="9080319" cy="0"/>
          </a:xfrm>
          <a:prstGeom prst="line">
            <a:avLst/>
          </a:prstGeom>
          <a:solidFill>
            <a:schemeClr val="bg1"/>
          </a:solidFill>
          <a:ln w="12700">
            <a:solidFill>
              <a:srgbClr val="9999A9"/>
            </a:solidFill>
            <a:miter lim="800000"/>
            <a:headEnd/>
            <a:tailEnd/>
          </a:ln>
          <a:effectLst/>
          <a:extLst>
            <a:ext uri="{AF507438-7753-43E0-B8FC-AC1667EBCBE1}">
              <a14:hiddenEffects xmlns:a14="http://schemas.microsoft.com/office/drawing/2010/main">
                <a:effectLst>
                  <a:outerShdw dist="35921" dir="2700000" algn="ctr" rotWithShape="0">
                    <a:schemeClr val="tx1"/>
                  </a:outerShdw>
                </a:effectLst>
              </a14:hiddenEffects>
            </a:ext>
          </a:extLst>
        </p:spPr>
      </p:cxnSp>
      <p:cxnSp>
        <p:nvCxnSpPr>
          <p:cNvPr id="8" name="Gerade Verbindung 7"/>
          <p:cNvCxnSpPr/>
          <p:nvPr/>
        </p:nvCxnSpPr>
        <p:spPr bwMode="gray">
          <a:xfrm>
            <a:off x="411163" y="3799891"/>
            <a:ext cx="9839543" cy="0"/>
          </a:xfrm>
          <a:prstGeom prst="line">
            <a:avLst/>
          </a:prstGeom>
          <a:solidFill>
            <a:schemeClr val="bg1"/>
          </a:solidFill>
          <a:ln w="12700">
            <a:solidFill>
              <a:srgbClr val="9999A9"/>
            </a:solidFill>
            <a:miter lim="800000"/>
            <a:headEnd/>
            <a:tailEnd/>
          </a:ln>
          <a:effectLst/>
          <a:extLst>
            <a:ext uri="{AF507438-7753-43E0-B8FC-AC1667EBCBE1}">
              <a14:hiddenEffects xmlns:a14="http://schemas.microsoft.com/office/drawing/2010/main">
                <a:effectLst>
                  <a:outerShdw dist="35921" dir="2700000" algn="ctr" rotWithShape="0">
                    <a:schemeClr val="tx1"/>
                  </a:outerShdw>
                </a:effectLst>
              </a14:hiddenEffects>
            </a:ext>
          </a:extLst>
        </p:spPr>
      </p:cxnSp>
      <p:cxnSp>
        <p:nvCxnSpPr>
          <p:cNvPr id="9" name="Gerade Verbindung 8"/>
          <p:cNvCxnSpPr/>
          <p:nvPr/>
        </p:nvCxnSpPr>
        <p:spPr bwMode="gray">
          <a:xfrm>
            <a:off x="410400" y="5032026"/>
            <a:ext cx="10601909" cy="0"/>
          </a:xfrm>
          <a:prstGeom prst="line">
            <a:avLst/>
          </a:prstGeom>
          <a:solidFill>
            <a:schemeClr val="bg1"/>
          </a:solidFill>
          <a:ln w="12700">
            <a:solidFill>
              <a:srgbClr val="9999A9"/>
            </a:solidFill>
            <a:miter lim="800000"/>
            <a:headEnd/>
            <a:tailEnd/>
          </a:ln>
          <a:effectLst/>
          <a:extLst>
            <a:ext uri="{AF507438-7753-43E0-B8FC-AC1667EBCBE1}">
              <a14:hiddenEffects xmlns:a14="http://schemas.microsoft.com/office/drawing/2010/main">
                <a:effectLst>
                  <a:outerShdw dist="35921" dir="2700000" algn="ctr" rotWithShape="0">
                    <a:schemeClr val="tx1"/>
                  </a:outerShdw>
                </a:effectLst>
              </a14:hiddenEffects>
            </a:ext>
          </a:extLst>
        </p:spPr>
      </p:cxnSp>
      <p:sp>
        <p:nvSpPr>
          <p:cNvPr id="3" name="Textfeld 2"/>
          <p:cNvSpPr txBox="1">
            <a:spLocks/>
          </p:cNvSpPr>
          <p:nvPr/>
        </p:nvSpPr>
        <p:spPr bwMode="gray">
          <a:xfrm>
            <a:off x="410400" y="1415849"/>
            <a:ext cx="2520000" cy="1061447"/>
          </a:xfrm>
          <a:prstGeom prst="rect">
            <a:avLst/>
          </a:prstGeom>
          <a:noFill/>
          <a:ln w="38100" cap="rnd">
            <a:noFill/>
            <a:prstDash val="sysDot"/>
          </a:ln>
        </p:spPr>
        <p:txBody>
          <a:bodyPr wrap="square" lIns="0" tIns="0" rIns="0" bIns="0" rtlCol="0" anchor="t">
            <a:noAutofit/>
          </a:bodyPr>
          <a:lstStyle/>
          <a:p>
            <a:pPr>
              <a:defRPr/>
            </a:pPr>
            <a:r>
              <a:rPr lang="en-US" altLang="de-DE" sz="1599" b="1" dirty="0">
                <a:solidFill>
                  <a:srgbClr val="00FFB9"/>
                </a:solidFill>
                <a:ea typeface="Arial Unicode MS"/>
              </a:rPr>
              <a:t>Duis arcu tortor</a:t>
            </a:r>
          </a:p>
          <a:p>
            <a:pPr marL="0" lvl="1">
              <a:spcBef>
                <a:spcPts val="300"/>
              </a:spcBef>
              <a:buClr>
                <a:srgbClr val="3C464B"/>
              </a:buClr>
              <a:defRPr/>
            </a:pPr>
            <a:r>
              <a:rPr lang="en-US" altLang="de-DE" sz="1199" dirty="0">
                <a:solidFill>
                  <a:srgbClr val="9999A9"/>
                </a:solidFill>
                <a:ea typeface="Arial Unicode MS"/>
                <a:cs typeface="Arial" pitchFamily="34" charset="0"/>
              </a:rPr>
              <a:t>Duis arcu tortor, suscipit eget</a:t>
            </a:r>
            <a:br>
              <a:rPr lang="en-US" altLang="de-DE" sz="1199" dirty="0">
                <a:solidFill>
                  <a:srgbClr val="9999A9"/>
                </a:solidFill>
                <a:ea typeface="Arial Unicode MS"/>
                <a:cs typeface="Arial" pitchFamily="34" charset="0"/>
              </a:rPr>
            </a:br>
            <a:r>
              <a:rPr lang="en-US" altLang="de-DE" sz="1199" dirty="0">
                <a:solidFill>
                  <a:srgbClr val="9999A9"/>
                </a:solidFill>
                <a:ea typeface="Arial Unicode MS"/>
                <a:cs typeface="Arial" pitchFamily="34" charset="0"/>
              </a:rPr>
              <a:t>Donec sodales sagittis magna</a:t>
            </a:r>
          </a:p>
        </p:txBody>
      </p:sp>
      <p:sp>
        <p:nvSpPr>
          <p:cNvPr id="4" name="Textfeld 3"/>
          <p:cNvSpPr txBox="1">
            <a:spLocks/>
          </p:cNvSpPr>
          <p:nvPr/>
        </p:nvSpPr>
        <p:spPr bwMode="gray">
          <a:xfrm>
            <a:off x="410400" y="2647984"/>
            <a:ext cx="2520000" cy="1068643"/>
          </a:xfrm>
          <a:prstGeom prst="rect">
            <a:avLst/>
          </a:prstGeom>
          <a:noFill/>
          <a:ln w="38100" cap="rnd">
            <a:noFill/>
            <a:prstDash val="sysDot"/>
          </a:ln>
        </p:spPr>
        <p:txBody>
          <a:bodyPr wrap="square" lIns="0" tIns="0" rIns="0" bIns="0" rtlCol="0" anchor="t">
            <a:noAutofit/>
          </a:bodyPr>
          <a:lstStyle>
            <a:defPPr>
              <a:defRPr lang="de-DE"/>
            </a:defPPr>
            <a:lvl1pPr>
              <a:defRPr sz="2000" b="1"/>
            </a:lvl1pPr>
          </a:lstStyle>
          <a:p>
            <a:pPr>
              <a:defRPr/>
            </a:pPr>
            <a:r>
              <a:rPr lang="en-US" altLang="de-DE" sz="1599" dirty="0">
                <a:solidFill>
                  <a:srgbClr val="00FFB9"/>
                </a:solidFill>
                <a:ea typeface="Arial Unicode MS"/>
              </a:rPr>
              <a:t>Phasellus nec sem</a:t>
            </a:r>
          </a:p>
          <a:p>
            <a:pPr marL="0" lvl="1">
              <a:spcBef>
                <a:spcPts val="300"/>
              </a:spcBef>
              <a:buClr>
                <a:srgbClr val="3C464B"/>
              </a:buClr>
              <a:defRPr/>
            </a:pPr>
            <a:r>
              <a:rPr lang="en-US" altLang="de-DE" sz="1199" dirty="0">
                <a:solidFill>
                  <a:srgbClr val="9999A9"/>
                </a:solidFill>
                <a:ea typeface="Arial Unicode MS"/>
                <a:cs typeface="Arial" pitchFamily="34" charset="0"/>
              </a:rPr>
              <a:t>Consetetur sadipscing elitr, seddiam nonumy</a:t>
            </a:r>
          </a:p>
        </p:txBody>
      </p:sp>
      <p:sp>
        <p:nvSpPr>
          <p:cNvPr id="5" name="Textfeld 4"/>
          <p:cNvSpPr txBox="1">
            <a:spLocks/>
          </p:cNvSpPr>
          <p:nvPr/>
        </p:nvSpPr>
        <p:spPr bwMode="gray">
          <a:xfrm>
            <a:off x="410400" y="3884968"/>
            <a:ext cx="2520000" cy="1061447"/>
          </a:xfrm>
          <a:prstGeom prst="rect">
            <a:avLst/>
          </a:prstGeom>
          <a:noFill/>
          <a:ln w="38100" cap="rnd">
            <a:noFill/>
            <a:prstDash val="sysDot"/>
          </a:ln>
        </p:spPr>
        <p:txBody>
          <a:bodyPr wrap="square" lIns="0" tIns="0" rIns="0" bIns="0" rtlCol="0" anchor="t">
            <a:noAutofit/>
          </a:bodyPr>
          <a:lstStyle/>
          <a:p>
            <a:pPr>
              <a:defRPr/>
            </a:pPr>
            <a:r>
              <a:rPr lang="en-US" altLang="de-DE" sz="1599" b="1" dirty="0">
                <a:solidFill>
                  <a:srgbClr val="00FFB9"/>
                </a:solidFill>
                <a:ea typeface="Arial Unicode MS"/>
              </a:rPr>
              <a:t>Duis arcu tortor, </a:t>
            </a:r>
            <a:br>
              <a:rPr lang="en-US" altLang="de-DE" sz="1599" b="1" dirty="0">
                <a:solidFill>
                  <a:srgbClr val="00FFB9"/>
                </a:solidFill>
                <a:ea typeface="Arial Unicode MS"/>
              </a:rPr>
            </a:br>
            <a:r>
              <a:rPr lang="en-US" altLang="de-DE" sz="1599" b="1" dirty="0">
                <a:solidFill>
                  <a:srgbClr val="00FFB9"/>
                </a:solidFill>
                <a:ea typeface="Arial Unicode MS"/>
              </a:rPr>
              <a:t>suscipit eget</a:t>
            </a:r>
          </a:p>
          <a:p>
            <a:pPr marL="0" lvl="1">
              <a:spcBef>
                <a:spcPts val="300"/>
              </a:spcBef>
              <a:buClr>
                <a:srgbClr val="3C464B"/>
              </a:buClr>
              <a:defRPr/>
            </a:pPr>
            <a:r>
              <a:rPr lang="en-US" altLang="de-DE" sz="1199" dirty="0">
                <a:solidFill>
                  <a:srgbClr val="9999A9"/>
                </a:solidFill>
                <a:ea typeface="Arial Unicode MS"/>
                <a:cs typeface="Arial" pitchFamily="34" charset="0"/>
              </a:rPr>
              <a:t>At vero eos et accusam</a:t>
            </a:r>
            <a:br>
              <a:rPr lang="en-US" altLang="de-DE" sz="1199" dirty="0">
                <a:solidFill>
                  <a:srgbClr val="9999A9"/>
                </a:solidFill>
                <a:ea typeface="Arial Unicode MS"/>
                <a:cs typeface="Arial" pitchFamily="34" charset="0"/>
              </a:rPr>
            </a:br>
            <a:r>
              <a:rPr lang="en-US" altLang="de-DE" sz="1199" dirty="0">
                <a:solidFill>
                  <a:srgbClr val="9999A9"/>
                </a:solidFill>
                <a:ea typeface="Arial Unicode MS"/>
                <a:cs typeface="Arial" pitchFamily="34" charset="0"/>
              </a:rPr>
              <a:t>Duis arcu tortor</a:t>
            </a:r>
          </a:p>
        </p:txBody>
      </p:sp>
      <p:sp>
        <p:nvSpPr>
          <p:cNvPr id="6" name="Textfeld 5"/>
          <p:cNvSpPr txBox="1">
            <a:spLocks/>
          </p:cNvSpPr>
          <p:nvPr/>
        </p:nvSpPr>
        <p:spPr bwMode="gray">
          <a:xfrm>
            <a:off x="410400" y="5117103"/>
            <a:ext cx="2520000" cy="1054251"/>
          </a:xfrm>
          <a:prstGeom prst="rect">
            <a:avLst/>
          </a:prstGeom>
          <a:noFill/>
          <a:ln w="38100" cap="rnd">
            <a:noFill/>
            <a:prstDash val="sysDot"/>
          </a:ln>
        </p:spPr>
        <p:txBody>
          <a:bodyPr wrap="square" lIns="0" tIns="0" rIns="0" bIns="0" rtlCol="0" anchor="t">
            <a:noAutofit/>
          </a:bodyPr>
          <a:lstStyle/>
          <a:p>
            <a:pPr>
              <a:defRPr/>
            </a:pPr>
            <a:r>
              <a:rPr lang="en-US" altLang="de-DE" sz="1599" b="1" dirty="0">
                <a:solidFill>
                  <a:srgbClr val="00FFB9"/>
                </a:solidFill>
                <a:ea typeface="Arial Unicode MS"/>
              </a:rPr>
              <a:t>At vero eos et accusam</a:t>
            </a:r>
          </a:p>
          <a:p>
            <a:pPr marL="0" lvl="1">
              <a:spcBef>
                <a:spcPts val="300"/>
              </a:spcBef>
              <a:buClr>
                <a:srgbClr val="3C464B"/>
              </a:buClr>
              <a:defRPr/>
            </a:pPr>
            <a:r>
              <a:rPr lang="en-US" altLang="de-DE" sz="1199" dirty="0">
                <a:solidFill>
                  <a:srgbClr val="9999A9"/>
                </a:solidFill>
                <a:ea typeface="Arial Unicode MS"/>
                <a:cs typeface="Arial" pitchFamily="34" charset="0"/>
              </a:rPr>
              <a:t>Stet clita kasd gubergren, no sea takimata sanctus est lorem ipsum dolor sit amet</a:t>
            </a:r>
          </a:p>
        </p:txBody>
      </p:sp>
      <p:sp>
        <p:nvSpPr>
          <p:cNvPr id="14" name="Freeform 75"/>
          <p:cNvSpPr>
            <a:spLocks noChangeAspect="1"/>
          </p:cNvSpPr>
          <p:nvPr/>
        </p:nvSpPr>
        <p:spPr bwMode="gray">
          <a:xfrm>
            <a:off x="7390012" y="2647984"/>
            <a:ext cx="2798576" cy="1066830"/>
          </a:xfrm>
          <a:custGeom>
            <a:avLst/>
            <a:gdLst>
              <a:gd name="T0" fmla="*/ 0 w 2154"/>
              <a:gd name="T1" fmla="*/ 853 h 853"/>
              <a:gd name="T2" fmla="*/ 2154 w 2154"/>
              <a:gd name="T3" fmla="*/ 853 h 853"/>
              <a:gd name="T4" fmla="*/ 1662 w 2154"/>
              <a:gd name="T5" fmla="*/ 0 h 853"/>
              <a:gd name="T6" fmla="*/ 492 w 2154"/>
              <a:gd name="T7" fmla="*/ 0 h 853"/>
              <a:gd name="T8" fmla="*/ 0 w 2154"/>
              <a:gd name="T9" fmla="*/ 853 h 853"/>
            </a:gdLst>
            <a:ahLst/>
            <a:cxnLst>
              <a:cxn ang="0">
                <a:pos x="T0" y="T1"/>
              </a:cxn>
              <a:cxn ang="0">
                <a:pos x="T2" y="T3"/>
              </a:cxn>
              <a:cxn ang="0">
                <a:pos x="T4" y="T5"/>
              </a:cxn>
              <a:cxn ang="0">
                <a:pos x="T6" y="T7"/>
              </a:cxn>
              <a:cxn ang="0">
                <a:pos x="T8" y="T9"/>
              </a:cxn>
            </a:cxnLst>
            <a:rect l="0" t="0" r="r" b="b"/>
            <a:pathLst>
              <a:path w="2154" h="853">
                <a:moveTo>
                  <a:pt x="0" y="853"/>
                </a:moveTo>
                <a:lnTo>
                  <a:pt x="2154" y="853"/>
                </a:lnTo>
                <a:lnTo>
                  <a:pt x="1662" y="0"/>
                </a:lnTo>
                <a:lnTo>
                  <a:pt x="492" y="0"/>
                </a:lnTo>
                <a:lnTo>
                  <a:pt x="0" y="853"/>
                </a:lnTo>
                <a:close/>
              </a:path>
            </a:pathLst>
          </a:custGeom>
          <a:solidFill>
            <a:schemeClr val="accent2"/>
          </a:solidFill>
          <a:ln>
            <a:noFill/>
          </a:ln>
        </p:spPr>
        <p:txBody>
          <a:bodyPr/>
          <a:lstStyle/>
          <a:p>
            <a:endParaRPr lang="en-US" sz="1799" dirty="0"/>
          </a:p>
        </p:txBody>
      </p:sp>
      <p:sp>
        <p:nvSpPr>
          <p:cNvPr id="17" name="Freeform 77"/>
          <p:cNvSpPr>
            <a:spLocks noChangeAspect="1"/>
          </p:cNvSpPr>
          <p:nvPr/>
        </p:nvSpPr>
        <p:spPr bwMode="gray">
          <a:xfrm>
            <a:off x="6627183" y="3884967"/>
            <a:ext cx="4324235" cy="1061981"/>
          </a:xfrm>
          <a:custGeom>
            <a:avLst/>
            <a:gdLst>
              <a:gd name="T0" fmla="*/ 0 w 3326"/>
              <a:gd name="T1" fmla="*/ 852 h 852"/>
              <a:gd name="T2" fmla="*/ 3326 w 3326"/>
              <a:gd name="T3" fmla="*/ 852 h 852"/>
              <a:gd name="T4" fmla="*/ 2834 w 3326"/>
              <a:gd name="T5" fmla="*/ 0 h 852"/>
              <a:gd name="T6" fmla="*/ 492 w 3326"/>
              <a:gd name="T7" fmla="*/ 0 h 852"/>
              <a:gd name="T8" fmla="*/ 0 w 3326"/>
              <a:gd name="T9" fmla="*/ 852 h 852"/>
            </a:gdLst>
            <a:ahLst/>
            <a:cxnLst>
              <a:cxn ang="0">
                <a:pos x="T0" y="T1"/>
              </a:cxn>
              <a:cxn ang="0">
                <a:pos x="T2" y="T3"/>
              </a:cxn>
              <a:cxn ang="0">
                <a:pos x="T4" y="T5"/>
              </a:cxn>
              <a:cxn ang="0">
                <a:pos x="T6" y="T7"/>
              </a:cxn>
              <a:cxn ang="0">
                <a:pos x="T8" y="T9"/>
              </a:cxn>
            </a:cxnLst>
            <a:rect l="0" t="0" r="r" b="b"/>
            <a:pathLst>
              <a:path w="3326" h="852">
                <a:moveTo>
                  <a:pt x="0" y="852"/>
                </a:moveTo>
                <a:lnTo>
                  <a:pt x="3326" y="852"/>
                </a:lnTo>
                <a:lnTo>
                  <a:pt x="2834" y="0"/>
                </a:lnTo>
                <a:lnTo>
                  <a:pt x="492" y="0"/>
                </a:lnTo>
                <a:lnTo>
                  <a:pt x="0" y="852"/>
                </a:lnTo>
                <a:close/>
              </a:path>
            </a:pathLst>
          </a:custGeom>
          <a:solidFill>
            <a:srgbClr val="00AF8E"/>
          </a:solidFill>
          <a:ln>
            <a:noFill/>
          </a:ln>
        </p:spPr>
        <p:txBody>
          <a:bodyPr/>
          <a:lstStyle/>
          <a:p>
            <a:endParaRPr lang="en-US" sz="1799" dirty="0"/>
          </a:p>
        </p:txBody>
      </p:sp>
      <p:sp>
        <p:nvSpPr>
          <p:cNvPr id="20" name="Freeform 78"/>
          <p:cNvSpPr>
            <a:spLocks noChangeAspect="1"/>
          </p:cNvSpPr>
          <p:nvPr/>
        </p:nvSpPr>
        <p:spPr bwMode="gray">
          <a:xfrm>
            <a:off x="5868947" y="5117103"/>
            <a:ext cx="5840704" cy="1052284"/>
          </a:xfrm>
          <a:custGeom>
            <a:avLst/>
            <a:gdLst>
              <a:gd name="T0" fmla="*/ 0 w 4490"/>
              <a:gd name="T1" fmla="*/ 845 h 845"/>
              <a:gd name="T2" fmla="*/ 4490 w 4490"/>
              <a:gd name="T3" fmla="*/ 845 h 845"/>
              <a:gd name="T4" fmla="*/ 4002 w 4490"/>
              <a:gd name="T5" fmla="*/ 0 h 845"/>
              <a:gd name="T6" fmla="*/ 488 w 4490"/>
              <a:gd name="T7" fmla="*/ 0 h 845"/>
              <a:gd name="T8" fmla="*/ 0 w 4490"/>
              <a:gd name="T9" fmla="*/ 845 h 845"/>
            </a:gdLst>
            <a:ahLst/>
            <a:cxnLst>
              <a:cxn ang="0">
                <a:pos x="T0" y="T1"/>
              </a:cxn>
              <a:cxn ang="0">
                <a:pos x="T2" y="T3"/>
              </a:cxn>
              <a:cxn ang="0">
                <a:pos x="T4" y="T5"/>
              </a:cxn>
              <a:cxn ang="0">
                <a:pos x="T6" y="T7"/>
              </a:cxn>
              <a:cxn ang="0">
                <a:pos x="T8" y="T9"/>
              </a:cxn>
            </a:cxnLst>
            <a:rect l="0" t="0" r="r" b="b"/>
            <a:pathLst>
              <a:path w="4490" h="845">
                <a:moveTo>
                  <a:pt x="0" y="845"/>
                </a:moveTo>
                <a:lnTo>
                  <a:pt x="4490" y="845"/>
                </a:lnTo>
                <a:lnTo>
                  <a:pt x="4002" y="0"/>
                </a:lnTo>
                <a:lnTo>
                  <a:pt x="488" y="0"/>
                </a:lnTo>
                <a:lnTo>
                  <a:pt x="0" y="845"/>
                </a:lnTo>
                <a:close/>
              </a:path>
            </a:pathLst>
          </a:custGeom>
          <a:solidFill>
            <a:srgbClr val="00646E"/>
          </a:solidFill>
          <a:ln>
            <a:noFill/>
          </a:ln>
        </p:spPr>
        <p:txBody>
          <a:bodyPr/>
          <a:lstStyle/>
          <a:p>
            <a:endParaRPr lang="en-US" sz="1799" dirty="0"/>
          </a:p>
        </p:txBody>
      </p:sp>
      <p:sp>
        <p:nvSpPr>
          <p:cNvPr id="23" name="Freeform 76"/>
          <p:cNvSpPr>
            <a:spLocks noChangeAspect="1"/>
          </p:cNvSpPr>
          <p:nvPr/>
        </p:nvSpPr>
        <p:spPr bwMode="gray">
          <a:xfrm>
            <a:off x="8148247" y="1415849"/>
            <a:ext cx="1277511" cy="1061981"/>
          </a:xfrm>
          <a:custGeom>
            <a:avLst/>
            <a:gdLst>
              <a:gd name="T0" fmla="*/ 490 w 982"/>
              <a:gd name="T1" fmla="*/ 0 h 850"/>
              <a:gd name="T2" fmla="*/ 0 w 982"/>
              <a:gd name="T3" fmla="*/ 850 h 850"/>
              <a:gd name="T4" fmla="*/ 982 w 982"/>
              <a:gd name="T5" fmla="*/ 850 h 850"/>
              <a:gd name="T6" fmla="*/ 490 w 982"/>
              <a:gd name="T7" fmla="*/ 0 h 850"/>
            </a:gdLst>
            <a:ahLst/>
            <a:cxnLst>
              <a:cxn ang="0">
                <a:pos x="T0" y="T1"/>
              </a:cxn>
              <a:cxn ang="0">
                <a:pos x="T2" y="T3"/>
              </a:cxn>
              <a:cxn ang="0">
                <a:pos x="T4" y="T5"/>
              </a:cxn>
              <a:cxn ang="0">
                <a:pos x="T6" y="T7"/>
              </a:cxn>
            </a:cxnLst>
            <a:rect l="0" t="0" r="r" b="b"/>
            <a:pathLst>
              <a:path w="982" h="850">
                <a:moveTo>
                  <a:pt x="490" y="0"/>
                </a:moveTo>
                <a:lnTo>
                  <a:pt x="0" y="850"/>
                </a:lnTo>
                <a:lnTo>
                  <a:pt x="982" y="850"/>
                </a:lnTo>
                <a:lnTo>
                  <a:pt x="490" y="0"/>
                </a:lnTo>
                <a:close/>
              </a:path>
            </a:pathLst>
          </a:custGeom>
          <a:solidFill>
            <a:srgbClr val="00FFB9"/>
          </a:solidFill>
          <a:ln>
            <a:noFill/>
          </a:ln>
        </p:spPr>
        <p:txBody>
          <a:bodyPr/>
          <a:lstStyle/>
          <a:p>
            <a:endParaRPr lang="en-US" sz="1799" dirty="0"/>
          </a:p>
        </p:txBody>
      </p:sp>
      <p:sp>
        <p:nvSpPr>
          <p:cNvPr id="10" name="Footer Placeholder 9">
            <a:extLst>
              <a:ext uri="{FF2B5EF4-FFF2-40B4-BE49-F238E27FC236}">
                <a16:creationId xmlns:a16="http://schemas.microsoft.com/office/drawing/2014/main" id="{5CC3118A-85D8-47EC-A0C3-CC9AEEE1BC39}"/>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11" name="Slide Number Placeholder 10">
            <a:extLst>
              <a:ext uri="{FF2B5EF4-FFF2-40B4-BE49-F238E27FC236}">
                <a16:creationId xmlns:a16="http://schemas.microsoft.com/office/drawing/2014/main" id="{B12CE97D-5934-4E2A-BEAD-AB7550569D3D}"/>
              </a:ext>
            </a:extLst>
          </p:cNvPr>
          <p:cNvSpPr>
            <a:spLocks noGrp="1"/>
          </p:cNvSpPr>
          <p:nvPr>
            <p:ph type="sldNum" sz="quarter" idx="11"/>
          </p:nvPr>
        </p:nvSpPr>
        <p:spPr/>
        <p:txBody>
          <a:bodyPr/>
          <a:lstStyle/>
          <a:p>
            <a:r>
              <a:rPr lang="en-US" dirty="0"/>
              <a:t>Page </a:t>
            </a:r>
            <a:fld id="{15EBE321-CBB1-4E91-BD14-37C8D44326FB}" type="slidenum">
              <a:rPr lang="en-US" smtClean="0"/>
              <a:pPr/>
              <a:t>87</a:t>
            </a:fld>
            <a:endParaRPr lang="en-US" dirty="0"/>
          </a:p>
        </p:txBody>
      </p:sp>
    </p:spTree>
    <p:extLst>
      <p:ext uri="{BB962C8B-B14F-4D97-AF65-F5344CB8AC3E}">
        <p14:creationId xmlns:p14="http://schemas.microsoft.com/office/powerpoint/2010/main" val="74417360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kt 27"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3" imgW="360" imgH="360" progId="">
                  <p:embed/>
                </p:oleObj>
              </mc:Choice>
              <mc:Fallback>
                <p:oleObj name="think-cell Folie" r:id="rId3" imgW="360" imgH="360" progId="">
                  <p:embed/>
                  <p:pic>
                    <p:nvPicPr>
                      <p:cNvPr id="28" name="Objekt 2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a:xfrm>
            <a:off x="410400" y="478800"/>
            <a:ext cx="9863997" cy="576000"/>
          </a:xfrm>
        </p:spPr>
        <p:txBody>
          <a:bodyPr/>
          <a:lstStyle/>
          <a:p>
            <a:r>
              <a:rPr lang="en-US" dirty="0"/>
              <a:t>Pyramid – focus on text</a:t>
            </a:r>
          </a:p>
        </p:txBody>
      </p:sp>
      <p:sp>
        <p:nvSpPr>
          <p:cNvPr id="26" name="Freeform 25"/>
          <p:cNvSpPr>
            <a:spLocks noChangeAspect="1"/>
          </p:cNvSpPr>
          <p:nvPr/>
        </p:nvSpPr>
        <p:spPr bwMode="gray">
          <a:xfrm>
            <a:off x="410400" y="2647984"/>
            <a:ext cx="1397963" cy="1066830"/>
          </a:xfrm>
          <a:custGeom>
            <a:avLst/>
            <a:gdLst>
              <a:gd name="connsiteX0" fmla="*/ 0 w 1398691"/>
              <a:gd name="connsiteY0" fmla="*/ 0 h 1067386"/>
              <a:gd name="connsiteX1" fmla="*/ 759129 w 1398691"/>
              <a:gd name="connsiteY1" fmla="*/ 0 h 1067386"/>
              <a:gd name="connsiteX2" fmla="*/ 1398691 w 1398691"/>
              <a:gd name="connsiteY2" fmla="*/ 1067386 h 1067386"/>
              <a:gd name="connsiteX3" fmla="*/ 0 w 1398691"/>
              <a:gd name="connsiteY3" fmla="*/ 1067386 h 1067386"/>
            </a:gdLst>
            <a:ahLst/>
            <a:cxnLst>
              <a:cxn ang="0">
                <a:pos x="connsiteX0" y="connsiteY0"/>
              </a:cxn>
              <a:cxn ang="0">
                <a:pos x="connsiteX1" y="connsiteY1"/>
              </a:cxn>
              <a:cxn ang="0">
                <a:pos x="connsiteX2" y="connsiteY2"/>
              </a:cxn>
              <a:cxn ang="0">
                <a:pos x="connsiteX3" y="connsiteY3"/>
              </a:cxn>
            </a:cxnLst>
            <a:rect l="l" t="t" r="r" b="b"/>
            <a:pathLst>
              <a:path w="1398691" h="1067386">
                <a:moveTo>
                  <a:pt x="0" y="0"/>
                </a:moveTo>
                <a:lnTo>
                  <a:pt x="759129" y="0"/>
                </a:lnTo>
                <a:lnTo>
                  <a:pt x="1398691" y="1067386"/>
                </a:lnTo>
                <a:lnTo>
                  <a:pt x="0" y="1067386"/>
                </a:lnTo>
                <a:close/>
              </a:path>
            </a:pathLst>
          </a:custGeom>
          <a:solidFill>
            <a:schemeClr val="accent2"/>
          </a:solidFill>
          <a:ln>
            <a:noFill/>
          </a:ln>
        </p:spPr>
        <p:txBody>
          <a:bodyPr wrap="square">
            <a:noAutofit/>
          </a:bodyPr>
          <a:lstStyle/>
          <a:p>
            <a:endParaRPr lang="en-US" sz="1799" dirty="0"/>
          </a:p>
        </p:txBody>
      </p:sp>
      <p:sp>
        <p:nvSpPr>
          <p:cNvPr id="34" name="Freeform 33"/>
          <p:cNvSpPr>
            <a:spLocks noChangeAspect="1"/>
          </p:cNvSpPr>
          <p:nvPr/>
        </p:nvSpPr>
        <p:spPr bwMode="gray">
          <a:xfrm>
            <a:off x="410400" y="3884967"/>
            <a:ext cx="2160792" cy="1061981"/>
          </a:xfrm>
          <a:custGeom>
            <a:avLst/>
            <a:gdLst>
              <a:gd name="connsiteX0" fmla="*/ 0 w 2161917"/>
              <a:gd name="connsiteY0" fmla="*/ 0 h 1062534"/>
              <a:gd name="connsiteX1" fmla="*/ 1521920 w 2161917"/>
              <a:gd name="connsiteY1" fmla="*/ 0 h 1062534"/>
              <a:gd name="connsiteX2" fmla="*/ 2161917 w 2161917"/>
              <a:gd name="connsiteY2" fmla="*/ 1062534 h 1062534"/>
              <a:gd name="connsiteX3" fmla="*/ 0 w 2161917"/>
              <a:gd name="connsiteY3" fmla="*/ 1062534 h 1062534"/>
            </a:gdLst>
            <a:ahLst/>
            <a:cxnLst>
              <a:cxn ang="0">
                <a:pos x="connsiteX0" y="connsiteY0"/>
              </a:cxn>
              <a:cxn ang="0">
                <a:pos x="connsiteX1" y="connsiteY1"/>
              </a:cxn>
              <a:cxn ang="0">
                <a:pos x="connsiteX2" y="connsiteY2"/>
              </a:cxn>
              <a:cxn ang="0">
                <a:pos x="connsiteX3" y="connsiteY3"/>
              </a:cxn>
            </a:cxnLst>
            <a:rect l="l" t="t" r="r" b="b"/>
            <a:pathLst>
              <a:path w="2161917" h="1062534">
                <a:moveTo>
                  <a:pt x="0" y="0"/>
                </a:moveTo>
                <a:lnTo>
                  <a:pt x="1521920" y="0"/>
                </a:lnTo>
                <a:lnTo>
                  <a:pt x="2161917" y="1062534"/>
                </a:lnTo>
                <a:lnTo>
                  <a:pt x="0" y="1062534"/>
                </a:lnTo>
                <a:close/>
              </a:path>
            </a:pathLst>
          </a:custGeom>
          <a:solidFill>
            <a:srgbClr val="00AF8E"/>
          </a:solidFill>
          <a:ln>
            <a:noFill/>
          </a:ln>
        </p:spPr>
        <p:txBody>
          <a:bodyPr wrap="square">
            <a:noAutofit/>
          </a:bodyPr>
          <a:lstStyle/>
          <a:p>
            <a:endParaRPr lang="en-US" sz="1799" dirty="0"/>
          </a:p>
        </p:txBody>
      </p:sp>
      <p:sp>
        <p:nvSpPr>
          <p:cNvPr id="36" name="Freeform 35"/>
          <p:cNvSpPr>
            <a:spLocks noChangeAspect="1"/>
          </p:cNvSpPr>
          <p:nvPr/>
        </p:nvSpPr>
        <p:spPr bwMode="gray">
          <a:xfrm>
            <a:off x="410400" y="5117103"/>
            <a:ext cx="2919026" cy="1052284"/>
          </a:xfrm>
          <a:custGeom>
            <a:avLst/>
            <a:gdLst>
              <a:gd name="connsiteX0" fmla="*/ 0 w 2920546"/>
              <a:gd name="connsiteY0" fmla="*/ 0 h 1052832"/>
              <a:gd name="connsiteX1" fmla="*/ 2285413 w 2920546"/>
              <a:gd name="connsiteY1" fmla="*/ 0 h 1052832"/>
              <a:gd name="connsiteX2" fmla="*/ 2920546 w 2920546"/>
              <a:gd name="connsiteY2" fmla="*/ 1052832 h 1052832"/>
              <a:gd name="connsiteX3" fmla="*/ 0 w 2920546"/>
              <a:gd name="connsiteY3" fmla="*/ 1052832 h 1052832"/>
            </a:gdLst>
            <a:ahLst/>
            <a:cxnLst>
              <a:cxn ang="0">
                <a:pos x="connsiteX0" y="connsiteY0"/>
              </a:cxn>
              <a:cxn ang="0">
                <a:pos x="connsiteX1" y="connsiteY1"/>
              </a:cxn>
              <a:cxn ang="0">
                <a:pos x="connsiteX2" y="connsiteY2"/>
              </a:cxn>
              <a:cxn ang="0">
                <a:pos x="connsiteX3" y="connsiteY3"/>
              </a:cxn>
            </a:cxnLst>
            <a:rect l="l" t="t" r="r" b="b"/>
            <a:pathLst>
              <a:path w="2920546" h="1052832">
                <a:moveTo>
                  <a:pt x="0" y="0"/>
                </a:moveTo>
                <a:lnTo>
                  <a:pt x="2285413" y="0"/>
                </a:lnTo>
                <a:lnTo>
                  <a:pt x="2920546" y="1052832"/>
                </a:lnTo>
                <a:lnTo>
                  <a:pt x="0" y="1052832"/>
                </a:lnTo>
                <a:close/>
              </a:path>
            </a:pathLst>
          </a:custGeom>
          <a:solidFill>
            <a:srgbClr val="00646E"/>
          </a:solidFill>
          <a:ln>
            <a:noFill/>
          </a:ln>
        </p:spPr>
        <p:txBody>
          <a:bodyPr wrap="square">
            <a:noAutofit/>
          </a:bodyPr>
          <a:lstStyle/>
          <a:p>
            <a:endParaRPr lang="en-US" sz="1799" dirty="0"/>
          </a:p>
        </p:txBody>
      </p:sp>
      <p:sp>
        <p:nvSpPr>
          <p:cNvPr id="24" name="Freeform 23"/>
          <p:cNvSpPr>
            <a:spLocks noChangeAspect="1"/>
          </p:cNvSpPr>
          <p:nvPr/>
        </p:nvSpPr>
        <p:spPr bwMode="gray">
          <a:xfrm>
            <a:off x="410400" y="1424022"/>
            <a:ext cx="635132" cy="1053810"/>
          </a:xfrm>
          <a:custGeom>
            <a:avLst/>
            <a:gdLst>
              <a:gd name="connsiteX0" fmla="*/ 0 w 635463"/>
              <a:gd name="connsiteY0" fmla="*/ 0 h 1054359"/>
              <a:gd name="connsiteX1" fmla="*/ 635463 w 635463"/>
              <a:gd name="connsiteY1" fmla="*/ 1054359 h 1054359"/>
              <a:gd name="connsiteX2" fmla="*/ 0 w 635463"/>
              <a:gd name="connsiteY2" fmla="*/ 1054359 h 1054359"/>
            </a:gdLst>
            <a:ahLst/>
            <a:cxnLst>
              <a:cxn ang="0">
                <a:pos x="connsiteX0" y="connsiteY0"/>
              </a:cxn>
              <a:cxn ang="0">
                <a:pos x="connsiteX1" y="connsiteY1"/>
              </a:cxn>
              <a:cxn ang="0">
                <a:pos x="connsiteX2" y="connsiteY2"/>
              </a:cxn>
            </a:cxnLst>
            <a:rect l="l" t="t" r="r" b="b"/>
            <a:pathLst>
              <a:path w="635463" h="1054359">
                <a:moveTo>
                  <a:pt x="0" y="0"/>
                </a:moveTo>
                <a:lnTo>
                  <a:pt x="635463" y="1054359"/>
                </a:lnTo>
                <a:lnTo>
                  <a:pt x="0" y="1054359"/>
                </a:lnTo>
                <a:close/>
              </a:path>
            </a:pathLst>
          </a:custGeom>
          <a:solidFill>
            <a:srgbClr val="00FFB9"/>
          </a:solidFill>
          <a:ln>
            <a:noFill/>
          </a:ln>
        </p:spPr>
        <p:txBody>
          <a:bodyPr wrap="square">
            <a:noAutofit/>
          </a:bodyPr>
          <a:lstStyle/>
          <a:p>
            <a:endParaRPr lang="en-US" sz="1799" dirty="0"/>
          </a:p>
        </p:txBody>
      </p:sp>
      <p:cxnSp>
        <p:nvCxnSpPr>
          <p:cNvPr id="37" name="Gerade Verbindung 6"/>
          <p:cNvCxnSpPr/>
          <p:nvPr/>
        </p:nvCxnSpPr>
        <p:spPr bwMode="gray">
          <a:xfrm>
            <a:off x="410400" y="2562907"/>
            <a:ext cx="7776000" cy="0"/>
          </a:xfrm>
          <a:prstGeom prst="line">
            <a:avLst/>
          </a:prstGeom>
          <a:solidFill>
            <a:schemeClr val="bg1"/>
          </a:solidFill>
          <a:ln w="12700">
            <a:solidFill>
              <a:srgbClr val="66667E"/>
            </a:solidFill>
            <a:miter lim="800000"/>
            <a:headEnd/>
            <a:tailEnd/>
          </a:ln>
          <a:effectLst/>
          <a:extLst>
            <a:ext uri="{AF507438-7753-43E0-B8FC-AC1667EBCBE1}">
              <a14:hiddenEffects xmlns:a14="http://schemas.microsoft.com/office/drawing/2010/main">
                <a:effectLst>
                  <a:outerShdw dist="35921" dir="2700000" algn="ctr" rotWithShape="0">
                    <a:schemeClr val="tx1"/>
                  </a:outerShdw>
                </a:effectLst>
              </a14:hiddenEffects>
            </a:ext>
          </a:extLst>
        </p:spPr>
      </p:cxnSp>
      <p:cxnSp>
        <p:nvCxnSpPr>
          <p:cNvPr id="38" name="Gerade Verbindung 7"/>
          <p:cNvCxnSpPr/>
          <p:nvPr/>
        </p:nvCxnSpPr>
        <p:spPr bwMode="gray">
          <a:xfrm>
            <a:off x="410400" y="3799891"/>
            <a:ext cx="7776000" cy="0"/>
          </a:xfrm>
          <a:prstGeom prst="line">
            <a:avLst/>
          </a:prstGeom>
          <a:solidFill>
            <a:schemeClr val="bg1"/>
          </a:solidFill>
          <a:ln w="12700">
            <a:solidFill>
              <a:srgbClr val="66667E"/>
            </a:solidFill>
            <a:miter lim="800000"/>
            <a:headEnd/>
            <a:tailEnd/>
          </a:ln>
          <a:effectLst/>
          <a:extLst>
            <a:ext uri="{AF507438-7753-43E0-B8FC-AC1667EBCBE1}">
              <a14:hiddenEffects xmlns:a14="http://schemas.microsoft.com/office/drawing/2010/main">
                <a:effectLst>
                  <a:outerShdw dist="35921" dir="2700000" algn="ctr" rotWithShape="0">
                    <a:schemeClr val="tx1"/>
                  </a:outerShdw>
                </a:effectLst>
              </a14:hiddenEffects>
            </a:ext>
          </a:extLst>
        </p:spPr>
      </p:cxnSp>
      <p:cxnSp>
        <p:nvCxnSpPr>
          <p:cNvPr id="41" name="Gerade Verbindung 8"/>
          <p:cNvCxnSpPr/>
          <p:nvPr/>
        </p:nvCxnSpPr>
        <p:spPr bwMode="gray">
          <a:xfrm>
            <a:off x="410400" y="5032026"/>
            <a:ext cx="7776000" cy="0"/>
          </a:xfrm>
          <a:prstGeom prst="line">
            <a:avLst/>
          </a:prstGeom>
          <a:solidFill>
            <a:schemeClr val="bg1"/>
          </a:solidFill>
          <a:ln w="12700">
            <a:solidFill>
              <a:srgbClr val="66667E"/>
            </a:solidFill>
            <a:miter lim="800000"/>
            <a:headEnd/>
            <a:tailEnd/>
          </a:ln>
          <a:effectLst/>
          <a:extLst>
            <a:ext uri="{AF507438-7753-43E0-B8FC-AC1667EBCBE1}">
              <a14:hiddenEffects xmlns:a14="http://schemas.microsoft.com/office/drawing/2010/main">
                <a:effectLst>
                  <a:outerShdw dist="35921" dir="2700000" algn="ctr" rotWithShape="0">
                    <a:schemeClr val="tx1"/>
                  </a:outerShdw>
                </a:effectLst>
              </a14:hiddenEffects>
            </a:ext>
          </a:extLst>
        </p:spPr>
      </p:cxnSp>
      <p:sp>
        <p:nvSpPr>
          <p:cNvPr id="44" name="Textfeld 2"/>
          <p:cNvSpPr txBox="1">
            <a:spLocks/>
          </p:cNvSpPr>
          <p:nvPr/>
        </p:nvSpPr>
        <p:spPr bwMode="gray">
          <a:xfrm>
            <a:off x="4010401" y="1415848"/>
            <a:ext cx="4176338" cy="1054251"/>
          </a:xfrm>
          <a:prstGeom prst="rect">
            <a:avLst/>
          </a:prstGeom>
          <a:noFill/>
          <a:ln w="38100" cap="rnd">
            <a:noFill/>
            <a:prstDash val="sysDot"/>
          </a:ln>
        </p:spPr>
        <p:txBody>
          <a:bodyPr wrap="square" lIns="0" tIns="0" rIns="0" bIns="0" rtlCol="0" anchor="t">
            <a:noAutofit/>
          </a:bodyPr>
          <a:lstStyle/>
          <a:p>
            <a:pPr>
              <a:defRPr/>
            </a:pPr>
            <a:r>
              <a:rPr lang="en-US" altLang="de-DE" sz="1599" b="1" dirty="0">
                <a:solidFill>
                  <a:schemeClr val="accent1"/>
                </a:solidFill>
                <a:ea typeface="Arial Unicode MS"/>
              </a:rPr>
              <a:t>Duis arcu tortor, suscipit eget</a:t>
            </a:r>
          </a:p>
          <a:p>
            <a:pPr marL="0" lvl="1">
              <a:spcBef>
                <a:spcPts val="300"/>
              </a:spcBef>
              <a:buClr>
                <a:srgbClr val="3C464B"/>
              </a:buClr>
              <a:defRPr/>
            </a:pPr>
            <a:r>
              <a:rPr lang="en-US" altLang="de-DE" sz="1199" dirty="0">
                <a:solidFill>
                  <a:srgbClr val="66667E"/>
                </a:solidFill>
                <a:ea typeface="Arial Unicode MS"/>
                <a:cs typeface="Arial" pitchFamily="34" charset="0"/>
              </a:rPr>
              <a:t>Phasellus nec sem</a:t>
            </a:r>
            <a:br>
              <a:rPr lang="en-US" altLang="de-DE" sz="1199" dirty="0">
                <a:solidFill>
                  <a:srgbClr val="66667E"/>
                </a:solidFill>
                <a:ea typeface="Arial Unicode MS"/>
                <a:cs typeface="Arial" pitchFamily="34" charset="0"/>
              </a:rPr>
            </a:br>
            <a:r>
              <a:rPr lang="en-US" altLang="de-DE" sz="1199" dirty="0">
                <a:solidFill>
                  <a:srgbClr val="66667E"/>
                </a:solidFill>
                <a:ea typeface="Arial Unicode MS"/>
                <a:cs typeface="Arial" pitchFamily="34" charset="0"/>
              </a:rPr>
              <a:t>Donec sodales sagittis magna</a:t>
            </a:r>
            <a:br>
              <a:rPr lang="en-US" altLang="de-DE" sz="1199" dirty="0">
                <a:solidFill>
                  <a:srgbClr val="66667E"/>
                </a:solidFill>
                <a:ea typeface="Arial Unicode MS"/>
                <a:cs typeface="Arial" pitchFamily="34" charset="0"/>
              </a:rPr>
            </a:br>
            <a:r>
              <a:rPr lang="en-US" altLang="de-DE" sz="1199" dirty="0">
                <a:solidFill>
                  <a:srgbClr val="66667E"/>
                </a:solidFill>
                <a:ea typeface="Arial Unicode MS"/>
                <a:cs typeface="Arial" pitchFamily="34" charset="0"/>
              </a:rPr>
              <a:t>Maecenas nec odio</a:t>
            </a:r>
          </a:p>
        </p:txBody>
      </p:sp>
      <p:sp>
        <p:nvSpPr>
          <p:cNvPr id="47" name="Textfeld 3"/>
          <p:cNvSpPr txBox="1">
            <a:spLocks/>
          </p:cNvSpPr>
          <p:nvPr/>
        </p:nvSpPr>
        <p:spPr bwMode="gray">
          <a:xfrm>
            <a:off x="4010401" y="2647984"/>
            <a:ext cx="4176338" cy="1068643"/>
          </a:xfrm>
          <a:prstGeom prst="rect">
            <a:avLst/>
          </a:prstGeom>
          <a:noFill/>
          <a:ln w="38100" cap="rnd">
            <a:noFill/>
            <a:prstDash val="sysDot"/>
          </a:ln>
        </p:spPr>
        <p:txBody>
          <a:bodyPr wrap="square" lIns="0" tIns="0" rIns="0" bIns="0" rtlCol="0" anchor="t">
            <a:noAutofit/>
          </a:bodyPr>
          <a:lstStyle>
            <a:defPPr>
              <a:defRPr lang="de-DE"/>
            </a:defPPr>
            <a:lvl1pPr>
              <a:defRPr sz="2000" b="1"/>
            </a:lvl1pPr>
          </a:lstStyle>
          <a:p>
            <a:pPr>
              <a:defRPr/>
            </a:pPr>
            <a:r>
              <a:rPr lang="en-US" altLang="de-DE" sz="1599" dirty="0">
                <a:solidFill>
                  <a:schemeClr val="accent1"/>
                </a:solidFill>
                <a:ea typeface="Arial Unicode MS"/>
              </a:rPr>
              <a:t>At vero eos et accusam</a:t>
            </a:r>
          </a:p>
          <a:p>
            <a:pPr marL="0" lvl="1">
              <a:spcBef>
                <a:spcPts val="300"/>
              </a:spcBef>
              <a:buClr>
                <a:srgbClr val="3C464B"/>
              </a:buClr>
              <a:tabLst>
                <a:tab pos="1339180" algn="r"/>
              </a:tabLst>
              <a:defRPr/>
            </a:pPr>
            <a:r>
              <a:rPr lang="en-US" altLang="de-DE" sz="1199" dirty="0">
                <a:solidFill>
                  <a:srgbClr val="66667E"/>
                </a:solidFill>
                <a:ea typeface="Arial Unicode MS"/>
                <a:cs typeface="Arial" pitchFamily="34" charset="0"/>
              </a:rPr>
              <a:t>Maecenas nec odio duis arcu tortor</a:t>
            </a:r>
            <a:br>
              <a:rPr lang="en-US" altLang="de-DE" sz="1199" dirty="0">
                <a:solidFill>
                  <a:srgbClr val="66667E"/>
                </a:solidFill>
                <a:ea typeface="Arial Unicode MS"/>
                <a:cs typeface="Arial" pitchFamily="34" charset="0"/>
              </a:rPr>
            </a:br>
            <a:r>
              <a:rPr lang="en-US" altLang="de-DE" sz="1199" dirty="0">
                <a:solidFill>
                  <a:srgbClr val="66667E"/>
                </a:solidFill>
                <a:ea typeface="Arial Unicode MS"/>
                <a:cs typeface="Arial" pitchFamily="34" charset="0"/>
              </a:rPr>
              <a:t>Donec sodales sagittis magna</a:t>
            </a:r>
          </a:p>
        </p:txBody>
      </p:sp>
      <p:sp>
        <p:nvSpPr>
          <p:cNvPr id="51" name="Textfeld 4"/>
          <p:cNvSpPr txBox="1">
            <a:spLocks/>
          </p:cNvSpPr>
          <p:nvPr/>
        </p:nvSpPr>
        <p:spPr bwMode="gray">
          <a:xfrm>
            <a:off x="4010401" y="3884968"/>
            <a:ext cx="4176338" cy="1061447"/>
          </a:xfrm>
          <a:prstGeom prst="rect">
            <a:avLst/>
          </a:prstGeom>
          <a:noFill/>
          <a:ln w="38100" cap="rnd">
            <a:noFill/>
            <a:prstDash val="sysDot"/>
          </a:ln>
        </p:spPr>
        <p:txBody>
          <a:bodyPr wrap="square" lIns="0" tIns="0" rIns="0" bIns="0" rtlCol="0" anchor="t">
            <a:noAutofit/>
          </a:bodyPr>
          <a:lstStyle/>
          <a:p>
            <a:pPr>
              <a:defRPr/>
            </a:pPr>
            <a:r>
              <a:rPr lang="en-US" altLang="de-DE" sz="1599" b="1" dirty="0">
                <a:solidFill>
                  <a:schemeClr val="accent1"/>
                </a:solidFill>
                <a:ea typeface="Arial Unicode MS"/>
              </a:rPr>
              <a:t>Cras ultricies mi eu</a:t>
            </a:r>
          </a:p>
          <a:p>
            <a:pPr marL="0" lvl="1">
              <a:spcBef>
                <a:spcPts val="300"/>
              </a:spcBef>
              <a:buClr>
                <a:srgbClr val="3C464B"/>
              </a:buClr>
              <a:defRPr/>
            </a:pPr>
            <a:r>
              <a:rPr lang="en-US" altLang="de-DE" sz="1199" dirty="0">
                <a:solidFill>
                  <a:srgbClr val="66667E"/>
                </a:solidFill>
                <a:ea typeface="Arial Unicode MS"/>
                <a:cs typeface="Arial" pitchFamily="34" charset="0"/>
              </a:rPr>
              <a:t>Stet clita kasd gubergren, no sea takimata sanctus est lorem ipsum dolor sit amet</a:t>
            </a:r>
          </a:p>
        </p:txBody>
      </p:sp>
      <p:sp>
        <p:nvSpPr>
          <p:cNvPr id="52" name="Textfeld 5"/>
          <p:cNvSpPr txBox="1">
            <a:spLocks/>
          </p:cNvSpPr>
          <p:nvPr/>
        </p:nvSpPr>
        <p:spPr bwMode="gray">
          <a:xfrm>
            <a:off x="4010401" y="5117103"/>
            <a:ext cx="4176338" cy="1054251"/>
          </a:xfrm>
          <a:prstGeom prst="rect">
            <a:avLst/>
          </a:prstGeom>
          <a:noFill/>
          <a:ln w="38100" cap="rnd">
            <a:noFill/>
            <a:prstDash val="sysDot"/>
          </a:ln>
        </p:spPr>
        <p:txBody>
          <a:bodyPr wrap="square" lIns="0" tIns="0" rIns="0" bIns="0" rtlCol="0" anchor="t">
            <a:noAutofit/>
          </a:bodyPr>
          <a:lstStyle/>
          <a:p>
            <a:pPr>
              <a:defRPr/>
            </a:pPr>
            <a:r>
              <a:rPr lang="en-US" altLang="de-DE" sz="1599" b="1" dirty="0">
                <a:solidFill>
                  <a:schemeClr val="accent1"/>
                </a:solidFill>
                <a:ea typeface="Arial Unicode MS"/>
              </a:rPr>
              <a:t>Phasellus nec sem</a:t>
            </a:r>
          </a:p>
          <a:p>
            <a:pPr marL="0" lvl="1">
              <a:spcBef>
                <a:spcPts val="300"/>
              </a:spcBef>
              <a:buClr>
                <a:srgbClr val="3C464B"/>
              </a:buClr>
              <a:defRPr/>
            </a:pPr>
            <a:r>
              <a:rPr lang="en-US" altLang="de-DE" sz="1199" dirty="0">
                <a:solidFill>
                  <a:srgbClr val="66667E"/>
                </a:solidFill>
                <a:ea typeface="Arial Unicode MS"/>
                <a:cs typeface="Arial" pitchFamily="34" charset="0"/>
              </a:rPr>
              <a:t>Consetetur sadipscing elitr, seddiam nonumy</a:t>
            </a:r>
          </a:p>
        </p:txBody>
      </p:sp>
      <p:sp>
        <p:nvSpPr>
          <p:cNvPr id="3" name="Footer Placeholder 2">
            <a:extLst>
              <a:ext uri="{FF2B5EF4-FFF2-40B4-BE49-F238E27FC236}">
                <a16:creationId xmlns:a16="http://schemas.microsoft.com/office/drawing/2014/main" id="{DA0FD40E-1B25-4DA6-920B-4FE3D766EBFC}"/>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C6E6A173-5F4C-4D71-A18F-B7CDD3BCD8DA}"/>
              </a:ext>
            </a:extLst>
          </p:cNvPr>
          <p:cNvSpPr>
            <a:spLocks noGrp="1"/>
          </p:cNvSpPr>
          <p:nvPr>
            <p:ph type="sldNum" sz="quarter" idx="11"/>
          </p:nvPr>
        </p:nvSpPr>
        <p:spPr/>
        <p:txBody>
          <a:bodyPr/>
          <a:lstStyle/>
          <a:p>
            <a:r>
              <a:rPr lang="en-US" dirty="0"/>
              <a:t>Page </a:t>
            </a:r>
            <a:fld id="{15EBE321-CBB1-4E91-BD14-37C8D44326FB}" type="slidenum">
              <a:rPr lang="en-US" smtClean="0"/>
              <a:pPr/>
              <a:t>88</a:t>
            </a:fld>
            <a:endParaRPr lang="en-US" dirty="0"/>
          </a:p>
        </p:txBody>
      </p:sp>
    </p:spTree>
    <p:extLst>
      <p:ext uri="{BB962C8B-B14F-4D97-AF65-F5344CB8AC3E}">
        <p14:creationId xmlns:p14="http://schemas.microsoft.com/office/powerpoint/2010/main" val="67560092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kt 27"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3" imgW="360" imgH="360" progId="">
                  <p:embed/>
                </p:oleObj>
              </mc:Choice>
              <mc:Fallback>
                <p:oleObj name="think-cell Folie" r:id="rId3" imgW="360" imgH="360" progId="">
                  <p:embed/>
                  <p:pic>
                    <p:nvPicPr>
                      <p:cNvPr id="28" name="Objekt 2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en-US" dirty="0"/>
              <a:t>Pyramid – focus on text</a:t>
            </a:r>
          </a:p>
        </p:txBody>
      </p:sp>
      <p:sp>
        <p:nvSpPr>
          <p:cNvPr id="26" name="Freeform 25"/>
          <p:cNvSpPr>
            <a:spLocks noChangeAspect="1"/>
          </p:cNvSpPr>
          <p:nvPr/>
        </p:nvSpPr>
        <p:spPr bwMode="gray">
          <a:xfrm>
            <a:off x="410400" y="2647984"/>
            <a:ext cx="1397963" cy="1066830"/>
          </a:xfrm>
          <a:custGeom>
            <a:avLst/>
            <a:gdLst>
              <a:gd name="connsiteX0" fmla="*/ 0 w 1398691"/>
              <a:gd name="connsiteY0" fmla="*/ 0 h 1067386"/>
              <a:gd name="connsiteX1" fmla="*/ 759129 w 1398691"/>
              <a:gd name="connsiteY1" fmla="*/ 0 h 1067386"/>
              <a:gd name="connsiteX2" fmla="*/ 1398691 w 1398691"/>
              <a:gd name="connsiteY2" fmla="*/ 1067386 h 1067386"/>
              <a:gd name="connsiteX3" fmla="*/ 0 w 1398691"/>
              <a:gd name="connsiteY3" fmla="*/ 1067386 h 1067386"/>
            </a:gdLst>
            <a:ahLst/>
            <a:cxnLst>
              <a:cxn ang="0">
                <a:pos x="connsiteX0" y="connsiteY0"/>
              </a:cxn>
              <a:cxn ang="0">
                <a:pos x="connsiteX1" y="connsiteY1"/>
              </a:cxn>
              <a:cxn ang="0">
                <a:pos x="connsiteX2" y="connsiteY2"/>
              </a:cxn>
              <a:cxn ang="0">
                <a:pos x="connsiteX3" y="connsiteY3"/>
              </a:cxn>
            </a:cxnLst>
            <a:rect l="l" t="t" r="r" b="b"/>
            <a:pathLst>
              <a:path w="1398691" h="1067386">
                <a:moveTo>
                  <a:pt x="0" y="0"/>
                </a:moveTo>
                <a:lnTo>
                  <a:pt x="759129" y="0"/>
                </a:lnTo>
                <a:lnTo>
                  <a:pt x="1398691" y="1067386"/>
                </a:lnTo>
                <a:lnTo>
                  <a:pt x="0" y="1067386"/>
                </a:lnTo>
                <a:close/>
              </a:path>
            </a:pathLst>
          </a:custGeom>
          <a:solidFill>
            <a:schemeClr val="accent2"/>
          </a:solidFill>
          <a:ln>
            <a:noFill/>
          </a:ln>
        </p:spPr>
        <p:txBody>
          <a:bodyPr wrap="square">
            <a:noAutofit/>
          </a:bodyPr>
          <a:lstStyle/>
          <a:p>
            <a:endParaRPr lang="en-US" sz="1799" dirty="0"/>
          </a:p>
        </p:txBody>
      </p:sp>
      <p:sp>
        <p:nvSpPr>
          <p:cNvPr id="34" name="Freeform 33"/>
          <p:cNvSpPr>
            <a:spLocks noChangeAspect="1"/>
          </p:cNvSpPr>
          <p:nvPr/>
        </p:nvSpPr>
        <p:spPr bwMode="gray">
          <a:xfrm>
            <a:off x="410400" y="3884967"/>
            <a:ext cx="2160792" cy="1061981"/>
          </a:xfrm>
          <a:custGeom>
            <a:avLst/>
            <a:gdLst>
              <a:gd name="connsiteX0" fmla="*/ 0 w 2161917"/>
              <a:gd name="connsiteY0" fmla="*/ 0 h 1062534"/>
              <a:gd name="connsiteX1" fmla="*/ 1521920 w 2161917"/>
              <a:gd name="connsiteY1" fmla="*/ 0 h 1062534"/>
              <a:gd name="connsiteX2" fmla="*/ 2161917 w 2161917"/>
              <a:gd name="connsiteY2" fmla="*/ 1062534 h 1062534"/>
              <a:gd name="connsiteX3" fmla="*/ 0 w 2161917"/>
              <a:gd name="connsiteY3" fmla="*/ 1062534 h 1062534"/>
            </a:gdLst>
            <a:ahLst/>
            <a:cxnLst>
              <a:cxn ang="0">
                <a:pos x="connsiteX0" y="connsiteY0"/>
              </a:cxn>
              <a:cxn ang="0">
                <a:pos x="connsiteX1" y="connsiteY1"/>
              </a:cxn>
              <a:cxn ang="0">
                <a:pos x="connsiteX2" y="connsiteY2"/>
              </a:cxn>
              <a:cxn ang="0">
                <a:pos x="connsiteX3" y="connsiteY3"/>
              </a:cxn>
            </a:cxnLst>
            <a:rect l="l" t="t" r="r" b="b"/>
            <a:pathLst>
              <a:path w="2161917" h="1062534">
                <a:moveTo>
                  <a:pt x="0" y="0"/>
                </a:moveTo>
                <a:lnTo>
                  <a:pt x="1521920" y="0"/>
                </a:lnTo>
                <a:lnTo>
                  <a:pt x="2161917" y="1062534"/>
                </a:lnTo>
                <a:lnTo>
                  <a:pt x="0" y="1062534"/>
                </a:lnTo>
                <a:close/>
              </a:path>
            </a:pathLst>
          </a:custGeom>
          <a:solidFill>
            <a:srgbClr val="00AF8E"/>
          </a:solidFill>
          <a:ln>
            <a:noFill/>
          </a:ln>
        </p:spPr>
        <p:txBody>
          <a:bodyPr wrap="square">
            <a:noAutofit/>
          </a:bodyPr>
          <a:lstStyle/>
          <a:p>
            <a:endParaRPr lang="en-US" sz="1799" dirty="0"/>
          </a:p>
        </p:txBody>
      </p:sp>
      <p:sp>
        <p:nvSpPr>
          <p:cNvPr id="36" name="Freeform 35"/>
          <p:cNvSpPr>
            <a:spLocks noChangeAspect="1"/>
          </p:cNvSpPr>
          <p:nvPr/>
        </p:nvSpPr>
        <p:spPr bwMode="gray">
          <a:xfrm>
            <a:off x="410400" y="5117103"/>
            <a:ext cx="2919026" cy="1052284"/>
          </a:xfrm>
          <a:custGeom>
            <a:avLst/>
            <a:gdLst>
              <a:gd name="connsiteX0" fmla="*/ 0 w 2920546"/>
              <a:gd name="connsiteY0" fmla="*/ 0 h 1052832"/>
              <a:gd name="connsiteX1" fmla="*/ 2285413 w 2920546"/>
              <a:gd name="connsiteY1" fmla="*/ 0 h 1052832"/>
              <a:gd name="connsiteX2" fmla="*/ 2920546 w 2920546"/>
              <a:gd name="connsiteY2" fmla="*/ 1052832 h 1052832"/>
              <a:gd name="connsiteX3" fmla="*/ 0 w 2920546"/>
              <a:gd name="connsiteY3" fmla="*/ 1052832 h 1052832"/>
            </a:gdLst>
            <a:ahLst/>
            <a:cxnLst>
              <a:cxn ang="0">
                <a:pos x="connsiteX0" y="connsiteY0"/>
              </a:cxn>
              <a:cxn ang="0">
                <a:pos x="connsiteX1" y="connsiteY1"/>
              </a:cxn>
              <a:cxn ang="0">
                <a:pos x="connsiteX2" y="connsiteY2"/>
              </a:cxn>
              <a:cxn ang="0">
                <a:pos x="connsiteX3" y="connsiteY3"/>
              </a:cxn>
            </a:cxnLst>
            <a:rect l="l" t="t" r="r" b="b"/>
            <a:pathLst>
              <a:path w="2920546" h="1052832">
                <a:moveTo>
                  <a:pt x="0" y="0"/>
                </a:moveTo>
                <a:lnTo>
                  <a:pt x="2285413" y="0"/>
                </a:lnTo>
                <a:lnTo>
                  <a:pt x="2920546" y="1052832"/>
                </a:lnTo>
                <a:lnTo>
                  <a:pt x="0" y="1052832"/>
                </a:lnTo>
                <a:close/>
              </a:path>
            </a:pathLst>
          </a:custGeom>
          <a:solidFill>
            <a:srgbClr val="00646E"/>
          </a:solidFill>
          <a:ln>
            <a:noFill/>
          </a:ln>
        </p:spPr>
        <p:txBody>
          <a:bodyPr wrap="square">
            <a:noAutofit/>
          </a:bodyPr>
          <a:lstStyle/>
          <a:p>
            <a:endParaRPr lang="en-US" sz="1799" dirty="0"/>
          </a:p>
        </p:txBody>
      </p:sp>
      <p:sp>
        <p:nvSpPr>
          <p:cNvPr id="24" name="Freeform 23"/>
          <p:cNvSpPr>
            <a:spLocks noChangeAspect="1"/>
          </p:cNvSpPr>
          <p:nvPr/>
        </p:nvSpPr>
        <p:spPr bwMode="gray">
          <a:xfrm>
            <a:off x="410400" y="1424022"/>
            <a:ext cx="635132" cy="1053810"/>
          </a:xfrm>
          <a:custGeom>
            <a:avLst/>
            <a:gdLst>
              <a:gd name="connsiteX0" fmla="*/ 0 w 635463"/>
              <a:gd name="connsiteY0" fmla="*/ 0 h 1054359"/>
              <a:gd name="connsiteX1" fmla="*/ 635463 w 635463"/>
              <a:gd name="connsiteY1" fmla="*/ 1054359 h 1054359"/>
              <a:gd name="connsiteX2" fmla="*/ 0 w 635463"/>
              <a:gd name="connsiteY2" fmla="*/ 1054359 h 1054359"/>
            </a:gdLst>
            <a:ahLst/>
            <a:cxnLst>
              <a:cxn ang="0">
                <a:pos x="connsiteX0" y="connsiteY0"/>
              </a:cxn>
              <a:cxn ang="0">
                <a:pos x="connsiteX1" y="connsiteY1"/>
              </a:cxn>
              <a:cxn ang="0">
                <a:pos x="connsiteX2" y="connsiteY2"/>
              </a:cxn>
            </a:cxnLst>
            <a:rect l="l" t="t" r="r" b="b"/>
            <a:pathLst>
              <a:path w="635463" h="1054359">
                <a:moveTo>
                  <a:pt x="0" y="0"/>
                </a:moveTo>
                <a:lnTo>
                  <a:pt x="635463" y="1054359"/>
                </a:lnTo>
                <a:lnTo>
                  <a:pt x="0" y="1054359"/>
                </a:lnTo>
                <a:close/>
              </a:path>
            </a:pathLst>
          </a:custGeom>
          <a:solidFill>
            <a:srgbClr val="00FFB9"/>
          </a:solidFill>
          <a:ln>
            <a:noFill/>
          </a:ln>
        </p:spPr>
        <p:txBody>
          <a:bodyPr wrap="square">
            <a:noAutofit/>
          </a:bodyPr>
          <a:lstStyle/>
          <a:p>
            <a:endParaRPr lang="en-US" sz="1799" dirty="0"/>
          </a:p>
        </p:txBody>
      </p:sp>
      <p:cxnSp>
        <p:nvCxnSpPr>
          <p:cNvPr id="37" name="Gerade Verbindung 6"/>
          <p:cNvCxnSpPr/>
          <p:nvPr/>
        </p:nvCxnSpPr>
        <p:spPr bwMode="gray">
          <a:xfrm>
            <a:off x="410400" y="2562907"/>
            <a:ext cx="7776000" cy="0"/>
          </a:xfrm>
          <a:prstGeom prst="line">
            <a:avLst/>
          </a:prstGeom>
          <a:solidFill>
            <a:schemeClr val="bg1"/>
          </a:solidFill>
          <a:ln w="12700">
            <a:solidFill>
              <a:srgbClr val="9999A9"/>
            </a:solidFill>
            <a:miter lim="800000"/>
            <a:headEnd/>
            <a:tailEnd/>
          </a:ln>
          <a:effectLst/>
          <a:extLst>
            <a:ext uri="{AF507438-7753-43E0-B8FC-AC1667EBCBE1}">
              <a14:hiddenEffects xmlns:a14="http://schemas.microsoft.com/office/drawing/2010/main">
                <a:effectLst>
                  <a:outerShdw dist="35921" dir="2700000" algn="ctr" rotWithShape="0">
                    <a:schemeClr val="tx1"/>
                  </a:outerShdw>
                </a:effectLst>
              </a14:hiddenEffects>
            </a:ext>
          </a:extLst>
        </p:spPr>
      </p:cxnSp>
      <p:cxnSp>
        <p:nvCxnSpPr>
          <p:cNvPr id="38" name="Gerade Verbindung 7"/>
          <p:cNvCxnSpPr/>
          <p:nvPr/>
        </p:nvCxnSpPr>
        <p:spPr bwMode="gray">
          <a:xfrm>
            <a:off x="410400" y="3799891"/>
            <a:ext cx="7776000" cy="0"/>
          </a:xfrm>
          <a:prstGeom prst="line">
            <a:avLst/>
          </a:prstGeom>
          <a:solidFill>
            <a:schemeClr val="bg1"/>
          </a:solidFill>
          <a:ln w="12700">
            <a:solidFill>
              <a:srgbClr val="9999A9"/>
            </a:solidFill>
            <a:miter lim="800000"/>
            <a:headEnd/>
            <a:tailEnd/>
          </a:ln>
          <a:effectLst/>
          <a:extLst>
            <a:ext uri="{AF507438-7753-43E0-B8FC-AC1667EBCBE1}">
              <a14:hiddenEffects xmlns:a14="http://schemas.microsoft.com/office/drawing/2010/main">
                <a:effectLst>
                  <a:outerShdw dist="35921" dir="2700000" algn="ctr" rotWithShape="0">
                    <a:schemeClr val="tx1"/>
                  </a:outerShdw>
                </a:effectLst>
              </a14:hiddenEffects>
            </a:ext>
          </a:extLst>
        </p:spPr>
      </p:cxnSp>
      <p:cxnSp>
        <p:nvCxnSpPr>
          <p:cNvPr id="41" name="Gerade Verbindung 8"/>
          <p:cNvCxnSpPr/>
          <p:nvPr/>
        </p:nvCxnSpPr>
        <p:spPr bwMode="gray">
          <a:xfrm>
            <a:off x="410400" y="5032026"/>
            <a:ext cx="7776000" cy="0"/>
          </a:xfrm>
          <a:prstGeom prst="line">
            <a:avLst/>
          </a:prstGeom>
          <a:solidFill>
            <a:schemeClr val="bg1"/>
          </a:solidFill>
          <a:ln w="12700">
            <a:solidFill>
              <a:srgbClr val="9999A9"/>
            </a:solidFill>
            <a:miter lim="800000"/>
            <a:headEnd/>
            <a:tailEnd/>
          </a:ln>
          <a:effectLst/>
          <a:extLst>
            <a:ext uri="{AF507438-7753-43E0-B8FC-AC1667EBCBE1}">
              <a14:hiddenEffects xmlns:a14="http://schemas.microsoft.com/office/drawing/2010/main">
                <a:effectLst>
                  <a:outerShdw dist="35921" dir="2700000" algn="ctr" rotWithShape="0">
                    <a:schemeClr val="tx1"/>
                  </a:outerShdw>
                </a:effectLst>
              </a14:hiddenEffects>
            </a:ext>
          </a:extLst>
        </p:spPr>
      </p:cxnSp>
      <p:sp>
        <p:nvSpPr>
          <p:cNvPr id="44" name="Textfeld 2"/>
          <p:cNvSpPr txBox="1">
            <a:spLocks/>
          </p:cNvSpPr>
          <p:nvPr/>
        </p:nvSpPr>
        <p:spPr bwMode="gray">
          <a:xfrm>
            <a:off x="4010401" y="1415848"/>
            <a:ext cx="4176338" cy="1054251"/>
          </a:xfrm>
          <a:prstGeom prst="rect">
            <a:avLst/>
          </a:prstGeom>
          <a:noFill/>
          <a:ln w="38100" cap="rnd">
            <a:noFill/>
            <a:prstDash val="sysDot"/>
          </a:ln>
        </p:spPr>
        <p:txBody>
          <a:bodyPr wrap="square" lIns="0" tIns="0" rIns="0" bIns="0" rtlCol="0" anchor="t">
            <a:noAutofit/>
          </a:bodyPr>
          <a:lstStyle/>
          <a:p>
            <a:pPr>
              <a:defRPr/>
            </a:pPr>
            <a:r>
              <a:rPr lang="en-US" altLang="de-DE" sz="1599" b="1" dirty="0">
                <a:solidFill>
                  <a:srgbClr val="00FFB9"/>
                </a:solidFill>
                <a:ea typeface="Arial Unicode MS"/>
              </a:rPr>
              <a:t>Duis arcu tortor, suscipit eget</a:t>
            </a:r>
          </a:p>
          <a:p>
            <a:pPr marL="0" lvl="1">
              <a:spcBef>
                <a:spcPts val="300"/>
              </a:spcBef>
              <a:buClr>
                <a:srgbClr val="3C464B"/>
              </a:buClr>
              <a:defRPr/>
            </a:pPr>
            <a:r>
              <a:rPr lang="en-US" altLang="de-DE" sz="1199" dirty="0">
                <a:solidFill>
                  <a:srgbClr val="9999A9"/>
                </a:solidFill>
                <a:ea typeface="Arial Unicode MS"/>
                <a:cs typeface="Arial" pitchFamily="34" charset="0"/>
              </a:rPr>
              <a:t>Phasellus nec sem</a:t>
            </a:r>
            <a:br>
              <a:rPr lang="en-US" altLang="de-DE" sz="1199" dirty="0">
                <a:solidFill>
                  <a:srgbClr val="9999A9"/>
                </a:solidFill>
                <a:ea typeface="Arial Unicode MS"/>
                <a:cs typeface="Arial" pitchFamily="34" charset="0"/>
              </a:rPr>
            </a:br>
            <a:r>
              <a:rPr lang="en-US" altLang="de-DE" sz="1199" dirty="0">
                <a:solidFill>
                  <a:srgbClr val="9999A9"/>
                </a:solidFill>
                <a:ea typeface="Arial Unicode MS"/>
                <a:cs typeface="Arial" pitchFamily="34" charset="0"/>
              </a:rPr>
              <a:t>Donec sodales sagittis magna</a:t>
            </a:r>
            <a:br>
              <a:rPr lang="en-US" altLang="de-DE" sz="1199" dirty="0">
                <a:solidFill>
                  <a:srgbClr val="9999A9"/>
                </a:solidFill>
                <a:ea typeface="Arial Unicode MS"/>
                <a:cs typeface="Arial" pitchFamily="34" charset="0"/>
              </a:rPr>
            </a:br>
            <a:r>
              <a:rPr lang="en-US" altLang="de-DE" sz="1199" dirty="0">
                <a:solidFill>
                  <a:srgbClr val="9999A9"/>
                </a:solidFill>
                <a:ea typeface="Arial Unicode MS"/>
                <a:cs typeface="Arial" pitchFamily="34" charset="0"/>
              </a:rPr>
              <a:t>Maecenas nec odio</a:t>
            </a:r>
          </a:p>
        </p:txBody>
      </p:sp>
      <p:sp>
        <p:nvSpPr>
          <p:cNvPr id="47" name="Textfeld 3"/>
          <p:cNvSpPr txBox="1">
            <a:spLocks/>
          </p:cNvSpPr>
          <p:nvPr/>
        </p:nvSpPr>
        <p:spPr bwMode="gray">
          <a:xfrm>
            <a:off x="4010401" y="2647984"/>
            <a:ext cx="4176338" cy="1068643"/>
          </a:xfrm>
          <a:prstGeom prst="rect">
            <a:avLst/>
          </a:prstGeom>
          <a:noFill/>
          <a:ln w="38100" cap="rnd">
            <a:noFill/>
            <a:prstDash val="sysDot"/>
          </a:ln>
        </p:spPr>
        <p:txBody>
          <a:bodyPr wrap="square" lIns="0" tIns="0" rIns="0" bIns="0" rtlCol="0" anchor="t">
            <a:noAutofit/>
          </a:bodyPr>
          <a:lstStyle>
            <a:defPPr>
              <a:defRPr lang="de-DE"/>
            </a:defPPr>
            <a:lvl1pPr>
              <a:defRPr sz="2000" b="1"/>
            </a:lvl1pPr>
          </a:lstStyle>
          <a:p>
            <a:pPr>
              <a:defRPr/>
            </a:pPr>
            <a:r>
              <a:rPr lang="en-US" altLang="de-DE" sz="1599" dirty="0">
                <a:solidFill>
                  <a:srgbClr val="00FFB9"/>
                </a:solidFill>
                <a:ea typeface="Arial Unicode MS"/>
              </a:rPr>
              <a:t>At vero eos et accusam</a:t>
            </a:r>
          </a:p>
          <a:p>
            <a:pPr marL="0" lvl="1">
              <a:spcBef>
                <a:spcPts val="300"/>
              </a:spcBef>
              <a:buClr>
                <a:srgbClr val="3C464B"/>
              </a:buClr>
              <a:tabLst>
                <a:tab pos="1339180" algn="r"/>
              </a:tabLst>
              <a:defRPr/>
            </a:pPr>
            <a:r>
              <a:rPr lang="en-US" altLang="de-DE" sz="1199" dirty="0">
                <a:solidFill>
                  <a:srgbClr val="9999A9"/>
                </a:solidFill>
                <a:ea typeface="Arial Unicode MS"/>
                <a:cs typeface="Arial" pitchFamily="34" charset="0"/>
              </a:rPr>
              <a:t>Maecenas nec odio duis arcu tortor</a:t>
            </a:r>
            <a:br>
              <a:rPr lang="en-US" altLang="de-DE" sz="1199" dirty="0">
                <a:solidFill>
                  <a:srgbClr val="9999A9"/>
                </a:solidFill>
                <a:ea typeface="Arial Unicode MS"/>
                <a:cs typeface="Arial" pitchFamily="34" charset="0"/>
              </a:rPr>
            </a:br>
            <a:r>
              <a:rPr lang="en-US" altLang="de-DE" sz="1199" dirty="0">
                <a:solidFill>
                  <a:srgbClr val="9999A9"/>
                </a:solidFill>
                <a:ea typeface="Arial Unicode MS"/>
                <a:cs typeface="Arial" pitchFamily="34" charset="0"/>
              </a:rPr>
              <a:t>Donec sodales sagittis magna</a:t>
            </a:r>
          </a:p>
        </p:txBody>
      </p:sp>
      <p:sp>
        <p:nvSpPr>
          <p:cNvPr id="51" name="Textfeld 4"/>
          <p:cNvSpPr txBox="1">
            <a:spLocks/>
          </p:cNvSpPr>
          <p:nvPr/>
        </p:nvSpPr>
        <p:spPr bwMode="gray">
          <a:xfrm>
            <a:off x="4010401" y="3884968"/>
            <a:ext cx="4176338" cy="1061447"/>
          </a:xfrm>
          <a:prstGeom prst="rect">
            <a:avLst/>
          </a:prstGeom>
          <a:noFill/>
          <a:ln w="38100" cap="rnd">
            <a:noFill/>
            <a:prstDash val="sysDot"/>
          </a:ln>
        </p:spPr>
        <p:txBody>
          <a:bodyPr wrap="square" lIns="0" tIns="0" rIns="0" bIns="0" rtlCol="0" anchor="t">
            <a:noAutofit/>
          </a:bodyPr>
          <a:lstStyle/>
          <a:p>
            <a:pPr>
              <a:defRPr/>
            </a:pPr>
            <a:r>
              <a:rPr lang="en-US" altLang="de-DE" sz="1599" b="1" dirty="0">
                <a:solidFill>
                  <a:srgbClr val="00FFB9"/>
                </a:solidFill>
                <a:ea typeface="Arial Unicode MS"/>
              </a:rPr>
              <a:t>Cras ultricies mi eu</a:t>
            </a:r>
          </a:p>
          <a:p>
            <a:pPr marL="0" lvl="1">
              <a:spcBef>
                <a:spcPts val="300"/>
              </a:spcBef>
              <a:buClr>
                <a:srgbClr val="3C464B"/>
              </a:buClr>
              <a:defRPr/>
            </a:pPr>
            <a:r>
              <a:rPr lang="en-US" altLang="de-DE" sz="1199" dirty="0">
                <a:solidFill>
                  <a:srgbClr val="9999A9"/>
                </a:solidFill>
                <a:ea typeface="Arial Unicode MS"/>
                <a:cs typeface="Arial" pitchFamily="34" charset="0"/>
              </a:rPr>
              <a:t>Stet clita kasd gubergren, no sea takimata sanctus est lorem ipsum dolor sit amet</a:t>
            </a:r>
          </a:p>
        </p:txBody>
      </p:sp>
      <p:sp>
        <p:nvSpPr>
          <p:cNvPr id="52" name="Textfeld 5"/>
          <p:cNvSpPr txBox="1">
            <a:spLocks/>
          </p:cNvSpPr>
          <p:nvPr/>
        </p:nvSpPr>
        <p:spPr bwMode="gray">
          <a:xfrm>
            <a:off x="4010401" y="5117103"/>
            <a:ext cx="4176338" cy="1054251"/>
          </a:xfrm>
          <a:prstGeom prst="rect">
            <a:avLst/>
          </a:prstGeom>
          <a:noFill/>
          <a:ln w="38100" cap="rnd">
            <a:noFill/>
            <a:prstDash val="sysDot"/>
          </a:ln>
        </p:spPr>
        <p:txBody>
          <a:bodyPr wrap="square" lIns="0" tIns="0" rIns="0" bIns="0" rtlCol="0" anchor="t">
            <a:noAutofit/>
          </a:bodyPr>
          <a:lstStyle/>
          <a:p>
            <a:pPr>
              <a:defRPr/>
            </a:pPr>
            <a:r>
              <a:rPr lang="en-US" altLang="de-DE" sz="1599" b="1" dirty="0">
                <a:solidFill>
                  <a:srgbClr val="00FFB9"/>
                </a:solidFill>
                <a:ea typeface="Arial Unicode MS"/>
              </a:rPr>
              <a:t>Phasellus nec sem</a:t>
            </a:r>
          </a:p>
          <a:p>
            <a:pPr marL="0" lvl="1">
              <a:spcBef>
                <a:spcPts val="300"/>
              </a:spcBef>
              <a:buClr>
                <a:srgbClr val="3C464B"/>
              </a:buClr>
              <a:defRPr/>
            </a:pPr>
            <a:r>
              <a:rPr lang="en-US" altLang="de-DE" sz="1199" dirty="0">
                <a:solidFill>
                  <a:srgbClr val="9999A9"/>
                </a:solidFill>
                <a:ea typeface="Arial Unicode MS"/>
                <a:cs typeface="Arial" pitchFamily="34" charset="0"/>
              </a:rPr>
              <a:t>Consetetur sadipscing elitr, seddiam nonumy</a:t>
            </a:r>
          </a:p>
        </p:txBody>
      </p:sp>
      <p:sp>
        <p:nvSpPr>
          <p:cNvPr id="3" name="Footer Placeholder 2">
            <a:extLst>
              <a:ext uri="{FF2B5EF4-FFF2-40B4-BE49-F238E27FC236}">
                <a16:creationId xmlns:a16="http://schemas.microsoft.com/office/drawing/2014/main" id="{1FD3DBDC-3F05-4C5B-99D2-7321C5DD2564}"/>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7CA7D0D3-04B7-4F9E-B256-420EF86B29D2}"/>
              </a:ext>
            </a:extLst>
          </p:cNvPr>
          <p:cNvSpPr>
            <a:spLocks noGrp="1"/>
          </p:cNvSpPr>
          <p:nvPr>
            <p:ph type="sldNum" sz="quarter" idx="11"/>
          </p:nvPr>
        </p:nvSpPr>
        <p:spPr/>
        <p:txBody>
          <a:bodyPr/>
          <a:lstStyle/>
          <a:p>
            <a:r>
              <a:rPr lang="en-US" dirty="0"/>
              <a:t>Page </a:t>
            </a:r>
            <a:fld id="{15EBE321-CBB1-4E91-BD14-37C8D44326FB}" type="slidenum">
              <a:rPr lang="en-US" smtClean="0"/>
              <a:pPr/>
              <a:t>89</a:t>
            </a:fld>
            <a:endParaRPr lang="en-US" dirty="0"/>
          </a:p>
        </p:txBody>
      </p:sp>
    </p:spTree>
    <p:extLst>
      <p:ext uri="{BB962C8B-B14F-4D97-AF65-F5344CB8AC3E}">
        <p14:creationId xmlns:p14="http://schemas.microsoft.com/office/powerpoint/2010/main" val="19803045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 name="Objekt 55"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3" imgW="360" imgH="360" progId="">
                  <p:embed/>
                </p:oleObj>
              </mc:Choice>
              <mc:Fallback>
                <p:oleObj name="think-cell Folie" r:id="rId3" imgW="360" imgH="360" progId="">
                  <p:embed/>
                  <p:pic>
                    <p:nvPicPr>
                      <p:cNvPr id="56" name="Objekt 5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55" name="Tabelle 54"/>
          <p:cNvGraphicFramePr>
            <a:graphicFrameLocks noGrp="1"/>
          </p:cNvGraphicFramePr>
          <p:nvPr>
            <p:extLst>
              <p:ext uri="{D42A27DB-BD31-4B8C-83A1-F6EECF244321}">
                <p14:modId xmlns:p14="http://schemas.microsoft.com/office/powerpoint/2010/main" val="2654693383"/>
              </p:ext>
            </p:extLst>
          </p:nvPr>
        </p:nvGraphicFramePr>
        <p:xfrm>
          <a:off x="410400" y="1415849"/>
          <a:ext cx="11376000" cy="4371723"/>
        </p:xfrm>
        <a:graphic>
          <a:graphicData uri="http://schemas.openxmlformats.org/drawingml/2006/table">
            <a:tbl>
              <a:tblPr firstRow="1">
                <a:tableStyleId>{0E3FDE45-AF77-4B5C-9715-49D594BDF05E}</a:tableStyleId>
              </a:tblPr>
              <a:tblGrid>
                <a:gridCol w="432000">
                  <a:extLst>
                    <a:ext uri="{9D8B030D-6E8A-4147-A177-3AD203B41FA5}">
                      <a16:colId xmlns:a16="http://schemas.microsoft.com/office/drawing/2014/main" val="20000"/>
                    </a:ext>
                  </a:extLst>
                </a:gridCol>
                <a:gridCol w="2160000">
                  <a:extLst>
                    <a:ext uri="{9D8B030D-6E8A-4147-A177-3AD203B41FA5}">
                      <a16:colId xmlns:a16="http://schemas.microsoft.com/office/drawing/2014/main" val="20001"/>
                    </a:ext>
                  </a:extLst>
                </a:gridCol>
                <a:gridCol w="5616000">
                  <a:extLst>
                    <a:ext uri="{9D8B030D-6E8A-4147-A177-3AD203B41FA5}">
                      <a16:colId xmlns:a16="http://schemas.microsoft.com/office/drawing/2014/main" val="20002"/>
                    </a:ext>
                  </a:extLst>
                </a:gridCol>
                <a:gridCol w="3168000">
                  <a:extLst>
                    <a:ext uri="{9D8B030D-6E8A-4147-A177-3AD203B41FA5}">
                      <a16:colId xmlns:a16="http://schemas.microsoft.com/office/drawing/2014/main" val="20003"/>
                    </a:ext>
                  </a:extLst>
                </a:gridCol>
              </a:tblGrid>
              <a:tr h="485747">
                <a:tc>
                  <a:txBody>
                    <a:bodyPr/>
                    <a:lstStyle/>
                    <a:p>
                      <a:endParaRPr lang="en-US" sz="1800" noProof="0" dirty="0">
                        <a:solidFill>
                          <a:srgbClr val="9999A9"/>
                        </a:solidFill>
                      </a:endParaRPr>
                    </a:p>
                  </a:txBody>
                  <a:tcPr marL="107944" marR="107944" marT="71963" marB="71963" anchor="ctr">
                    <a:lnB w="28575" cap="flat" cmpd="sng" algn="ctr">
                      <a:solidFill>
                        <a:srgbClr val="9999A9"/>
                      </a:solidFill>
                      <a:prstDash val="solid"/>
                      <a:round/>
                      <a:headEnd type="none" w="med" len="med"/>
                      <a:tailEnd type="none" w="med" len="med"/>
                    </a:lnB>
                  </a:tcPr>
                </a:tc>
                <a:tc>
                  <a:txBody>
                    <a:bodyPr/>
                    <a:lstStyle/>
                    <a:p>
                      <a:pPr>
                        <a:spcBef>
                          <a:spcPct val="0"/>
                        </a:spcBef>
                        <a:buFont typeface="Wingdings" charset="0"/>
                        <a:buNone/>
                      </a:pPr>
                      <a:r>
                        <a:rPr lang="en-US" sz="1800" noProof="0" dirty="0">
                          <a:solidFill>
                            <a:srgbClr val="9999A9"/>
                          </a:solidFill>
                        </a:rPr>
                        <a:t>Time</a:t>
                      </a:r>
                      <a:endParaRPr lang="en-US" sz="1800" b="1" noProof="0" dirty="0">
                        <a:solidFill>
                          <a:srgbClr val="9999A9"/>
                        </a:solidFill>
                        <a:latin typeface="+mn-lt"/>
                        <a:ea typeface="Arial Unicode MS"/>
                      </a:endParaRPr>
                    </a:p>
                  </a:txBody>
                  <a:tcPr marL="107944" marR="107944" marT="71963" marB="71963" anchor="ctr">
                    <a:lnB w="28575" cap="flat" cmpd="sng" algn="ctr">
                      <a:solidFill>
                        <a:srgbClr val="9999A9"/>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noProof="0" dirty="0">
                          <a:solidFill>
                            <a:srgbClr val="9999A9"/>
                          </a:solidFill>
                        </a:rPr>
                        <a:t>Topic</a:t>
                      </a:r>
                      <a:endParaRPr lang="en-US" sz="1800" b="1" noProof="0" dirty="0">
                        <a:solidFill>
                          <a:srgbClr val="9999A9"/>
                        </a:solidFill>
                        <a:latin typeface="+mn-lt"/>
                        <a:ea typeface="Arial Unicode MS"/>
                      </a:endParaRPr>
                    </a:p>
                  </a:txBody>
                  <a:tcPr marL="107944" marR="107944" marT="71963" marB="71963" anchor="ctr">
                    <a:lnB w="28575" cap="flat" cmpd="sng" algn="ctr">
                      <a:solidFill>
                        <a:srgbClr val="9999A9"/>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noProof="0" dirty="0">
                          <a:solidFill>
                            <a:srgbClr val="9999A9"/>
                          </a:solidFill>
                        </a:rPr>
                        <a:t>Presenter</a:t>
                      </a:r>
                      <a:endParaRPr lang="en-US" sz="1800" b="1" noProof="0" dirty="0">
                        <a:solidFill>
                          <a:srgbClr val="9999A9"/>
                        </a:solidFill>
                        <a:latin typeface="+mn-lt"/>
                        <a:ea typeface="Arial Unicode MS"/>
                      </a:endParaRPr>
                    </a:p>
                  </a:txBody>
                  <a:tcPr marL="107944" marR="107944" marT="71963" marB="71963" anchor="ctr">
                    <a:lnB w="28575" cap="flat" cmpd="sng" algn="ctr">
                      <a:solidFill>
                        <a:srgbClr val="9999A9"/>
                      </a:solidFill>
                      <a:prstDash val="solid"/>
                      <a:round/>
                      <a:headEnd type="none" w="med" len="med"/>
                      <a:tailEnd type="none" w="med" len="med"/>
                    </a:lnB>
                  </a:tcPr>
                </a:tc>
                <a:extLst>
                  <a:ext uri="{0D108BD9-81ED-4DB2-BD59-A6C34878D82A}">
                    <a16:rowId xmlns:a16="http://schemas.microsoft.com/office/drawing/2014/main" val="10000"/>
                  </a:ext>
                </a:extLst>
              </a:tr>
              <a:tr h="485747">
                <a:tc>
                  <a:txBody>
                    <a:bodyPr/>
                    <a:lstStyle/>
                    <a:p>
                      <a:endParaRPr lang="en-US" sz="1800" noProof="0" dirty="0">
                        <a:solidFill>
                          <a:srgbClr val="9999A9"/>
                        </a:solidFill>
                      </a:endParaRPr>
                    </a:p>
                  </a:txBody>
                  <a:tcPr marL="107944" marR="107944" marT="71963" marB="71963" anchor="ctr">
                    <a:lnT w="28575" cap="flat" cmpd="sng" algn="ctr">
                      <a:solidFill>
                        <a:srgbClr val="9999A9"/>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r>
                        <a:rPr lang="en-US" sz="1800" noProof="0" dirty="0">
                          <a:solidFill>
                            <a:srgbClr val="9999A9"/>
                          </a:solidFill>
                        </a:rPr>
                        <a:t>00:00 am</a:t>
                      </a:r>
                    </a:p>
                  </a:txBody>
                  <a:tcPr marL="107944" marR="107944" marT="71963" marB="71963" anchor="ctr">
                    <a:lnT w="28575" cap="flat" cmpd="sng" algn="ctr">
                      <a:solidFill>
                        <a:srgbClr val="9999A9"/>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noProof="0" dirty="0">
                          <a:solidFill>
                            <a:srgbClr val="9999A9"/>
                          </a:solidFill>
                        </a:rPr>
                        <a:t>At vero eos et accusam</a:t>
                      </a:r>
                      <a:endParaRPr lang="en-US" sz="1800" noProof="0" dirty="0">
                        <a:solidFill>
                          <a:srgbClr val="9999A9"/>
                        </a:solidFill>
                        <a:latin typeface="+mn-lt"/>
                        <a:ea typeface="Arial Unicode MS"/>
                      </a:endParaRPr>
                    </a:p>
                  </a:txBody>
                  <a:tcPr marL="107944" marR="107944" marT="71963" marB="71963" anchor="ctr">
                    <a:lnT w="28575" cap="flat" cmpd="sng" algn="ctr">
                      <a:solidFill>
                        <a:srgbClr val="9999A9"/>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noProof="0" dirty="0">
                          <a:solidFill>
                            <a:srgbClr val="9999A9"/>
                          </a:solidFill>
                        </a:rPr>
                        <a:t>Vero Accusam</a:t>
                      </a:r>
                      <a:endParaRPr lang="en-US" sz="1800" noProof="0" dirty="0">
                        <a:solidFill>
                          <a:srgbClr val="9999A9"/>
                        </a:solidFill>
                        <a:latin typeface="+mn-lt"/>
                        <a:ea typeface="Arial Unicode MS"/>
                      </a:endParaRPr>
                    </a:p>
                  </a:txBody>
                  <a:tcPr marL="107944" marR="107944" marT="71963" marB="71963" anchor="ctr">
                    <a:lnT w="28575" cap="flat" cmpd="sng" algn="ctr">
                      <a:solidFill>
                        <a:srgbClr val="9999A9"/>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1"/>
                  </a:ext>
                </a:extLst>
              </a:tr>
              <a:tr h="485747">
                <a:tc>
                  <a:txBody>
                    <a:bodyPr/>
                    <a:lstStyle/>
                    <a:p>
                      <a:endParaRPr lang="en-US" sz="1800" noProof="0" dirty="0">
                        <a:solidFill>
                          <a:srgbClr val="9999A9"/>
                        </a:solidFill>
                      </a:endParaRPr>
                    </a:p>
                  </a:txBody>
                  <a:tcPr marL="107944"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noProof="0" dirty="0">
                          <a:solidFill>
                            <a:srgbClr val="9999A9"/>
                          </a:solidFill>
                        </a:rPr>
                        <a:t>00:00 am</a:t>
                      </a:r>
                    </a:p>
                  </a:txBody>
                  <a:tcPr marL="107944"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noProof="0" dirty="0">
                          <a:solidFill>
                            <a:srgbClr val="9999A9"/>
                          </a:solidFill>
                        </a:rPr>
                        <a:t>Consetetur sadipscing elitr</a:t>
                      </a:r>
                      <a:endParaRPr lang="en-US" sz="1800" noProof="0" dirty="0">
                        <a:solidFill>
                          <a:srgbClr val="9999A9"/>
                        </a:solidFill>
                        <a:latin typeface="+mn-lt"/>
                        <a:ea typeface="Arial Unicode MS"/>
                      </a:endParaRPr>
                    </a:p>
                  </a:txBody>
                  <a:tcPr marL="107944"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noProof="0" dirty="0">
                          <a:solidFill>
                            <a:srgbClr val="9999A9"/>
                          </a:solidFill>
                        </a:rPr>
                        <a:t>Duis Tortor</a:t>
                      </a:r>
                      <a:endParaRPr lang="en-US" sz="1800" noProof="0" dirty="0">
                        <a:solidFill>
                          <a:srgbClr val="9999A9"/>
                        </a:solidFill>
                        <a:latin typeface="+mn-lt"/>
                        <a:ea typeface="Arial Unicode MS"/>
                      </a:endParaRPr>
                    </a:p>
                  </a:txBody>
                  <a:tcPr marL="107944"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2"/>
                  </a:ext>
                </a:extLst>
              </a:tr>
              <a:tr h="485747">
                <a:tc>
                  <a:txBody>
                    <a:bodyPr/>
                    <a:lstStyle/>
                    <a:p>
                      <a:endParaRPr lang="en-US" sz="1800" noProof="0" dirty="0">
                        <a:solidFill>
                          <a:srgbClr val="9999A9"/>
                        </a:solidFill>
                      </a:endParaRPr>
                    </a:p>
                  </a:txBody>
                  <a:tcPr marL="107944"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noProof="0" dirty="0">
                          <a:solidFill>
                            <a:srgbClr val="9999A9"/>
                          </a:solidFill>
                        </a:rPr>
                        <a:t>00:00 am</a:t>
                      </a:r>
                    </a:p>
                  </a:txBody>
                  <a:tcPr marL="107944"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noProof="0" dirty="0">
                          <a:solidFill>
                            <a:srgbClr val="9999A9"/>
                          </a:solidFill>
                        </a:rPr>
                        <a:t>At vero eos et accusam</a:t>
                      </a:r>
                      <a:endParaRPr lang="en-US" sz="1800" noProof="0" dirty="0">
                        <a:solidFill>
                          <a:srgbClr val="9999A9"/>
                        </a:solidFill>
                        <a:latin typeface="+mn-lt"/>
                        <a:ea typeface="Arial Unicode MS"/>
                      </a:endParaRPr>
                    </a:p>
                  </a:txBody>
                  <a:tcPr marL="107944"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noProof="0" dirty="0">
                          <a:solidFill>
                            <a:srgbClr val="9999A9"/>
                          </a:solidFill>
                        </a:rPr>
                        <a:t>Phasellus Necsem</a:t>
                      </a:r>
                      <a:endParaRPr lang="en-US" sz="1800" noProof="0" dirty="0">
                        <a:solidFill>
                          <a:srgbClr val="9999A9"/>
                        </a:solidFill>
                        <a:latin typeface="+mn-lt"/>
                        <a:ea typeface="Arial Unicode MS"/>
                      </a:endParaRPr>
                    </a:p>
                  </a:txBody>
                  <a:tcPr marL="107944"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3"/>
                  </a:ext>
                </a:extLst>
              </a:tr>
              <a:tr h="485747">
                <a:tc>
                  <a:txBody>
                    <a:bodyPr/>
                    <a:lstStyle/>
                    <a:p>
                      <a:endParaRPr lang="en-US" sz="1800" noProof="0" dirty="0">
                        <a:solidFill>
                          <a:srgbClr val="9999A9"/>
                        </a:solidFill>
                      </a:endParaRPr>
                    </a:p>
                  </a:txBody>
                  <a:tcPr marL="107944"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noProof="0" dirty="0">
                          <a:solidFill>
                            <a:srgbClr val="9999A9"/>
                          </a:solidFill>
                        </a:rPr>
                        <a:t>00:00 am</a:t>
                      </a:r>
                    </a:p>
                  </a:txBody>
                  <a:tcPr marL="107944"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noProof="0" dirty="0">
                          <a:solidFill>
                            <a:srgbClr val="9999A9"/>
                          </a:solidFill>
                        </a:rPr>
                        <a:t>Duis arcu tortor</a:t>
                      </a:r>
                      <a:endParaRPr lang="en-US" sz="1800" noProof="0" dirty="0">
                        <a:solidFill>
                          <a:srgbClr val="9999A9"/>
                        </a:solidFill>
                        <a:latin typeface="+mn-lt"/>
                        <a:ea typeface="Arial Unicode MS"/>
                      </a:endParaRPr>
                    </a:p>
                  </a:txBody>
                  <a:tcPr marL="107944"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noProof="0" dirty="0">
                          <a:solidFill>
                            <a:srgbClr val="9999A9"/>
                          </a:solidFill>
                        </a:rPr>
                        <a:t>Odio Maecenas</a:t>
                      </a:r>
                      <a:endParaRPr lang="en-US" sz="1800" noProof="0" dirty="0">
                        <a:solidFill>
                          <a:srgbClr val="9999A9"/>
                        </a:solidFill>
                        <a:latin typeface="+mn-lt"/>
                        <a:ea typeface="Arial Unicode MS"/>
                      </a:endParaRPr>
                    </a:p>
                  </a:txBody>
                  <a:tcPr marL="107944"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4"/>
                  </a:ext>
                </a:extLst>
              </a:tr>
              <a:tr h="485747">
                <a:tc>
                  <a:txBody>
                    <a:bodyPr/>
                    <a:lstStyle/>
                    <a:p>
                      <a:endParaRPr lang="en-US" sz="1800" noProof="0" dirty="0">
                        <a:solidFill>
                          <a:srgbClr val="9999A9"/>
                        </a:solidFill>
                      </a:endParaRPr>
                    </a:p>
                  </a:txBody>
                  <a:tcPr marL="107944"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noProof="0" dirty="0">
                          <a:solidFill>
                            <a:srgbClr val="9999A9"/>
                          </a:solidFill>
                        </a:rPr>
                        <a:t>00:00 am</a:t>
                      </a:r>
                    </a:p>
                  </a:txBody>
                  <a:tcPr marL="107944"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noProof="0" dirty="0">
                          <a:solidFill>
                            <a:srgbClr val="9999A9"/>
                          </a:solidFill>
                        </a:rPr>
                        <a:t>At vero eos et accusam</a:t>
                      </a:r>
                      <a:endParaRPr lang="en-US" sz="1800" noProof="0" dirty="0">
                        <a:solidFill>
                          <a:srgbClr val="9999A9"/>
                        </a:solidFill>
                        <a:latin typeface="+mn-lt"/>
                        <a:ea typeface="Arial Unicode MS"/>
                      </a:endParaRPr>
                    </a:p>
                  </a:txBody>
                  <a:tcPr marL="107944"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noProof="0" dirty="0">
                          <a:solidFill>
                            <a:srgbClr val="9999A9"/>
                          </a:solidFill>
                        </a:rPr>
                        <a:t>Eos Laccusam</a:t>
                      </a:r>
                      <a:endParaRPr lang="en-US" sz="1800" noProof="0" dirty="0">
                        <a:solidFill>
                          <a:srgbClr val="9999A9"/>
                        </a:solidFill>
                        <a:latin typeface="+mn-lt"/>
                        <a:ea typeface="Arial Unicode MS"/>
                      </a:endParaRPr>
                    </a:p>
                  </a:txBody>
                  <a:tcPr marL="107944"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5"/>
                  </a:ext>
                </a:extLst>
              </a:tr>
              <a:tr h="485747">
                <a:tc>
                  <a:txBody>
                    <a:bodyPr/>
                    <a:lstStyle/>
                    <a:p>
                      <a:endParaRPr lang="en-US" sz="1800" noProof="0" dirty="0">
                        <a:solidFill>
                          <a:srgbClr val="9999A9"/>
                        </a:solidFill>
                      </a:endParaRPr>
                    </a:p>
                  </a:txBody>
                  <a:tcPr marL="107944"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noProof="0" dirty="0">
                          <a:solidFill>
                            <a:srgbClr val="9999A9"/>
                          </a:solidFill>
                        </a:rPr>
                        <a:t>00:00 am</a:t>
                      </a:r>
                    </a:p>
                  </a:txBody>
                  <a:tcPr marL="107944"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noProof="0" dirty="0">
                          <a:solidFill>
                            <a:srgbClr val="9999A9"/>
                          </a:solidFill>
                        </a:rPr>
                        <a:t>Consetetur sadipscing elitr</a:t>
                      </a:r>
                      <a:endParaRPr lang="en-US" sz="1800" noProof="0" dirty="0">
                        <a:solidFill>
                          <a:srgbClr val="9999A9"/>
                        </a:solidFill>
                        <a:latin typeface="+mn-lt"/>
                        <a:ea typeface="Arial Unicode MS"/>
                      </a:endParaRPr>
                    </a:p>
                  </a:txBody>
                  <a:tcPr marL="107944"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noProof="0" dirty="0">
                          <a:solidFill>
                            <a:srgbClr val="9999A9"/>
                          </a:solidFill>
                        </a:rPr>
                        <a:t>Duis Larcutortor</a:t>
                      </a:r>
                      <a:endParaRPr lang="en-US" sz="1800" noProof="0" dirty="0">
                        <a:solidFill>
                          <a:srgbClr val="9999A9"/>
                        </a:solidFill>
                        <a:latin typeface="+mn-lt"/>
                        <a:ea typeface="Arial Unicode MS"/>
                      </a:endParaRPr>
                    </a:p>
                  </a:txBody>
                  <a:tcPr marL="107944"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extLst>
                  <a:ext uri="{0D108BD9-81ED-4DB2-BD59-A6C34878D82A}">
                    <a16:rowId xmlns:a16="http://schemas.microsoft.com/office/drawing/2014/main" val="10006"/>
                  </a:ext>
                </a:extLst>
              </a:tr>
              <a:tr h="485747">
                <a:tc>
                  <a:txBody>
                    <a:bodyPr/>
                    <a:lstStyle/>
                    <a:p>
                      <a:endParaRPr lang="en-US" sz="1800" noProof="0" dirty="0">
                        <a:solidFill>
                          <a:srgbClr val="9999A9"/>
                        </a:solidFill>
                      </a:endParaRPr>
                    </a:p>
                  </a:txBody>
                  <a:tcPr marL="107944"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9999A9"/>
                          </a:solidFill>
                          <a:effectLst/>
                          <a:uLnTx/>
                          <a:uFillTx/>
                        </a:rPr>
                        <a:t>Name presenter</a:t>
                      </a:r>
                      <a:endParaRPr kumimoji="0" lang="en-US" sz="1800" b="0" i="0" u="none" strike="noStrike" kern="1200" cap="none" spc="0" normalizeH="0" baseline="0" noProof="0" dirty="0">
                        <a:ln>
                          <a:noFill/>
                        </a:ln>
                        <a:solidFill>
                          <a:srgbClr val="9999A9"/>
                        </a:solidFill>
                        <a:effectLst/>
                        <a:uLnTx/>
                        <a:uFillTx/>
                        <a:latin typeface="+mn-lt"/>
                        <a:ea typeface="+mn-ea"/>
                        <a:cs typeface="+mn-cs"/>
                      </a:endParaRPr>
                    </a:p>
                  </a:txBody>
                  <a:tcPr marL="107944"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dirty="0">
                        <a:solidFill>
                          <a:srgbClr val="3C464B"/>
                        </a:solidFill>
                        <a:latin typeface="+mn-lt"/>
                        <a:ea typeface="Arial Unicode MS"/>
                      </a:endParaRPr>
                    </a:p>
                  </a:txBody>
                  <a:tcPr marL="108000" marR="108000" marT="72000" marB="72000" anchor="ctr">
                    <a:lnR w="12700" cmpd="sng">
                      <a:noFill/>
                    </a:lnR>
                    <a:lnT w="12700" cap="flat" cmpd="sng" algn="ctr">
                      <a:solidFill>
                        <a:srgbClr val="879BAA"/>
                      </a:solidFill>
                      <a:prstDash val="solid"/>
                      <a:round/>
                      <a:headEnd type="none" w="med" len="med"/>
                      <a:tailEnd type="none" w="med" len="med"/>
                    </a:lnT>
                    <a:lnB w="12700" cap="flat" cmpd="sng" algn="ctr">
                      <a:solidFill>
                        <a:srgbClr val="879BAA"/>
                      </a:solidFill>
                      <a:prstDash val="solid"/>
                      <a:round/>
                      <a:headEnd type="none" w="med" len="med"/>
                      <a:tailEnd type="none" w="med" len="med"/>
                    </a:lnB>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dirty="0">
                        <a:solidFill>
                          <a:schemeClr val="tx1"/>
                        </a:solidFill>
                        <a:latin typeface="+mn-lt"/>
                        <a:ea typeface="Arial Unicode MS"/>
                      </a:endParaRPr>
                    </a:p>
                  </a:txBody>
                  <a:tcPr marL="108000" marR="108000" marT="72000" marB="72000" anchor="ctr">
                    <a:lnR w="1905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0007"/>
                  </a:ext>
                </a:extLst>
              </a:tr>
              <a:tr h="485747">
                <a:tc>
                  <a:txBody>
                    <a:bodyPr/>
                    <a:lstStyle/>
                    <a:p>
                      <a:endParaRPr lang="en-US" sz="1800" noProof="0" dirty="0">
                        <a:solidFill>
                          <a:srgbClr val="9999A9"/>
                        </a:solidFill>
                      </a:endParaRPr>
                    </a:p>
                  </a:txBody>
                  <a:tcPr marL="107944"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grid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noProof="0" dirty="0">
                          <a:solidFill>
                            <a:srgbClr val="9999A9"/>
                          </a:solidFill>
                        </a:rPr>
                        <a:t>Guest</a:t>
                      </a:r>
                    </a:p>
                  </a:txBody>
                  <a:tcPr marL="107944" marR="107944" marT="71963" marB="71963" anchor="ct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dirty="0">
                        <a:solidFill>
                          <a:srgbClr val="3C464B"/>
                        </a:solidFill>
                        <a:latin typeface="+mn-lt"/>
                        <a:ea typeface="Arial Unicode MS"/>
                      </a:endParaRPr>
                    </a:p>
                  </a:txBody>
                  <a:tcPr marL="108000" marR="108000" marT="72000" marB="72000" anchor="ctr">
                    <a:lnR w="12700" cmpd="sng">
                      <a:noFill/>
                    </a:lnR>
                    <a:lnT w="12700" cap="flat" cmpd="sng" algn="ctr">
                      <a:solidFill>
                        <a:srgbClr val="879BAA"/>
                      </a:solidFill>
                      <a:prstDash val="solid"/>
                      <a:round/>
                      <a:headEnd type="none" w="med" len="med"/>
                      <a:tailEnd type="none" w="med" len="med"/>
                    </a:lnT>
                    <a:lnB w="12700" cap="flat" cmpd="sng" algn="ctr">
                      <a:solidFill>
                        <a:srgbClr val="00646E"/>
                      </a:solidFill>
                      <a:prstDash val="solid"/>
                      <a:round/>
                      <a:headEnd type="none" w="med" len="med"/>
                      <a:tailEnd type="none" w="med" len="med"/>
                    </a:lnB>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dirty="0">
                        <a:solidFill>
                          <a:schemeClr val="tx1"/>
                        </a:solidFill>
                        <a:latin typeface="+mn-lt"/>
                        <a:ea typeface="Arial Unicode MS"/>
                      </a:endParaRPr>
                    </a:p>
                  </a:txBody>
                  <a:tcPr marL="108000" marR="108000" marT="72000" marB="72000" anchor="ctr">
                    <a:lnR w="1905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19050" cap="flat" cmpd="sng" algn="ctr">
                      <a:solidFill>
                        <a:srgbClr val="0F8287"/>
                      </a:solid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sp>
        <p:nvSpPr>
          <p:cNvPr id="5" name="Titel 4"/>
          <p:cNvSpPr>
            <a:spLocks noGrp="1"/>
          </p:cNvSpPr>
          <p:nvPr>
            <p:ph type="title"/>
          </p:nvPr>
        </p:nvSpPr>
        <p:spPr/>
        <p:txBody>
          <a:bodyPr/>
          <a:lstStyle/>
          <a:p>
            <a:r>
              <a:rPr lang="en-US" noProof="0" dirty="0"/>
              <a:t>Agenda</a:t>
            </a:r>
          </a:p>
        </p:txBody>
      </p:sp>
      <p:sp>
        <p:nvSpPr>
          <p:cNvPr id="2" name="Footer Placeholder 1">
            <a:extLst>
              <a:ext uri="{FF2B5EF4-FFF2-40B4-BE49-F238E27FC236}">
                <a16:creationId xmlns:a16="http://schemas.microsoft.com/office/drawing/2014/main" id="{0370ADA7-D1F3-4148-BE42-7C8D5DFB786A}"/>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3" name="Slide Number Placeholder 2">
            <a:extLst>
              <a:ext uri="{FF2B5EF4-FFF2-40B4-BE49-F238E27FC236}">
                <a16:creationId xmlns:a16="http://schemas.microsoft.com/office/drawing/2014/main" id="{5D4ACFD3-5D97-40F5-A627-D5A6A9653B81}"/>
              </a:ext>
            </a:extLst>
          </p:cNvPr>
          <p:cNvSpPr>
            <a:spLocks noGrp="1"/>
          </p:cNvSpPr>
          <p:nvPr>
            <p:ph type="sldNum" sz="quarter" idx="11"/>
          </p:nvPr>
        </p:nvSpPr>
        <p:spPr/>
        <p:txBody>
          <a:bodyPr/>
          <a:lstStyle/>
          <a:p>
            <a:r>
              <a:rPr lang="en-US" dirty="0"/>
              <a:t>Page </a:t>
            </a:r>
            <a:fld id="{15EBE321-CBB1-4E91-BD14-37C8D44326FB}" type="slidenum">
              <a:rPr lang="en-US" smtClean="0"/>
              <a:pPr/>
              <a:t>9</a:t>
            </a:fld>
            <a:endParaRPr lang="en-US" dirty="0"/>
          </a:p>
        </p:txBody>
      </p:sp>
      <p:sp>
        <p:nvSpPr>
          <p:cNvPr id="11" name="Rechteck 10"/>
          <p:cNvSpPr/>
          <p:nvPr/>
        </p:nvSpPr>
        <p:spPr bwMode="gray">
          <a:xfrm>
            <a:off x="410400" y="1973558"/>
            <a:ext cx="341692" cy="341692"/>
          </a:xfrm>
          <a:prstGeom prst="rect">
            <a:avLst/>
          </a:prstGeom>
          <a:solidFill>
            <a:schemeClr val="accent2"/>
          </a:solidFill>
          <a:ln>
            <a:noFill/>
          </a:ln>
          <a:effectLst/>
        </p:spPr>
        <p:txBody>
          <a:bodyPr wrap="square" lIns="143925" tIns="71963" rIns="143925" bIns="71963" numCol="1" spcCol="72000" rtlCol="0" anchor="ctr">
            <a:noAutofit/>
          </a:bodyPr>
          <a:lstStyle/>
          <a:p>
            <a:pPr algn="ctr">
              <a:spcBef>
                <a:spcPct val="0"/>
              </a:spcBef>
              <a:buFont typeface="Wingdings" charset="0"/>
              <a:buNone/>
            </a:pPr>
            <a:r>
              <a:rPr lang="en-US" sz="1599" b="1" dirty="0">
                <a:solidFill>
                  <a:schemeClr val="bg2"/>
                </a:solidFill>
                <a:ea typeface="Arial Unicode MS"/>
                <a:sym typeface="Arial"/>
              </a:rPr>
              <a:t>1</a:t>
            </a:r>
          </a:p>
        </p:txBody>
      </p:sp>
      <p:sp>
        <p:nvSpPr>
          <p:cNvPr id="19" name="Rechteck 18"/>
          <p:cNvSpPr/>
          <p:nvPr/>
        </p:nvSpPr>
        <p:spPr bwMode="gray">
          <a:xfrm>
            <a:off x="410400" y="2459305"/>
            <a:ext cx="341692" cy="341692"/>
          </a:xfrm>
          <a:prstGeom prst="rect">
            <a:avLst/>
          </a:prstGeom>
          <a:solidFill>
            <a:schemeClr val="accent2"/>
          </a:solidFill>
          <a:ln>
            <a:noFill/>
          </a:ln>
          <a:effectLst/>
        </p:spPr>
        <p:txBody>
          <a:bodyPr wrap="square" lIns="143925" tIns="71963" rIns="143925" bIns="71963" numCol="1" spcCol="72000" rtlCol="0" anchor="ctr">
            <a:noAutofit/>
          </a:bodyPr>
          <a:lstStyle/>
          <a:p>
            <a:pPr algn="ctr">
              <a:spcBef>
                <a:spcPct val="0"/>
              </a:spcBef>
              <a:buFont typeface="Wingdings" charset="0"/>
              <a:buNone/>
            </a:pPr>
            <a:r>
              <a:rPr lang="en-US" sz="1599" b="1" dirty="0">
                <a:solidFill>
                  <a:schemeClr val="bg2"/>
                </a:solidFill>
                <a:ea typeface="Arial Unicode MS"/>
                <a:sym typeface="Arial"/>
              </a:rPr>
              <a:t>2</a:t>
            </a:r>
          </a:p>
        </p:txBody>
      </p:sp>
      <p:sp>
        <p:nvSpPr>
          <p:cNvPr id="26" name="Rechteck 25"/>
          <p:cNvSpPr/>
          <p:nvPr/>
        </p:nvSpPr>
        <p:spPr bwMode="gray">
          <a:xfrm>
            <a:off x="410400" y="2945052"/>
            <a:ext cx="341692" cy="341692"/>
          </a:xfrm>
          <a:prstGeom prst="rect">
            <a:avLst/>
          </a:prstGeom>
          <a:solidFill>
            <a:schemeClr val="accent2"/>
          </a:solidFill>
          <a:ln>
            <a:noFill/>
          </a:ln>
          <a:effectLst/>
        </p:spPr>
        <p:txBody>
          <a:bodyPr wrap="square" lIns="143925" tIns="71963" rIns="143925" bIns="71963" numCol="1" spcCol="72000" rtlCol="0" anchor="ctr">
            <a:noAutofit/>
          </a:bodyPr>
          <a:lstStyle/>
          <a:p>
            <a:pPr algn="ctr">
              <a:spcBef>
                <a:spcPct val="0"/>
              </a:spcBef>
              <a:buFont typeface="Wingdings" charset="0"/>
              <a:buNone/>
            </a:pPr>
            <a:r>
              <a:rPr lang="en-US" sz="1599" b="1" dirty="0">
                <a:solidFill>
                  <a:schemeClr val="bg2"/>
                </a:solidFill>
                <a:ea typeface="Arial Unicode MS"/>
                <a:sym typeface="Arial"/>
              </a:rPr>
              <a:t>3</a:t>
            </a:r>
          </a:p>
        </p:txBody>
      </p:sp>
      <p:sp>
        <p:nvSpPr>
          <p:cNvPr id="33" name="Rechteck 32"/>
          <p:cNvSpPr/>
          <p:nvPr/>
        </p:nvSpPr>
        <p:spPr bwMode="gray">
          <a:xfrm>
            <a:off x="410400" y="3430799"/>
            <a:ext cx="341692" cy="341692"/>
          </a:xfrm>
          <a:prstGeom prst="rect">
            <a:avLst/>
          </a:prstGeom>
          <a:solidFill>
            <a:schemeClr val="accent2"/>
          </a:solidFill>
          <a:ln>
            <a:noFill/>
          </a:ln>
          <a:effectLst/>
        </p:spPr>
        <p:txBody>
          <a:bodyPr wrap="square" lIns="143925" tIns="71963" rIns="143925" bIns="71963" numCol="1" spcCol="72000" rtlCol="0" anchor="ctr">
            <a:noAutofit/>
          </a:bodyPr>
          <a:lstStyle/>
          <a:p>
            <a:pPr algn="ctr">
              <a:spcBef>
                <a:spcPct val="0"/>
              </a:spcBef>
              <a:buFont typeface="Wingdings" charset="0"/>
              <a:buNone/>
            </a:pPr>
            <a:r>
              <a:rPr lang="en-US" sz="1599" b="1" dirty="0">
                <a:solidFill>
                  <a:schemeClr val="bg2"/>
                </a:solidFill>
                <a:ea typeface="Arial Unicode MS"/>
                <a:sym typeface="Arial"/>
              </a:rPr>
              <a:t>4</a:t>
            </a:r>
          </a:p>
        </p:txBody>
      </p:sp>
      <p:sp>
        <p:nvSpPr>
          <p:cNvPr id="40" name="Rechteck 39"/>
          <p:cNvSpPr/>
          <p:nvPr/>
        </p:nvSpPr>
        <p:spPr bwMode="gray">
          <a:xfrm>
            <a:off x="410400" y="3916546"/>
            <a:ext cx="341692" cy="341692"/>
          </a:xfrm>
          <a:prstGeom prst="rect">
            <a:avLst/>
          </a:prstGeom>
          <a:solidFill>
            <a:schemeClr val="accent2"/>
          </a:solidFill>
          <a:ln>
            <a:noFill/>
          </a:ln>
          <a:effectLst/>
        </p:spPr>
        <p:txBody>
          <a:bodyPr wrap="square" lIns="143925" tIns="71963" rIns="143925" bIns="71963" numCol="1" spcCol="72000" rtlCol="0" anchor="ctr">
            <a:noAutofit/>
          </a:bodyPr>
          <a:lstStyle/>
          <a:p>
            <a:pPr algn="ctr">
              <a:spcBef>
                <a:spcPct val="0"/>
              </a:spcBef>
              <a:buFont typeface="Wingdings" charset="0"/>
              <a:buNone/>
            </a:pPr>
            <a:r>
              <a:rPr lang="en-US" sz="1599" b="1" dirty="0">
                <a:solidFill>
                  <a:schemeClr val="bg2"/>
                </a:solidFill>
                <a:ea typeface="Arial Unicode MS"/>
                <a:sym typeface="Arial"/>
              </a:rPr>
              <a:t>5</a:t>
            </a:r>
          </a:p>
        </p:txBody>
      </p:sp>
      <p:sp>
        <p:nvSpPr>
          <p:cNvPr id="47" name="Ellipse 46"/>
          <p:cNvSpPr/>
          <p:nvPr/>
        </p:nvSpPr>
        <p:spPr bwMode="gray">
          <a:xfrm>
            <a:off x="410400" y="5373787"/>
            <a:ext cx="341692" cy="341692"/>
          </a:xfrm>
          <a:prstGeom prst="ellipse">
            <a:avLst/>
          </a:prstGeom>
          <a:solidFill>
            <a:srgbClr val="9999A9"/>
          </a:solidFill>
          <a:ln>
            <a:noFill/>
          </a:ln>
          <a:effectLst/>
        </p:spPr>
        <p:txBody>
          <a:bodyPr wrap="square" lIns="143925" tIns="71963" rIns="143925" bIns="71963" numCol="1" spcCol="72000" rtlCol="0" anchor="ctr">
            <a:noAutofit/>
          </a:bodyPr>
          <a:lstStyle/>
          <a:p>
            <a:pPr algn="ctr">
              <a:spcBef>
                <a:spcPct val="0"/>
              </a:spcBef>
              <a:buFont typeface="Wingdings" charset="0"/>
              <a:buNone/>
            </a:pPr>
            <a:r>
              <a:rPr lang="en-US" sz="1599" b="1" dirty="0">
                <a:solidFill>
                  <a:schemeClr val="bg2"/>
                </a:solidFill>
                <a:ea typeface="Arial Unicode MS"/>
                <a:sym typeface="Arial"/>
              </a:rPr>
              <a:t>G</a:t>
            </a:r>
          </a:p>
        </p:txBody>
      </p:sp>
      <p:sp>
        <p:nvSpPr>
          <p:cNvPr id="13" name="Rechteck 12"/>
          <p:cNvSpPr/>
          <p:nvPr/>
        </p:nvSpPr>
        <p:spPr bwMode="gray">
          <a:xfrm>
            <a:off x="410400" y="4402293"/>
            <a:ext cx="341692" cy="341692"/>
          </a:xfrm>
          <a:prstGeom prst="rect">
            <a:avLst/>
          </a:prstGeom>
          <a:solidFill>
            <a:schemeClr val="accent2"/>
          </a:solidFill>
          <a:ln>
            <a:noFill/>
          </a:ln>
          <a:effectLst/>
        </p:spPr>
        <p:txBody>
          <a:bodyPr wrap="square" lIns="143925" tIns="71963" rIns="143925" bIns="71963" numCol="1" spcCol="72000" rtlCol="0" anchor="ctr">
            <a:noAutofit/>
          </a:bodyPr>
          <a:lstStyle/>
          <a:p>
            <a:pPr algn="ctr">
              <a:spcBef>
                <a:spcPct val="0"/>
              </a:spcBef>
              <a:buFont typeface="Wingdings" charset="0"/>
              <a:buNone/>
            </a:pPr>
            <a:r>
              <a:rPr lang="en-US" sz="1599" b="1" dirty="0">
                <a:solidFill>
                  <a:schemeClr val="bg2"/>
                </a:solidFill>
                <a:ea typeface="Arial Unicode MS"/>
                <a:sym typeface="Arial"/>
              </a:rPr>
              <a:t>6</a:t>
            </a:r>
          </a:p>
        </p:txBody>
      </p:sp>
      <p:sp>
        <p:nvSpPr>
          <p:cNvPr id="15" name="Ellipse 14"/>
          <p:cNvSpPr/>
          <p:nvPr/>
        </p:nvSpPr>
        <p:spPr bwMode="gray">
          <a:xfrm>
            <a:off x="410400" y="4888040"/>
            <a:ext cx="341692" cy="341692"/>
          </a:xfrm>
          <a:prstGeom prst="ellipse">
            <a:avLst/>
          </a:prstGeom>
          <a:solidFill>
            <a:srgbClr val="9999A9"/>
          </a:solidFill>
          <a:ln>
            <a:noFill/>
          </a:ln>
          <a:effectLst/>
        </p:spPr>
        <p:txBody>
          <a:bodyPr wrap="square" lIns="143925" tIns="71963" rIns="143925" bIns="71963" numCol="1" spcCol="72000" rtlCol="0" anchor="ctr">
            <a:noAutofit/>
          </a:bodyPr>
          <a:lstStyle/>
          <a:p>
            <a:pPr algn="ctr">
              <a:spcBef>
                <a:spcPct val="0"/>
              </a:spcBef>
              <a:buFont typeface="Wingdings" charset="0"/>
              <a:buNone/>
            </a:pPr>
            <a:r>
              <a:rPr lang="en-US" sz="1599" b="1" dirty="0">
                <a:solidFill>
                  <a:schemeClr val="bg2"/>
                </a:solidFill>
                <a:ea typeface="Arial Unicode MS"/>
                <a:sym typeface="Arial"/>
              </a:rPr>
              <a:t>P</a:t>
            </a:r>
          </a:p>
        </p:txBody>
      </p:sp>
    </p:spTree>
    <p:extLst>
      <p:ext uri="{BB962C8B-B14F-4D97-AF65-F5344CB8AC3E}">
        <p14:creationId xmlns:p14="http://schemas.microsoft.com/office/powerpoint/2010/main" val="408175301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3" imgW="360" imgH="360" progId="">
                  <p:embed/>
                </p:oleObj>
              </mc:Choice>
              <mc:Fallback>
                <p:oleObj name="think-cell Folie" r:id="rId3" imgW="360" imgH="360" progId="">
                  <p:embed/>
                  <p:pic>
                    <p:nvPicPr>
                      <p:cNvPr id="3" name="Objek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en-US" dirty="0"/>
              <a:t>Onion diagram</a:t>
            </a:r>
          </a:p>
        </p:txBody>
      </p:sp>
      <p:sp>
        <p:nvSpPr>
          <p:cNvPr id="16" name="Ellipse 15"/>
          <p:cNvSpPr>
            <a:spLocks/>
          </p:cNvSpPr>
          <p:nvPr/>
        </p:nvSpPr>
        <p:spPr bwMode="auto">
          <a:xfrm>
            <a:off x="3723544" y="1415849"/>
            <a:ext cx="4750501" cy="4750501"/>
          </a:xfrm>
          <a:prstGeom prst="ellipse">
            <a:avLst/>
          </a:prstGeom>
          <a:solidFill>
            <a:srgbClr val="00646E"/>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5" name="Ellipse 14"/>
          <p:cNvSpPr>
            <a:spLocks/>
          </p:cNvSpPr>
          <p:nvPr/>
        </p:nvSpPr>
        <p:spPr bwMode="auto">
          <a:xfrm>
            <a:off x="4177730" y="2324220"/>
            <a:ext cx="3842130" cy="3842130"/>
          </a:xfrm>
          <a:prstGeom prst="ellipse">
            <a:avLst/>
          </a:prstGeom>
          <a:solidFill>
            <a:srgbClr val="00AF8E"/>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4" name="Ellipse 13"/>
          <p:cNvSpPr>
            <a:spLocks/>
          </p:cNvSpPr>
          <p:nvPr/>
        </p:nvSpPr>
        <p:spPr bwMode="auto">
          <a:xfrm>
            <a:off x="4665235" y="3299229"/>
            <a:ext cx="2867120" cy="2867120"/>
          </a:xfrm>
          <a:prstGeom prst="ellipse">
            <a:avLst/>
          </a:prstGeom>
          <a:solidFill>
            <a:srgbClr val="00FFB9"/>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5" name="Textfeld 24"/>
          <p:cNvSpPr txBox="1">
            <a:spLocks/>
          </p:cNvSpPr>
          <p:nvPr/>
        </p:nvSpPr>
        <p:spPr bwMode="gray">
          <a:xfrm flipH="1">
            <a:off x="5192010" y="1759222"/>
            <a:ext cx="1813569" cy="276855"/>
          </a:xfrm>
          <a:prstGeom prst="rect">
            <a:avLst/>
          </a:prstGeom>
          <a:noFill/>
        </p:spPr>
        <p:txBody>
          <a:bodyPr wrap="square" lIns="0" tIns="0" rIns="0" bIns="0" rtlCol="0" anchor="ctr">
            <a:spAutoFit/>
          </a:bodyPr>
          <a:lstStyle/>
          <a:p>
            <a:pPr marL="0" lvl="2" algn="ctr">
              <a:tabLst>
                <a:tab pos="0" algn="l"/>
              </a:tabLst>
            </a:pPr>
            <a:r>
              <a:rPr lang="en-US" sz="1799" b="1" dirty="0">
                <a:solidFill>
                  <a:schemeClr val="bg1"/>
                </a:solidFill>
                <a:ea typeface="Arial Unicode MS"/>
              </a:rPr>
              <a:t>Ultricies </a:t>
            </a:r>
          </a:p>
        </p:txBody>
      </p:sp>
      <p:sp>
        <p:nvSpPr>
          <p:cNvPr id="27" name="Textfeld 26"/>
          <p:cNvSpPr txBox="1">
            <a:spLocks/>
          </p:cNvSpPr>
          <p:nvPr/>
        </p:nvSpPr>
        <p:spPr bwMode="gray">
          <a:xfrm flipH="1">
            <a:off x="5192010" y="2623572"/>
            <a:ext cx="1813569" cy="553710"/>
          </a:xfrm>
          <a:prstGeom prst="rect">
            <a:avLst/>
          </a:prstGeom>
          <a:noFill/>
        </p:spPr>
        <p:txBody>
          <a:bodyPr wrap="square" lIns="0" tIns="0" rIns="0" bIns="0" rtlCol="0" anchor="ctr">
            <a:spAutoFit/>
          </a:bodyPr>
          <a:lstStyle/>
          <a:p>
            <a:pPr marL="0" lvl="2" algn="ctr">
              <a:tabLst>
                <a:tab pos="0" algn="l"/>
              </a:tabLst>
            </a:pPr>
            <a:r>
              <a:rPr lang="en-US" sz="1799" b="1" dirty="0">
                <a:solidFill>
                  <a:schemeClr val="bg1"/>
                </a:solidFill>
                <a:ea typeface="Arial Unicode MS"/>
              </a:rPr>
              <a:t>At vero eos </a:t>
            </a:r>
            <a:br>
              <a:rPr lang="en-US" sz="1799" b="1" dirty="0">
                <a:solidFill>
                  <a:schemeClr val="bg1"/>
                </a:solidFill>
                <a:ea typeface="Arial Unicode MS"/>
              </a:rPr>
            </a:br>
            <a:r>
              <a:rPr lang="en-US" sz="1799" b="1" dirty="0">
                <a:solidFill>
                  <a:schemeClr val="bg1"/>
                </a:solidFill>
                <a:ea typeface="Arial Unicode MS"/>
              </a:rPr>
              <a:t>et accusam</a:t>
            </a:r>
          </a:p>
        </p:txBody>
      </p:sp>
      <p:sp>
        <p:nvSpPr>
          <p:cNvPr id="28" name="Textfeld 27"/>
          <p:cNvSpPr txBox="1">
            <a:spLocks/>
          </p:cNvSpPr>
          <p:nvPr/>
        </p:nvSpPr>
        <p:spPr bwMode="gray">
          <a:xfrm flipH="1">
            <a:off x="5192010" y="3815552"/>
            <a:ext cx="1813569" cy="276855"/>
          </a:xfrm>
          <a:prstGeom prst="rect">
            <a:avLst/>
          </a:prstGeom>
          <a:noFill/>
        </p:spPr>
        <p:txBody>
          <a:bodyPr wrap="square" lIns="0" tIns="0" rIns="0" bIns="0" rtlCol="0" anchor="ctr">
            <a:spAutoFit/>
          </a:bodyPr>
          <a:lstStyle/>
          <a:p>
            <a:pPr marL="0" lvl="2" algn="ctr">
              <a:tabLst>
                <a:tab pos="0" algn="l"/>
              </a:tabLst>
            </a:pPr>
            <a:r>
              <a:rPr lang="en-US" sz="1799" b="1" dirty="0">
                <a:solidFill>
                  <a:schemeClr val="tx2"/>
                </a:solidFill>
                <a:ea typeface="Arial Unicode MS"/>
              </a:rPr>
              <a:t>Duis tortor</a:t>
            </a:r>
          </a:p>
        </p:txBody>
      </p:sp>
      <p:sp>
        <p:nvSpPr>
          <p:cNvPr id="29" name="Ellipse 28"/>
          <p:cNvSpPr>
            <a:spLocks/>
          </p:cNvSpPr>
          <p:nvPr/>
        </p:nvSpPr>
        <p:spPr bwMode="auto">
          <a:xfrm>
            <a:off x="5192011" y="4352781"/>
            <a:ext cx="1813567" cy="1813567"/>
          </a:xfrm>
          <a:prstGeom prst="ellipse">
            <a:avLst/>
          </a:prstGeom>
          <a:solidFill>
            <a:schemeClr val="bg1"/>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30" name="Textfeld 29"/>
          <p:cNvSpPr txBox="1">
            <a:spLocks/>
          </p:cNvSpPr>
          <p:nvPr/>
        </p:nvSpPr>
        <p:spPr bwMode="gray">
          <a:xfrm flipH="1">
            <a:off x="5192009" y="4854067"/>
            <a:ext cx="1813569" cy="869016"/>
          </a:xfrm>
          <a:prstGeom prst="rect">
            <a:avLst/>
          </a:prstGeom>
          <a:noFill/>
        </p:spPr>
        <p:txBody>
          <a:bodyPr wrap="square" lIns="0" tIns="0" rIns="0" bIns="0" rtlCol="0" anchor="t">
            <a:spAutoFit/>
          </a:bodyPr>
          <a:lstStyle/>
          <a:p>
            <a:pPr marL="0" lvl="2" algn="ctr">
              <a:tabLst>
                <a:tab pos="0" algn="l"/>
              </a:tabLst>
            </a:pPr>
            <a:r>
              <a:rPr lang="en-US" sz="1799" b="1" dirty="0">
                <a:solidFill>
                  <a:schemeClr val="tx2"/>
                </a:solidFill>
                <a:ea typeface="Arial Unicode MS"/>
              </a:rPr>
              <a:t>Lorem</a:t>
            </a:r>
          </a:p>
          <a:p>
            <a:pPr marL="0" lvl="2" algn="ctr">
              <a:spcBef>
                <a:spcPts val="300"/>
              </a:spcBef>
              <a:tabLst>
                <a:tab pos="0" algn="l"/>
              </a:tabLst>
            </a:pPr>
            <a:r>
              <a:rPr lang="en-US" sz="1199" dirty="0">
                <a:solidFill>
                  <a:schemeClr val="tx2"/>
                </a:solidFill>
                <a:ea typeface="Arial Unicode MS"/>
              </a:rPr>
              <a:t>Stet clita kasd sanctus </a:t>
            </a:r>
            <a:br>
              <a:rPr lang="en-US" sz="1199" dirty="0">
                <a:solidFill>
                  <a:schemeClr val="tx2"/>
                </a:solidFill>
                <a:ea typeface="Arial Unicode MS"/>
              </a:rPr>
            </a:br>
            <a:r>
              <a:rPr lang="en-US" sz="1199" dirty="0">
                <a:solidFill>
                  <a:schemeClr val="tx2"/>
                </a:solidFill>
                <a:ea typeface="Arial Unicode MS"/>
              </a:rPr>
              <a:t>est lorem ipsum </a:t>
            </a:r>
            <a:br>
              <a:rPr lang="en-US" sz="1199" dirty="0">
                <a:solidFill>
                  <a:schemeClr val="tx2"/>
                </a:solidFill>
                <a:ea typeface="Arial Unicode MS"/>
              </a:rPr>
            </a:br>
            <a:r>
              <a:rPr lang="en-US" sz="1199" dirty="0">
                <a:solidFill>
                  <a:schemeClr val="tx2"/>
                </a:solidFill>
                <a:ea typeface="Arial Unicode MS"/>
              </a:rPr>
              <a:t>dolor sit amet</a:t>
            </a:r>
          </a:p>
        </p:txBody>
      </p:sp>
      <p:cxnSp>
        <p:nvCxnSpPr>
          <p:cNvPr id="7" name="Gerade Verbindung mit Pfeil 6"/>
          <p:cNvCxnSpPr>
            <a:cxnSpLocks/>
          </p:cNvCxnSpPr>
          <p:nvPr/>
        </p:nvCxnSpPr>
        <p:spPr bwMode="auto">
          <a:xfrm>
            <a:off x="411163" y="1910850"/>
            <a:ext cx="4821175" cy="0"/>
          </a:xfrm>
          <a:prstGeom prst="straightConnector1">
            <a:avLst/>
          </a:prstGeom>
          <a:noFill/>
          <a:ln w="12700" cap="flat" cmpd="sng" algn="ctr">
            <a:solidFill>
              <a:srgbClr val="66667E"/>
            </a:solidFill>
            <a:prstDash val="solid"/>
            <a:round/>
            <a:headEnd type="none" w="sm" len="sm"/>
            <a:tailEnd type="oval" w="lg" len="lg"/>
          </a:ln>
          <a:effectLst/>
        </p:spPr>
      </p:cxnSp>
      <p:cxnSp>
        <p:nvCxnSpPr>
          <p:cNvPr id="44" name="Gerade Verbindung mit Pfeil 43"/>
          <p:cNvCxnSpPr>
            <a:cxnSpLocks/>
          </p:cNvCxnSpPr>
          <p:nvPr/>
        </p:nvCxnSpPr>
        <p:spPr bwMode="auto">
          <a:xfrm>
            <a:off x="411163" y="3953979"/>
            <a:ext cx="4821175" cy="0"/>
          </a:xfrm>
          <a:prstGeom prst="straightConnector1">
            <a:avLst/>
          </a:prstGeom>
          <a:noFill/>
          <a:ln w="12700" cap="flat" cmpd="sng" algn="ctr">
            <a:solidFill>
              <a:srgbClr val="66667E"/>
            </a:solidFill>
            <a:prstDash val="solid"/>
            <a:round/>
            <a:headEnd type="none" w="sm" len="sm"/>
            <a:tailEnd type="oval" w="lg" len="lg"/>
          </a:ln>
          <a:effectLst/>
        </p:spPr>
      </p:cxnSp>
      <p:sp>
        <p:nvSpPr>
          <p:cNvPr id="57" name="Rechteck 28"/>
          <p:cNvSpPr/>
          <p:nvPr/>
        </p:nvSpPr>
        <p:spPr bwMode="gray">
          <a:xfrm>
            <a:off x="410400" y="1914722"/>
            <a:ext cx="2518688" cy="1056288"/>
          </a:xfrm>
          <a:prstGeom prst="rect">
            <a:avLst/>
          </a:prstGeom>
          <a:noFill/>
          <a:ln w="19050">
            <a:noFill/>
            <a:miter lim="800000"/>
          </a:ln>
          <a:effectLst/>
        </p:spPr>
        <p:txBody>
          <a:bodyPr wrap="square" lIns="0" tIns="108000" rIns="0" bIns="108000" numCol="1" spcCol="72000" rtlCol="0" anchor="t" anchorCtr="0">
            <a:spAutoFit/>
          </a:bodyPr>
          <a:lstStyle/>
          <a:p>
            <a:pPr>
              <a:defRPr/>
            </a:pPr>
            <a:r>
              <a:rPr lang="en-US" altLang="de-DE" sz="1599" b="1" dirty="0">
                <a:solidFill>
                  <a:schemeClr val="accent1"/>
                </a:solidFill>
                <a:ea typeface="Arial Unicode MS"/>
              </a:rPr>
              <a:t>Duis arcu suscipit eget</a:t>
            </a:r>
          </a:p>
          <a:p>
            <a:pPr marL="0" lvl="1">
              <a:spcBef>
                <a:spcPts val="300"/>
              </a:spcBef>
              <a:buClr>
                <a:srgbClr val="3C464B"/>
              </a:buClr>
              <a:defRPr/>
            </a:pPr>
            <a:r>
              <a:rPr lang="en-US" altLang="de-DE" sz="1199" dirty="0">
                <a:solidFill>
                  <a:srgbClr val="66667E"/>
                </a:solidFill>
                <a:ea typeface="Arial Unicode MS"/>
                <a:cs typeface="Arial" pitchFamily="34" charset="0"/>
              </a:rPr>
              <a:t>Maecenas nec odio</a:t>
            </a:r>
            <a:br>
              <a:rPr lang="en-US" altLang="de-DE" sz="1199" dirty="0">
                <a:solidFill>
                  <a:srgbClr val="66667E"/>
                </a:solidFill>
                <a:ea typeface="Arial Unicode MS"/>
                <a:cs typeface="Arial" pitchFamily="34" charset="0"/>
              </a:rPr>
            </a:br>
            <a:r>
              <a:rPr lang="en-US" altLang="de-DE" sz="1199" dirty="0">
                <a:solidFill>
                  <a:srgbClr val="66667E"/>
                </a:solidFill>
                <a:ea typeface="Arial Unicode MS"/>
                <a:cs typeface="Arial" pitchFamily="34" charset="0"/>
              </a:rPr>
              <a:t>Donec sodales sagittis magna</a:t>
            </a:r>
            <a:br>
              <a:rPr lang="en-US" altLang="de-DE" sz="1199" dirty="0">
                <a:solidFill>
                  <a:srgbClr val="66667E"/>
                </a:solidFill>
                <a:ea typeface="Arial Unicode MS"/>
                <a:cs typeface="Arial" pitchFamily="34" charset="0"/>
              </a:rPr>
            </a:br>
            <a:r>
              <a:rPr lang="en-US" altLang="de-DE" sz="1199" dirty="0">
                <a:solidFill>
                  <a:srgbClr val="66667E"/>
                </a:solidFill>
                <a:ea typeface="Arial Unicode MS"/>
                <a:cs typeface="Arial" pitchFamily="34" charset="0"/>
              </a:rPr>
              <a:t>Duis arcu tortor, suscipit eget</a:t>
            </a:r>
          </a:p>
        </p:txBody>
      </p:sp>
      <p:sp>
        <p:nvSpPr>
          <p:cNvPr id="58" name="Rechteck 28"/>
          <p:cNvSpPr/>
          <p:nvPr/>
        </p:nvSpPr>
        <p:spPr bwMode="gray">
          <a:xfrm>
            <a:off x="410400" y="3953979"/>
            <a:ext cx="2518688" cy="1079438"/>
          </a:xfrm>
          <a:prstGeom prst="rect">
            <a:avLst/>
          </a:prstGeom>
          <a:noFill/>
          <a:ln w="19050">
            <a:noFill/>
            <a:miter lim="800000"/>
          </a:ln>
          <a:effectLst/>
        </p:spPr>
        <p:txBody>
          <a:bodyPr wrap="square" lIns="0" tIns="108000" rIns="0" bIns="108000" numCol="1" spcCol="72000" rtlCol="0" anchor="t" anchorCtr="0">
            <a:spAutoFit/>
          </a:bodyPr>
          <a:lstStyle/>
          <a:p>
            <a:pPr>
              <a:tabLst>
                <a:tab pos="1255085" algn="r"/>
              </a:tabLst>
              <a:defRPr/>
            </a:pPr>
            <a:r>
              <a:rPr lang="en-US" altLang="de-DE" sz="1599" b="1" dirty="0">
                <a:solidFill>
                  <a:schemeClr val="accent1"/>
                </a:solidFill>
                <a:ea typeface="Arial Unicode MS"/>
              </a:rPr>
              <a:t>At vero eos et accusam</a:t>
            </a:r>
          </a:p>
          <a:p>
            <a:pPr marL="0" lvl="1">
              <a:spcBef>
                <a:spcPts val="300"/>
              </a:spcBef>
              <a:buClr>
                <a:srgbClr val="3C464B"/>
              </a:buClr>
              <a:defRPr/>
            </a:pPr>
            <a:r>
              <a:rPr lang="en-US" altLang="de-DE" sz="1199" dirty="0">
                <a:solidFill>
                  <a:srgbClr val="66667E"/>
                </a:solidFill>
                <a:ea typeface="Arial Unicode MS"/>
                <a:cs typeface="Arial" pitchFamily="34" charset="0"/>
              </a:rPr>
              <a:t>Duis arcu tortor</a:t>
            </a:r>
            <a:br>
              <a:rPr lang="en-US" altLang="de-DE" sz="1199" dirty="0">
                <a:solidFill>
                  <a:srgbClr val="66667E"/>
                </a:solidFill>
                <a:ea typeface="Arial Unicode MS"/>
                <a:cs typeface="Arial" pitchFamily="34" charset="0"/>
              </a:rPr>
            </a:br>
            <a:r>
              <a:rPr lang="en-US" altLang="de-DE" sz="1199" dirty="0">
                <a:solidFill>
                  <a:srgbClr val="66667E"/>
                </a:solidFill>
                <a:ea typeface="Arial Unicode MS"/>
                <a:cs typeface="Arial" pitchFamily="34" charset="0"/>
              </a:rPr>
              <a:t>Maecenas nec odio</a:t>
            </a:r>
            <a:br>
              <a:rPr lang="en-US" altLang="de-DE" sz="1199" dirty="0">
                <a:solidFill>
                  <a:srgbClr val="66667E"/>
                </a:solidFill>
                <a:ea typeface="Arial Unicode MS"/>
                <a:cs typeface="Arial" pitchFamily="34" charset="0"/>
              </a:rPr>
            </a:br>
            <a:r>
              <a:rPr lang="en-US" altLang="de-DE" sz="1199" dirty="0">
                <a:solidFill>
                  <a:srgbClr val="66667E"/>
                </a:solidFill>
                <a:ea typeface="Arial Unicode MS"/>
                <a:cs typeface="Arial" pitchFamily="34" charset="0"/>
              </a:rPr>
              <a:t>At vero eos et accusam</a:t>
            </a:r>
          </a:p>
        </p:txBody>
      </p:sp>
      <p:sp>
        <p:nvSpPr>
          <p:cNvPr id="59" name="Rechteck 28"/>
          <p:cNvSpPr/>
          <p:nvPr/>
        </p:nvSpPr>
        <p:spPr bwMode="gray">
          <a:xfrm flipH="1">
            <a:off x="9266400" y="3058835"/>
            <a:ext cx="2518688" cy="1079438"/>
          </a:xfrm>
          <a:prstGeom prst="rect">
            <a:avLst/>
          </a:prstGeom>
          <a:noFill/>
          <a:ln w="19050">
            <a:noFill/>
            <a:miter lim="800000"/>
          </a:ln>
          <a:effectLst/>
        </p:spPr>
        <p:txBody>
          <a:bodyPr wrap="square" lIns="0" tIns="108000" rIns="0" bIns="108000" numCol="1" spcCol="72000" rtlCol="0" anchor="t" anchorCtr="0">
            <a:spAutoFit/>
          </a:bodyPr>
          <a:lstStyle/>
          <a:p>
            <a:pPr algn="r">
              <a:defRPr/>
            </a:pPr>
            <a:r>
              <a:rPr lang="en-US" altLang="de-DE" sz="1599" b="1" dirty="0">
                <a:solidFill>
                  <a:schemeClr val="accent1"/>
                </a:solidFill>
                <a:ea typeface="Arial Unicode MS"/>
              </a:rPr>
              <a:t>Maecenas nec odio</a:t>
            </a:r>
          </a:p>
          <a:p>
            <a:pPr marL="0" lvl="1" algn="r">
              <a:spcBef>
                <a:spcPts val="300"/>
              </a:spcBef>
              <a:buClr>
                <a:srgbClr val="3C464B"/>
              </a:buClr>
              <a:defRPr/>
            </a:pPr>
            <a:r>
              <a:rPr lang="en-US" altLang="de-DE" sz="1199" dirty="0">
                <a:solidFill>
                  <a:srgbClr val="66667E"/>
                </a:solidFill>
                <a:ea typeface="Arial Unicode MS"/>
                <a:cs typeface="Arial" pitchFamily="34" charset="0"/>
              </a:rPr>
              <a:t>Stet clita kasd gubergren, no sea takimata sanctus est lorem ipsum dolor sit amet</a:t>
            </a:r>
          </a:p>
        </p:txBody>
      </p:sp>
      <p:sp>
        <p:nvSpPr>
          <p:cNvPr id="60" name="Rechteck 28"/>
          <p:cNvSpPr/>
          <p:nvPr/>
        </p:nvSpPr>
        <p:spPr bwMode="gray">
          <a:xfrm flipH="1">
            <a:off x="9266400" y="4990695"/>
            <a:ext cx="2518688" cy="871750"/>
          </a:xfrm>
          <a:prstGeom prst="rect">
            <a:avLst/>
          </a:prstGeom>
          <a:noFill/>
          <a:ln w="19050">
            <a:noFill/>
            <a:miter lim="800000"/>
          </a:ln>
          <a:effectLst/>
        </p:spPr>
        <p:txBody>
          <a:bodyPr wrap="square" lIns="0" tIns="108000" rIns="0" bIns="108000" numCol="1" spcCol="72000" rtlCol="0" anchor="t" anchorCtr="0">
            <a:spAutoFit/>
          </a:bodyPr>
          <a:lstStyle/>
          <a:p>
            <a:pPr algn="r">
              <a:defRPr/>
            </a:pPr>
            <a:r>
              <a:rPr lang="en-US" altLang="de-DE" sz="1599" b="1" dirty="0">
                <a:solidFill>
                  <a:schemeClr val="accent1"/>
                </a:solidFill>
                <a:ea typeface="Arial Unicode MS"/>
              </a:rPr>
              <a:t>Cras ultricies mi eu</a:t>
            </a:r>
          </a:p>
          <a:p>
            <a:pPr marL="0" lvl="1" algn="r">
              <a:spcBef>
                <a:spcPts val="300"/>
              </a:spcBef>
              <a:buClr>
                <a:srgbClr val="3C464B"/>
              </a:buClr>
              <a:defRPr/>
            </a:pPr>
            <a:r>
              <a:rPr lang="en-US" altLang="de-DE" sz="1199" dirty="0">
                <a:solidFill>
                  <a:srgbClr val="66667E"/>
                </a:solidFill>
                <a:ea typeface="Arial Unicode MS"/>
                <a:cs typeface="Arial" pitchFamily="34" charset="0"/>
              </a:rPr>
              <a:t>Consetetur sadipscing elitr, seddiam nonumy</a:t>
            </a:r>
          </a:p>
        </p:txBody>
      </p:sp>
      <p:cxnSp>
        <p:nvCxnSpPr>
          <p:cNvPr id="32" name="Gerade Verbindung mit Pfeil 31">
            <a:extLst>
              <a:ext uri="{FF2B5EF4-FFF2-40B4-BE49-F238E27FC236}">
                <a16:creationId xmlns:a16="http://schemas.microsoft.com/office/drawing/2014/main" id="{E9F8486F-0FAF-B04C-B5FA-66F8C368BB15}"/>
              </a:ext>
            </a:extLst>
          </p:cNvPr>
          <p:cNvCxnSpPr>
            <a:cxnSpLocks/>
          </p:cNvCxnSpPr>
          <p:nvPr/>
        </p:nvCxnSpPr>
        <p:spPr bwMode="auto">
          <a:xfrm flipH="1">
            <a:off x="6743754" y="4990695"/>
            <a:ext cx="5041334" cy="0"/>
          </a:xfrm>
          <a:prstGeom prst="straightConnector1">
            <a:avLst/>
          </a:prstGeom>
          <a:noFill/>
          <a:ln w="12700" cap="rnd" cmpd="sng" algn="ctr">
            <a:solidFill>
              <a:srgbClr val="66667E"/>
            </a:solidFill>
            <a:prstDash val="solid"/>
            <a:round/>
            <a:headEnd type="none" w="sm" len="sm"/>
            <a:tailEnd type="oval" w="lg" len="lg"/>
          </a:ln>
          <a:effectLst/>
        </p:spPr>
      </p:cxnSp>
      <p:cxnSp>
        <p:nvCxnSpPr>
          <p:cNvPr id="33" name="Gerade Verbindung mit Pfeil 32">
            <a:extLst>
              <a:ext uri="{FF2B5EF4-FFF2-40B4-BE49-F238E27FC236}">
                <a16:creationId xmlns:a16="http://schemas.microsoft.com/office/drawing/2014/main" id="{1576ED41-6803-B945-8526-5DF6E4BB3B36}"/>
              </a:ext>
            </a:extLst>
          </p:cNvPr>
          <p:cNvCxnSpPr>
            <a:cxnSpLocks/>
          </p:cNvCxnSpPr>
          <p:nvPr/>
        </p:nvCxnSpPr>
        <p:spPr bwMode="auto">
          <a:xfrm flipH="1">
            <a:off x="6956722" y="3058835"/>
            <a:ext cx="4830466" cy="0"/>
          </a:xfrm>
          <a:prstGeom prst="straightConnector1">
            <a:avLst/>
          </a:prstGeom>
          <a:noFill/>
          <a:ln w="12700" cap="flat" cmpd="sng" algn="ctr">
            <a:solidFill>
              <a:srgbClr val="66667E"/>
            </a:solidFill>
            <a:prstDash val="solid"/>
            <a:round/>
            <a:headEnd type="none" w="sm" len="sm"/>
            <a:tailEnd type="oval" w="lg" len="lg"/>
          </a:ln>
          <a:effectLst/>
        </p:spPr>
      </p:cxnSp>
      <p:sp>
        <p:nvSpPr>
          <p:cNvPr id="4" name="Footer Placeholder 3">
            <a:extLst>
              <a:ext uri="{FF2B5EF4-FFF2-40B4-BE49-F238E27FC236}">
                <a16:creationId xmlns:a16="http://schemas.microsoft.com/office/drawing/2014/main" id="{5B7254A1-5BD3-4A03-87ED-DB82963D8703}"/>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5" name="Slide Number Placeholder 4">
            <a:extLst>
              <a:ext uri="{FF2B5EF4-FFF2-40B4-BE49-F238E27FC236}">
                <a16:creationId xmlns:a16="http://schemas.microsoft.com/office/drawing/2014/main" id="{9E9501ED-A75B-49B4-8326-9DF6E00AED38}"/>
              </a:ext>
            </a:extLst>
          </p:cNvPr>
          <p:cNvSpPr>
            <a:spLocks noGrp="1"/>
          </p:cNvSpPr>
          <p:nvPr>
            <p:ph type="sldNum" sz="quarter" idx="11"/>
          </p:nvPr>
        </p:nvSpPr>
        <p:spPr/>
        <p:txBody>
          <a:bodyPr/>
          <a:lstStyle/>
          <a:p>
            <a:r>
              <a:rPr lang="en-US" dirty="0"/>
              <a:t>Page </a:t>
            </a:r>
            <a:fld id="{15EBE321-CBB1-4E91-BD14-37C8D44326FB}" type="slidenum">
              <a:rPr lang="en-US" smtClean="0"/>
              <a:pPr/>
              <a:t>90</a:t>
            </a:fld>
            <a:endParaRPr lang="en-US" dirty="0"/>
          </a:p>
        </p:txBody>
      </p:sp>
    </p:spTree>
    <p:extLst>
      <p:ext uri="{BB962C8B-B14F-4D97-AF65-F5344CB8AC3E}">
        <p14:creationId xmlns:p14="http://schemas.microsoft.com/office/powerpoint/2010/main" val="103503360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3" imgW="360" imgH="360" progId="">
                  <p:embed/>
                </p:oleObj>
              </mc:Choice>
              <mc:Fallback>
                <p:oleObj name="think-cell Folie" r:id="rId3" imgW="360" imgH="360" progId="">
                  <p:embed/>
                  <p:pic>
                    <p:nvPicPr>
                      <p:cNvPr id="3" name="Objek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en-US" dirty="0"/>
              <a:t>Onion diagram</a:t>
            </a:r>
          </a:p>
        </p:txBody>
      </p:sp>
      <p:sp>
        <p:nvSpPr>
          <p:cNvPr id="16" name="Ellipse 15"/>
          <p:cNvSpPr>
            <a:spLocks/>
          </p:cNvSpPr>
          <p:nvPr/>
        </p:nvSpPr>
        <p:spPr bwMode="auto">
          <a:xfrm>
            <a:off x="3723544" y="1415849"/>
            <a:ext cx="4750501" cy="4750501"/>
          </a:xfrm>
          <a:prstGeom prst="ellipse">
            <a:avLst/>
          </a:prstGeom>
          <a:solidFill>
            <a:srgbClr val="00646E"/>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5" name="Ellipse 14"/>
          <p:cNvSpPr>
            <a:spLocks/>
          </p:cNvSpPr>
          <p:nvPr/>
        </p:nvSpPr>
        <p:spPr bwMode="auto">
          <a:xfrm>
            <a:off x="4177730" y="2324220"/>
            <a:ext cx="3842130" cy="3842130"/>
          </a:xfrm>
          <a:prstGeom prst="ellipse">
            <a:avLst/>
          </a:prstGeom>
          <a:solidFill>
            <a:srgbClr val="00AF8E"/>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4" name="Ellipse 13"/>
          <p:cNvSpPr>
            <a:spLocks/>
          </p:cNvSpPr>
          <p:nvPr/>
        </p:nvSpPr>
        <p:spPr bwMode="auto">
          <a:xfrm>
            <a:off x="4665235" y="3299229"/>
            <a:ext cx="2867120" cy="2867120"/>
          </a:xfrm>
          <a:prstGeom prst="ellipse">
            <a:avLst/>
          </a:prstGeom>
          <a:solidFill>
            <a:srgbClr val="00FFB9"/>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5" name="Textfeld 24"/>
          <p:cNvSpPr txBox="1">
            <a:spLocks/>
          </p:cNvSpPr>
          <p:nvPr/>
        </p:nvSpPr>
        <p:spPr bwMode="gray">
          <a:xfrm flipH="1">
            <a:off x="5192010" y="1759222"/>
            <a:ext cx="1813569" cy="276855"/>
          </a:xfrm>
          <a:prstGeom prst="rect">
            <a:avLst/>
          </a:prstGeom>
          <a:noFill/>
        </p:spPr>
        <p:txBody>
          <a:bodyPr wrap="square" lIns="0" tIns="0" rIns="0" bIns="0" rtlCol="0" anchor="ctr">
            <a:spAutoFit/>
          </a:bodyPr>
          <a:lstStyle/>
          <a:p>
            <a:pPr marL="0" lvl="2" algn="ctr">
              <a:tabLst>
                <a:tab pos="0" algn="l"/>
              </a:tabLst>
            </a:pPr>
            <a:r>
              <a:rPr lang="en-US" sz="1799" b="1" dirty="0">
                <a:ea typeface="Arial Unicode MS"/>
              </a:rPr>
              <a:t>Ultricies </a:t>
            </a:r>
          </a:p>
        </p:txBody>
      </p:sp>
      <p:sp>
        <p:nvSpPr>
          <p:cNvPr id="27" name="Textfeld 26"/>
          <p:cNvSpPr txBox="1">
            <a:spLocks/>
          </p:cNvSpPr>
          <p:nvPr/>
        </p:nvSpPr>
        <p:spPr bwMode="gray">
          <a:xfrm flipH="1">
            <a:off x="5192010" y="2623572"/>
            <a:ext cx="1813569" cy="553710"/>
          </a:xfrm>
          <a:prstGeom prst="rect">
            <a:avLst/>
          </a:prstGeom>
          <a:noFill/>
        </p:spPr>
        <p:txBody>
          <a:bodyPr wrap="square" lIns="0" tIns="0" rIns="0" bIns="0" rtlCol="0" anchor="ctr">
            <a:spAutoFit/>
          </a:bodyPr>
          <a:lstStyle/>
          <a:p>
            <a:pPr marL="0" lvl="2" algn="ctr">
              <a:tabLst>
                <a:tab pos="0" algn="l"/>
              </a:tabLst>
            </a:pPr>
            <a:r>
              <a:rPr lang="en-US" sz="1799" b="1" dirty="0">
                <a:ea typeface="Arial Unicode MS"/>
              </a:rPr>
              <a:t>At vero eos </a:t>
            </a:r>
            <a:br>
              <a:rPr lang="en-US" sz="1799" b="1" dirty="0">
                <a:ea typeface="Arial Unicode MS"/>
              </a:rPr>
            </a:br>
            <a:r>
              <a:rPr lang="en-US" sz="1799" b="1" dirty="0">
                <a:ea typeface="Arial Unicode MS"/>
              </a:rPr>
              <a:t>et accusam</a:t>
            </a:r>
          </a:p>
        </p:txBody>
      </p:sp>
      <p:sp>
        <p:nvSpPr>
          <p:cNvPr id="28" name="Textfeld 27"/>
          <p:cNvSpPr txBox="1">
            <a:spLocks/>
          </p:cNvSpPr>
          <p:nvPr/>
        </p:nvSpPr>
        <p:spPr bwMode="gray">
          <a:xfrm flipH="1">
            <a:off x="5192010" y="3815552"/>
            <a:ext cx="1813569" cy="276855"/>
          </a:xfrm>
          <a:prstGeom prst="rect">
            <a:avLst/>
          </a:prstGeom>
          <a:noFill/>
        </p:spPr>
        <p:txBody>
          <a:bodyPr wrap="square" lIns="0" tIns="0" rIns="0" bIns="0" rtlCol="0" anchor="ctr">
            <a:spAutoFit/>
          </a:bodyPr>
          <a:lstStyle/>
          <a:p>
            <a:pPr marL="0" lvl="2" algn="ctr">
              <a:tabLst>
                <a:tab pos="0" algn="l"/>
              </a:tabLst>
            </a:pPr>
            <a:r>
              <a:rPr lang="en-US" sz="1799" b="1" dirty="0">
                <a:solidFill>
                  <a:schemeClr val="bg2"/>
                </a:solidFill>
                <a:ea typeface="Arial Unicode MS"/>
              </a:rPr>
              <a:t>Duis tortor</a:t>
            </a:r>
          </a:p>
        </p:txBody>
      </p:sp>
      <p:sp>
        <p:nvSpPr>
          <p:cNvPr id="29" name="Ellipse 28"/>
          <p:cNvSpPr>
            <a:spLocks/>
          </p:cNvSpPr>
          <p:nvPr/>
        </p:nvSpPr>
        <p:spPr bwMode="auto">
          <a:xfrm>
            <a:off x="5192011" y="4352781"/>
            <a:ext cx="1813567" cy="1813567"/>
          </a:xfrm>
          <a:prstGeom prst="ellipse">
            <a:avLst/>
          </a:prstGeom>
          <a:solidFill>
            <a:schemeClr val="tx1"/>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30" name="Textfeld 29"/>
          <p:cNvSpPr txBox="1">
            <a:spLocks/>
          </p:cNvSpPr>
          <p:nvPr/>
        </p:nvSpPr>
        <p:spPr bwMode="gray">
          <a:xfrm flipH="1">
            <a:off x="5192009" y="4854067"/>
            <a:ext cx="1813569" cy="869016"/>
          </a:xfrm>
          <a:prstGeom prst="rect">
            <a:avLst/>
          </a:prstGeom>
          <a:noFill/>
        </p:spPr>
        <p:txBody>
          <a:bodyPr wrap="square" lIns="0" tIns="0" rIns="0" bIns="0" rtlCol="0" anchor="t">
            <a:spAutoFit/>
          </a:bodyPr>
          <a:lstStyle/>
          <a:p>
            <a:pPr marL="0" lvl="2" algn="ctr">
              <a:tabLst>
                <a:tab pos="0" algn="l"/>
              </a:tabLst>
            </a:pPr>
            <a:r>
              <a:rPr lang="en-US" sz="1799" b="1" dirty="0">
                <a:solidFill>
                  <a:schemeClr val="bg2"/>
                </a:solidFill>
                <a:ea typeface="Arial Unicode MS"/>
              </a:rPr>
              <a:t>Lorem</a:t>
            </a:r>
          </a:p>
          <a:p>
            <a:pPr marL="0" lvl="2" algn="ctr">
              <a:spcBef>
                <a:spcPts val="300"/>
              </a:spcBef>
              <a:tabLst>
                <a:tab pos="0" algn="l"/>
              </a:tabLst>
            </a:pPr>
            <a:r>
              <a:rPr lang="en-US" sz="1199" dirty="0">
                <a:solidFill>
                  <a:schemeClr val="bg2"/>
                </a:solidFill>
                <a:ea typeface="Arial Unicode MS"/>
              </a:rPr>
              <a:t>Stet clita kasd sanctus </a:t>
            </a:r>
            <a:br>
              <a:rPr lang="en-US" sz="1199" dirty="0">
                <a:solidFill>
                  <a:schemeClr val="bg2"/>
                </a:solidFill>
                <a:ea typeface="Arial Unicode MS"/>
              </a:rPr>
            </a:br>
            <a:r>
              <a:rPr lang="en-US" sz="1199" dirty="0">
                <a:solidFill>
                  <a:schemeClr val="bg2"/>
                </a:solidFill>
                <a:ea typeface="Arial Unicode MS"/>
              </a:rPr>
              <a:t>est lorem ipsum </a:t>
            </a:r>
            <a:br>
              <a:rPr lang="en-US" sz="1199" dirty="0">
                <a:solidFill>
                  <a:schemeClr val="bg2"/>
                </a:solidFill>
                <a:ea typeface="Arial Unicode MS"/>
              </a:rPr>
            </a:br>
            <a:r>
              <a:rPr lang="en-US" sz="1199" dirty="0">
                <a:solidFill>
                  <a:schemeClr val="bg2"/>
                </a:solidFill>
                <a:ea typeface="Arial Unicode MS"/>
              </a:rPr>
              <a:t>dolor sit amet</a:t>
            </a:r>
          </a:p>
        </p:txBody>
      </p:sp>
      <p:cxnSp>
        <p:nvCxnSpPr>
          <p:cNvPr id="7" name="Gerade Verbindung mit Pfeil 6"/>
          <p:cNvCxnSpPr>
            <a:cxnSpLocks/>
          </p:cNvCxnSpPr>
          <p:nvPr/>
        </p:nvCxnSpPr>
        <p:spPr bwMode="auto">
          <a:xfrm>
            <a:off x="411163" y="1910850"/>
            <a:ext cx="4821175" cy="0"/>
          </a:xfrm>
          <a:prstGeom prst="straightConnector1">
            <a:avLst/>
          </a:prstGeom>
          <a:noFill/>
          <a:ln w="12700" cap="flat" cmpd="sng" algn="ctr">
            <a:solidFill>
              <a:srgbClr val="9999A9"/>
            </a:solidFill>
            <a:prstDash val="solid"/>
            <a:round/>
            <a:headEnd type="none" w="sm" len="sm"/>
            <a:tailEnd type="oval" w="lg" len="lg"/>
          </a:ln>
          <a:effectLst/>
        </p:spPr>
      </p:cxnSp>
      <p:cxnSp>
        <p:nvCxnSpPr>
          <p:cNvPr id="44" name="Gerade Verbindung mit Pfeil 43"/>
          <p:cNvCxnSpPr>
            <a:cxnSpLocks/>
          </p:cNvCxnSpPr>
          <p:nvPr/>
        </p:nvCxnSpPr>
        <p:spPr bwMode="auto">
          <a:xfrm>
            <a:off x="411163" y="3953979"/>
            <a:ext cx="4821175" cy="0"/>
          </a:xfrm>
          <a:prstGeom prst="straightConnector1">
            <a:avLst/>
          </a:prstGeom>
          <a:noFill/>
          <a:ln w="12700" cap="flat" cmpd="sng" algn="ctr">
            <a:solidFill>
              <a:srgbClr val="9999A9"/>
            </a:solidFill>
            <a:prstDash val="solid"/>
            <a:round/>
            <a:headEnd type="none" w="sm" len="sm"/>
            <a:tailEnd type="oval" w="lg" len="lg"/>
          </a:ln>
          <a:effectLst/>
        </p:spPr>
      </p:cxnSp>
      <p:sp>
        <p:nvSpPr>
          <p:cNvPr id="57" name="Rechteck 28"/>
          <p:cNvSpPr/>
          <p:nvPr/>
        </p:nvSpPr>
        <p:spPr bwMode="gray">
          <a:xfrm>
            <a:off x="410400" y="1914722"/>
            <a:ext cx="2518688" cy="1056288"/>
          </a:xfrm>
          <a:prstGeom prst="rect">
            <a:avLst/>
          </a:prstGeom>
          <a:noFill/>
          <a:ln w="19050">
            <a:noFill/>
            <a:miter lim="800000"/>
          </a:ln>
          <a:effectLst/>
        </p:spPr>
        <p:txBody>
          <a:bodyPr wrap="square" lIns="0" tIns="108000" rIns="0" bIns="108000" numCol="1" spcCol="72000" rtlCol="0" anchor="t" anchorCtr="0">
            <a:spAutoFit/>
          </a:bodyPr>
          <a:lstStyle/>
          <a:p>
            <a:pPr>
              <a:defRPr/>
            </a:pPr>
            <a:r>
              <a:rPr lang="en-US" altLang="de-DE" sz="1599" b="1" dirty="0">
                <a:solidFill>
                  <a:srgbClr val="00FFB9"/>
                </a:solidFill>
                <a:ea typeface="Arial Unicode MS"/>
              </a:rPr>
              <a:t>Duis arcu suscipit eget</a:t>
            </a:r>
          </a:p>
          <a:p>
            <a:pPr marL="0" lvl="1">
              <a:spcBef>
                <a:spcPts val="300"/>
              </a:spcBef>
              <a:buClr>
                <a:srgbClr val="3C464B"/>
              </a:buClr>
              <a:defRPr/>
            </a:pPr>
            <a:r>
              <a:rPr lang="en-US" altLang="de-DE" sz="1199" dirty="0">
                <a:solidFill>
                  <a:srgbClr val="9999A9"/>
                </a:solidFill>
                <a:ea typeface="Arial Unicode MS"/>
                <a:cs typeface="Arial" pitchFamily="34" charset="0"/>
              </a:rPr>
              <a:t>Maecenas nec odio</a:t>
            </a:r>
            <a:br>
              <a:rPr lang="en-US" altLang="de-DE" sz="1199" dirty="0">
                <a:solidFill>
                  <a:srgbClr val="9999A9"/>
                </a:solidFill>
                <a:ea typeface="Arial Unicode MS"/>
                <a:cs typeface="Arial" pitchFamily="34" charset="0"/>
              </a:rPr>
            </a:br>
            <a:r>
              <a:rPr lang="en-US" altLang="de-DE" sz="1199" dirty="0">
                <a:solidFill>
                  <a:srgbClr val="9999A9"/>
                </a:solidFill>
                <a:ea typeface="Arial Unicode MS"/>
                <a:cs typeface="Arial" pitchFamily="34" charset="0"/>
              </a:rPr>
              <a:t>Donec sodales sagittis magna</a:t>
            </a:r>
            <a:br>
              <a:rPr lang="en-US" altLang="de-DE" sz="1199" dirty="0">
                <a:solidFill>
                  <a:srgbClr val="9999A9"/>
                </a:solidFill>
                <a:ea typeface="Arial Unicode MS"/>
                <a:cs typeface="Arial" pitchFamily="34" charset="0"/>
              </a:rPr>
            </a:br>
            <a:r>
              <a:rPr lang="en-US" altLang="de-DE" sz="1199" dirty="0">
                <a:solidFill>
                  <a:srgbClr val="9999A9"/>
                </a:solidFill>
                <a:ea typeface="Arial Unicode MS"/>
                <a:cs typeface="Arial" pitchFamily="34" charset="0"/>
              </a:rPr>
              <a:t>Duis arcu tortor, suscipit eget</a:t>
            </a:r>
          </a:p>
        </p:txBody>
      </p:sp>
      <p:sp>
        <p:nvSpPr>
          <p:cNvPr id="58" name="Rechteck 28"/>
          <p:cNvSpPr/>
          <p:nvPr/>
        </p:nvSpPr>
        <p:spPr bwMode="gray">
          <a:xfrm>
            <a:off x="410400" y="3953979"/>
            <a:ext cx="2518688" cy="1079438"/>
          </a:xfrm>
          <a:prstGeom prst="rect">
            <a:avLst/>
          </a:prstGeom>
          <a:noFill/>
          <a:ln w="19050">
            <a:noFill/>
            <a:miter lim="800000"/>
          </a:ln>
          <a:effectLst/>
        </p:spPr>
        <p:txBody>
          <a:bodyPr wrap="square" lIns="0" tIns="108000" rIns="0" bIns="108000" numCol="1" spcCol="72000" rtlCol="0" anchor="t" anchorCtr="0">
            <a:spAutoFit/>
          </a:bodyPr>
          <a:lstStyle/>
          <a:p>
            <a:pPr>
              <a:tabLst>
                <a:tab pos="1255085" algn="r"/>
              </a:tabLst>
              <a:defRPr/>
            </a:pPr>
            <a:r>
              <a:rPr lang="en-US" altLang="de-DE" sz="1599" b="1" dirty="0">
                <a:solidFill>
                  <a:srgbClr val="00FFB9"/>
                </a:solidFill>
                <a:ea typeface="Arial Unicode MS"/>
              </a:rPr>
              <a:t>At vero eos et accusam</a:t>
            </a:r>
          </a:p>
          <a:p>
            <a:pPr marL="0" lvl="1">
              <a:spcBef>
                <a:spcPts val="300"/>
              </a:spcBef>
              <a:buClr>
                <a:srgbClr val="3C464B"/>
              </a:buClr>
              <a:defRPr/>
            </a:pPr>
            <a:r>
              <a:rPr lang="en-US" altLang="de-DE" sz="1199" dirty="0">
                <a:solidFill>
                  <a:srgbClr val="9999A9"/>
                </a:solidFill>
                <a:ea typeface="Arial Unicode MS"/>
                <a:cs typeface="Arial" pitchFamily="34" charset="0"/>
              </a:rPr>
              <a:t>Duis arcu tortor</a:t>
            </a:r>
            <a:br>
              <a:rPr lang="en-US" altLang="de-DE" sz="1199" dirty="0">
                <a:solidFill>
                  <a:srgbClr val="9999A9"/>
                </a:solidFill>
                <a:ea typeface="Arial Unicode MS"/>
                <a:cs typeface="Arial" pitchFamily="34" charset="0"/>
              </a:rPr>
            </a:br>
            <a:r>
              <a:rPr lang="en-US" altLang="de-DE" sz="1199" dirty="0">
                <a:solidFill>
                  <a:srgbClr val="9999A9"/>
                </a:solidFill>
                <a:ea typeface="Arial Unicode MS"/>
                <a:cs typeface="Arial" pitchFamily="34" charset="0"/>
              </a:rPr>
              <a:t>Maecenas nec odio</a:t>
            </a:r>
            <a:br>
              <a:rPr lang="en-US" altLang="de-DE" sz="1199" dirty="0">
                <a:solidFill>
                  <a:srgbClr val="9999A9"/>
                </a:solidFill>
                <a:ea typeface="Arial Unicode MS"/>
                <a:cs typeface="Arial" pitchFamily="34" charset="0"/>
              </a:rPr>
            </a:br>
            <a:r>
              <a:rPr lang="en-US" altLang="de-DE" sz="1199" dirty="0">
                <a:solidFill>
                  <a:srgbClr val="9999A9"/>
                </a:solidFill>
                <a:ea typeface="Arial Unicode MS"/>
                <a:cs typeface="Arial" pitchFamily="34" charset="0"/>
              </a:rPr>
              <a:t>At vero eos et accusam</a:t>
            </a:r>
          </a:p>
        </p:txBody>
      </p:sp>
      <p:sp>
        <p:nvSpPr>
          <p:cNvPr id="59" name="Rechteck 28"/>
          <p:cNvSpPr/>
          <p:nvPr/>
        </p:nvSpPr>
        <p:spPr bwMode="gray">
          <a:xfrm flipH="1">
            <a:off x="9266400" y="3058835"/>
            <a:ext cx="2518688" cy="1079438"/>
          </a:xfrm>
          <a:prstGeom prst="rect">
            <a:avLst/>
          </a:prstGeom>
          <a:noFill/>
          <a:ln w="19050">
            <a:noFill/>
            <a:miter lim="800000"/>
          </a:ln>
          <a:effectLst/>
        </p:spPr>
        <p:txBody>
          <a:bodyPr wrap="square" lIns="0" tIns="108000" rIns="0" bIns="108000" numCol="1" spcCol="72000" rtlCol="0" anchor="t" anchorCtr="0">
            <a:spAutoFit/>
          </a:bodyPr>
          <a:lstStyle/>
          <a:p>
            <a:pPr algn="r">
              <a:defRPr/>
            </a:pPr>
            <a:r>
              <a:rPr lang="en-US" altLang="de-DE" sz="1599" b="1" dirty="0">
                <a:solidFill>
                  <a:srgbClr val="00FFB9"/>
                </a:solidFill>
                <a:ea typeface="Arial Unicode MS"/>
              </a:rPr>
              <a:t>Maecenas nec odio</a:t>
            </a:r>
          </a:p>
          <a:p>
            <a:pPr marL="0" lvl="1" algn="r">
              <a:spcBef>
                <a:spcPts val="300"/>
              </a:spcBef>
              <a:buClr>
                <a:srgbClr val="3C464B"/>
              </a:buClr>
              <a:defRPr/>
            </a:pPr>
            <a:r>
              <a:rPr lang="en-US" altLang="de-DE" sz="1199" dirty="0">
                <a:solidFill>
                  <a:srgbClr val="9999A9"/>
                </a:solidFill>
                <a:ea typeface="Arial Unicode MS"/>
                <a:cs typeface="Arial" pitchFamily="34" charset="0"/>
              </a:rPr>
              <a:t>Stet clita kasd gubergren, no sea takimata sanctus est lorem ipsum dolor sit amet</a:t>
            </a:r>
          </a:p>
        </p:txBody>
      </p:sp>
      <p:sp>
        <p:nvSpPr>
          <p:cNvPr id="60" name="Rechteck 28"/>
          <p:cNvSpPr/>
          <p:nvPr/>
        </p:nvSpPr>
        <p:spPr bwMode="gray">
          <a:xfrm flipH="1">
            <a:off x="9266400" y="4990695"/>
            <a:ext cx="2518688" cy="871750"/>
          </a:xfrm>
          <a:prstGeom prst="rect">
            <a:avLst/>
          </a:prstGeom>
          <a:noFill/>
          <a:ln w="19050">
            <a:noFill/>
            <a:miter lim="800000"/>
          </a:ln>
          <a:effectLst/>
        </p:spPr>
        <p:txBody>
          <a:bodyPr wrap="square" lIns="0" tIns="108000" rIns="0" bIns="108000" numCol="1" spcCol="72000" rtlCol="0" anchor="t" anchorCtr="0">
            <a:spAutoFit/>
          </a:bodyPr>
          <a:lstStyle/>
          <a:p>
            <a:pPr algn="r">
              <a:defRPr/>
            </a:pPr>
            <a:r>
              <a:rPr lang="en-US" altLang="de-DE" sz="1599" b="1" dirty="0">
                <a:solidFill>
                  <a:srgbClr val="00FFB9"/>
                </a:solidFill>
                <a:ea typeface="Arial Unicode MS"/>
              </a:rPr>
              <a:t>Cras ultricies mi eu</a:t>
            </a:r>
          </a:p>
          <a:p>
            <a:pPr marL="0" lvl="1" algn="r">
              <a:spcBef>
                <a:spcPts val="300"/>
              </a:spcBef>
              <a:buClr>
                <a:srgbClr val="3C464B"/>
              </a:buClr>
              <a:defRPr/>
            </a:pPr>
            <a:r>
              <a:rPr lang="en-US" altLang="de-DE" sz="1199" dirty="0">
                <a:solidFill>
                  <a:srgbClr val="9999A9"/>
                </a:solidFill>
                <a:ea typeface="Arial Unicode MS"/>
                <a:cs typeface="Arial" pitchFamily="34" charset="0"/>
              </a:rPr>
              <a:t>Consetetur sadipscing elitr, seddiam nonumy</a:t>
            </a:r>
          </a:p>
        </p:txBody>
      </p:sp>
      <p:cxnSp>
        <p:nvCxnSpPr>
          <p:cNvPr id="32" name="Gerade Verbindung mit Pfeil 31">
            <a:extLst>
              <a:ext uri="{FF2B5EF4-FFF2-40B4-BE49-F238E27FC236}">
                <a16:creationId xmlns:a16="http://schemas.microsoft.com/office/drawing/2014/main" id="{E9F8486F-0FAF-B04C-B5FA-66F8C368BB15}"/>
              </a:ext>
            </a:extLst>
          </p:cNvPr>
          <p:cNvCxnSpPr>
            <a:cxnSpLocks/>
          </p:cNvCxnSpPr>
          <p:nvPr/>
        </p:nvCxnSpPr>
        <p:spPr bwMode="auto">
          <a:xfrm flipH="1">
            <a:off x="6743754" y="4990695"/>
            <a:ext cx="5041334" cy="0"/>
          </a:xfrm>
          <a:prstGeom prst="straightConnector1">
            <a:avLst/>
          </a:prstGeom>
          <a:noFill/>
          <a:ln w="12700" cap="rnd" cmpd="sng" algn="ctr">
            <a:solidFill>
              <a:srgbClr val="9999A9"/>
            </a:solidFill>
            <a:prstDash val="solid"/>
            <a:round/>
            <a:headEnd type="none" w="sm" len="sm"/>
            <a:tailEnd type="oval" w="lg" len="lg"/>
          </a:ln>
          <a:effectLst/>
        </p:spPr>
      </p:cxnSp>
      <p:cxnSp>
        <p:nvCxnSpPr>
          <p:cNvPr id="33" name="Gerade Verbindung mit Pfeil 32">
            <a:extLst>
              <a:ext uri="{FF2B5EF4-FFF2-40B4-BE49-F238E27FC236}">
                <a16:creationId xmlns:a16="http://schemas.microsoft.com/office/drawing/2014/main" id="{1576ED41-6803-B945-8526-5DF6E4BB3B36}"/>
              </a:ext>
            </a:extLst>
          </p:cNvPr>
          <p:cNvCxnSpPr>
            <a:cxnSpLocks/>
          </p:cNvCxnSpPr>
          <p:nvPr/>
        </p:nvCxnSpPr>
        <p:spPr bwMode="auto">
          <a:xfrm flipH="1">
            <a:off x="6956722" y="3058835"/>
            <a:ext cx="4830466" cy="0"/>
          </a:xfrm>
          <a:prstGeom prst="straightConnector1">
            <a:avLst/>
          </a:prstGeom>
          <a:noFill/>
          <a:ln w="12700" cap="flat" cmpd="sng" algn="ctr">
            <a:solidFill>
              <a:srgbClr val="9999A9"/>
            </a:solidFill>
            <a:prstDash val="solid"/>
            <a:round/>
            <a:headEnd type="none" w="sm" len="sm"/>
            <a:tailEnd type="oval" w="lg" len="lg"/>
          </a:ln>
          <a:effectLst/>
        </p:spPr>
      </p:cxnSp>
      <p:sp>
        <p:nvSpPr>
          <p:cNvPr id="4" name="Footer Placeholder 3">
            <a:extLst>
              <a:ext uri="{FF2B5EF4-FFF2-40B4-BE49-F238E27FC236}">
                <a16:creationId xmlns:a16="http://schemas.microsoft.com/office/drawing/2014/main" id="{AC7D5F52-6C97-452C-9683-3EAAFC2CA16A}"/>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5" name="Slide Number Placeholder 4">
            <a:extLst>
              <a:ext uri="{FF2B5EF4-FFF2-40B4-BE49-F238E27FC236}">
                <a16:creationId xmlns:a16="http://schemas.microsoft.com/office/drawing/2014/main" id="{F6ACCDC7-7F7A-4BBD-B15C-B1FFDEDA456C}"/>
              </a:ext>
            </a:extLst>
          </p:cNvPr>
          <p:cNvSpPr>
            <a:spLocks noGrp="1"/>
          </p:cNvSpPr>
          <p:nvPr>
            <p:ph type="sldNum" sz="quarter" idx="11"/>
          </p:nvPr>
        </p:nvSpPr>
        <p:spPr/>
        <p:txBody>
          <a:bodyPr/>
          <a:lstStyle/>
          <a:p>
            <a:r>
              <a:rPr lang="en-US" dirty="0"/>
              <a:t>Page </a:t>
            </a:r>
            <a:fld id="{15EBE321-CBB1-4E91-BD14-37C8D44326FB}" type="slidenum">
              <a:rPr lang="en-US" smtClean="0"/>
              <a:pPr/>
              <a:t>91</a:t>
            </a:fld>
            <a:endParaRPr lang="en-US" dirty="0"/>
          </a:p>
        </p:txBody>
      </p:sp>
    </p:spTree>
    <p:extLst>
      <p:ext uri="{BB962C8B-B14F-4D97-AF65-F5344CB8AC3E}">
        <p14:creationId xmlns:p14="http://schemas.microsoft.com/office/powerpoint/2010/main" val="399599757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Radial diagram</a:t>
            </a:r>
          </a:p>
        </p:txBody>
      </p:sp>
      <p:grpSp>
        <p:nvGrpSpPr>
          <p:cNvPr id="16" name="Gruppieren 15"/>
          <p:cNvGrpSpPr>
            <a:grpSpLocks/>
          </p:cNvGrpSpPr>
          <p:nvPr/>
        </p:nvGrpSpPr>
        <p:grpSpPr>
          <a:xfrm>
            <a:off x="411163" y="1926999"/>
            <a:ext cx="3861964" cy="3861964"/>
            <a:chOff x="396874" y="1578389"/>
            <a:chExt cx="4425536" cy="4425536"/>
          </a:xfrm>
        </p:grpSpPr>
        <p:sp>
          <p:nvSpPr>
            <p:cNvPr id="17" name="Ellipse 17"/>
            <p:cNvSpPr/>
            <p:nvPr/>
          </p:nvSpPr>
          <p:spPr bwMode="auto">
            <a:xfrm>
              <a:off x="396874" y="1578389"/>
              <a:ext cx="4425536" cy="4425536"/>
            </a:xfrm>
            <a:custGeom>
              <a:avLst/>
              <a:gdLst/>
              <a:ahLst/>
              <a:cxnLst/>
              <a:rect l="l" t="t" r="r" b="b"/>
              <a:pathLst>
                <a:path w="3960000" h="3960000">
                  <a:moveTo>
                    <a:pt x="1980000" y="360000"/>
                  </a:moveTo>
                  <a:cubicBezTo>
                    <a:pt x="1085299" y="360000"/>
                    <a:pt x="360000" y="1085299"/>
                    <a:pt x="360000" y="1980000"/>
                  </a:cubicBezTo>
                  <a:cubicBezTo>
                    <a:pt x="360000" y="2874701"/>
                    <a:pt x="1085299" y="3600000"/>
                    <a:pt x="1980000" y="3600000"/>
                  </a:cubicBezTo>
                  <a:cubicBezTo>
                    <a:pt x="2874701" y="3600000"/>
                    <a:pt x="3600000" y="2874701"/>
                    <a:pt x="3600000" y="1980000"/>
                  </a:cubicBezTo>
                  <a:cubicBezTo>
                    <a:pt x="3600000" y="1085299"/>
                    <a:pt x="2874701" y="360000"/>
                    <a:pt x="1980000" y="360000"/>
                  </a:cubicBezTo>
                  <a:close/>
                  <a:moveTo>
                    <a:pt x="1980000" y="0"/>
                  </a:moveTo>
                  <a:cubicBezTo>
                    <a:pt x="3073524" y="0"/>
                    <a:pt x="3960000" y="886476"/>
                    <a:pt x="3960000" y="1980000"/>
                  </a:cubicBezTo>
                  <a:cubicBezTo>
                    <a:pt x="3960000" y="3073524"/>
                    <a:pt x="3073524" y="3960000"/>
                    <a:pt x="1980000" y="3960000"/>
                  </a:cubicBezTo>
                  <a:cubicBezTo>
                    <a:pt x="886476" y="3960000"/>
                    <a:pt x="0" y="3073524"/>
                    <a:pt x="0" y="1980000"/>
                  </a:cubicBezTo>
                  <a:cubicBezTo>
                    <a:pt x="0" y="886476"/>
                    <a:pt x="886476" y="0"/>
                    <a:pt x="1980000" y="0"/>
                  </a:cubicBezTo>
                  <a:close/>
                </a:path>
              </a:pathLst>
            </a:custGeom>
            <a:solidFill>
              <a:srgbClr val="00FFB9"/>
            </a:solidFill>
            <a:ln w="19050" cap="flat" cmpd="sng" algn="ctr">
              <a:noFill/>
              <a:prstDash val="solid"/>
              <a:round/>
              <a:headEnd type="none" w="med" len="med"/>
              <a:tailEnd type="triangle" w="med" len="lg"/>
            </a:ln>
            <a:effectLst/>
          </p:spPr>
          <p:txBody>
            <a:bodyPr vert="horz" wrap="square" lIns="0" tIns="0" rIns="0" bIns="0" numCol="1" rtlCol="0" anchor="t" anchorCtr="0" compatLnSpc="1">
              <a:prstTxWarp prst="textNoShape">
                <a:avLst/>
              </a:prstTxWarp>
              <a:noAutofit/>
            </a:bodyPr>
            <a:lstStyle/>
            <a:p>
              <a:pPr algn="ctr"/>
              <a:endParaRPr lang="en-US" sz="1799" i="1" dirty="0"/>
            </a:p>
          </p:txBody>
        </p:sp>
        <p:sp>
          <p:nvSpPr>
            <p:cNvPr id="18" name="Ellipse 25"/>
            <p:cNvSpPr/>
            <p:nvPr/>
          </p:nvSpPr>
          <p:spPr bwMode="auto">
            <a:xfrm>
              <a:off x="1000357" y="2181871"/>
              <a:ext cx="3218572" cy="3218572"/>
            </a:xfrm>
            <a:custGeom>
              <a:avLst/>
              <a:gdLst/>
              <a:ahLst/>
              <a:cxnLst/>
              <a:rect l="l" t="t" r="r" b="b"/>
              <a:pathLst>
                <a:path w="2880000" h="2880000">
                  <a:moveTo>
                    <a:pt x="1440000" y="360000"/>
                  </a:moveTo>
                  <a:cubicBezTo>
                    <a:pt x="843532" y="360000"/>
                    <a:pt x="360000" y="843532"/>
                    <a:pt x="360000" y="1440000"/>
                  </a:cubicBezTo>
                  <a:cubicBezTo>
                    <a:pt x="360000" y="2036468"/>
                    <a:pt x="843532" y="2520000"/>
                    <a:pt x="1440000" y="2520000"/>
                  </a:cubicBezTo>
                  <a:cubicBezTo>
                    <a:pt x="2036468" y="2520000"/>
                    <a:pt x="2520000" y="2036468"/>
                    <a:pt x="2520000" y="1440000"/>
                  </a:cubicBezTo>
                  <a:cubicBezTo>
                    <a:pt x="2520000" y="843532"/>
                    <a:pt x="2036468" y="360000"/>
                    <a:pt x="1440000" y="360000"/>
                  </a:cubicBezTo>
                  <a:close/>
                  <a:moveTo>
                    <a:pt x="1440000" y="0"/>
                  </a:moveTo>
                  <a:cubicBezTo>
                    <a:pt x="2235290" y="0"/>
                    <a:pt x="2880000" y="644710"/>
                    <a:pt x="2880000" y="1440000"/>
                  </a:cubicBezTo>
                  <a:cubicBezTo>
                    <a:pt x="2880000" y="2235290"/>
                    <a:pt x="2235290" y="2880000"/>
                    <a:pt x="1440000" y="2880000"/>
                  </a:cubicBezTo>
                  <a:cubicBezTo>
                    <a:pt x="644710" y="2880000"/>
                    <a:pt x="0" y="2235290"/>
                    <a:pt x="0" y="1440000"/>
                  </a:cubicBezTo>
                  <a:cubicBezTo>
                    <a:pt x="0" y="644710"/>
                    <a:pt x="644710" y="0"/>
                    <a:pt x="1440000" y="0"/>
                  </a:cubicBezTo>
                  <a:close/>
                </a:path>
              </a:pathLst>
            </a:custGeom>
            <a:solidFill>
              <a:srgbClr val="00AF8E"/>
            </a:solidFill>
            <a:ln w="19050" cap="flat" cmpd="sng" algn="ctr">
              <a:noFill/>
              <a:prstDash val="solid"/>
              <a:round/>
              <a:headEnd type="none" w="med" len="med"/>
              <a:tailEnd type="triangle" w="med" len="lg"/>
            </a:ln>
            <a:effectLst/>
          </p:spPr>
          <p:txBody>
            <a:bodyPr vert="horz" wrap="square" lIns="0" tIns="0" rIns="0" bIns="0" numCol="1" rtlCol="0" anchor="t" anchorCtr="0" compatLnSpc="1">
              <a:prstTxWarp prst="textNoShape">
                <a:avLst/>
              </a:prstTxWarp>
              <a:noAutofit/>
            </a:bodyPr>
            <a:lstStyle/>
            <a:p>
              <a:pPr algn="ctr"/>
              <a:endParaRPr lang="en-US" sz="1799" i="1" dirty="0"/>
            </a:p>
          </p:txBody>
        </p:sp>
        <p:sp>
          <p:nvSpPr>
            <p:cNvPr id="19" name="Ellipse 26"/>
            <p:cNvSpPr/>
            <p:nvPr/>
          </p:nvSpPr>
          <p:spPr bwMode="auto">
            <a:xfrm>
              <a:off x="1603839" y="2785353"/>
              <a:ext cx="2011607" cy="2011607"/>
            </a:xfrm>
            <a:custGeom>
              <a:avLst/>
              <a:gdLst/>
              <a:ahLst/>
              <a:cxnLst/>
              <a:rect l="l" t="t" r="r" b="b"/>
              <a:pathLst>
                <a:path w="1800000" h="1800000">
                  <a:moveTo>
                    <a:pt x="900000" y="360000"/>
                  </a:moveTo>
                  <a:cubicBezTo>
                    <a:pt x="601766" y="360000"/>
                    <a:pt x="360000" y="601766"/>
                    <a:pt x="360000" y="900000"/>
                  </a:cubicBezTo>
                  <a:cubicBezTo>
                    <a:pt x="360000" y="1198234"/>
                    <a:pt x="601766" y="1440000"/>
                    <a:pt x="900000" y="1440000"/>
                  </a:cubicBezTo>
                  <a:cubicBezTo>
                    <a:pt x="1198234" y="1440000"/>
                    <a:pt x="1440000" y="1198234"/>
                    <a:pt x="1440000" y="900000"/>
                  </a:cubicBezTo>
                  <a:cubicBezTo>
                    <a:pt x="1440000" y="601766"/>
                    <a:pt x="1198234" y="360000"/>
                    <a:pt x="900000" y="360000"/>
                  </a:cubicBezTo>
                  <a:close/>
                  <a:moveTo>
                    <a:pt x="900000" y="0"/>
                  </a:moveTo>
                  <a:cubicBezTo>
                    <a:pt x="1397056" y="0"/>
                    <a:pt x="1800000" y="402944"/>
                    <a:pt x="1800000" y="900000"/>
                  </a:cubicBezTo>
                  <a:cubicBezTo>
                    <a:pt x="1800000" y="1397056"/>
                    <a:pt x="1397056" y="1800000"/>
                    <a:pt x="900000" y="1800000"/>
                  </a:cubicBezTo>
                  <a:cubicBezTo>
                    <a:pt x="402944" y="1800000"/>
                    <a:pt x="0" y="1397056"/>
                    <a:pt x="0" y="900000"/>
                  </a:cubicBezTo>
                  <a:cubicBezTo>
                    <a:pt x="0" y="402944"/>
                    <a:pt x="402944" y="0"/>
                    <a:pt x="900000" y="0"/>
                  </a:cubicBezTo>
                  <a:close/>
                </a:path>
              </a:pathLst>
            </a:custGeom>
            <a:solidFill>
              <a:srgbClr val="00646E"/>
            </a:solidFill>
            <a:ln w="19050" cap="flat" cmpd="sng" algn="ctr">
              <a:noFill/>
              <a:prstDash val="solid"/>
              <a:round/>
              <a:headEnd type="none" w="med" len="med"/>
              <a:tailEnd type="triangle" w="med" len="lg"/>
            </a:ln>
            <a:effectLst/>
          </p:spPr>
          <p:txBody>
            <a:bodyPr vert="horz" wrap="square" lIns="0" tIns="0" rIns="0" bIns="0" numCol="1" rtlCol="0" anchor="t" anchorCtr="0" compatLnSpc="1">
              <a:prstTxWarp prst="textNoShape">
                <a:avLst/>
              </a:prstTxWarp>
              <a:noAutofit/>
            </a:bodyPr>
            <a:lstStyle/>
            <a:p>
              <a:pPr algn="ctr"/>
              <a:endParaRPr lang="en-US" sz="1799" i="1" dirty="0"/>
            </a:p>
          </p:txBody>
        </p:sp>
        <p:sp>
          <p:nvSpPr>
            <p:cNvPr id="20" name="Ellipse 19"/>
            <p:cNvSpPr/>
            <p:nvPr/>
          </p:nvSpPr>
          <p:spPr bwMode="auto">
            <a:xfrm>
              <a:off x="2207322" y="3388836"/>
              <a:ext cx="804643" cy="804643"/>
            </a:xfrm>
            <a:prstGeom prst="ellipse">
              <a:avLst/>
            </a:prstGeom>
            <a:solidFill>
              <a:srgbClr val="CCCCD4"/>
            </a:solidFill>
            <a:ln w="19050" cap="flat" cmpd="sng" algn="ctr">
              <a:noFill/>
              <a:prstDash val="solid"/>
              <a:round/>
              <a:headEnd type="none" w="med" len="med"/>
              <a:tailEnd type="triangle" w="med" len="lg"/>
            </a:ln>
            <a:effectLst/>
          </p:spPr>
          <p:txBody>
            <a:bodyPr vert="horz" wrap="square" lIns="0" tIns="0" rIns="0" bIns="0" numCol="1" rtlCol="0" anchor="t" anchorCtr="0" compatLnSpc="1">
              <a:prstTxWarp prst="textNoShape">
                <a:avLst/>
              </a:prstTxWarp>
              <a:noAutofit/>
            </a:bodyPr>
            <a:lstStyle/>
            <a:p>
              <a:pPr algn="ctr"/>
              <a:endParaRPr lang="en-US" sz="1799" i="1" dirty="0"/>
            </a:p>
          </p:txBody>
        </p:sp>
      </p:grpSp>
      <p:sp>
        <p:nvSpPr>
          <p:cNvPr id="21" name="Textfeld 30"/>
          <p:cNvSpPr txBox="1">
            <a:spLocks/>
          </p:cNvSpPr>
          <p:nvPr/>
        </p:nvSpPr>
        <p:spPr bwMode="gray">
          <a:xfrm>
            <a:off x="5882400" y="1415848"/>
            <a:ext cx="4391997" cy="1079438"/>
          </a:xfrm>
          <a:prstGeom prst="rect">
            <a:avLst/>
          </a:prstGeom>
          <a:noFill/>
          <a:ln>
            <a:noFill/>
          </a:ln>
          <a:scene3d>
            <a:camera prst="orthographicFront">
              <a:rot lat="0" lon="0" rev="0"/>
            </a:camera>
            <a:lightRig rig="threePt" dir="t"/>
          </a:scene3d>
        </p:spPr>
        <p:txBody>
          <a:bodyPr wrap="square" lIns="144000" tIns="71963" rIns="0" bIns="71963" rtlCol="0" anchor="ctr" anchorCtr="0">
            <a:noAutofit/>
          </a:bodyPr>
          <a:lstStyle/>
          <a:p>
            <a:pPr>
              <a:tabLst>
                <a:tab pos="1255085" algn="r"/>
              </a:tabLst>
              <a:defRPr/>
            </a:pPr>
            <a:r>
              <a:rPr lang="en-US" altLang="de-DE" sz="1599" b="1" dirty="0">
                <a:solidFill>
                  <a:schemeClr val="accent1"/>
                </a:solidFill>
                <a:ea typeface="Arial Unicode MS"/>
              </a:rPr>
              <a:t>Cras ultricies mi eu</a:t>
            </a:r>
          </a:p>
          <a:p>
            <a:pPr marL="0" lvl="1">
              <a:spcBef>
                <a:spcPts val="300"/>
              </a:spcBef>
              <a:buClr>
                <a:srgbClr val="3C464B"/>
              </a:buClr>
              <a:defRPr/>
            </a:pPr>
            <a:r>
              <a:rPr lang="en-US" altLang="de-DE" sz="1199" dirty="0">
                <a:solidFill>
                  <a:srgbClr val="66667E"/>
                </a:solidFill>
                <a:ea typeface="Arial Unicode MS"/>
                <a:cs typeface="Arial" pitchFamily="34" charset="0"/>
              </a:rPr>
              <a:t>Duis arcu tortor, suscipit eget</a:t>
            </a:r>
            <a:br>
              <a:rPr lang="en-US" altLang="de-DE" sz="1199" dirty="0">
                <a:solidFill>
                  <a:srgbClr val="66667E"/>
                </a:solidFill>
                <a:ea typeface="Arial Unicode MS"/>
                <a:cs typeface="Arial" pitchFamily="34" charset="0"/>
              </a:rPr>
            </a:br>
            <a:r>
              <a:rPr lang="en-US" altLang="de-DE" sz="1199" dirty="0">
                <a:solidFill>
                  <a:srgbClr val="66667E"/>
                </a:solidFill>
                <a:ea typeface="Arial Unicode MS"/>
                <a:cs typeface="Arial" pitchFamily="34" charset="0"/>
              </a:rPr>
              <a:t>Phasellus nec sem</a:t>
            </a:r>
            <a:br>
              <a:rPr lang="en-US" altLang="de-DE" sz="1199" dirty="0">
                <a:solidFill>
                  <a:srgbClr val="66667E"/>
                </a:solidFill>
                <a:ea typeface="Arial Unicode MS"/>
                <a:cs typeface="Arial" pitchFamily="34" charset="0"/>
              </a:rPr>
            </a:br>
            <a:r>
              <a:rPr lang="en-US" altLang="de-DE" sz="1199" dirty="0">
                <a:solidFill>
                  <a:srgbClr val="66667E"/>
                </a:solidFill>
                <a:ea typeface="Arial Unicode MS"/>
                <a:cs typeface="Arial" pitchFamily="34" charset="0"/>
              </a:rPr>
              <a:t>Maecenas nec odio</a:t>
            </a:r>
          </a:p>
        </p:txBody>
      </p:sp>
      <p:sp>
        <p:nvSpPr>
          <p:cNvPr id="22" name="Textfeld 30"/>
          <p:cNvSpPr txBox="1">
            <a:spLocks/>
          </p:cNvSpPr>
          <p:nvPr/>
        </p:nvSpPr>
        <p:spPr bwMode="gray">
          <a:xfrm>
            <a:off x="5882400" y="2566800"/>
            <a:ext cx="4391997" cy="1079438"/>
          </a:xfrm>
          <a:prstGeom prst="rect">
            <a:avLst/>
          </a:prstGeom>
          <a:noFill/>
          <a:ln>
            <a:noFill/>
          </a:ln>
          <a:scene3d>
            <a:camera prst="orthographicFront">
              <a:rot lat="0" lon="0" rev="0"/>
            </a:camera>
            <a:lightRig rig="threePt" dir="t"/>
          </a:scene3d>
        </p:spPr>
        <p:txBody>
          <a:bodyPr wrap="square" lIns="144000" tIns="71963" rIns="0" bIns="71963" rtlCol="0" anchor="ctr" anchorCtr="0">
            <a:noAutofit/>
          </a:bodyPr>
          <a:lstStyle/>
          <a:p>
            <a:pPr>
              <a:tabLst>
                <a:tab pos="1255085" algn="r"/>
              </a:tabLst>
              <a:defRPr/>
            </a:pPr>
            <a:r>
              <a:rPr lang="en-US" altLang="de-DE" sz="1599" b="1" dirty="0">
                <a:solidFill>
                  <a:schemeClr val="accent1"/>
                </a:solidFill>
                <a:ea typeface="Arial Unicode MS"/>
              </a:rPr>
              <a:t>At vero eos et accusam</a:t>
            </a:r>
          </a:p>
          <a:p>
            <a:pPr marL="0" lvl="1">
              <a:spcBef>
                <a:spcPts val="300"/>
              </a:spcBef>
              <a:buClr>
                <a:srgbClr val="3C464B"/>
              </a:buClr>
              <a:defRPr/>
            </a:pPr>
            <a:r>
              <a:rPr lang="en-US" altLang="de-DE" sz="1199" dirty="0">
                <a:solidFill>
                  <a:srgbClr val="66667E"/>
                </a:solidFill>
                <a:ea typeface="Arial Unicode MS"/>
                <a:cs typeface="Arial" pitchFamily="34" charset="0"/>
              </a:rPr>
              <a:t>Phasellus nec sem</a:t>
            </a:r>
            <a:br>
              <a:rPr lang="en-US" altLang="de-DE" sz="1199" dirty="0">
                <a:solidFill>
                  <a:srgbClr val="66667E"/>
                </a:solidFill>
                <a:ea typeface="Arial Unicode MS"/>
                <a:cs typeface="Arial" pitchFamily="34" charset="0"/>
              </a:rPr>
            </a:br>
            <a:r>
              <a:rPr lang="en-US" altLang="de-DE" sz="1199" dirty="0">
                <a:solidFill>
                  <a:srgbClr val="66667E"/>
                </a:solidFill>
                <a:ea typeface="Arial Unicode MS"/>
                <a:cs typeface="Arial" pitchFamily="34" charset="0"/>
              </a:rPr>
              <a:t>Maecenas nec odio</a:t>
            </a:r>
            <a:br>
              <a:rPr lang="en-US" altLang="de-DE" sz="1199" dirty="0">
                <a:solidFill>
                  <a:srgbClr val="66667E"/>
                </a:solidFill>
                <a:ea typeface="Arial Unicode MS"/>
                <a:cs typeface="Arial" pitchFamily="34" charset="0"/>
              </a:rPr>
            </a:br>
            <a:r>
              <a:rPr lang="en-US" altLang="de-DE" sz="1199" dirty="0">
                <a:solidFill>
                  <a:srgbClr val="66667E"/>
                </a:solidFill>
                <a:ea typeface="Arial Unicode MS"/>
                <a:cs typeface="Arial" pitchFamily="34" charset="0"/>
              </a:rPr>
              <a:t>Donec sodales sagittis magna</a:t>
            </a:r>
          </a:p>
        </p:txBody>
      </p:sp>
      <p:sp>
        <p:nvSpPr>
          <p:cNvPr id="23" name="Textfeld 30"/>
          <p:cNvSpPr txBox="1">
            <a:spLocks/>
          </p:cNvSpPr>
          <p:nvPr/>
        </p:nvSpPr>
        <p:spPr bwMode="gray">
          <a:xfrm>
            <a:off x="5882400" y="3970800"/>
            <a:ext cx="4391997" cy="1079438"/>
          </a:xfrm>
          <a:prstGeom prst="rect">
            <a:avLst/>
          </a:prstGeom>
          <a:noFill/>
          <a:ln>
            <a:noFill/>
          </a:ln>
          <a:scene3d>
            <a:camera prst="orthographicFront">
              <a:rot lat="0" lon="0" rev="0"/>
            </a:camera>
            <a:lightRig rig="threePt" dir="t"/>
          </a:scene3d>
        </p:spPr>
        <p:txBody>
          <a:bodyPr wrap="square" lIns="144000" tIns="71963" rIns="0" bIns="71963" rtlCol="0" anchor="ctr" anchorCtr="0">
            <a:noAutofit/>
          </a:bodyPr>
          <a:lstStyle/>
          <a:p>
            <a:pPr>
              <a:tabLst>
                <a:tab pos="1255085" algn="r"/>
              </a:tabLst>
              <a:defRPr/>
            </a:pPr>
            <a:r>
              <a:rPr lang="en-US" altLang="de-DE" sz="1599" b="1" dirty="0">
                <a:solidFill>
                  <a:schemeClr val="accent1"/>
                </a:solidFill>
                <a:ea typeface="Arial Unicode MS"/>
              </a:rPr>
              <a:t>Duis arcu tortor, suscipit eget</a:t>
            </a:r>
          </a:p>
          <a:p>
            <a:pPr marL="0" lvl="1">
              <a:spcBef>
                <a:spcPts val="300"/>
              </a:spcBef>
              <a:buClr>
                <a:srgbClr val="3C464B"/>
              </a:buClr>
              <a:defRPr/>
            </a:pPr>
            <a:r>
              <a:rPr lang="en-US" altLang="de-DE" sz="1199" dirty="0">
                <a:solidFill>
                  <a:srgbClr val="66667E"/>
                </a:solidFill>
                <a:ea typeface="Arial Unicode MS"/>
                <a:cs typeface="Arial" pitchFamily="34" charset="0"/>
              </a:rPr>
              <a:t>Stet clita kasd gubergren, </a:t>
            </a:r>
            <a:br>
              <a:rPr lang="en-US" altLang="de-DE" sz="1199" dirty="0">
                <a:solidFill>
                  <a:srgbClr val="66667E"/>
                </a:solidFill>
                <a:ea typeface="Arial Unicode MS"/>
                <a:cs typeface="Arial" pitchFamily="34" charset="0"/>
              </a:rPr>
            </a:br>
            <a:r>
              <a:rPr lang="en-US" altLang="de-DE" sz="1199" dirty="0">
                <a:solidFill>
                  <a:srgbClr val="66667E"/>
                </a:solidFill>
                <a:ea typeface="Arial Unicode MS"/>
                <a:cs typeface="Arial" pitchFamily="34" charset="0"/>
              </a:rPr>
              <a:t>no sea takimata sanctus est </a:t>
            </a:r>
            <a:br>
              <a:rPr lang="en-US" altLang="de-DE" sz="1199" dirty="0">
                <a:solidFill>
                  <a:srgbClr val="66667E"/>
                </a:solidFill>
                <a:ea typeface="Arial Unicode MS"/>
                <a:cs typeface="Arial" pitchFamily="34" charset="0"/>
              </a:rPr>
            </a:br>
            <a:r>
              <a:rPr lang="en-US" altLang="de-DE" sz="1199" dirty="0">
                <a:solidFill>
                  <a:srgbClr val="66667E"/>
                </a:solidFill>
                <a:ea typeface="Arial Unicode MS"/>
                <a:cs typeface="Arial" pitchFamily="34" charset="0"/>
              </a:rPr>
              <a:t>Maecenas nec odio dolor sit amet</a:t>
            </a:r>
          </a:p>
        </p:txBody>
      </p:sp>
      <p:sp>
        <p:nvSpPr>
          <p:cNvPr id="24" name="Textfeld 30"/>
          <p:cNvSpPr txBox="1">
            <a:spLocks/>
          </p:cNvSpPr>
          <p:nvPr/>
        </p:nvSpPr>
        <p:spPr bwMode="gray">
          <a:xfrm>
            <a:off x="5882400" y="5158800"/>
            <a:ext cx="4391997" cy="1007615"/>
          </a:xfrm>
          <a:prstGeom prst="rect">
            <a:avLst/>
          </a:prstGeom>
          <a:noFill/>
          <a:ln>
            <a:noFill/>
          </a:ln>
          <a:scene3d>
            <a:camera prst="orthographicFront">
              <a:rot lat="0" lon="0" rev="0"/>
            </a:camera>
            <a:lightRig rig="threePt" dir="t"/>
          </a:scene3d>
        </p:spPr>
        <p:txBody>
          <a:bodyPr wrap="square" lIns="144000" tIns="71963" rIns="0" bIns="71963" rtlCol="0" anchor="ctr" anchorCtr="0">
            <a:noAutofit/>
          </a:bodyPr>
          <a:lstStyle/>
          <a:p>
            <a:pPr>
              <a:tabLst>
                <a:tab pos="1255085" algn="r"/>
              </a:tabLst>
              <a:defRPr/>
            </a:pPr>
            <a:r>
              <a:rPr lang="en-US" altLang="de-DE" sz="1599" b="1" dirty="0">
                <a:solidFill>
                  <a:schemeClr val="accent1"/>
                </a:solidFill>
                <a:ea typeface="Arial Unicode MS"/>
              </a:rPr>
              <a:t>At vero eos et accusam</a:t>
            </a:r>
          </a:p>
          <a:p>
            <a:pPr marL="0" lvl="1">
              <a:spcBef>
                <a:spcPts val="300"/>
              </a:spcBef>
              <a:buClr>
                <a:srgbClr val="3C464B"/>
              </a:buClr>
              <a:defRPr/>
            </a:pPr>
            <a:r>
              <a:rPr lang="en-US" altLang="de-DE" sz="1199" dirty="0">
                <a:solidFill>
                  <a:srgbClr val="66667E"/>
                </a:solidFill>
                <a:ea typeface="Arial Unicode MS"/>
                <a:cs typeface="Arial" pitchFamily="34" charset="0"/>
              </a:rPr>
              <a:t>Maecenas nec odio</a:t>
            </a:r>
            <a:br>
              <a:rPr lang="en-US" altLang="de-DE" sz="1199" dirty="0">
                <a:solidFill>
                  <a:srgbClr val="66667E"/>
                </a:solidFill>
                <a:ea typeface="Arial Unicode MS"/>
                <a:cs typeface="Arial" pitchFamily="34" charset="0"/>
              </a:rPr>
            </a:br>
            <a:r>
              <a:rPr lang="en-US" altLang="de-DE" sz="1199" dirty="0">
                <a:solidFill>
                  <a:srgbClr val="66667E"/>
                </a:solidFill>
                <a:ea typeface="Arial Unicode MS"/>
                <a:cs typeface="Arial" pitchFamily="34" charset="0"/>
              </a:rPr>
              <a:t>Donec sodales sagittis magna</a:t>
            </a:r>
            <a:br>
              <a:rPr lang="en-US" altLang="de-DE" sz="1199" dirty="0">
                <a:solidFill>
                  <a:srgbClr val="66667E"/>
                </a:solidFill>
                <a:ea typeface="Arial Unicode MS"/>
                <a:cs typeface="Arial" pitchFamily="34" charset="0"/>
              </a:rPr>
            </a:br>
            <a:r>
              <a:rPr lang="en-US" altLang="de-DE" sz="1199" dirty="0">
                <a:solidFill>
                  <a:srgbClr val="66667E"/>
                </a:solidFill>
                <a:ea typeface="Arial Unicode MS"/>
                <a:cs typeface="Arial" pitchFamily="34" charset="0"/>
              </a:rPr>
              <a:t>Duis arcu tortor, suscipit eget</a:t>
            </a:r>
          </a:p>
        </p:txBody>
      </p:sp>
      <p:grpSp>
        <p:nvGrpSpPr>
          <p:cNvPr id="5" name="Group 4"/>
          <p:cNvGrpSpPr/>
          <p:nvPr/>
        </p:nvGrpSpPr>
        <p:grpSpPr>
          <a:xfrm>
            <a:off x="2806383" y="1673336"/>
            <a:ext cx="3075306" cy="474352"/>
            <a:chOff x="3010829" y="1697620"/>
            <a:chExt cx="3101464" cy="474599"/>
          </a:xfrm>
        </p:grpSpPr>
        <p:cxnSp>
          <p:nvCxnSpPr>
            <p:cNvPr id="26" name="Gerade Verbindung mit Pfeil 43"/>
            <p:cNvCxnSpPr/>
            <p:nvPr/>
          </p:nvCxnSpPr>
          <p:spPr bwMode="auto">
            <a:xfrm flipV="1">
              <a:off x="3010829" y="1697620"/>
              <a:ext cx="474601" cy="474599"/>
            </a:xfrm>
            <a:prstGeom prst="straightConnector1">
              <a:avLst/>
            </a:prstGeom>
            <a:noFill/>
            <a:ln w="12700" cap="flat" cmpd="sng" algn="ctr">
              <a:solidFill>
                <a:srgbClr val="66667E"/>
              </a:solidFill>
              <a:prstDash val="solid"/>
              <a:round/>
              <a:headEnd type="oval" w="lg" len="lg"/>
              <a:tailEnd type="none" w="lg" len="lg"/>
            </a:ln>
            <a:effectLst/>
          </p:spPr>
        </p:cxnSp>
        <p:cxnSp>
          <p:nvCxnSpPr>
            <p:cNvPr id="27" name="Gerade Verbindung mit Pfeil 43"/>
            <p:cNvCxnSpPr/>
            <p:nvPr/>
          </p:nvCxnSpPr>
          <p:spPr bwMode="auto">
            <a:xfrm flipH="1">
              <a:off x="3479518" y="1700760"/>
              <a:ext cx="2632775" cy="0"/>
            </a:xfrm>
            <a:prstGeom prst="straightConnector1">
              <a:avLst/>
            </a:prstGeom>
            <a:noFill/>
            <a:ln w="12700" cap="flat" cmpd="sng" algn="ctr">
              <a:solidFill>
                <a:srgbClr val="66667E"/>
              </a:solidFill>
              <a:prstDash val="solid"/>
              <a:round/>
              <a:headEnd type="none" w="lg" len="lg"/>
              <a:tailEnd type="none" w="lg" len="lg"/>
            </a:ln>
            <a:effectLst/>
          </p:spPr>
        </p:cxnSp>
      </p:grpSp>
      <p:grpSp>
        <p:nvGrpSpPr>
          <p:cNvPr id="4" name="Group 3"/>
          <p:cNvGrpSpPr/>
          <p:nvPr/>
        </p:nvGrpSpPr>
        <p:grpSpPr>
          <a:xfrm>
            <a:off x="3530835" y="2808969"/>
            <a:ext cx="2350854" cy="689108"/>
            <a:chOff x="3735659" y="2833845"/>
            <a:chExt cx="2376634" cy="689467"/>
          </a:xfrm>
        </p:grpSpPr>
        <p:cxnSp>
          <p:nvCxnSpPr>
            <p:cNvPr id="30" name="Gerade Verbindung mit Pfeil 43"/>
            <p:cNvCxnSpPr/>
            <p:nvPr/>
          </p:nvCxnSpPr>
          <p:spPr bwMode="auto">
            <a:xfrm flipV="1">
              <a:off x="3735659" y="2833845"/>
              <a:ext cx="689469" cy="689467"/>
            </a:xfrm>
            <a:prstGeom prst="straightConnector1">
              <a:avLst/>
            </a:prstGeom>
            <a:noFill/>
            <a:ln w="12700" cap="flat" cmpd="sng" algn="ctr">
              <a:solidFill>
                <a:srgbClr val="66667E"/>
              </a:solidFill>
              <a:prstDash val="solid"/>
              <a:round/>
              <a:headEnd type="oval" w="lg" len="lg"/>
              <a:tailEnd type="none" w="lg" len="lg"/>
            </a:ln>
            <a:effectLst/>
          </p:spPr>
        </p:cxnSp>
        <p:cxnSp>
          <p:nvCxnSpPr>
            <p:cNvPr id="31" name="Gerade Verbindung mit Pfeil 43"/>
            <p:cNvCxnSpPr/>
            <p:nvPr/>
          </p:nvCxnSpPr>
          <p:spPr bwMode="auto">
            <a:xfrm flipH="1">
              <a:off x="4419216" y="2836985"/>
              <a:ext cx="1693077" cy="0"/>
            </a:xfrm>
            <a:prstGeom prst="straightConnector1">
              <a:avLst/>
            </a:prstGeom>
            <a:noFill/>
            <a:ln w="12700" cap="flat" cmpd="sng" algn="ctr">
              <a:solidFill>
                <a:srgbClr val="66667E"/>
              </a:solidFill>
              <a:prstDash val="solid"/>
              <a:round/>
              <a:headEnd type="none" w="lg" len="lg"/>
              <a:tailEnd type="none" w="lg" len="lg"/>
            </a:ln>
            <a:effectLst/>
          </p:spPr>
        </p:cxnSp>
      </p:grpSp>
      <p:grpSp>
        <p:nvGrpSpPr>
          <p:cNvPr id="7" name="Group 6"/>
          <p:cNvGrpSpPr/>
          <p:nvPr/>
        </p:nvGrpSpPr>
        <p:grpSpPr>
          <a:xfrm>
            <a:off x="2342145" y="3855771"/>
            <a:ext cx="3539543" cy="1524236"/>
            <a:chOff x="2546350" y="3881191"/>
            <a:chExt cx="3565945" cy="1550218"/>
          </a:xfrm>
        </p:grpSpPr>
        <p:cxnSp>
          <p:nvCxnSpPr>
            <p:cNvPr id="56" name="Gerade Verbindung mit Pfeil 43"/>
            <p:cNvCxnSpPr/>
            <p:nvPr/>
          </p:nvCxnSpPr>
          <p:spPr bwMode="auto">
            <a:xfrm>
              <a:off x="2546350" y="3881191"/>
              <a:ext cx="1536545" cy="1550218"/>
            </a:xfrm>
            <a:prstGeom prst="straightConnector1">
              <a:avLst/>
            </a:prstGeom>
            <a:noFill/>
            <a:ln w="12700" cap="flat" cmpd="sng" algn="ctr">
              <a:solidFill>
                <a:srgbClr val="66667E"/>
              </a:solidFill>
              <a:prstDash val="solid"/>
              <a:round/>
              <a:headEnd type="oval" w="lg" len="lg"/>
              <a:tailEnd type="none" w="lg" len="lg"/>
            </a:ln>
            <a:effectLst/>
          </p:spPr>
        </p:cxnSp>
        <p:cxnSp>
          <p:nvCxnSpPr>
            <p:cNvPr id="57" name="Gerade Verbindung mit Pfeil 43"/>
            <p:cNvCxnSpPr/>
            <p:nvPr/>
          </p:nvCxnSpPr>
          <p:spPr bwMode="auto">
            <a:xfrm flipH="1">
              <a:off x="4075079" y="5428723"/>
              <a:ext cx="2037216" cy="0"/>
            </a:xfrm>
            <a:prstGeom prst="straightConnector1">
              <a:avLst/>
            </a:prstGeom>
            <a:noFill/>
            <a:ln w="12700" cap="flat" cmpd="sng" algn="ctr">
              <a:solidFill>
                <a:srgbClr val="66667E"/>
              </a:solidFill>
              <a:prstDash val="solid"/>
              <a:round/>
              <a:headEnd type="none" w="lg" len="lg"/>
              <a:tailEnd type="none" w="lg" len="lg"/>
            </a:ln>
            <a:effectLst/>
          </p:spPr>
        </p:cxnSp>
      </p:grpSp>
      <p:grpSp>
        <p:nvGrpSpPr>
          <p:cNvPr id="6" name="Group 5"/>
          <p:cNvGrpSpPr/>
          <p:nvPr/>
        </p:nvGrpSpPr>
        <p:grpSpPr>
          <a:xfrm>
            <a:off x="2985640" y="3551194"/>
            <a:ext cx="2896048" cy="1290943"/>
            <a:chOff x="3190180" y="3576456"/>
            <a:chExt cx="2922113" cy="1299621"/>
          </a:xfrm>
        </p:grpSpPr>
        <p:cxnSp>
          <p:nvCxnSpPr>
            <p:cNvPr id="25" name="Gerade Verbindung mit Pfeil 43"/>
            <p:cNvCxnSpPr/>
            <p:nvPr/>
          </p:nvCxnSpPr>
          <p:spPr bwMode="auto">
            <a:xfrm>
              <a:off x="3190180" y="3576456"/>
              <a:ext cx="1288158" cy="1299621"/>
            </a:xfrm>
            <a:prstGeom prst="straightConnector1">
              <a:avLst/>
            </a:prstGeom>
            <a:noFill/>
            <a:ln w="12700" cap="flat" cmpd="sng" algn="ctr">
              <a:solidFill>
                <a:srgbClr val="66667E"/>
              </a:solidFill>
              <a:prstDash val="solid"/>
              <a:round/>
              <a:headEnd type="oval" w="lg" len="lg"/>
              <a:tailEnd type="none" w="lg" len="lg"/>
            </a:ln>
            <a:effectLst/>
          </p:spPr>
        </p:cxnSp>
        <p:cxnSp>
          <p:nvCxnSpPr>
            <p:cNvPr id="28" name="Gerade Verbindung mit Pfeil 43"/>
            <p:cNvCxnSpPr/>
            <p:nvPr/>
          </p:nvCxnSpPr>
          <p:spPr bwMode="auto">
            <a:xfrm flipH="1">
              <a:off x="4470522" y="4873391"/>
              <a:ext cx="1641771" cy="0"/>
            </a:xfrm>
            <a:prstGeom prst="straightConnector1">
              <a:avLst/>
            </a:prstGeom>
            <a:noFill/>
            <a:ln w="12700" cap="flat" cmpd="sng" algn="ctr">
              <a:solidFill>
                <a:srgbClr val="66667E"/>
              </a:solidFill>
              <a:prstDash val="solid"/>
              <a:round/>
              <a:headEnd type="none" w="lg" len="lg"/>
              <a:tailEnd type="none" w="lg" len="lg"/>
            </a:ln>
            <a:effectLst/>
          </p:spPr>
        </p:cxnSp>
      </p:grpSp>
      <p:sp>
        <p:nvSpPr>
          <p:cNvPr id="3" name="Footer Placeholder 2">
            <a:extLst>
              <a:ext uri="{FF2B5EF4-FFF2-40B4-BE49-F238E27FC236}">
                <a16:creationId xmlns:a16="http://schemas.microsoft.com/office/drawing/2014/main" id="{64AE7532-C56C-4656-83E4-0690A1B0C613}"/>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8" name="Slide Number Placeholder 7">
            <a:extLst>
              <a:ext uri="{FF2B5EF4-FFF2-40B4-BE49-F238E27FC236}">
                <a16:creationId xmlns:a16="http://schemas.microsoft.com/office/drawing/2014/main" id="{A86CF765-40C2-41EF-8A9A-0DCB8B233843}"/>
              </a:ext>
            </a:extLst>
          </p:cNvPr>
          <p:cNvSpPr>
            <a:spLocks noGrp="1"/>
          </p:cNvSpPr>
          <p:nvPr>
            <p:ph type="sldNum" sz="quarter" idx="11"/>
          </p:nvPr>
        </p:nvSpPr>
        <p:spPr/>
        <p:txBody>
          <a:bodyPr/>
          <a:lstStyle/>
          <a:p>
            <a:r>
              <a:rPr lang="en-US" dirty="0"/>
              <a:t>Page </a:t>
            </a:r>
            <a:fld id="{15EBE321-CBB1-4E91-BD14-37C8D44326FB}" type="slidenum">
              <a:rPr lang="en-US" smtClean="0"/>
              <a:pPr/>
              <a:t>92</a:t>
            </a:fld>
            <a:endParaRPr lang="en-US" dirty="0"/>
          </a:p>
        </p:txBody>
      </p:sp>
    </p:spTree>
    <p:extLst>
      <p:ext uri="{BB962C8B-B14F-4D97-AF65-F5344CB8AC3E}">
        <p14:creationId xmlns:p14="http://schemas.microsoft.com/office/powerpoint/2010/main" val="123223904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Radial diagram</a:t>
            </a:r>
          </a:p>
        </p:txBody>
      </p:sp>
      <p:grpSp>
        <p:nvGrpSpPr>
          <p:cNvPr id="16" name="Gruppieren 15"/>
          <p:cNvGrpSpPr>
            <a:grpSpLocks/>
          </p:cNvGrpSpPr>
          <p:nvPr/>
        </p:nvGrpSpPr>
        <p:grpSpPr>
          <a:xfrm>
            <a:off x="411163" y="1926999"/>
            <a:ext cx="3861964" cy="3861964"/>
            <a:chOff x="396874" y="1578389"/>
            <a:chExt cx="4425536" cy="4425536"/>
          </a:xfrm>
        </p:grpSpPr>
        <p:sp>
          <p:nvSpPr>
            <p:cNvPr id="17" name="Ellipse 17"/>
            <p:cNvSpPr/>
            <p:nvPr/>
          </p:nvSpPr>
          <p:spPr bwMode="auto">
            <a:xfrm>
              <a:off x="396874" y="1578389"/>
              <a:ext cx="4425536" cy="4425536"/>
            </a:xfrm>
            <a:custGeom>
              <a:avLst/>
              <a:gdLst/>
              <a:ahLst/>
              <a:cxnLst/>
              <a:rect l="l" t="t" r="r" b="b"/>
              <a:pathLst>
                <a:path w="3960000" h="3960000">
                  <a:moveTo>
                    <a:pt x="1980000" y="360000"/>
                  </a:moveTo>
                  <a:cubicBezTo>
                    <a:pt x="1085299" y="360000"/>
                    <a:pt x="360000" y="1085299"/>
                    <a:pt x="360000" y="1980000"/>
                  </a:cubicBezTo>
                  <a:cubicBezTo>
                    <a:pt x="360000" y="2874701"/>
                    <a:pt x="1085299" y="3600000"/>
                    <a:pt x="1980000" y="3600000"/>
                  </a:cubicBezTo>
                  <a:cubicBezTo>
                    <a:pt x="2874701" y="3600000"/>
                    <a:pt x="3600000" y="2874701"/>
                    <a:pt x="3600000" y="1980000"/>
                  </a:cubicBezTo>
                  <a:cubicBezTo>
                    <a:pt x="3600000" y="1085299"/>
                    <a:pt x="2874701" y="360000"/>
                    <a:pt x="1980000" y="360000"/>
                  </a:cubicBezTo>
                  <a:close/>
                  <a:moveTo>
                    <a:pt x="1980000" y="0"/>
                  </a:moveTo>
                  <a:cubicBezTo>
                    <a:pt x="3073524" y="0"/>
                    <a:pt x="3960000" y="886476"/>
                    <a:pt x="3960000" y="1980000"/>
                  </a:cubicBezTo>
                  <a:cubicBezTo>
                    <a:pt x="3960000" y="3073524"/>
                    <a:pt x="3073524" y="3960000"/>
                    <a:pt x="1980000" y="3960000"/>
                  </a:cubicBezTo>
                  <a:cubicBezTo>
                    <a:pt x="886476" y="3960000"/>
                    <a:pt x="0" y="3073524"/>
                    <a:pt x="0" y="1980000"/>
                  </a:cubicBezTo>
                  <a:cubicBezTo>
                    <a:pt x="0" y="886476"/>
                    <a:pt x="886476" y="0"/>
                    <a:pt x="1980000" y="0"/>
                  </a:cubicBezTo>
                  <a:close/>
                </a:path>
              </a:pathLst>
            </a:custGeom>
            <a:solidFill>
              <a:srgbClr val="00FFB9"/>
            </a:solidFill>
            <a:ln w="19050" cap="flat" cmpd="sng" algn="ctr">
              <a:noFill/>
              <a:prstDash val="solid"/>
              <a:round/>
              <a:headEnd type="none" w="med" len="med"/>
              <a:tailEnd type="triangle" w="med" len="lg"/>
            </a:ln>
            <a:effectLst/>
          </p:spPr>
          <p:txBody>
            <a:bodyPr vert="horz" wrap="square" lIns="0" tIns="0" rIns="0" bIns="0" numCol="1" rtlCol="0" anchor="t" anchorCtr="0" compatLnSpc="1">
              <a:prstTxWarp prst="textNoShape">
                <a:avLst/>
              </a:prstTxWarp>
              <a:noAutofit/>
            </a:bodyPr>
            <a:lstStyle/>
            <a:p>
              <a:pPr algn="ctr"/>
              <a:endParaRPr lang="en-US" sz="1799" i="1" dirty="0"/>
            </a:p>
          </p:txBody>
        </p:sp>
        <p:sp>
          <p:nvSpPr>
            <p:cNvPr id="18" name="Ellipse 25"/>
            <p:cNvSpPr/>
            <p:nvPr/>
          </p:nvSpPr>
          <p:spPr bwMode="auto">
            <a:xfrm>
              <a:off x="1000357" y="2181871"/>
              <a:ext cx="3218572" cy="3218572"/>
            </a:xfrm>
            <a:custGeom>
              <a:avLst/>
              <a:gdLst/>
              <a:ahLst/>
              <a:cxnLst/>
              <a:rect l="l" t="t" r="r" b="b"/>
              <a:pathLst>
                <a:path w="2880000" h="2880000">
                  <a:moveTo>
                    <a:pt x="1440000" y="360000"/>
                  </a:moveTo>
                  <a:cubicBezTo>
                    <a:pt x="843532" y="360000"/>
                    <a:pt x="360000" y="843532"/>
                    <a:pt x="360000" y="1440000"/>
                  </a:cubicBezTo>
                  <a:cubicBezTo>
                    <a:pt x="360000" y="2036468"/>
                    <a:pt x="843532" y="2520000"/>
                    <a:pt x="1440000" y="2520000"/>
                  </a:cubicBezTo>
                  <a:cubicBezTo>
                    <a:pt x="2036468" y="2520000"/>
                    <a:pt x="2520000" y="2036468"/>
                    <a:pt x="2520000" y="1440000"/>
                  </a:cubicBezTo>
                  <a:cubicBezTo>
                    <a:pt x="2520000" y="843532"/>
                    <a:pt x="2036468" y="360000"/>
                    <a:pt x="1440000" y="360000"/>
                  </a:cubicBezTo>
                  <a:close/>
                  <a:moveTo>
                    <a:pt x="1440000" y="0"/>
                  </a:moveTo>
                  <a:cubicBezTo>
                    <a:pt x="2235290" y="0"/>
                    <a:pt x="2880000" y="644710"/>
                    <a:pt x="2880000" y="1440000"/>
                  </a:cubicBezTo>
                  <a:cubicBezTo>
                    <a:pt x="2880000" y="2235290"/>
                    <a:pt x="2235290" y="2880000"/>
                    <a:pt x="1440000" y="2880000"/>
                  </a:cubicBezTo>
                  <a:cubicBezTo>
                    <a:pt x="644710" y="2880000"/>
                    <a:pt x="0" y="2235290"/>
                    <a:pt x="0" y="1440000"/>
                  </a:cubicBezTo>
                  <a:cubicBezTo>
                    <a:pt x="0" y="644710"/>
                    <a:pt x="644710" y="0"/>
                    <a:pt x="1440000" y="0"/>
                  </a:cubicBezTo>
                  <a:close/>
                </a:path>
              </a:pathLst>
            </a:custGeom>
            <a:solidFill>
              <a:srgbClr val="00AF8E"/>
            </a:solidFill>
            <a:ln w="19050" cap="flat" cmpd="sng" algn="ctr">
              <a:noFill/>
              <a:prstDash val="solid"/>
              <a:round/>
              <a:headEnd type="none" w="med" len="med"/>
              <a:tailEnd type="triangle" w="med" len="lg"/>
            </a:ln>
            <a:effectLst/>
          </p:spPr>
          <p:txBody>
            <a:bodyPr vert="horz" wrap="square" lIns="0" tIns="0" rIns="0" bIns="0" numCol="1" rtlCol="0" anchor="t" anchorCtr="0" compatLnSpc="1">
              <a:prstTxWarp prst="textNoShape">
                <a:avLst/>
              </a:prstTxWarp>
              <a:noAutofit/>
            </a:bodyPr>
            <a:lstStyle/>
            <a:p>
              <a:pPr algn="ctr"/>
              <a:endParaRPr lang="en-US" sz="1799" i="1" dirty="0"/>
            </a:p>
          </p:txBody>
        </p:sp>
        <p:sp>
          <p:nvSpPr>
            <p:cNvPr id="19" name="Ellipse 26"/>
            <p:cNvSpPr/>
            <p:nvPr/>
          </p:nvSpPr>
          <p:spPr bwMode="auto">
            <a:xfrm>
              <a:off x="1603839" y="2785353"/>
              <a:ext cx="2011607" cy="2011607"/>
            </a:xfrm>
            <a:custGeom>
              <a:avLst/>
              <a:gdLst/>
              <a:ahLst/>
              <a:cxnLst/>
              <a:rect l="l" t="t" r="r" b="b"/>
              <a:pathLst>
                <a:path w="1800000" h="1800000">
                  <a:moveTo>
                    <a:pt x="900000" y="360000"/>
                  </a:moveTo>
                  <a:cubicBezTo>
                    <a:pt x="601766" y="360000"/>
                    <a:pt x="360000" y="601766"/>
                    <a:pt x="360000" y="900000"/>
                  </a:cubicBezTo>
                  <a:cubicBezTo>
                    <a:pt x="360000" y="1198234"/>
                    <a:pt x="601766" y="1440000"/>
                    <a:pt x="900000" y="1440000"/>
                  </a:cubicBezTo>
                  <a:cubicBezTo>
                    <a:pt x="1198234" y="1440000"/>
                    <a:pt x="1440000" y="1198234"/>
                    <a:pt x="1440000" y="900000"/>
                  </a:cubicBezTo>
                  <a:cubicBezTo>
                    <a:pt x="1440000" y="601766"/>
                    <a:pt x="1198234" y="360000"/>
                    <a:pt x="900000" y="360000"/>
                  </a:cubicBezTo>
                  <a:close/>
                  <a:moveTo>
                    <a:pt x="900000" y="0"/>
                  </a:moveTo>
                  <a:cubicBezTo>
                    <a:pt x="1397056" y="0"/>
                    <a:pt x="1800000" y="402944"/>
                    <a:pt x="1800000" y="900000"/>
                  </a:cubicBezTo>
                  <a:cubicBezTo>
                    <a:pt x="1800000" y="1397056"/>
                    <a:pt x="1397056" y="1800000"/>
                    <a:pt x="900000" y="1800000"/>
                  </a:cubicBezTo>
                  <a:cubicBezTo>
                    <a:pt x="402944" y="1800000"/>
                    <a:pt x="0" y="1397056"/>
                    <a:pt x="0" y="900000"/>
                  </a:cubicBezTo>
                  <a:cubicBezTo>
                    <a:pt x="0" y="402944"/>
                    <a:pt x="402944" y="0"/>
                    <a:pt x="900000" y="0"/>
                  </a:cubicBezTo>
                  <a:close/>
                </a:path>
              </a:pathLst>
            </a:custGeom>
            <a:solidFill>
              <a:srgbClr val="00646E"/>
            </a:solidFill>
            <a:ln w="19050" cap="flat" cmpd="sng" algn="ctr">
              <a:noFill/>
              <a:prstDash val="solid"/>
              <a:round/>
              <a:headEnd type="none" w="med" len="med"/>
              <a:tailEnd type="triangle" w="med" len="lg"/>
            </a:ln>
            <a:effectLst/>
          </p:spPr>
          <p:txBody>
            <a:bodyPr vert="horz" wrap="square" lIns="0" tIns="0" rIns="0" bIns="0" numCol="1" rtlCol="0" anchor="t" anchorCtr="0" compatLnSpc="1">
              <a:prstTxWarp prst="textNoShape">
                <a:avLst/>
              </a:prstTxWarp>
              <a:noAutofit/>
            </a:bodyPr>
            <a:lstStyle/>
            <a:p>
              <a:pPr algn="ctr"/>
              <a:endParaRPr lang="en-US" sz="1799" i="1" dirty="0"/>
            </a:p>
          </p:txBody>
        </p:sp>
        <p:sp>
          <p:nvSpPr>
            <p:cNvPr id="20" name="Ellipse 19"/>
            <p:cNvSpPr/>
            <p:nvPr/>
          </p:nvSpPr>
          <p:spPr bwMode="auto">
            <a:xfrm>
              <a:off x="2207322" y="3388836"/>
              <a:ext cx="804643" cy="804643"/>
            </a:xfrm>
            <a:prstGeom prst="ellipse">
              <a:avLst/>
            </a:prstGeom>
            <a:solidFill>
              <a:srgbClr val="66667E"/>
            </a:solidFill>
            <a:ln w="19050" cap="flat" cmpd="sng" algn="ctr">
              <a:noFill/>
              <a:prstDash val="solid"/>
              <a:round/>
              <a:headEnd type="none" w="med" len="med"/>
              <a:tailEnd type="triangle" w="med" len="lg"/>
            </a:ln>
            <a:effectLst/>
          </p:spPr>
          <p:txBody>
            <a:bodyPr vert="horz" wrap="square" lIns="0" tIns="0" rIns="0" bIns="0" numCol="1" rtlCol="0" anchor="t" anchorCtr="0" compatLnSpc="1">
              <a:prstTxWarp prst="textNoShape">
                <a:avLst/>
              </a:prstTxWarp>
              <a:noAutofit/>
            </a:bodyPr>
            <a:lstStyle/>
            <a:p>
              <a:pPr algn="ctr"/>
              <a:endParaRPr lang="en-US" sz="1799" i="1" dirty="0"/>
            </a:p>
          </p:txBody>
        </p:sp>
      </p:grpSp>
      <p:sp>
        <p:nvSpPr>
          <p:cNvPr id="21" name="Textfeld 30"/>
          <p:cNvSpPr txBox="1">
            <a:spLocks/>
          </p:cNvSpPr>
          <p:nvPr/>
        </p:nvSpPr>
        <p:spPr bwMode="gray">
          <a:xfrm>
            <a:off x="5882400" y="1415848"/>
            <a:ext cx="4391997" cy="1079438"/>
          </a:xfrm>
          <a:prstGeom prst="rect">
            <a:avLst/>
          </a:prstGeom>
          <a:noFill/>
          <a:ln>
            <a:noFill/>
          </a:ln>
          <a:scene3d>
            <a:camera prst="orthographicFront">
              <a:rot lat="0" lon="0" rev="0"/>
            </a:camera>
            <a:lightRig rig="threePt" dir="t"/>
          </a:scene3d>
        </p:spPr>
        <p:txBody>
          <a:bodyPr wrap="square" lIns="144000" tIns="71963" rIns="0" bIns="71963" rtlCol="0" anchor="ctr" anchorCtr="0">
            <a:noAutofit/>
          </a:bodyPr>
          <a:lstStyle/>
          <a:p>
            <a:pPr>
              <a:tabLst>
                <a:tab pos="1255085" algn="r"/>
              </a:tabLst>
              <a:defRPr/>
            </a:pPr>
            <a:r>
              <a:rPr lang="en-US" altLang="de-DE" sz="1599" b="1" dirty="0">
                <a:solidFill>
                  <a:srgbClr val="00FFB9"/>
                </a:solidFill>
                <a:ea typeface="Arial Unicode MS"/>
              </a:rPr>
              <a:t>Cras ultricies mi eu</a:t>
            </a:r>
          </a:p>
          <a:p>
            <a:pPr marL="0" lvl="1">
              <a:spcBef>
                <a:spcPts val="300"/>
              </a:spcBef>
              <a:buClr>
                <a:srgbClr val="3C464B"/>
              </a:buClr>
              <a:defRPr/>
            </a:pPr>
            <a:r>
              <a:rPr lang="en-US" altLang="de-DE" sz="1199" dirty="0">
                <a:solidFill>
                  <a:srgbClr val="9999A9"/>
                </a:solidFill>
                <a:ea typeface="Arial Unicode MS"/>
                <a:cs typeface="Arial" pitchFamily="34" charset="0"/>
              </a:rPr>
              <a:t>Duis arcu tortor, suscipit eget</a:t>
            </a:r>
            <a:br>
              <a:rPr lang="en-US" altLang="de-DE" sz="1199" dirty="0">
                <a:solidFill>
                  <a:srgbClr val="9999A9"/>
                </a:solidFill>
                <a:ea typeface="Arial Unicode MS"/>
                <a:cs typeface="Arial" pitchFamily="34" charset="0"/>
              </a:rPr>
            </a:br>
            <a:r>
              <a:rPr lang="en-US" altLang="de-DE" sz="1199" dirty="0">
                <a:solidFill>
                  <a:srgbClr val="9999A9"/>
                </a:solidFill>
                <a:ea typeface="Arial Unicode MS"/>
                <a:cs typeface="Arial" pitchFamily="34" charset="0"/>
              </a:rPr>
              <a:t>Phasellus nec sem</a:t>
            </a:r>
            <a:br>
              <a:rPr lang="en-US" altLang="de-DE" sz="1199" dirty="0">
                <a:solidFill>
                  <a:srgbClr val="9999A9"/>
                </a:solidFill>
                <a:ea typeface="Arial Unicode MS"/>
                <a:cs typeface="Arial" pitchFamily="34" charset="0"/>
              </a:rPr>
            </a:br>
            <a:r>
              <a:rPr lang="en-US" altLang="de-DE" sz="1199" dirty="0">
                <a:solidFill>
                  <a:srgbClr val="9999A9"/>
                </a:solidFill>
                <a:ea typeface="Arial Unicode MS"/>
                <a:cs typeface="Arial" pitchFamily="34" charset="0"/>
              </a:rPr>
              <a:t>Maecenas nec odio</a:t>
            </a:r>
          </a:p>
        </p:txBody>
      </p:sp>
      <p:sp>
        <p:nvSpPr>
          <p:cNvPr id="22" name="Textfeld 30"/>
          <p:cNvSpPr txBox="1">
            <a:spLocks/>
          </p:cNvSpPr>
          <p:nvPr/>
        </p:nvSpPr>
        <p:spPr bwMode="gray">
          <a:xfrm>
            <a:off x="5882400" y="2566800"/>
            <a:ext cx="4391997" cy="1079438"/>
          </a:xfrm>
          <a:prstGeom prst="rect">
            <a:avLst/>
          </a:prstGeom>
          <a:noFill/>
          <a:ln>
            <a:noFill/>
          </a:ln>
          <a:scene3d>
            <a:camera prst="orthographicFront">
              <a:rot lat="0" lon="0" rev="0"/>
            </a:camera>
            <a:lightRig rig="threePt" dir="t"/>
          </a:scene3d>
        </p:spPr>
        <p:txBody>
          <a:bodyPr wrap="square" lIns="144000" tIns="71963" rIns="0" bIns="71963" rtlCol="0" anchor="ctr" anchorCtr="0">
            <a:noAutofit/>
          </a:bodyPr>
          <a:lstStyle/>
          <a:p>
            <a:pPr>
              <a:tabLst>
                <a:tab pos="1255085" algn="r"/>
              </a:tabLst>
              <a:defRPr/>
            </a:pPr>
            <a:r>
              <a:rPr lang="en-US" altLang="de-DE" sz="1599" b="1" dirty="0">
                <a:solidFill>
                  <a:srgbClr val="00FFB9"/>
                </a:solidFill>
                <a:ea typeface="Arial Unicode MS"/>
              </a:rPr>
              <a:t>At vero eos et accusam</a:t>
            </a:r>
          </a:p>
          <a:p>
            <a:pPr marL="0" lvl="1">
              <a:spcBef>
                <a:spcPts val="300"/>
              </a:spcBef>
              <a:buClr>
                <a:srgbClr val="3C464B"/>
              </a:buClr>
              <a:defRPr/>
            </a:pPr>
            <a:r>
              <a:rPr lang="en-US" altLang="de-DE" sz="1199" dirty="0">
                <a:solidFill>
                  <a:srgbClr val="9999A9"/>
                </a:solidFill>
                <a:ea typeface="Arial Unicode MS"/>
                <a:cs typeface="Arial" pitchFamily="34" charset="0"/>
              </a:rPr>
              <a:t>Phasellus nec sem</a:t>
            </a:r>
            <a:br>
              <a:rPr lang="en-US" altLang="de-DE" sz="1199" dirty="0">
                <a:solidFill>
                  <a:srgbClr val="9999A9"/>
                </a:solidFill>
                <a:ea typeface="Arial Unicode MS"/>
                <a:cs typeface="Arial" pitchFamily="34" charset="0"/>
              </a:rPr>
            </a:br>
            <a:r>
              <a:rPr lang="en-US" altLang="de-DE" sz="1199" dirty="0">
                <a:solidFill>
                  <a:srgbClr val="9999A9"/>
                </a:solidFill>
                <a:ea typeface="Arial Unicode MS"/>
                <a:cs typeface="Arial" pitchFamily="34" charset="0"/>
              </a:rPr>
              <a:t>Maecenas nec odio</a:t>
            </a:r>
            <a:br>
              <a:rPr lang="en-US" altLang="de-DE" sz="1199" dirty="0">
                <a:solidFill>
                  <a:srgbClr val="9999A9"/>
                </a:solidFill>
                <a:ea typeface="Arial Unicode MS"/>
                <a:cs typeface="Arial" pitchFamily="34" charset="0"/>
              </a:rPr>
            </a:br>
            <a:r>
              <a:rPr lang="en-US" altLang="de-DE" sz="1199" dirty="0">
                <a:solidFill>
                  <a:srgbClr val="9999A9"/>
                </a:solidFill>
                <a:ea typeface="Arial Unicode MS"/>
                <a:cs typeface="Arial" pitchFamily="34" charset="0"/>
              </a:rPr>
              <a:t>Donec sodales sagittis magna</a:t>
            </a:r>
          </a:p>
        </p:txBody>
      </p:sp>
      <p:sp>
        <p:nvSpPr>
          <p:cNvPr id="23" name="Textfeld 30"/>
          <p:cNvSpPr txBox="1">
            <a:spLocks/>
          </p:cNvSpPr>
          <p:nvPr/>
        </p:nvSpPr>
        <p:spPr bwMode="gray">
          <a:xfrm>
            <a:off x="5882400" y="3970800"/>
            <a:ext cx="4391997" cy="1079438"/>
          </a:xfrm>
          <a:prstGeom prst="rect">
            <a:avLst/>
          </a:prstGeom>
          <a:noFill/>
          <a:ln>
            <a:noFill/>
          </a:ln>
          <a:scene3d>
            <a:camera prst="orthographicFront">
              <a:rot lat="0" lon="0" rev="0"/>
            </a:camera>
            <a:lightRig rig="threePt" dir="t"/>
          </a:scene3d>
        </p:spPr>
        <p:txBody>
          <a:bodyPr wrap="square" lIns="144000" tIns="71963" rIns="0" bIns="71963" rtlCol="0" anchor="ctr" anchorCtr="0">
            <a:noAutofit/>
          </a:bodyPr>
          <a:lstStyle/>
          <a:p>
            <a:pPr>
              <a:tabLst>
                <a:tab pos="1255085" algn="r"/>
              </a:tabLst>
              <a:defRPr/>
            </a:pPr>
            <a:r>
              <a:rPr lang="en-US" altLang="de-DE" sz="1599" b="1" dirty="0">
                <a:solidFill>
                  <a:srgbClr val="00FFB9"/>
                </a:solidFill>
                <a:ea typeface="Arial Unicode MS"/>
              </a:rPr>
              <a:t>Duis arcu tortor, suscipit eget</a:t>
            </a:r>
          </a:p>
          <a:p>
            <a:pPr marL="0" lvl="1">
              <a:spcBef>
                <a:spcPts val="300"/>
              </a:spcBef>
              <a:buClr>
                <a:srgbClr val="3C464B"/>
              </a:buClr>
              <a:defRPr/>
            </a:pPr>
            <a:r>
              <a:rPr lang="en-US" altLang="de-DE" sz="1199" dirty="0">
                <a:solidFill>
                  <a:srgbClr val="9999A9"/>
                </a:solidFill>
                <a:ea typeface="Arial Unicode MS"/>
                <a:cs typeface="Arial" pitchFamily="34" charset="0"/>
              </a:rPr>
              <a:t>Stet clita kasd gubergren, </a:t>
            </a:r>
            <a:br>
              <a:rPr lang="en-US" altLang="de-DE" sz="1199" dirty="0">
                <a:solidFill>
                  <a:srgbClr val="9999A9"/>
                </a:solidFill>
                <a:ea typeface="Arial Unicode MS"/>
                <a:cs typeface="Arial" pitchFamily="34" charset="0"/>
              </a:rPr>
            </a:br>
            <a:r>
              <a:rPr lang="en-US" altLang="de-DE" sz="1199" dirty="0">
                <a:solidFill>
                  <a:srgbClr val="9999A9"/>
                </a:solidFill>
                <a:ea typeface="Arial Unicode MS"/>
                <a:cs typeface="Arial" pitchFamily="34" charset="0"/>
              </a:rPr>
              <a:t>no sea takimata sanctus est </a:t>
            </a:r>
            <a:br>
              <a:rPr lang="en-US" altLang="de-DE" sz="1199" dirty="0">
                <a:solidFill>
                  <a:srgbClr val="9999A9"/>
                </a:solidFill>
                <a:ea typeface="Arial Unicode MS"/>
                <a:cs typeface="Arial" pitchFamily="34" charset="0"/>
              </a:rPr>
            </a:br>
            <a:r>
              <a:rPr lang="en-US" altLang="de-DE" sz="1199" dirty="0">
                <a:solidFill>
                  <a:srgbClr val="9999A9"/>
                </a:solidFill>
                <a:ea typeface="Arial Unicode MS"/>
                <a:cs typeface="Arial" pitchFamily="34" charset="0"/>
              </a:rPr>
              <a:t>Maecenas nec odio dolor sit amet</a:t>
            </a:r>
          </a:p>
        </p:txBody>
      </p:sp>
      <p:sp>
        <p:nvSpPr>
          <p:cNvPr id="24" name="Textfeld 30"/>
          <p:cNvSpPr txBox="1">
            <a:spLocks/>
          </p:cNvSpPr>
          <p:nvPr/>
        </p:nvSpPr>
        <p:spPr bwMode="gray">
          <a:xfrm>
            <a:off x="5882400" y="5158800"/>
            <a:ext cx="4391997" cy="1007615"/>
          </a:xfrm>
          <a:prstGeom prst="rect">
            <a:avLst/>
          </a:prstGeom>
          <a:noFill/>
          <a:ln>
            <a:noFill/>
          </a:ln>
          <a:scene3d>
            <a:camera prst="orthographicFront">
              <a:rot lat="0" lon="0" rev="0"/>
            </a:camera>
            <a:lightRig rig="threePt" dir="t"/>
          </a:scene3d>
        </p:spPr>
        <p:txBody>
          <a:bodyPr wrap="square" lIns="144000" tIns="71963" rIns="0" bIns="71963" rtlCol="0" anchor="ctr" anchorCtr="0">
            <a:noAutofit/>
          </a:bodyPr>
          <a:lstStyle/>
          <a:p>
            <a:pPr>
              <a:tabLst>
                <a:tab pos="1255085" algn="r"/>
              </a:tabLst>
              <a:defRPr/>
            </a:pPr>
            <a:r>
              <a:rPr lang="en-US" altLang="de-DE" sz="1599" b="1" dirty="0">
                <a:solidFill>
                  <a:srgbClr val="00FFB9"/>
                </a:solidFill>
                <a:ea typeface="Arial Unicode MS"/>
              </a:rPr>
              <a:t>At vero eos et accusam</a:t>
            </a:r>
          </a:p>
          <a:p>
            <a:pPr marL="0" lvl="1">
              <a:spcBef>
                <a:spcPts val="300"/>
              </a:spcBef>
              <a:buClr>
                <a:srgbClr val="3C464B"/>
              </a:buClr>
              <a:defRPr/>
            </a:pPr>
            <a:r>
              <a:rPr lang="en-US" altLang="de-DE" sz="1199" dirty="0">
                <a:solidFill>
                  <a:srgbClr val="9999A9"/>
                </a:solidFill>
                <a:ea typeface="Arial Unicode MS"/>
                <a:cs typeface="Arial" pitchFamily="34" charset="0"/>
              </a:rPr>
              <a:t>Maecenas nec odio</a:t>
            </a:r>
            <a:br>
              <a:rPr lang="en-US" altLang="de-DE" sz="1199" dirty="0">
                <a:solidFill>
                  <a:srgbClr val="9999A9"/>
                </a:solidFill>
                <a:ea typeface="Arial Unicode MS"/>
                <a:cs typeface="Arial" pitchFamily="34" charset="0"/>
              </a:rPr>
            </a:br>
            <a:r>
              <a:rPr lang="en-US" altLang="de-DE" sz="1199" dirty="0">
                <a:solidFill>
                  <a:srgbClr val="9999A9"/>
                </a:solidFill>
                <a:ea typeface="Arial Unicode MS"/>
                <a:cs typeface="Arial" pitchFamily="34" charset="0"/>
              </a:rPr>
              <a:t>Donec sodales sagittis magna</a:t>
            </a:r>
            <a:br>
              <a:rPr lang="en-US" altLang="de-DE" sz="1199" dirty="0">
                <a:solidFill>
                  <a:srgbClr val="9999A9"/>
                </a:solidFill>
                <a:ea typeface="Arial Unicode MS"/>
                <a:cs typeface="Arial" pitchFamily="34" charset="0"/>
              </a:rPr>
            </a:br>
            <a:r>
              <a:rPr lang="en-US" altLang="de-DE" sz="1199" dirty="0">
                <a:solidFill>
                  <a:srgbClr val="9999A9"/>
                </a:solidFill>
                <a:ea typeface="Arial Unicode MS"/>
                <a:cs typeface="Arial" pitchFamily="34" charset="0"/>
              </a:rPr>
              <a:t>Duis arcu tortor, suscipit eget</a:t>
            </a:r>
          </a:p>
        </p:txBody>
      </p:sp>
      <p:grpSp>
        <p:nvGrpSpPr>
          <p:cNvPr id="5" name="Group 4"/>
          <p:cNvGrpSpPr/>
          <p:nvPr/>
        </p:nvGrpSpPr>
        <p:grpSpPr>
          <a:xfrm>
            <a:off x="2806383" y="1673336"/>
            <a:ext cx="3075306" cy="474352"/>
            <a:chOff x="3010829" y="1697620"/>
            <a:chExt cx="3101464" cy="474599"/>
          </a:xfrm>
        </p:grpSpPr>
        <p:cxnSp>
          <p:nvCxnSpPr>
            <p:cNvPr id="26" name="Gerade Verbindung mit Pfeil 43"/>
            <p:cNvCxnSpPr/>
            <p:nvPr/>
          </p:nvCxnSpPr>
          <p:spPr bwMode="auto">
            <a:xfrm flipV="1">
              <a:off x="3010829" y="1697620"/>
              <a:ext cx="474601" cy="474599"/>
            </a:xfrm>
            <a:prstGeom prst="straightConnector1">
              <a:avLst/>
            </a:prstGeom>
            <a:noFill/>
            <a:ln w="12700" cap="flat" cmpd="sng" algn="ctr">
              <a:solidFill>
                <a:srgbClr val="9999A9"/>
              </a:solidFill>
              <a:prstDash val="solid"/>
              <a:round/>
              <a:headEnd type="oval" w="lg" len="lg"/>
              <a:tailEnd type="none" w="lg" len="lg"/>
            </a:ln>
            <a:effectLst/>
          </p:spPr>
        </p:cxnSp>
        <p:cxnSp>
          <p:nvCxnSpPr>
            <p:cNvPr id="27" name="Gerade Verbindung mit Pfeil 43"/>
            <p:cNvCxnSpPr/>
            <p:nvPr/>
          </p:nvCxnSpPr>
          <p:spPr bwMode="auto">
            <a:xfrm flipH="1">
              <a:off x="3479518" y="1700760"/>
              <a:ext cx="2632775" cy="0"/>
            </a:xfrm>
            <a:prstGeom prst="straightConnector1">
              <a:avLst/>
            </a:prstGeom>
            <a:noFill/>
            <a:ln w="12700" cap="flat" cmpd="sng" algn="ctr">
              <a:solidFill>
                <a:srgbClr val="9999A9"/>
              </a:solidFill>
              <a:prstDash val="solid"/>
              <a:round/>
              <a:headEnd type="none" w="lg" len="lg"/>
              <a:tailEnd type="none" w="lg" len="lg"/>
            </a:ln>
            <a:effectLst/>
          </p:spPr>
        </p:cxnSp>
      </p:grpSp>
      <p:grpSp>
        <p:nvGrpSpPr>
          <p:cNvPr id="4" name="Group 3"/>
          <p:cNvGrpSpPr/>
          <p:nvPr/>
        </p:nvGrpSpPr>
        <p:grpSpPr>
          <a:xfrm>
            <a:off x="3530835" y="2808969"/>
            <a:ext cx="2350854" cy="689108"/>
            <a:chOff x="3735659" y="2833845"/>
            <a:chExt cx="2376634" cy="689467"/>
          </a:xfrm>
        </p:grpSpPr>
        <p:cxnSp>
          <p:nvCxnSpPr>
            <p:cNvPr id="30" name="Gerade Verbindung mit Pfeil 43"/>
            <p:cNvCxnSpPr/>
            <p:nvPr/>
          </p:nvCxnSpPr>
          <p:spPr bwMode="auto">
            <a:xfrm flipV="1">
              <a:off x="3735659" y="2833845"/>
              <a:ext cx="689469" cy="689467"/>
            </a:xfrm>
            <a:prstGeom prst="straightConnector1">
              <a:avLst/>
            </a:prstGeom>
            <a:noFill/>
            <a:ln w="12700" cap="flat" cmpd="sng" algn="ctr">
              <a:solidFill>
                <a:srgbClr val="9999A9"/>
              </a:solidFill>
              <a:prstDash val="solid"/>
              <a:round/>
              <a:headEnd type="oval" w="lg" len="lg"/>
              <a:tailEnd type="none" w="lg" len="lg"/>
            </a:ln>
            <a:effectLst/>
          </p:spPr>
        </p:cxnSp>
        <p:cxnSp>
          <p:nvCxnSpPr>
            <p:cNvPr id="31" name="Gerade Verbindung mit Pfeil 43"/>
            <p:cNvCxnSpPr/>
            <p:nvPr/>
          </p:nvCxnSpPr>
          <p:spPr bwMode="auto">
            <a:xfrm flipH="1">
              <a:off x="4419216" y="2836985"/>
              <a:ext cx="1693077" cy="0"/>
            </a:xfrm>
            <a:prstGeom prst="straightConnector1">
              <a:avLst/>
            </a:prstGeom>
            <a:noFill/>
            <a:ln w="12700" cap="flat" cmpd="sng" algn="ctr">
              <a:solidFill>
                <a:srgbClr val="9999A9"/>
              </a:solidFill>
              <a:prstDash val="solid"/>
              <a:round/>
              <a:headEnd type="none" w="lg" len="lg"/>
              <a:tailEnd type="none" w="lg" len="lg"/>
            </a:ln>
            <a:effectLst/>
          </p:spPr>
        </p:cxnSp>
      </p:grpSp>
      <p:grpSp>
        <p:nvGrpSpPr>
          <p:cNvPr id="7" name="Group 6"/>
          <p:cNvGrpSpPr/>
          <p:nvPr/>
        </p:nvGrpSpPr>
        <p:grpSpPr>
          <a:xfrm>
            <a:off x="2342145" y="3855771"/>
            <a:ext cx="3539543" cy="1524236"/>
            <a:chOff x="2546350" y="3881191"/>
            <a:chExt cx="3565945" cy="1550218"/>
          </a:xfrm>
        </p:grpSpPr>
        <p:cxnSp>
          <p:nvCxnSpPr>
            <p:cNvPr id="56" name="Gerade Verbindung mit Pfeil 43"/>
            <p:cNvCxnSpPr/>
            <p:nvPr/>
          </p:nvCxnSpPr>
          <p:spPr bwMode="auto">
            <a:xfrm>
              <a:off x="2546350" y="3881191"/>
              <a:ext cx="1536545" cy="1550218"/>
            </a:xfrm>
            <a:prstGeom prst="straightConnector1">
              <a:avLst/>
            </a:prstGeom>
            <a:noFill/>
            <a:ln w="12700" cap="flat" cmpd="sng" algn="ctr">
              <a:solidFill>
                <a:srgbClr val="9999A9"/>
              </a:solidFill>
              <a:prstDash val="solid"/>
              <a:round/>
              <a:headEnd type="oval" w="lg" len="lg"/>
              <a:tailEnd type="none" w="lg" len="lg"/>
            </a:ln>
            <a:effectLst/>
          </p:spPr>
        </p:cxnSp>
        <p:cxnSp>
          <p:nvCxnSpPr>
            <p:cNvPr id="57" name="Gerade Verbindung mit Pfeil 43"/>
            <p:cNvCxnSpPr/>
            <p:nvPr/>
          </p:nvCxnSpPr>
          <p:spPr bwMode="auto">
            <a:xfrm flipH="1">
              <a:off x="4075079" y="5428723"/>
              <a:ext cx="2037216" cy="0"/>
            </a:xfrm>
            <a:prstGeom prst="straightConnector1">
              <a:avLst/>
            </a:prstGeom>
            <a:noFill/>
            <a:ln w="12700" cap="flat" cmpd="sng" algn="ctr">
              <a:solidFill>
                <a:srgbClr val="9999A9"/>
              </a:solidFill>
              <a:prstDash val="solid"/>
              <a:round/>
              <a:headEnd type="none" w="lg" len="lg"/>
              <a:tailEnd type="none" w="lg" len="lg"/>
            </a:ln>
            <a:effectLst/>
          </p:spPr>
        </p:cxnSp>
      </p:grpSp>
      <p:grpSp>
        <p:nvGrpSpPr>
          <p:cNvPr id="6" name="Group 5"/>
          <p:cNvGrpSpPr/>
          <p:nvPr/>
        </p:nvGrpSpPr>
        <p:grpSpPr>
          <a:xfrm>
            <a:off x="2985640" y="3551194"/>
            <a:ext cx="2896048" cy="1290943"/>
            <a:chOff x="3190180" y="3576456"/>
            <a:chExt cx="2922113" cy="1299621"/>
          </a:xfrm>
        </p:grpSpPr>
        <p:cxnSp>
          <p:nvCxnSpPr>
            <p:cNvPr id="25" name="Gerade Verbindung mit Pfeil 43"/>
            <p:cNvCxnSpPr/>
            <p:nvPr/>
          </p:nvCxnSpPr>
          <p:spPr bwMode="auto">
            <a:xfrm>
              <a:off x="3190180" y="3576456"/>
              <a:ext cx="1288158" cy="1299621"/>
            </a:xfrm>
            <a:prstGeom prst="straightConnector1">
              <a:avLst/>
            </a:prstGeom>
            <a:noFill/>
            <a:ln w="12700" cap="flat" cmpd="sng" algn="ctr">
              <a:solidFill>
                <a:srgbClr val="9999A9"/>
              </a:solidFill>
              <a:prstDash val="solid"/>
              <a:round/>
              <a:headEnd type="oval" w="lg" len="lg"/>
              <a:tailEnd type="none" w="lg" len="lg"/>
            </a:ln>
            <a:effectLst/>
          </p:spPr>
        </p:cxnSp>
        <p:cxnSp>
          <p:nvCxnSpPr>
            <p:cNvPr id="28" name="Gerade Verbindung mit Pfeil 43"/>
            <p:cNvCxnSpPr/>
            <p:nvPr/>
          </p:nvCxnSpPr>
          <p:spPr bwMode="auto">
            <a:xfrm flipH="1">
              <a:off x="4470522" y="4873391"/>
              <a:ext cx="1641771" cy="0"/>
            </a:xfrm>
            <a:prstGeom prst="straightConnector1">
              <a:avLst/>
            </a:prstGeom>
            <a:noFill/>
            <a:ln w="12700" cap="flat" cmpd="sng" algn="ctr">
              <a:solidFill>
                <a:srgbClr val="9999A9"/>
              </a:solidFill>
              <a:prstDash val="solid"/>
              <a:round/>
              <a:headEnd type="none" w="lg" len="lg"/>
              <a:tailEnd type="none" w="lg" len="lg"/>
            </a:ln>
            <a:effectLst/>
          </p:spPr>
        </p:cxnSp>
      </p:grpSp>
      <p:sp>
        <p:nvSpPr>
          <p:cNvPr id="3" name="Footer Placeholder 2">
            <a:extLst>
              <a:ext uri="{FF2B5EF4-FFF2-40B4-BE49-F238E27FC236}">
                <a16:creationId xmlns:a16="http://schemas.microsoft.com/office/drawing/2014/main" id="{268D930C-E924-407F-8B6B-2853D4112F23}"/>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8" name="Slide Number Placeholder 7">
            <a:extLst>
              <a:ext uri="{FF2B5EF4-FFF2-40B4-BE49-F238E27FC236}">
                <a16:creationId xmlns:a16="http://schemas.microsoft.com/office/drawing/2014/main" id="{85E2F0A3-88BE-4F64-8219-13B4C7F71272}"/>
              </a:ext>
            </a:extLst>
          </p:cNvPr>
          <p:cNvSpPr>
            <a:spLocks noGrp="1"/>
          </p:cNvSpPr>
          <p:nvPr>
            <p:ph type="sldNum" sz="quarter" idx="11"/>
          </p:nvPr>
        </p:nvSpPr>
        <p:spPr/>
        <p:txBody>
          <a:bodyPr/>
          <a:lstStyle/>
          <a:p>
            <a:r>
              <a:rPr lang="en-US" dirty="0"/>
              <a:t>Page </a:t>
            </a:r>
            <a:fld id="{15EBE321-CBB1-4E91-BD14-37C8D44326FB}" type="slidenum">
              <a:rPr lang="en-US" smtClean="0"/>
              <a:pPr/>
              <a:t>93</a:t>
            </a:fld>
            <a:endParaRPr lang="en-US" dirty="0"/>
          </a:p>
        </p:txBody>
      </p:sp>
    </p:spTree>
    <p:extLst>
      <p:ext uri="{BB962C8B-B14F-4D97-AF65-F5344CB8AC3E}">
        <p14:creationId xmlns:p14="http://schemas.microsoft.com/office/powerpoint/2010/main" val="260471883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10400" y="478800"/>
            <a:ext cx="9863997" cy="576000"/>
          </a:xfrm>
        </p:spPr>
        <p:txBody>
          <a:bodyPr/>
          <a:lstStyle/>
          <a:p>
            <a:r>
              <a:rPr lang="en-US" dirty="0"/>
              <a:t>Backlog items / deliverables</a:t>
            </a:r>
          </a:p>
        </p:txBody>
      </p:sp>
      <p:grpSp>
        <p:nvGrpSpPr>
          <p:cNvPr id="8" name="Group 7"/>
          <p:cNvGrpSpPr>
            <a:grpSpLocks noChangeAspect="1"/>
          </p:cNvGrpSpPr>
          <p:nvPr/>
        </p:nvGrpSpPr>
        <p:grpSpPr>
          <a:xfrm>
            <a:off x="4370864" y="2026800"/>
            <a:ext cx="3455071" cy="3456000"/>
            <a:chOff x="4457660" y="2048974"/>
            <a:chExt cx="3497859" cy="3498799"/>
          </a:xfrm>
          <a:solidFill>
            <a:schemeClr val="bg1"/>
          </a:solidFill>
        </p:grpSpPr>
        <p:sp>
          <p:nvSpPr>
            <p:cNvPr id="201" name="AutoShape 40"/>
            <p:cNvSpPr>
              <a:spLocks noChangeArrowheads="1"/>
            </p:cNvSpPr>
            <p:nvPr/>
          </p:nvSpPr>
          <p:spPr bwMode="auto">
            <a:xfrm>
              <a:off x="5036779" y="3797725"/>
              <a:ext cx="1170000" cy="11700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202" name="AutoShape 40"/>
            <p:cNvSpPr>
              <a:spLocks noChangeArrowheads="1"/>
            </p:cNvSpPr>
            <p:nvPr/>
          </p:nvSpPr>
          <p:spPr bwMode="auto">
            <a:xfrm>
              <a:off x="5036779" y="2923349"/>
              <a:ext cx="1170000" cy="11700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203" name="AutoShape 40"/>
            <p:cNvSpPr>
              <a:spLocks noChangeArrowheads="1"/>
            </p:cNvSpPr>
            <p:nvPr/>
          </p:nvSpPr>
          <p:spPr bwMode="auto">
            <a:xfrm>
              <a:off x="5036779" y="2048974"/>
              <a:ext cx="1170000" cy="11700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198" name="AutoShape 40"/>
            <p:cNvSpPr>
              <a:spLocks noChangeArrowheads="1"/>
            </p:cNvSpPr>
            <p:nvPr/>
          </p:nvSpPr>
          <p:spPr bwMode="auto">
            <a:xfrm>
              <a:off x="5911149" y="3797725"/>
              <a:ext cx="1170000" cy="11700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199" name="AutoShape 40"/>
            <p:cNvSpPr>
              <a:spLocks noChangeArrowheads="1"/>
            </p:cNvSpPr>
            <p:nvPr/>
          </p:nvSpPr>
          <p:spPr bwMode="auto">
            <a:xfrm>
              <a:off x="5911149" y="2923349"/>
              <a:ext cx="1170000" cy="11700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200" name="AutoShape 40"/>
            <p:cNvSpPr>
              <a:spLocks noChangeArrowheads="1"/>
            </p:cNvSpPr>
            <p:nvPr/>
          </p:nvSpPr>
          <p:spPr bwMode="auto">
            <a:xfrm>
              <a:off x="5911149" y="2048974"/>
              <a:ext cx="1170000" cy="11700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195" name="AutoShape 40"/>
            <p:cNvSpPr>
              <a:spLocks noChangeArrowheads="1"/>
            </p:cNvSpPr>
            <p:nvPr/>
          </p:nvSpPr>
          <p:spPr bwMode="auto">
            <a:xfrm>
              <a:off x="6785519" y="3797725"/>
              <a:ext cx="1170000" cy="11700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196" name="AutoShape 40"/>
            <p:cNvSpPr>
              <a:spLocks noChangeArrowheads="1"/>
            </p:cNvSpPr>
            <p:nvPr/>
          </p:nvSpPr>
          <p:spPr bwMode="auto">
            <a:xfrm>
              <a:off x="6785519" y="2923349"/>
              <a:ext cx="1170000" cy="11700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197" name="AutoShape 40"/>
            <p:cNvSpPr>
              <a:spLocks noChangeArrowheads="1"/>
            </p:cNvSpPr>
            <p:nvPr/>
          </p:nvSpPr>
          <p:spPr bwMode="auto">
            <a:xfrm>
              <a:off x="6785519" y="2048974"/>
              <a:ext cx="1170000" cy="11700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188" name="AutoShape 40"/>
            <p:cNvSpPr>
              <a:spLocks noChangeArrowheads="1"/>
            </p:cNvSpPr>
            <p:nvPr/>
          </p:nvSpPr>
          <p:spPr bwMode="auto">
            <a:xfrm>
              <a:off x="4744334" y="4089437"/>
              <a:ext cx="1170000" cy="11700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189" name="AutoShape 40"/>
            <p:cNvSpPr>
              <a:spLocks noChangeArrowheads="1"/>
            </p:cNvSpPr>
            <p:nvPr/>
          </p:nvSpPr>
          <p:spPr bwMode="auto">
            <a:xfrm>
              <a:off x="4744334" y="3215061"/>
              <a:ext cx="1170000" cy="11700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190" name="AutoShape 40"/>
            <p:cNvSpPr>
              <a:spLocks noChangeArrowheads="1"/>
            </p:cNvSpPr>
            <p:nvPr/>
          </p:nvSpPr>
          <p:spPr bwMode="auto">
            <a:xfrm>
              <a:off x="4744334" y="2340686"/>
              <a:ext cx="1170000" cy="11700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185" name="AutoShape 40"/>
            <p:cNvSpPr>
              <a:spLocks noChangeArrowheads="1"/>
            </p:cNvSpPr>
            <p:nvPr/>
          </p:nvSpPr>
          <p:spPr bwMode="auto">
            <a:xfrm>
              <a:off x="5618704" y="4089437"/>
              <a:ext cx="1170000" cy="11700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186" name="AutoShape 40"/>
            <p:cNvSpPr>
              <a:spLocks noChangeArrowheads="1"/>
            </p:cNvSpPr>
            <p:nvPr/>
          </p:nvSpPr>
          <p:spPr bwMode="auto">
            <a:xfrm>
              <a:off x="5618704" y="3215061"/>
              <a:ext cx="1170000" cy="11700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187" name="AutoShape 40"/>
            <p:cNvSpPr>
              <a:spLocks noChangeArrowheads="1"/>
            </p:cNvSpPr>
            <p:nvPr/>
          </p:nvSpPr>
          <p:spPr bwMode="auto">
            <a:xfrm>
              <a:off x="5618704" y="2340686"/>
              <a:ext cx="1170000" cy="11700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182" name="AutoShape 40"/>
            <p:cNvSpPr>
              <a:spLocks noChangeArrowheads="1"/>
            </p:cNvSpPr>
            <p:nvPr/>
          </p:nvSpPr>
          <p:spPr bwMode="auto">
            <a:xfrm>
              <a:off x="6493074" y="4089437"/>
              <a:ext cx="1170000" cy="11700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183" name="AutoShape 40"/>
            <p:cNvSpPr>
              <a:spLocks noChangeArrowheads="1"/>
            </p:cNvSpPr>
            <p:nvPr/>
          </p:nvSpPr>
          <p:spPr bwMode="auto">
            <a:xfrm>
              <a:off x="6493074" y="3215061"/>
              <a:ext cx="1170000" cy="11700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184" name="AutoShape 40"/>
            <p:cNvSpPr>
              <a:spLocks noChangeArrowheads="1"/>
            </p:cNvSpPr>
            <p:nvPr/>
          </p:nvSpPr>
          <p:spPr bwMode="auto">
            <a:xfrm>
              <a:off x="6493074" y="2340686"/>
              <a:ext cx="1170000" cy="11700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175" name="AutoShape 40"/>
            <p:cNvSpPr>
              <a:spLocks noChangeArrowheads="1"/>
            </p:cNvSpPr>
            <p:nvPr/>
          </p:nvSpPr>
          <p:spPr bwMode="auto">
            <a:xfrm>
              <a:off x="4457660" y="4377773"/>
              <a:ext cx="1170000" cy="11700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176" name="AutoShape 40"/>
            <p:cNvSpPr>
              <a:spLocks noChangeArrowheads="1"/>
            </p:cNvSpPr>
            <p:nvPr/>
          </p:nvSpPr>
          <p:spPr bwMode="auto">
            <a:xfrm>
              <a:off x="4457660" y="3503397"/>
              <a:ext cx="1170000" cy="11700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177" name="AutoShape 40"/>
            <p:cNvSpPr>
              <a:spLocks noChangeArrowheads="1"/>
            </p:cNvSpPr>
            <p:nvPr/>
          </p:nvSpPr>
          <p:spPr bwMode="auto">
            <a:xfrm>
              <a:off x="4457660" y="2629022"/>
              <a:ext cx="1170000" cy="11700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172" name="AutoShape 40"/>
            <p:cNvSpPr>
              <a:spLocks noChangeArrowheads="1"/>
            </p:cNvSpPr>
            <p:nvPr/>
          </p:nvSpPr>
          <p:spPr bwMode="auto">
            <a:xfrm>
              <a:off x="5332030" y="4377773"/>
              <a:ext cx="1170000" cy="11700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173" name="AutoShape 40"/>
            <p:cNvSpPr>
              <a:spLocks noChangeArrowheads="1"/>
            </p:cNvSpPr>
            <p:nvPr/>
          </p:nvSpPr>
          <p:spPr bwMode="auto">
            <a:xfrm>
              <a:off x="5332030" y="3503397"/>
              <a:ext cx="1170000" cy="11700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174" name="AutoShape 40"/>
            <p:cNvSpPr>
              <a:spLocks noChangeArrowheads="1"/>
            </p:cNvSpPr>
            <p:nvPr/>
          </p:nvSpPr>
          <p:spPr bwMode="auto">
            <a:xfrm>
              <a:off x="5332030" y="2629022"/>
              <a:ext cx="1170000" cy="11700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169" name="AutoShape 40"/>
            <p:cNvSpPr>
              <a:spLocks noChangeArrowheads="1"/>
            </p:cNvSpPr>
            <p:nvPr/>
          </p:nvSpPr>
          <p:spPr bwMode="auto">
            <a:xfrm>
              <a:off x="6206400" y="4377773"/>
              <a:ext cx="1170000" cy="11700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170" name="AutoShape 40"/>
            <p:cNvSpPr>
              <a:spLocks noChangeArrowheads="1"/>
            </p:cNvSpPr>
            <p:nvPr/>
          </p:nvSpPr>
          <p:spPr bwMode="auto">
            <a:xfrm>
              <a:off x="6206400" y="3503397"/>
              <a:ext cx="1170000" cy="11700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171" name="AutoShape 40"/>
            <p:cNvSpPr>
              <a:spLocks noChangeArrowheads="1"/>
            </p:cNvSpPr>
            <p:nvPr/>
          </p:nvSpPr>
          <p:spPr bwMode="auto">
            <a:xfrm>
              <a:off x="6206400" y="2629022"/>
              <a:ext cx="1170000" cy="1170000"/>
            </a:xfrm>
            <a:prstGeom prst="cube">
              <a:avLst>
                <a:gd name="adj" fmla="val 25000"/>
              </a:avLst>
            </a:prstGeom>
            <a:solidFill>
              <a:srgbClr val="00FFB9"/>
            </a:solid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grpSp>
      <p:grpSp>
        <p:nvGrpSpPr>
          <p:cNvPr id="11" name="Group 10"/>
          <p:cNvGrpSpPr>
            <a:grpSpLocks noChangeAspect="1"/>
          </p:cNvGrpSpPr>
          <p:nvPr/>
        </p:nvGrpSpPr>
        <p:grpSpPr>
          <a:xfrm>
            <a:off x="410400" y="2026800"/>
            <a:ext cx="3456000" cy="3456000"/>
            <a:chOff x="627063" y="2049027"/>
            <a:chExt cx="3493347" cy="3498746"/>
          </a:xfrm>
        </p:grpSpPr>
        <p:sp>
          <p:nvSpPr>
            <p:cNvPr id="372" name="AutoShape 10"/>
            <p:cNvSpPr>
              <a:spLocks noChangeArrowheads="1"/>
            </p:cNvSpPr>
            <p:nvPr/>
          </p:nvSpPr>
          <p:spPr bwMode="auto">
            <a:xfrm>
              <a:off x="1061824" y="3361844"/>
              <a:ext cx="1747763" cy="1750424"/>
            </a:xfrm>
            <a:prstGeom prst="cube">
              <a:avLst>
                <a:gd name="adj" fmla="val 25000"/>
              </a:avLst>
            </a:prstGeom>
            <a:solidFill>
              <a:schemeClr val="bg1"/>
            </a:solidFill>
            <a:ln w="9525">
              <a:solidFill>
                <a:srgbClr val="879BAA"/>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43" eaLnBrk="0" hangingPunct="0">
                <a:defRPr/>
              </a:pPr>
              <a:endParaRPr lang="en-US" sz="1199" kern="0" dirty="0">
                <a:solidFill>
                  <a:srgbClr val="000000"/>
                </a:solidFill>
                <a:sym typeface="Arial"/>
              </a:endParaRPr>
            </a:p>
          </p:txBody>
        </p:sp>
        <p:sp>
          <p:nvSpPr>
            <p:cNvPr id="373" name="AutoShape 11"/>
            <p:cNvSpPr>
              <a:spLocks noChangeArrowheads="1"/>
            </p:cNvSpPr>
            <p:nvPr/>
          </p:nvSpPr>
          <p:spPr bwMode="auto">
            <a:xfrm>
              <a:off x="2372647" y="3361844"/>
              <a:ext cx="1747763" cy="1750424"/>
            </a:xfrm>
            <a:prstGeom prst="cube">
              <a:avLst>
                <a:gd name="adj" fmla="val 25000"/>
              </a:avLst>
            </a:prstGeom>
            <a:solidFill>
              <a:schemeClr val="bg1"/>
            </a:solidFill>
            <a:ln w="9525">
              <a:solidFill>
                <a:srgbClr val="66667E"/>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43" eaLnBrk="0" hangingPunct="0">
                <a:defRPr/>
              </a:pPr>
              <a:endParaRPr lang="en-US" sz="1199" kern="0" dirty="0">
                <a:solidFill>
                  <a:srgbClr val="000000"/>
                </a:solidFill>
                <a:sym typeface="Arial"/>
              </a:endParaRPr>
            </a:p>
          </p:txBody>
        </p:sp>
        <p:sp>
          <p:nvSpPr>
            <p:cNvPr id="374" name="AutoShape 12"/>
            <p:cNvSpPr>
              <a:spLocks noChangeArrowheads="1"/>
            </p:cNvSpPr>
            <p:nvPr/>
          </p:nvSpPr>
          <p:spPr bwMode="auto">
            <a:xfrm>
              <a:off x="1061824" y="2049027"/>
              <a:ext cx="1747763" cy="1750424"/>
            </a:xfrm>
            <a:prstGeom prst="cube">
              <a:avLst>
                <a:gd name="adj" fmla="val 25000"/>
              </a:avLst>
            </a:prstGeom>
            <a:solidFill>
              <a:schemeClr val="bg1"/>
            </a:solidFill>
            <a:ln w="12700">
              <a:solidFill>
                <a:srgbClr val="66667E"/>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43" eaLnBrk="0" hangingPunct="0">
                <a:defRPr/>
              </a:pPr>
              <a:endParaRPr lang="en-US" sz="1199" kern="0" dirty="0">
                <a:solidFill>
                  <a:srgbClr val="000000"/>
                </a:solidFill>
                <a:sym typeface="Arial"/>
              </a:endParaRPr>
            </a:p>
          </p:txBody>
        </p:sp>
        <p:sp>
          <p:nvSpPr>
            <p:cNvPr id="375" name="AutoShape 13"/>
            <p:cNvSpPr>
              <a:spLocks noChangeArrowheads="1"/>
            </p:cNvSpPr>
            <p:nvPr/>
          </p:nvSpPr>
          <p:spPr bwMode="auto">
            <a:xfrm>
              <a:off x="2372647" y="2049027"/>
              <a:ext cx="1747763" cy="1750424"/>
            </a:xfrm>
            <a:prstGeom prst="cube">
              <a:avLst>
                <a:gd name="adj" fmla="val 25000"/>
              </a:avLst>
            </a:prstGeom>
            <a:solidFill>
              <a:schemeClr val="bg1"/>
            </a:solidFill>
            <a:ln w="12700">
              <a:solidFill>
                <a:srgbClr val="66667E"/>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hangingPunct="0"/>
              <a:endParaRPr lang="en-US" sz="1199" kern="0" dirty="0">
                <a:solidFill>
                  <a:srgbClr val="000000"/>
                </a:solidFill>
                <a:sym typeface="Arial"/>
              </a:endParaRPr>
            </a:p>
          </p:txBody>
        </p:sp>
        <p:sp>
          <p:nvSpPr>
            <p:cNvPr id="207" name="AutoShape 10"/>
            <p:cNvSpPr>
              <a:spLocks noChangeArrowheads="1"/>
            </p:cNvSpPr>
            <p:nvPr/>
          </p:nvSpPr>
          <p:spPr bwMode="auto">
            <a:xfrm>
              <a:off x="627063" y="3797349"/>
              <a:ext cx="1747763" cy="1750424"/>
            </a:xfrm>
            <a:prstGeom prst="cube">
              <a:avLst>
                <a:gd name="adj" fmla="val 25000"/>
              </a:avLst>
            </a:prstGeom>
            <a:solidFill>
              <a:schemeClr val="bg1"/>
            </a:solidFill>
            <a:ln w="9525">
              <a:solidFill>
                <a:srgbClr val="66667E"/>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43" eaLnBrk="0" hangingPunct="0">
                <a:defRPr/>
              </a:pPr>
              <a:endParaRPr lang="en-US" sz="1199" kern="0" dirty="0">
                <a:solidFill>
                  <a:srgbClr val="000000"/>
                </a:solidFill>
                <a:sym typeface="Arial"/>
              </a:endParaRPr>
            </a:p>
          </p:txBody>
        </p:sp>
        <p:sp>
          <p:nvSpPr>
            <p:cNvPr id="208" name="AutoShape 11"/>
            <p:cNvSpPr>
              <a:spLocks noChangeArrowheads="1"/>
            </p:cNvSpPr>
            <p:nvPr/>
          </p:nvSpPr>
          <p:spPr bwMode="auto">
            <a:xfrm>
              <a:off x="1937886" y="3797349"/>
              <a:ext cx="1747763" cy="1750424"/>
            </a:xfrm>
            <a:prstGeom prst="cube">
              <a:avLst>
                <a:gd name="adj" fmla="val 25000"/>
              </a:avLst>
            </a:prstGeom>
            <a:solidFill>
              <a:schemeClr val="bg1"/>
            </a:solidFill>
            <a:ln w="9525">
              <a:solidFill>
                <a:srgbClr val="66667E"/>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43" eaLnBrk="0" hangingPunct="0">
                <a:defRPr/>
              </a:pPr>
              <a:endParaRPr lang="en-US" sz="1199" kern="0" dirty="0">
                <a:solidFill>
                  <a:srgbClr val="000000"/>
                </a:solidFill>
                <a:sym typeface="Arial"/>
              </a:endParaRPr>
            </a:p>
          </p:txBody>
        </p:sp>
        <p:sp>
          <p:nvSpPr>
            <p:cNvPr id="209" name="AutoShape 12"/>
            <p:cNvSpPr>
              <a:spLocks noChangeArrowheads="1"/>
            </p:cNvSpPr>
            <p:nvPr/>
          </p:nvSpPr>
          <p:spPr bwMode="auto">
            <a:xfrm>
              <a:off x="627063" y="2484532"/>
              <a:ext cx="1747763" cy="1750424"/>
            </a:xfrm>
            <a:prstGeom prst="cube">
              <a:avLst>
                <a:gd name="adj" fmla="val 25000"/>
              </a:avLst>
            </a:prstGeom>
            <a:solidFill>
              <a:schemeClr val="bg1"/>
            </a:solidFill>
            <a:ln w="12700">
              <a:solidFill>
                <a:srgbClr val="66667E"/>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43" eaLnBrk="0" hangingPunct="0">
                <a:defRPr/>
              </a:pPr>
              <a:endParaRPr lang="en-US" sz="1199" kern="0" dirty="0">
                <a:solidFill>
                  <a:srgbClr val="000000"/>
                </a:solidFill>
                <a:sym typeface="Arial"/>
              </a:endParaRPr>
            </a:p>
          </p:txBody>
        </p:sp>
        <p:sp>
          <p:nvSpPr>
            <p:cNvPr id="210" name="AutoShape 13"/>
            <p:cNvSpPr>
              <a:spLocks noChangeArrowheads="1"/>
            </p:cNvSpPr>
            <p:nvPr/>
          </p:nvSpPr>
          <p:spPr bwMode="auto">
            <a:xfrm>
              <a:off x="1937886" y="2484532"/>
              <a:ext cx="1747763" cy="1750424"/>
            </a:xfrm>
            <a:prstGeom prst="cube">
              <a:avLst>
                <a:gd name="adj" fmla="val 25000"/>
              </a:avLst>
            </a:prstGeom>
            <a:solidFill>
              <a:srgbClr val="00AF8E"/>
            </a:solidFill>
            <a:ln w="12700">
              <a:solidFill>
                <a:srgbClr val="9999A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43" eaLnBrk="0" hangingPunct="0">
                <a:defRPr/>
              </a:pPr>
              <a:endParaRPr lang="en-US" sz="1199" kern="0" dirty="0">
                <a:solidFill>
                  <a:srgbClr val="000000"/>
                </a:solidFill>
                <a:sym typeface="Arial"/>
              </a:endParaRPr>
            </a:p>
          </p:txBody>
        </p:sp>
      </p:grpSp>
      <p:grpSp>
        <p:nvGrpSpPr>
          <p:cNvPr id="16" name="Group 15"/>
          <p:cNvGrpSpPr>
            <a:grpSpLocks noChangeAspect="1"/>
          </p:cNvGrpSpPr>
          <p:nvPr/>
        </p:nvGrpSpPr>
        <p:grpSpPr>
          <a:xfrm>
            <a:off x="8330400" y="2026800"/>
            <a:ext cx="3455826" cy="3456000"/>
            <a:chOff x="8497741" y="2069839"/>
            <a:chExt cx="3477759" cy="3477934"/>
          </a:xfrm>
          <a:solidFill>
            <a:schemeClr val="bg1"/>
          </a:solidFill>
        </p:grpSpPr>
        <p:sp>
          <p:nvSpPr>
            <p:cNvPr id="534" name="AutoShape 40"/>
            <p:cNvSpPr>
              <a:spLocks noChangeAspect="1" noChangeArrowheads="1"/>
            </p:cNvSpPr>
            <p:nvPr/>
          </p:nvSpPr>
          <p:spPr bwMode="auto">
            <a:xfrm>
              <a:off x="9178354" y="4167940"/>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35" name="AutoShape 40"/>
            <p:cNvSpPr>
              <a:spLocks noChangeAspect="1" noChangeArrowheads="1"/>
            </p:cNvSpPr>
            <p:nvPr/>
          </p:nvSpPr>
          <p:spPr bwMode="auto">
            <a:xfrm>
              <a:off x="9178354" y="3643414"/>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36" name="AutoShape 40"/>
            <p:cNvSpPr>
              <a:spLocks noChangeAspect="1" noChangeArrowheads="1"/>
            </p:cNvSpPr>
            <p:nvPr/>
          </p:nvSpPr>
          <p:spPr bwMode="auto">
            <a:xfrm>
              <a:off x="9178354" y="3118889"/>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37" name="AutoShape 40"/>
            <p:cNvSpPr>
              <a:spLocks noChangeAspect="1" noChangeArrowheads="1"/>
            </p:cNvSpPr>
            <p:nvPr/>
          </p:nvSpPr>
          <p:spPr bwMode="auto">
            <a:xfrm>
              <a:off x="9178354" y="2594364"/>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38" name="AutoShape 40"/>
            <p:cNvSpPr>
              <a:spLocks noChangeAspect="1" noChangeArrowheads="1"/>
            </p:cNvSpPr>
            <p:nvPr/>
          </p:nvSpPr>
          <p:spPr bwMode="auto">
            <a:xfrm>
              <a:off x="9178354" y="2069839"/>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29" name="AutoShape 40"/>
            <p:cNvSpPr>
              <a:spLocks noChangeAspect="1" noChangeArrowheads="1"/>
            </p:cNvSpPr>
            <p:nvPr/>
          </p:nvSpPr>
          <p:spPr bwMode="auto">
            <a:xfrm>
              <a:off x="9703041" y="4167940"/>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30" name="AutoShape 40"/>
            <p:cNvSpPr>
              <a:spLocks noChangeAspect="1" noChangeArrowheads="1"/>
            </p:cNvSpPr>
            <p:nvPr/>
          </p:nvSpPr>
          <p:spPr bwMode="auto">
            <a:xfrm>
              <a:off x="9703041" y="3643414"/>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31" name="AutoShape 40"/>
            <p:cNvSpPr>
              <a:spLocks noChangeAspect="1" noChangeArrowheads="1"/>
            </p:cNvSpPr>
            <p:nvPr/>
          </p:nvSpPr>
          <p:spPr bwMode="auto">
            <a:xfrm>
              <a:off x="9703041" y="3118889"/>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32" name="AutoShape 40"/>
            <p:cNvSpPr>
              <a:spLocks noChangeAspect="1" noChangeArrowheads="1"/>
            </p:cNvSpPr>
            <p:nvPr/>
          </p:nvSpPr>
          <p:spPr bwMode="auto">
            <a:xfrm>
              <a:off x="9703041" y="2594364"/>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33" name="AutoShape 40"/>
            <p:cNvSpPr>
              <a:spLocks noChangeAspect="1" noChangeArrowheads="1"/>
            </p:cNvSpPr>
            <p:nvPr/>
          </p:nvSpPr>
          <p:spPr bwMode="auto">
            <a:xfrm>
              <a:off x="9703041" y="2069839"/>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24" name="AutoShape 40"/>
            <p:cNvSpPr>
              <a:spLocks noChangeAspect="1" noChangeArrowheads="1"/>
            </p:cNvSpPr>
            <p:nvPr/>
          </p:nvSpPr>
          <p:spPr bwMode="auto">
            <a:xfrm>
              <a:off x="10227728" y="4167940"/>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25" name="AutoShape 40"/>
            <p:cNvSpPr>
              <a:spLocks noChangeAspect="1" noChangeArrowheads="1"/>
            </p:cNvSpPr>
            <p:nvPr/>
          </p:nvSpPr>
          <p:spPr bwMode="auto">
            <a:xfrm>
              <a:off x="10227728" y="3643414"/>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26" name="AutoShape 40"/>
            <p:cNvSpPr>
              <a:spLocks noChangeAspect="1" noChangeArrowheads="1"/>
            </p:cNvSpPr>
            <p:nvPr/>
          </p:nvSpPr>
          <p:spPr bwMode="auto">
            <a:xfrm>
              <a:off x="10227728" y="3118889"/>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27" name="AutoShape 40"/>
            <p:cNvSpPr>
              <a:spLocks noChangeAspect="1" noChangeArrowheads="1"/>
            </p:cNvSpPr>
            <p:nvPr/>
          </p:nvSpPr>
          <p:spPr bwMode="auto">
            <a:xfrm>
              <a:off x="10227728" y="2594364"/>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28" name="AutoShape 40"/>
            <p:cNvSpPr>
              <a:spLocks noChangeAspect="1" noChangeArrowheads="1"/>
            </p:cNvSpPr>
            <p:nvPr/>
          </p:nvSpPr>
          <p:spPr bwMode="auto">
            <a:xfrm>
              <a:off x="10227728" y="2069839"/>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19" name="AutoShape 40"/>
            <p:cNvSpPr>
              <a:spLocks noChangeAspect="1" noChangeArrowheads="1"/>
            </p:cNvSpPr>
            <p:nvPr/>
          </p:nvSpPr>
          <p:spPr bwMode="auto">
            <a:xfrm>
              <a:off x="10752415" y="4167940"/>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20" name="AutoShape 40"/>
            <p:cNvSpPr>
              <a:spLocks noChangeAspect="1" noChangeArrowheads="1"/>
            </p:cNvSpPr>
            <p:nvPr/>
          </p:nvSpPr>
          <p:spPr bwMode="auto">
            <a:xfrm>
              <a:off x="10752415" y="3643414"/>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21" name="AutoShape 40"/>
            <p:cNvSpPr>
              <a:spLocks noChangeAspect="1" noChangeArrowheads="1"/>
            </p:cNvSpPr>
            <p:nvPr/>
          </p:nvSpPr>
          <p:spPr bwMode="auto">
            <a:xfrm>
              <a:off x="10752415" y="3118889"/>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22" name="AutoShape 40"/>
            <p:cNvSpPr>
              <a:spLocks noChangeAspect="1" noChangeArrowheads="1"/>
            </p:cNvSpPr>
            <p:nvPr/>
          </p:nvSpPr>
          <p:spPr bwMode="auto">
            <a:xfrm>
              <a:off x="10752415" y="2594364"/>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23" name="AutoShape 40"/>
            <p:cNvSpPr>
              <a:spLocks noChangeAspect="1" noChangeArrowheads="1"/>
            </p:cNvSpPr>
            <p:nvPr/>
          </p:nvSpPr>
          <p:spPr bwMode="auto">
            <a:xfrm>
              <a:off x="10752415" y="2069839"/>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14" name="AutoShape 40"/>
            <p:cNvSpPr>
              <a:spLocks noChangeAspect="1" noChangeArrowheads="1"/>
            </p:cNvSpPr>
            <p:nvPr/>
          </p:nvSpPr>
          <p:spPr bwMode="auto">
            <a:xfrm>
              <a:off x="11277100" y="4167940"/>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15" name="AutoShape 40"/>
            <p:cNvSpPr>
              <a:spLocks noChangeAspect="1" noChangeArrowheads="1"/>
            </p:cNvSpPr>
            <p:nvPr/>
          </p:nvSpPr>
          <p:spPr bwMode="auto">
            <a:xfrm>
              <a:off x="11277100" y="3643414"/>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16" name="AutoShape 40"/>
            <p:cNvSpPr>
              <a:spLocks noChangeAspect="1" noChangeArrowheads="1"/>
            </p:cNvSpPr>
            <p:nvPr/>
          </p:nvSpPr>
          <p:spPr bwMode="auto">
            <a:xfrm>
              <a:off x="11277100" y="3118889"/>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17" name="AutoShape 40"/>
            <p:cNvSpPr>
              <a:spLocks noChangeAspect="1" noChangeArrowheads="1"/>
            </p:cNvSpPr>
            <p:nvPr/>
          </p:nvSpPr>
          <p:spPr bwMode="auto">
            <a:xfrm>
              <a:off x="11277100" y="2594364"/>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18" name="AutoShape 40"/>
            <p:cNvSpPr>
              <a:spLocks noChangeAspect="1" noChangeArrowheads="1"/>
            </p:cNvSpPr>
            <p:nvPr/>
          </p:nvSpPr>
          <p:spPr bwMode="auto">
            <a:xfrm>
              <a:off x="11277100" y="2069839"/>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03" name="AutoShape 40"/>
            <p:cNvSpPr>
              <a:spLocks noChangeAspect="1" noChangeArrowheads="1"/>
            </p:cNvSpPr>
            <p:nvPr/>
          </p:nvSpPr>
          <p:spPr bwMode="auto">
            <a:xfrm>
              <a:off x="9008200" y="4338298"/>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04" name="AutoShape 40"/>
            <p:cNvSpPr>
              <a:spLocks noChangeAspect="1" noChangeArrowheads="1"/>
            </p:cNvSpPr>
            <p:nvPr/>
          </p:nvSpPr>
          <p:spPr bwMode="auto">
            <a:xfrm>
              <a:off x="9008200" y="3813772"/>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05" name="AutoShape 40"/>
            <p:cNvSpPr>
              <a:spLocks noChangeAspect="1" noChangeArrowheads="1"/>
            </p:cNvSpPr>
            <p:nvPr/>
          </p:nvSpPr>
          <p:spPr bwMode="auto">
            <a:xfrm>
              <a:off x="9008200" y="3289247"/>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06" name="AutoShape 40"/>
            <p:cNvSpPr>
              <a:spLocks noChangeAspect="1" noChangeArrowheads="1"/>
            </p:cNvSpPr>
            <p:nvPr/>
          </p:nvSpPr>
          <p:spPr bwMode="auto">
            <a:xfrm>
              <a:off x="9008200" y="2764722"/>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07" name="AutoShape 40"/>
            <p:cNvSpPr>
              <a:spLocks noChangeAspect="1" noChangeArrowheads="1"/>
            </p:cNvSpPr>
            <p:nvPr/>
          </p:nvSpPr>
          <p:spPr bwMode="auto">
            <a:xfrm>
              <a:off x="9008200" y="2240197"/>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98" name="AutoShape 40"/>
            <p:cNvSpPr>
              <a:spLocks noChangeAspect="1" noChangeArrowheads="1"/>
            </p:cNvSpPr>
            <p:nvPr/>
          </p:nvSpPr>
          <p:spPr bwMode="auto">
            <a:xfrm>
              <a:off x="9532887" y="4338298"/>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99" name="AutoShape 40"/>
            <p:cNvSpPr>
              <a:spLocks noChangeAspect="1" noChangeArrowheads="1"/>
            </p:cNvSpPr>
            <p:nvPr/>
          </p:nvSpPr>
          <p:spPr bwMode="auto">
            <a:xfrm>
              <a:off x="9532887" y="3813772"/>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00" name="AutoShape 40"/>
            <p:cNvSpPr>
              <a:spLocks noChangeAspect="1" noChangeArrowheads="1"/>
            </p:cNvSpPr>
            <p:nvPr/>
          </p:nvSpPr>
          <p:spPr bwMode="auto">
            <a:xfrm>
              <a:off x="9532887" y="3289247"/>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01" name="AutoShape 40"/>
            <p:cNvSpPr>
              <a:spLocks noChangeAspect="1" noChangeArrowheads="1"/>
            </p:cNvSpPr>
            <p:nvPr/>
          </p:nvSpPr>
          <p:spPr bwMode="auto">
            <a:xfrm>
              <a:off x="9532887" y="2764722"/>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02" name="AutoShape 40"/>
            <p:cNvSpPr>
              <a:spLocks noChangeAspect="1" noChangeArrowheads="1"/>
            </p:cNvSpPr>
            <p:nvPr/>
          </p:nvSpPr>
          <p:spPr bwMode="auto">
            <a:xfrm>
              <a:off x="9532887" y="2240197"/>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93" name="AutoShape 40"/>
            <p:cNvSpPr>
              <a:spLocks noChangeAspect="1" noChangeArrowheads="1"/>
            </p:cNvSpPr>
            <p:nvPr/>
          </p:nvSpPr>
          <p:spPr bwMode="auto">
            <a:xfrm>
              <a:off x="10057574" y="4338298"/>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94" name="AutoShape 40"/>
            <p:cNvSpPr>
              <a:spLocks noChangeAspect="1" noChangeArrowheads="1"/>
            </p:cNvSpPr>
            <p:nvPr/>
          </p:nvSpPr>
          <p:spPr bwMode="auto">
            <a:xfrm>
              <a:off x="10057574" y="3813772"/>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95" name="AutoShape 40"/>
            <p:cNvSpPr>
              <a:spLocks noChangeAspect="1" noChangeArrowheads="1"/>
            </p:cNvSpPr>
            <p:nvPr/>
          </p:nvSpPr>
          <p:spPr bwMode="auto">
            <a:xfrm>
              <a:off x="10057574" y="3289247"/>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96" name="AutoShape 40"/>
            <p:cNvSpPr>
              <a:spLocks noChangeAspect="1" noChangeArrowheads="1"/>
            </p:cNvSpPr>
            <p:nvPr/>
          </p:nvSpPr>
          <p:spPr bwMode="auto">
            <a:xfrm>
              <a:off x="10057574" y="2764722"/>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97" name="AutoShape 40"/>
            <p:cNvSpPr>
              <a:spLocks noChangeAspect="1" noChangeArrowheads="1"/>
            </p:cNvSpPr>
            <p:nvPr/>
          </p:nvSpPr>
          <p:spPr bwMode="auto">
            <a:xfrm>
              <a:off x="10057574" y="2240197"/>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88" name="AutoShape 40"/>
            <p:cNvSpPr>
              <a:spLocks noChangeAspect="1" noChangeArrowheads="1"/>
            </p:cNvSpPr>
            <p:nvPr/>
          </p:nvSpPr>
          <p:spPr bwMode="auto">
            <a:xfrm>
              <a:off x="10582261" y="4338298"/>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89" name="AutoShape 40"/>
            <p:cNvSpPr>
              <a:spLocks noChangeAspect="1" noChangeArrowheads="1"/>
            </p:cNvSpPr>
            <p:nvPr/>
          </p:nvSpPr>
          <p:spPr bwMode="auto">
            <a:xfrm>
              <a:off x="10582261" y="3813772"/>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90" name="AutoShape 40"/>
            <p:cNvSpPr>
              <a:spLocks noChangeAspect="1" noChangeArrowheads="1"/>
            </p:cNvSpPr>
            <p:nvPr/>
          </p:nvSpPr>
          <p:spPr bwMode="auto">
            <a:xfrm>
              <a:off x="10582261" y="3289247"/>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91" name="AutoShape 40"/>
            <p:cNvSpPr>
              <a:spLocks noChangeAspect="1" noChangeArrowheads="1"/>
            </p:cNvSpPr>
            <p:nvPr/>
          </p:nvSpPr>
          <p:spPr bwMode="auto">
            <a:xfrm>
              <a:off x="10582261" y="2764722"/>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92" name="AutoShape 40"/>
            <p:cNvSpPr>
              <a:spLocks noChangeAspect="1" noChangeArrowheads="1"/>
            </p:cNvSpPr>
            <p:nvPr/>
          </p:nvSpPr>
          <p:spPr bwMode="auto">
            <a:xfrm>
              <a:off x="10582261" y="2240197"/>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83" name="AutoShape 40"/>
            <p:cNvSpPr>
              <a:spLocks noChangeAspect="1" noChangeArrowheads="1"/>
            </p:cNvSpPr>
            <p:nvPr/>
          </p:nvSpPr>
          <p:spPr bwMode="auto">
            <a:xfrm>
              <a:off x="11106946" y="4338298"/>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84" name="AutoShape 40"/>
            <p:cNvSpPr>
              <a:spLocks noChangeAspect="1" noChangeArrowheads="1"/>
            </p:cNvSpPr>
            <p:nvPr/>
          </p:nvSpPr>
          <p:spPr bwMode="auto">
            <a:xfrm>
              <a:off x="11106946" y="3813772"/>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85" name="AutoShape 40"/>
            <p:cNvSpPr>
              <a:spLocks noChangeAspect="1" noChangeArrowheads="1"/>
            </p:cNvSpPr>
            <p:nvPr/>
          </p:nvSpPr>
          <p:spPr bwMode="auto">
            <a:xfrm>
              <a:off x="11106946" y="3289247"/>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86" name="AutoShape 40"/>
            <p:cNvSpPr>
              <a:spLocks noChangeAspect="1" noChangeArrowheads="1"/>
            </p:cNvSpPr>
            <p:nvPr/>
          </p:nvSpPr>
          <p:spPr bwMode="auto">
            <a:xfrm>
              <a:off x="11106946" y="2764722"/>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87" name="AutoShape 40"/>
            <p:cNvSpPr>
              <a:spLocks noChangeAspect="1" noChangeArrowheads="1"/>
            </p:cNvSpPr>
            <p:nvPr/>
          </p:nvSpPr>
          <p:spPr bwMode="auto">
            <a:xfrm>
              <a:off x="11106946" y="2240197"/>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72" name="AutoShape 40"/>
            <p:cNvSpPr>
              <a:spLocks noChangeAspect="1" noChangeArrowheads="1"/>
            </p:cNvSpPr>
            <p:nvPr/>
          </p:nvSpPr>
          <p:spPr bwMode="auto">
            <a:xfrm>
              <a:off x="8838047" y="4508656"/>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73" name="AutoShape 40"/>
            <p:cNvSpPr>
              <a:spLocks noChangeAspect="1" noChangeArrowheads="1"/>
            </p:cNvSpPr>
            <p:nvPr/>
          </p:nvSpPr>
          <p:spPr bwMode="auto">
            <a:xfrm>
              <a:off x="8838047" y="3984130"/>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74" name="AutoShape 40"/>
            <p:cNvSpPr>
              <a:spLocks noChangeAspect="1" noChangeArrowheads="1"/>
            </p:cNvSpPr>
            <p:nvPr/>
          </p:nvSpPr>
          <p:spPr bwMode="auto">
            <a:xfrm>
              <a:off x="8838047" y="3459605"/>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75" name="AutoShape 40"/>
            <p:cNvSpPr>
              <a:spLocks noChangeAspect="1" noChangeArrowheads="1"/>
            </p:cNvSpPr>
            <p:nvPr/>
          </p:nvSpPr>
          <p:spPr bwMode="auto">
            <a:xfrm>
              <a:off x="8838047" y="2935080"/>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76" name="AutoShape 40"/>
            <p:cNvSpPr>
              <a:spLocks noChangeAspect="1" noChangeArrowheads="1"/>
            </p:cNvSpPr>
            <p:nvPr/>
          </p:nvSpPr>
          <p:spPr bwMode="auto">
            <a:xfrm>
              <a:off x="8838047" y="2410555"/>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67" name="AutoShape 40"/>
            <p:cNvSpPr>
              <a:spLocks noChangeAspect="1" noChangeArrowheads="1"/>
            </p:cNvSpPr>
            <p:nvPr/>
          </p:nvSpPr>
          <p:spPr bwMode="auto">
            <a:xfrm>
              <a:off x="9362734" y="4508656"/>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68" name="AutoShape 40"/>
            <p:cNvSpPr>
              <a:spLocks noChangeAspect="1" noChangeArrowheads="1"/>
            </p:cNvSpPr>
            <p:nvPr/>
          </p:nvSpPr>
          <p:spPr bwMode="auto">
            <a:xfrm>
              <a:off x="9362734" y="3984130"/>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69" name="AutoShape 40"/>
            <p:cNvSpPr>
              <a:spLocks noChangeAspect="1" noChangeArrowheads="1"/>
            </p:cNvSpPr>
            <p:nvPr/>
          </p:nvSpPr>
          <p:spPr bwMode="auto">
            <a:xfrm>
              <a:off x="9362734" y="3459605"/>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70" name="AutoShape 40"/>
            <p:cNvSpPr>
              <a:spLocks noChangeAspect="1" noChangeArrowheads="1"/>
            </p:cNvSpPr>
            <p:nvPr/>
          </p:nvSpPr>
          <p:spPr bwMode="auto">
            <a:xfrm>
              <a:off x="9362734" y="2935080"/>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71" name="AutoShape 40"/>
            <p:cNvSpPr>
              <a:spLocks noChangeAspect="1" noChangeArrowheads="1"/>
            </p:cNvSpPr>
            <p:nvPr/>
          </p:nvSpPr>
          <p:spPr bwMode="auto">
            <a:xfrm>
              <a:off x="9362734" y="2410555"/>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62" name="AutoShape 40"/>
            <p:cNvSpPr>
              <a:spLocks noChangeAspect="1" noChangeArrowheads="1"/>
            </p:cNvSpPr>
            <p:nvPr/>
          </p:nvSpPr>
          <p:spPr bwMode="auto">
            <a:xfrm>
              <a:off x="9887421" y="4508656"/>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63" name="AutoShape 40"/>
            <p:cNvSpPr>
              <a:spLocks noChangeAspect="1" noChangeArrowheads="1"/>
            </p:cNvSpPr>
            <p:nvPr/>
          </p:nvSpPr>
          <p:spPr bwMode="auto">
            <a:xfrm>
              <a:off x="9887421" y="3984130"/>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64" name="AutoShape 40"/>
            <p:cNvSpPr>
              <a:spLocks noChangeAspect="1" noChangeArrowheads="1"/>
            </p:cNvSpPr>
            <p:nvPr/>
          </p:nvSpPr>
          <p:spPr bwMode="auto">
            <a:xfrm>
              <a:off x="9887421" y="3459605"/>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65" name="AutoShape 40"/>
            <p:cNvSpPr>
              <a:spLocks noChangeAspect="1" noChangeArrowheads="1"/>
            </p:cNvSpPr>
            <p:nvPr/>
          </p:nvSpPr>
          <p:spPr bwMode="auto">
            <a:xfrm>
              <a:off x="9887421" y="2935080"/>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66" name="AutoShape 40"/>
            <p:cNvSpPr>
              <a:spLocks noChangeAspect="1" noChangeArrowheads="1"/>
            </p:cNvSpPr>
            <p:nvPr/>
          </p:nvSpPr>
          <p:spPr bwMode="auto">
            <a:xfrm>
              <a:off x="9887421" y="2410555"/>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57" name="AutoShape 40"/>
            <p:cNvSpPr>
              <a:spLocks noChangeAspect="1" noChangeArrowheads="1"/>
            </p:cNvSpPr>
            <p:nvPr/>
          </p:nvSpPr>
          <p:spPr bwMode="auto">
            <a:xfrm>
              <a:off x="10412108" y="4508656"/>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58" name="AutoShape 40"/>
            <p:cNvSpPr>
              <a:spLocks noChangeAspect="1" noChangeArrowheads="1"/>
            </p:cNvSpPr>
            <p:nvPr/>
          </p:nvSpPr>
          <p:spPr bwMode="auto">
            <a:xfrm>
              <a:off x="10412108" y="3984130"/>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59" name="AutoShape 40"/>
            <p:cNvSpPr>
              <a:spLocks noChangeAspect="1" noChangeArrowheads="1"/>
            </p:cNvSpPr>
            <p:nvPr/>
          </p:nvSpPr>
          <p:spPr bwMode="auto">
            <a:xfrm>
              <a:off x="10412108" y="3459605"/>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60" name="AutoShape 40"/>
            <p:cNvSpPr>
              <a:spLocks noChangeAspect="1" noChangeArrowheads="1"/>
            </p:cNvSpPr>
            <p:nvPr/>
          </p:nvSpPr>
          <p:spPr bwMode="auto">
            <a:xfrm>
              <a:off x="10412108" y="2935080"/>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61" name="AutoShape 40"/>
            <p:cNvSpPr>
              <a:spLocks noChangeAspect="1" noChangeArrowheads="1"/>
            </p:cNvSpPr>
            <p:nvPr/>
          </p:nvSpPr>
          <p:spPr bwMode="auto">
            <a:xfrm>
              <a:off x="10412108" y="2410555"/>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52" name="AutoShape 40"/>
            <p:cNvSpPr>
              <a:spLocks noChangeAspect="1" noChangeArrowheads="1"/>
            </p:cNvSpPr>
            <p:nvPr/>
          </p:nvSpPr>
          <p:spPr bwMode="auto">
            <a:xfrm>
              <a:off x="10936793" y="4508656"/>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53" name="AutoShape 40"/>
            <p:cNvSpPr>
              <a:spLocks noChangeAspect="1" noChangeArrowheads="1"/>
            </p:cNvSpPr>
            <p:nvPr/>
          </p:nvSpPr>
          <p:spPr bwMode="auto">
            <a:xfrm>
              <a:off x="10936793" y="3984130"/>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54" name="AutoShape 40"/>
            <p:cNvSpPr>
              <a:spLocks noChangeAspect="1" noChangeArrowheads="1"/>
            </p:cNvSpPr>
            <p:nvPr/>
          </p:nvSpPr>
          <p:spPr bwMode="auto">
            <a:xfrm>
              <a:off x="10936793" y="3459605"/>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55" name="AutoShape 40"/>
            <p:cNvSpPr>
              <a:spLocks noChangeAspect="1" noChangeArrowheads="1"/>
            </p:cNvSpPr>
            <p:nvPr/>
          </p:nvSpPr>
          <p:spPr bwMode="auto">
            <a:xfrm>
              <a:off x="10936793" y="2935080"/>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56" name="AutoShape 40"/>
            <p:cNvSpPr>
              <a:spLocks noChangeAspect="1" noChangeArrowheads="1"/>
            </p:cNvSpPr>
            <p:nvPr/>
          </p:nvSpPr>
          <p:spPr bwMode="auto">
            <a:xfrm>
              <a:off x="10936793" y="2410555"/>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41" name="AutoShape 40"/>
            <p:cNvSpPr>
              <a:spLocks noChangeAspect="1" noChangeArrowheads="1"/>
            </p:cNvSpPr>
            <p:nvPr/>
          </p:nvSpPr>
          <p:spPr bwMode="auto">
            <a:xfrm>
              <a:off x="8667894" y="4679014"/>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42" name="AutoShape 40"/>
            <p:cNvSpPr>
              <a:spLocks noChangeAspect="1" noChangeArrowheads="1"/>
            </p:cNvSpPr>
            <p:nvPr/>
          </p:nvSpPr>
          <p:spPr bwMode="auto">
            <a:xfrm>
              <a:off x="8667894" y="4154488"/>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43" name="AutoShape 40"/>
            <p:cNvSpPr>
              <a:spLocks noChangeAspect="1" noChangeArrowheads="1"/>
            </p:cNvSpPr>
            <p:nvPr/>
          </p:nvSpPr>
          <p:spPr bwMode="auto">
            <a:xfrm>
              <a:off x="8667894" y="3629963"/>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44" name="AutoShape 40"/>
            <p:cNvSpPr>
              <a:spLocks noChangeAspect="1" noChangeArrowheads="1"/>
            </p:cNvSpPr>
            <p:nvPr/>
          </p:nvSpPr>
          <p:spPr bwMode="auto">
            <a:xfrm>
              <a:off x="8667894" y="3105438"/>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45" name="AutoShape 40"/>
            <p:cNvSpPr>
              <a:spLocks noChangeAspect="1" noChangeArrowheads="1"/>
            </p:cNvSpPr>
            <p:nvPr/>
          </p:nvSpPr>
          <p:spPr bwMode="auto">
            <a:xfrm>
              <a:off x="8667894" y="2580913"/>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36" name="AutoShape 40"/>
            <p:cNvSpPr>
              <a:spLocks noChangeAspect="1" noChangeArrowheads="1"/>
            </p:cNvSpPr>
            <p:nvPr/>
          </p:nvSpPr>
          <p:spPr bwMode="auto">
            <a:xfrm>
              <a:off x="9192581" y="4679014"/>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37" name="AutoShape 40"/>
            <p:cNvSpPr>
              <a:spLocks noChangeAspect="1" noChangeArrowheads="1"/>
            </p:cNvSpPr>
            <p:nvPr/>
          </p:nvSpPr>
          <p:spPr bwMode="auto">
            <a:xfrm>
              <a:off x="9192581" y="4154488"/>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38" name="AutoShape 40"/>
            <p:cNvSpPr>
              <a:spLocks noChangeAspect="1" noChangeArrowheads="1"/>
            </p:cNvSpPr>
            <p:nvPr/>
          </p:nvSpPr>
          <p:spPr bwMode="auto">
            <a:xfrm>
              <a:off x="9192581" y="3629963"/>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39" name="AutoShape 40"/>
            <p:cNvSpPr>
              <a:spLocks noChangeAspect="1" noChangeArrowheads="1"/>
            </p:cNvSpPr>
            <p:nvPr/>
          </p:nvSpPr>
          <p:spPr bwMode="auto">
            <a:xfrm>
              <a:off x="9192581" y="3105438"/>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40" name="AutoShape 40"/>
            <p:cNvSpPr>
              <a:spLocks noChangeAspect="1" noChangeArrowheads="1"/>
            </p:cNvSpPr>
            <p:nvPr/>
          </p:nvSpPr>
          <p:spPr bwMode="auto">
            <a:xfrm>
              <a:off x="9192581" y="2580913"/>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31" name="AutoShape 40"/>
            <p:cNvSpPr>
              <a:spLocks noChangeAspect="1" noChangeArrowheads="1"/>
            </p:cNvSpPr>
            <p:nvPr/>
          </p:nvSpPr>
          <p:spPr bwMode="auto">
            <a:xfrm>
              <a:off x="9717268" y="4679014"/>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32" name="AutoShape 40"/>
            <p:cNvSpPr>
              <a:spLocks noChangeAspect="1" noChangeArrowheads="1"/>
            </p:cNvSpPr>
            <p:nvPr/>
          </p:nvSpPr>
          <p:spPr bwMode="auto">
            <a:xfrm>
              <a:off x="9717268" y="4154488"/>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33" name="AutoShape 40"/>
            <p:cNvSpPr>
              <a:spLocks noChangeAspect="1" noChangeArrowheads="1"/>
            </p:cNvSpPr>
            <p:nvPr/>
          </p:nvSpPr>
          <p:spPr bwMode="auto">
            <a:xfrm>
              <a:off x="9717268" y="3629963"/>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34" name="AutoShape 40"/>
            <p:cNvSpPr>
              <a:spLocks noChangeAspect="1" noChangeArrowheads="1"/>
            </p:cNvSpPr>
            <p:nvPr/>
          </p:nvSpPr>
          <p:spPr bwMode="auto">
            <a:xfrm>
              <a:off x="9717268" y="3105438"/>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35" name="AutoShape 40"/>
            <p:cNvSpPr>
              <a:spLocks noChangeAspect="1" noChangeArrowheads="1"/>
            </p:cNvSpPr>
            <p:nvPr/>
          </p:nvSpPr>
          <p:spPr bwMode="auto">
            <a:xfrm>
              <a:off x="9717268" y="2580913"/>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26" name="AutoShape 40"/>
            <p:cNvSpPr>
              <a:spLocks noChangeAspect="1" noChangeArrowheads="1"/>
            </p:cNvSpPr>
            <p:nvPr/>
          </p:nvSpPr>
          <p:spPr bwMode="auto">
            <a:xfrm>
              <a:off x="10241955" y="4679014"/>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27" name="AutoShape 40"/>
            <p:cNvSpPr>
              <a:spLocks noChangeAspect="1" noChangeArrowheads="1"/>
            </p:cNvSpPr>
            <p:nvPr/>
          </p:nvSpPr>
          <p:spPr bwMode="auto">
            <a:xfrm>
              <a:off x="10241955" y="4154488"/>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28" name="AutoShape 40"/>
            <p:cNvSpPr>
              <a:spLocks noChangeAspect="1" noChangeArrowheads="1"/>
            </p:cNvSpPr>
            <p:nvPr/>
          </p:nvSpPr>
          <p:spPr bwMode="auto">
            <a:xfrm>
              <a:off x="10241955" y="3629963"/>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29" name="AutoShape 40"/>
            <p:cNvSpPr>
              <a:spLocks noChangeAspect="1" noChangeArrowheads="1"/>
            </p:cNvSpPr>
            <p:nvPr/>
          </p:nvSpPr>
          <p:spPr bwMode="auto">
            <a:xfrm>
              <a:off x="10241955" y="3105438"/>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30" name="AutoShape 40"/>
            <p:cNvSpPr>
              <a:spLocks noChangeAspect="1" noChangeArrowheads="1"/>
            </p:cNvSpPr>
            <p:nvPr/>
          </p:nvSpPr>
          <p:spPr bwMode="auto">
            <a:xfrm>
              <a:off x="10241955" y="2580913"/>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21" name="AutoShape 40"/>
            <p:cNvSpPr>
              <a:spLocks noChangeAspect="1" noChangeArrowheads="1"/>
            </p:cNvSpPr>
            <p:nvPr/>
          </p:nvSpPr>
          <p:spPr bwMode="auto">
            <a:xfrm>
              <a:off x="10766640" y="4679014"/>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22" name="AutoShape 40"/>
            <p:cNvSpPr>
              <a:spLocks noChangeAspect="1" noChangeArrowheads="1"/>
            </p:cNvSpPr>
            <p:nvPr/>
          </p:nvSpPr>
          <p:spPr bwMode="auto">
            <a:xfrm>
              <a:off x="10766640" y="4154488"/>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23" name="AutoShape 40"/>
            <p:cNvSpPr>
              <a:spLocks noChangeAspect="1" noChangeArrowheads="1"/>
            </p:cNvSpPr>
            <p:nvPr/>
          </p:nvSpPr>
          <p:spPr bwMode="auto">
            <a:xfrm>
              <a:off x="10766640" y="3629963"/>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24" name="AutoShape 40"/>
            <p:cNvSpPr>
              <a:spLocks noChangeAspect="1" noChangeArrowheads="1"/>
            </p:cNvSpPr>
            <p:nvPr/>
          </p:nvSpPr>
          <p:spPr bwMode="auto">
            <a:xfrm>
              <a:off x="10766640" y="3105438"/>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25" name="AutoShape 40"/>
            <p:cNvSpPr>
              <a:spLocks noChangeAspect="1" noChangeArrowheads="1"/>
            </p:cNvSpPr>
            <p:nvPr/>
          </p:nvSpPr>
          <p:spPr bwMode="auto">
            <a:xfrm>
              <a:off x="10766640" y="2580913"/>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377" name="AutoShape 40"/>
            <p:cNvSpPr>
              <a:spLocks noChangeAspect="1" noChangeArrowheads="1"/>
            </p:cNvSpPr>
            <p:nvPr/>
          </p:nvSpPr>
          <p:spPr bwMode="auto">
            <a:xfrm>
              <a:off x="8497741" y="4849373"/>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386" name="AutoShape 40"/>
            <p:cNvSpPr>
              <a:spLocks noChangeAspect="1" noChangeArrowheads="1"/>
            </p:cNvSpPr>
            <p:nvPr/>
          </p:nvSpPr>
          <p:spPr bwMode="auto">
            <a:xfrm>
              <a:off x="8497741" y="4324847"/>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387" name="AutoShape 40"/>
            <p:cNvSpPr>
              <a:spLocks noChangeAspect="1" noChangeArrowheads="1"/>
            </p:cNvSpPr>
            <p:nvPr/>
          </p:nvSpPr>
          <p:spPr bwMode="auto">
            <a:xfrm>
              <a:off x="8497741" y="3800322"/>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388" name="AutoShape 40"/>
            <p:cNvSpPr>
              <a:spLocks noChangeAspect="1" noChangeArrowheads="1"/>
            </p:cNvSpPr>
            <p:nvPr/>
          </p:nvSpPr>
          <p:spPr bwMode="auto">
            <a:xfrm>
              <a:off x="8497741" y="3275797"/>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389" name="AutoShape 40"/>
            <p:cNvSpPr>
              <a:spLocks noChangeAspect="1" noChangeArrowheads="1"/>
            </p:cNvSpPr>
            <p:nvPr/>
          </p:nvSpPr>
          <p:spPr bwMode="auto">
            <a:xfrm>
              <a:off x="8497741" y="2751272"/>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392" name="AutoShape 40"/>
            <p:cNvSpPr>
              <a:spLocks noChangeAspect="1" noChangeArrowheads="1"/>
            </p:cNvSpPr>
            <p:nvPr/>
          </p:nvSpPr>
          <p:spPr bwMode="auto">
            <a:xfrm>
              <a:off x="9022428" y="4849373"/>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393" name="AutoShape 40"/>
            <p:cNvSpPr>
              <a:spLocks noChangeAspect="1" noChangeArrowheads="1"/>
            </p:cNvSpPr>
            <p:nvPr/>
          </p:nvSpPr>
          <p:spPr bwMode="auto">
            <a:xfrm>
              <a:off x="9022428" y="4324847"/>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394" name="AutoShape 40"/>
            <p:cNvSpPr>
              <a:spLocks noChangeAspect="1" noChangeArrowheads="1"/>
            </p:cNvSpPr>
            <p:nvPr/>
          </p:nvSpPr>
          <p:spPr bwMode="auto">
            <a:xfrm>
              <a:off x="9022428" y="3800322"/>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395" name="AutoShape 40"/>
            <p:cNvSpPr>
              <a:spLocks noChangeAspect="1" noChangeArrowheads="1"/>
            </p:cNvSpPr>
            <p:nvPr/>
          </p:nvSpPr>
          <p:spPr bwMode="auto">
            <a:xfrm>
              <a:off x="9022428" y="3275797"/>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396" name="AutoShape 40"/>
            <p:cNvSpPr>
              <a:spLocks noChangeAspect="1" noChangeArrowheads="1"/>
            </p:cNvSpPr>
            <p:nvPr/>
          </p:nvSpPr>
          <p:spPr bwMode="auto">
            <a:xfrm>
              <a:off x="9022428" y="2751272"/>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398" name="AutoShape 40"/>
            <p:cNvSpPr>
              <a:spLocks noChangeAspect="1" noChangeArrowheads="1"/>
            </p:cNvSpPr>
            <p:nvPr/>
          </p:nvSpPr>
          <p:spPr bwMode="auto">
            <a:xfrm>
              <a:off x="9547115" y="4849373"/>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399" name="AutoShape 40"/>
            <p:cNvSpPr>
              <a:spLocks noChangeAspect="1" noChangeArrowheads="1"/>
            </p:cNvSpPr>
            <p:nvPr/>
          </p:nvSpPr>
          <p:spPr bwMode="auto">
            <a:xfrm>
              <a:off x="9547115" y="4324847"/>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00" name="AutoShape 40"/>
            <p:cNvSpPr>
              <a:spLocks noChangeAspect="1" noChangeArrowheads="1"/>
            </p:cNvSpPr>
            <p:nvPr/>
          </p:nvSpPr>
          <p:spPr bwMode="auto">
            <a:xfrm>
              <a:off x="9547115" y="3800322"/>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01" name="AutoShape 40"/>
            <p:cNvSpPr>
              <a:spLocks noChangeAspect="1" noChangeArrowheads="1"/>
            </p:cNvSpPr>
            <p:nvPr/>
          </p:nvSpPr>
          <p:spPr bwMode="auto">
            <a:xfrm>
              <a:off x="9547115" y="3275797"/>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02" name="AutoShape 40"/>
            <p:cNvSpPr>
              <a:spLocks noChangeAspect="1" noChangeArrowheads="1"/>
            </p:cNvSpPr>
            <p:nvPr/>
          </p:nvSpPr>
          <p:spPr bwMode="auto">
            <a:xfrm>
              <a:off x="9547115" y="2751272"/>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04" name="AutoShape 40"/>
            <p:cNvSpPr>
              <a:spLocks noChangeAspect="1" noChangeArrowheads="1"/>
            </p:cNvSpPr>
            <p:nvPr/>
          </p:nvSpPr>
          <p:spPr bwMode="auto">
            <a:xfrm>
              <a:off x="10071802" y="4849373"/>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05" name="AutoShape 40"/>
            <p:cNvSpPr>
              <a:spLocks noChangeAspect="1" noChangeArrowheads="1"/>
            </p:cNvSpPr>
            <p:nvPr/>
          </p:nvSpPr>
          <p:spPr bwMode="auto">
            <a:xfrm>
              <a:off x="10071802" y="4324847"/>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06" name="AutoShape 40"/>
            <p:cNvSpPr>
              <a:spLocks noChangeAspect="1" noChangeArrowheads="1"/>
            </p:cNvSpPr>
            <p:nvPr/>
          </p:nvSpPr>
          <p:spPr bwMode="auto">
            <a:xfrm>
              <a:off x="10071802" y="3800322"/>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07" name="AutoShape 40"/>
            <p:cNvSpPr>
              <a:spLocks noChangeAspect="1" noChangeArrowheads="1"/>
            </p:cNvSpPr>
            <p:nvPr/>
          </p:nvSpPr>
          <p:spPr bwMode="auto">
            <a:xfrm>
              <a:off x="10071802" y="3275797"/>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08" name="AutoShape 40"/>
            <p:cNvSpPr>
              <a:spLocks noChangeAspect="1" noChangeArrowheads="1"/>
            </p:cNvSpPr>
            <p:nvPr/>
          </p:nvSpPr>
          <p:spPr bwMode="auto">
            <a:xfrm>
              <a:off x="10071802" y="2751272"/>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10" name="AutoShape 40"/>
            <p:cNvSpPr>
              <a:spLocks noChangeAspect="1" noChangeArrowheads="1"/>
            </p:cNvSpPr>
            <p:nvPr/>
          </p:nvSpPr>
          <p:spPr bwMode="auto">
            <a:xfrm>
              <a:off x="10596487" y="4849373"/>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11" name="AutoShape 40"/>
            <p:cNvSpPr>
              <a:spLocks noChangeAspect="1" noChangeArrowheads="1"/>
            </p:cNvSpPr>
            <p:nvPr/>
          </p:nvSpPr>
          <p:spPr bwMode="auto">
            <a:xfrm>
              <a:off x="10596487" y="4324847"/>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12" name="AutoShape 40"/>
            <p:cNvSpPr>
              <a:spLocks noChangeAspect="1" noChangeArrowheads="1"/>
            </p:cNvSpPr>
            <p:nvPr/>
          </p:nvSpPr>
          <p:spPr bwMode="auto">
            <a:xfrm>
              <a:off x="10596487" y="3800322"/>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13" name="AutoShape 40"/>
            <p:cNvSpPr>
              <a:spLocks noChangeAspect="1" noChangeArrowheads="1"/>
            </p:cNvSpPr>
            <p:nvPr/>
          </p:nvSpPr>
          <p:spPr bwMode="auto">
            <a:xfrm>
              <a:off x="10596487" y="3275797"/>
              <a:ext cx="698400" cy="698400"/>
            </a:xfrm>
            <a:prstGeom prst="cube">
              <a:avLst>
                <a:gd name="adj" fmla="val 25000"/>
              </a:avLst>
            </a:prstGeom>
            <a:grpFill/>
            <a:ln w="12700">
              <a:solidFill>
                <a:srgbClr val="66667E"/>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14" name="AutoShape 40"/>
            <p:cNvSpPr>
              <a:spLocks noChangeAspect="1" noChangeArrowheads="1"/>
            </p:cNvSpPr>
            <p:nvPr/>
          </p:nvSpPr>
          <p:spPr bwMode="auto">
            <a:xfrm>
              <a:off x="10596487" y="2751272"/>
              <a:ext cx="698400" cy="698400"/>
            </a:xfrm>
            <a:prstGeom prst="cube">
              <a:avLst>
                <a:gd name="adj" fmla="val 25000"/>
              </a:avLst>
            </a:prstGeom>
            <a:solidFill>
              <a:srgbClr val="AA32BE"/>
            </a:solid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grpSp>
      <p:sp>
        <p:nvSpPr>
          <p:cNvPr id="3" name="Footer Placeholder 2">
            <a:extLst>
              <a:ext uri="{FF2B5EF4-FFF2-40B4-BE49-F238E27FC236}">
                <a16:creationId xmlns:a16="http://schemas.microsoft.com/office/drawing/2014/main" id="{D3BFE1F5-0E5E-40C3-9045-BDFB09AAAE24}"/>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4FDCDFCB-0EAE-41B4-9116-CF83B882DCBB}"/>
              </a:ext>
            </a:extLst>
          </p:cNvPr>
          <p:cNvSpPr>
            <a:spLocks noGrp="1"/>
          </p:cNvSpPr>
          <p:nvPr>
            <p:ph type="sldNum" sz="quarter" idx="11"/>
          </p:nvPr>
        </p:nvSpPr>
        <p:spPr/>
        <p:txBody>
          <a:bodyPr/>
          <a:lstStyle/>
          <a:p>
            <a:r>
              <a:rPr lang="en-US" dirty="0"/>
              <a:t>Page </a:t>
            </a:r>
            <a:fld id="{15EBE321-CBB1-4E91-BD14-37C8D44326FB}" type="slidenum">
              <a:rPr lang="en-US" smtClean="0"/>
              <a:pPr/>
              <a:t>94</a:t>
            </a:fld>
            <a:endParaRPr lang="en-US" dirty="0"/>
          </a:p>
        </p:txBody>
      </p:sp>
    </p:spTree>
    <p:extLst>
      <p:ext uri="{BB962C8B-B14F-4D97-AF65-F5344CB8AC3E}">
        <p14:creationId xmlns:p14="http://schemas.microsoft.com/office/powerpoint/2010/main" val="26972733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Backlog items / deliverables</a:t>
            </a:r>
          </a:p>
        </p:txBody>
      </p:sp>
      <p:grpSp>
        <p:nvGrpSpPr>
          <p:cNvPr id="8" name="Group 7"/>
          <p:cNvGrpSpPr>
            <a:grpSpLocks noChangeAspect="1"/>
          </p:cNvGrpSpPr>
          <p:nvPr/>
        </p:nvGrpSpPr>
        <p:grpSpPr>
          <a:xfrm>
            <a:off x="4370864" y="2026800"/>
            <a:ext cx="3455071" cy="3456000"/>
            <a:chOff x="4457660" y="2048974"/>
            <a:chExt cx="3497859" cy="3498799"/>
          </a:xfrm>
          <a:solidFill>
            <a:schemeClr val="bg2"/>
          </a:solidFill>
        </p:grpSpPr>
        <p:sp>
          <p:nvSpPr>
            <p:cNvPr id="201" name="AutoShape 40"/>
            <p:cNvSpPr>
              <a:spLocks noChangeArrowheads="1"/>
            </p:cNvSpPr>
            <p:nvPr/>
          </p:nvSpPr>
          <p:spPr bwMode="auto">
            <a:xfrm>
              <a:off x="5036779" y="3797725"/>
              <a:ext cx="1170000" cy="11700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202" name="AutoShape 40"/>
            <p:cNvSpPr>
              <a:spLocks noChangeArrowheads="1"/>
            </p:cNvSpPr>
            <p:nvPr/>
          </p:nvSpPr>
          <p:spPr bwMode="auto">
            <a:xfrm>
              <a:off x="5036779" y="2923349"/>
              <a:ext cx="1170000" cy="11700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203" name="AutoShape 40"/>
            <p:cNvSpPr>
              <a:spLocks noChangeArrowheads="1"/>
            </p:cNvSpPr>
            <p:nvPr/>
          </p:nvSpPr>
          <p:spPr bwMode="auto">
            <a:xfrm>
              <a:off x="5036779" y="2048974"/>
              <a:ext cx="1170000" cy="11700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198" name="AutoShape 40"/>
            <p:cNvSpPr>
              <a:spLocks noChangeArrowheads="1"/>
            </p:cNvSpPr>
            <p:nvPr/>
          </p:nvSpPr>
          <p:spPr bwMode="auto">
            <a:xfrm>
              <a:off x="5911149" y="3797725"/>
              <a:ext cx="1170000" cy="11700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199" name="AutoShape 40"/>
            <p:cNvSpPr>
              <a:spLocks noChangeArrowheads="1"/>
            </p:cNvSpPr>
            <p:nvPr/>
          </p:nvSpPr>
          <p:spPr bwMode="auto">
            <a:xfrm>
              <a:off x="5911149" y="2923349"/>
              <a:ext cx="1170000" cy="11700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200" name="AutoShape 40"/>
            <p:cNvSpPr>
              <a:spLocks noChangeArrowheads="1"/>
            </p:cNvSpPr>
            <p:nvPr/>
          </p:nvSpPr>
          <p:spPr bwMode="auto">
            <a:xfrm>
              <a:off x="5911149" y="2048974"/>
              <a:ext cx="1170000" cy="11700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195" name="AutoShape 40"/>
            <p:cNvSpPr>
              <a:spLocks noChangeArrowheads="1"/>
            </p:cNvSpPr>
            <p:nvPr/>
          </p:nvSpPr>
          <p:spPr bwMode="auto">
            <a:xfrm>
              <a:off x="6785519" y="3797725"/>
              <a:ext cx="1170000" cy="11700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196" name="AutoShape 40"/>
            <p:cNvSpPr>
              <a:spLocks noChangeArrowheads="1"/>
            </p:cNvSpPr>
            <p:nvPr/>
          </p:nvSpPr>
          <p:spPr bwMode="auto">
            <a:xfrm>
              <a:off x="6785519" y="2923349"/>
              <a:ext cx="1170000" cy="11700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197" name="AutoShape 40"/>
            <p:cNvSpPr>
              <a:spLocks noChangeArrowheads="1"/>
            </p:cNvSpPr>
            <p:nvPr/>
          </p:nvSpPr>
          <p:spPr bwMode="auto">
            <a:xfrm>
              <a:off x="6785519" y="2048974"/>
              <a:ext cx="1170000" cy="11700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188" name="AutoShape 40"/>
            <p:cNvSpPr>
              <a:spLocks noChangeArrowheads="1"/>
            </p:cNvSpPr>
            <p:nvPr/>
          </p:nvSpPr>
          <p:spPr bwMode="auto">
            <a:xfrm>
              <a:off x="4744334" y="4089437"/>
              <a:ext cx="1170000" cy="11700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189" name="AutoShape 40"/>
            <p:cNvSpPr>
              <a:spLocks noChangeArrowheads="1"/>
            </p:cNvSpPr>
            <p:nvPr/>
          </p:nvSpPr>
          <p:spPr bwMode="auto">
            <a:xfrm>
              <a:off x="4744334" y="3215061"/>
              <a:ext cx="1170000" cy="11700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190" name="AutoShape 40"/>
            <p:cNvSpPr>
              <a:spLocks noChangeArrowheads="1"/>
            </p:cNvSpPr>
            <p:nvPr/>
          </p:nvSpPr>
          <p:spPr bwMode="auto">
            <a:xfrm>
              <a:off x="4744334" y="2340686"/>
              <a:ext cx="1170000" cy="11700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185" name="AutoShape 40"/>
            <p:cNvSpPr>
              <a:spLocks noChangeArrowheads="1"/>
            </p:cNvSpPr>
            <p:nvPr/>
          </p:nvSpPr>
          <p:spPr bwMode="auto">
            <a:xfrm>
              <a:off x="5618704" y="4089437"/>
              <a:ext cx="1170000" cy="11700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186" name="AutoShape 40"/>
            <p:cNvSpPr>
              <a:spLocks noChangeArrowheads="1"/>
            </p:cNvSpPr>
            <p:nvPr/>
          </p:nvSpPr>
          <p:spPr bwMode="auto">
            <a:xfrm>
              <a:off x="5618704" y="3215061"/>
              <a:ext cx="1170000" cy="11700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187" name="AutoShape 40"/>
            <p:cNvSpPr>
              <a:spLocks noChangeArrowheads="1"/>
            </p:cNvSpPr>
            <p:nvPr/>
          </p:nvSpPr>
          <p:spPr bwMode="auto">
            <a:xfrm>
              <a:off x="5618704" y="2340686"/>
              <a:ext cx="1170000" cy="11700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182" name="AutoShape 40"/>
            <p:cNvSpPr>
              <a:spLocks noChangeArrowheads="1"/>
            </p:cNvSpPr>
            <p:nvPr/>
          </p:nvSpPr>
          <p:spPr bwMode="auto">
            <a:xfrm>
              <a:off x="6493074" y="4089437"/>
              <a:ext cx="1170000" cy="11700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183" name="AutoShape 40"/>
            <p:cNvSpPr>
              <a:spLocks noChangeArrowheads="1"/>
            </p:cNvSpPr>
            <p:nvPr/>
          </p:nvSpPr>
          <p:spPr bwMode="auto">
            <a:xfrm>
              <a:off x="6493074" y="3215061"/>
              <a:ext cx="1170000" cy="11700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184" name="AutoShape 40"/>
            <p:cNvSpPr>
              <a:spLocks noChangeArrowheads="1"/>
            </p:cNvSpPr>
            <p:nvPr/>
          </p:nvSpPr>
          <p:spPr bwMode="auto">
            <a:xfrm>
              <a:off x="6493074" y="2340686"/>
              <a:ext cx="1170000" cy="11700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175" name="AutoShape 40"/>
            <p:cNvSpPr>
              <a:spLocks noChangeArrowheads="1"/>
            </p:cNvSpPr>
            <p:nvPr/>
          </p:nvSpPr>
          <p:spPr bwMode="auto">
            <a:xfrm>
              <a:off x="4457660" y="4377773"/>
              <a:ext cx="1170000" cy="11700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176" name="AutoShape 40"/>
            <p:cNvSpPr>
              <a:spLocks noChangeArrowheads="1"/>
            </p:cNvSpPr>
            <p:nvPr/>
          </p:nvSpPr>
          <p:spPr bwMode="auto">
            <a:xfrm>
              <a:off x="4457660" y="3503397"/>
              <a:ext cx="1170000" cy="11700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177" name="AutoShape 40"/>
            <p:cNvSpPr>
              <a:spLocks noChangeArrowheads="1"/>
            </p:cNvSpPr>
            <p:nvPr/>
          </p:nvSpPr>
          <p:spPr bwMode="auto">
            <a:xfrm>
              <a:off x="4457660" y="2629022"/>
              <a:ext cx="1170000" cy="11700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172" name="AutoShape 40"/>
            <p:cNvSpPr>
              <a:spLocks noChangeArrowheads="1"/>
            </p:cNvSpPr>
            <p:nvPr/>
          </p:nvSpPr>
          <p:spPr bwMode="auto">
            <a:xfrm>
              <a:off x="5332030" y="4377773"/>
              <a:ext cx="1170000" cy="11700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173" name="AutoShape 40"/>
            <p:cNvSpPr>
              <a:spLocks noChangeArrowheads="1"/>
            </p:cNvSpPr>
            <p:nvPr/>
          </p:nvSpPr>
          <p:spPr bwMode="auto">
            <a:xfrm>
              <a:off x="5332030" y="3503397"/>
              <a:ext cx="1170000" cy="11700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174" name="AutoShape 40"/>
            <p:cNvSpPr>
              <a:spLocks noChangeArrowheads="1"/>
            </p:cNvSpPr>
            <p:nvPr/>
          </p:nvSpPr>
          <p:spPr bwMode="auto">
            <a:xfrm>
              <a:off x="5332030" y="2629022"/>
              <a:ext cx="1170000" cy="11700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169" name="AutoShape 40"/>
            <p:cNvSpPr>
              <a:spLocks noChangeArrowheads="1"/>
            </p:cNvSpPr>
            <p:nvPr/>
          </p:nvSpPr>
          <p:spPr bwMode="auto">
            <a:xfrm>
              <a:off x="6206400" y="4377773"/>
              <a:ext cx="1170000" cy="11700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170" name="AutoShape 40"/>
            <p:cNvSpPr>
              <a:spLocks noChangeArrowheads="1"/>
            </p:cNvSpPr>
            <p:nvPr/>
          </p:nvSpPr>
          <p:spPr bwMode="auto">
            <a:xfrm>
              <a:off x="6206400" y="3503397"/>
              <a:ext cx="1170000" cy="11700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171" name="AutoShape 40"/>
            <p:cNvSpPr>
              <a:spLocks noChangeArrowheads="1"/>
            </p:cNvSpPr>
            <p:nvPr/>
          </p:nvSpPr>
          <p:spPr bwMode="auto">
            <a:xfrm>
              <a:off x="6206400" y="2629022"/>
              <a:ext cx="1170000" cy="1170000"/>
            </a:xfrm>
            <a:prstGeom prst="cube">
              <a:avLst>
                <a:gd name="adj" fmla="val 25000"/>
              </a:avLst>
            </a:prstGeom>
            <a:solidFill>
              <a:srgbClr val="00FFB9"/>
            </a:solidFill>
            <a:ln w="12700">
              <a:solidFill>
                <a:srgbClr val="CCCCD4"/>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grpSp>
      <p:grpSp>
        <p:nvGrpSpPr>
          <p:cNvPr id="11" name="Group 10"/>
          <p:cNvGrpSpPr>
            <a:grpSpLocks noChangeAspect="1"/>
          </p:cNvGrpSpPr>
          <p:nvPr/>
        </p:nvGrpSpPr>
        <p:grpSpPr>
          <a:xfrm>
            <a:off x="410400" y="2026800"/>
            <a:ext cx="3456000" cy="3456000"/>
            <a:chOff x="627063" y="2049027"/>
            <a:chExt cx="3493347" cy="3498746"/>
          </a:xfrm>
          <a:solidFill>
            <a:schemeClr val="bg2"/>
          </a:solidFill>
        </p:grpSpPr>
        <p:sp>
          <p:nvSpPr>
            <p:cNvPr id="372" name="AutoShape 10"/>
            <p:cNvSpPr>
              <a:spLocks noChangeArrowheads="1"/>
            </p:cNvSpPr>
            <p:nvPr/>
          </p:nvSpPr>
          <p:spPr bwMode="auto">
            <a:xfrm>
              <a:off x="1061824" y="3361844"/>
              <a:ext cx="1747763" cy="1750424"/>
            </a:xfrm>
            <a:prstGeom prst="cube">
              <a:avLst>
                <a:gd name="adj" fmla="val 25000"/>
              </a:avLst>
            </a:prstGeom>
            <a:grpFill/>
            <a:ln w="9525">
              <a:solidFill>
                <a:srgbClr val="9999A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43" eaLnBrk="0" hangingPunct="0">
                <a:defRPr/>
              </a:pPr>
              <a:endParaRPr lang="en-US" sz="1199" kern="0" dirty="0">
                <a:solidFill>
                  <a:srgbClr val="000000"/>
                </a:solidFill>
                <a:sym typeface="Arial"/>
              </a:endParaRPr>
            </a:p>
          </p:txBody>
        </p:sp>
        <p:sp>
          <p:nvSpPr>
            <p:cNvPr id="373" name="AutoShape 11"/>
            <p:cNvSpPr>
              <a:spLocks noChangeArrowheads="1"/>
            </p:cNvSpPr>
            <p:nvPr/>
          </p:nvSpPr>
          <p:spPr bwMode="auto">
            <a:xfrm>
              <a:off x="2372647" y="3361844"/>
              <a:ext cx="1747763" cy="1750424"/>
            </a:xfrm>
            <a:prstGeom prst="cube">
              <a:avLst>
                <a:gd name="adj" fmla="val 25000"/>
              </a:avLst>
            </a:prstGeom>
            <a:grpFill/>
            <a:ln w="9525">
              <a:solidFill>
                <a:srgbClr val="9999A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43" eaLnBrk="0" hangingPunct="0">
                <a:defRPr/>
              </a:pPr>
              <a:endParaRPr lang="en-US" sz="1199" kern="0" dirty="0">
                <a:solidFill>
                  <a:srgbClr val="000000"/>
                </a:solidFill>
                <a:sym typeface="Arial"/>
              </a:endParaRPr>
            </a:p>
          </p:txBody>
        </p:sp>
        <p:sp>
          <p:nvSpPr>
            <p:cNvPr id="374" name="AutoShape 12"/>
            <p:cNvSpPr>
              <a:spLocks noChangeArrowheads="1"/>
            </p:cNvSpPr>
            <p:nvPr/>
          </p:nvSpPr>
          <p:spPr bwMode="auto">
            <a:xfrm>
              <a:off x="1061824" y="2049027"/>
              <a:ext cx="1747763" cy="1750424"/>
            </a:xfrm>
            <a:prstGeom prst="cube">
              <a:avLst>
                <a:gd name="adj" fmla="val 25000"/>
              </a:avLst>
            </a:prstGeom>
            <a:grpFill/>
            <a:ln w="12700">
              <a:solidFill>
                <a:srgbClr val="9999A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43" eaLnBrk="0" hangingPunct="0">
                <a:defRPr/>
              </a:pPr>
              <a:endParaRPr lang="en-US" sz="1199" kern="0" dirty="0">
                <a:solidFill>
                  <a:srgbClr val="000000"/>
                </a:solidFill>
                <a:sym typeface="Arial"/>
              </a:endParaRPr>
            </a:p>
          </p:txBody>
        </p:sp>
        <p:sp>
          <p:nvSpPr>
            <p:cNvPr id="375" name="AutoShape 13"/>
            <p:cNvSpPr>
              <a:spLocks noChangeArrowheads="1"/>
            </p:cNvSpPr>
            <p:nvPr/>
          </p:nvSpPr>
          <p:spPr bwMode="auto">
            <a:xfrm>
              <a:off x="2372647" y="2049027"/>
              <a:ext cx="1747763" cy="1750424"/>
            </a:xfrm>
            <a:prstGeom prst="cube">
              <a:avLst>
                <a:gd name="adj" fmla="val 25000"/>
              </a:avLst>
            </a:prstGeom>
            <a:grpFill/>
            <a:ln w="12700">
              <a:solidFill>
                <a:srgbClr val="9999A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hangingPunct="0"/>
              <a:endParaRPr lang="en-US" sz="1199" kern="0" dirty="0">
                <a:solidFill>
                  <a:srgbClr val="000000"/>
                </a:solidFill>
                <a:sym typeface="Arial"/>
              </a:endParaRPr>
            </a:p>
          </p:txBody>
        </p:sp>
        <p:sp>
          <p:nvSpPr>
            <p:cNvPr id="207" name="AutoShape 10"/>
            <p:cNvSpPr>
              <a:spLocks noChangeArrowheads="1"/>
            </p:cNvSpPr>
            <p:nvPr/>
          </p:nvSpPr>
          <p:spPr bwMode="auto">
            <a:xfrm>
              <a:off x="627063" y="3797349"/>
              <a:ext cx="1747763" cy="1750424"/>
            </a:xfrm>
            <a:prstGeom prst="cube">
              <a:avLst>
                <a:gd name="adj" fmla="val 25000"/>
              </a:avLst>
            </a:prstGeom>
            <a:grpFill/>
            <a:ln w="9525">
              <a:solidFill>
                <a:srgbClr val="9999A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43" eaLnBrk="0" hangingPunct="0">
                <a:defRPr/>
              </a:pPr>
              <a:endParaRPr lang="en-US" sz="1199" kern="0" dirty="0">
                <a:solidFill>
                  <a:srgbClr val="000000"/>
                </a:solidFill>
                <a:sym typeface="Arial"/>
              </a:endParaRPr>
            </a:p>
          </p:txBody>
        </p:sp>
        <p:sp>
          <p:nvSpPr>
            <p:cNvPr id="208" name="AutoShape 11"/>
            <p:cNvSpPr>
              <a:spLocks noChangeArrowheads="1"/>
            </p:cNvSpPr>
            <p:nvPr/>
          </p:nvSpPr>
          <p:spPr bwMode="auto">
            <a:xfrm>
              <a:off x="1937886" y="3797349"/>
              <a:ext cx="1747763" cy="1750424"/>
            </a:xfrm>
            <a:prstGeom prst="cube">
              <a:avLst>
                <a:gd name="adj" fmla="val 25000"/>
              </a:avLst>
            </a:prstGeom>
            <a:grpFill/>
            <a:ln w="9525">
              <a:solidFill>
                <a:srgbClr val="9999A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43" eaLnBrk="0" hangingPunct="0">
                <a:defRPr/>
              </a:pPr>
              <a:endParaRPr lang="en-US" sz="1199" kern="0" dirty="0">
                <a:solidFill>
                  <a:srgbClr val="000000"/>
                </a:solidFill>
                <a:sym typeface="Arial"/>
              </a:endParaRPr>
            </a:p>
          </p:txBody>
        </p:sp>
        <p:sp>
          <p:nvSpPr>
            <p:cNvPr id="209" name="AutoShape 12"/>
            <p:cNvSpPr>
              <a:spLocks noChangeArrowheads="1"/>
            </p:cNvSpPr>
            <p:nvPr/>
          </p:nvSpPr>
          <p:spPr bwMode="auto">
            <a:xfrm>
              <a:off x="627063" y="2484532"/>
              <a:ext cx="1747763" cy="1750424"/>
            </a:xfrm>
            <a:prstGeom prst="cube">
              <a:avLst>
                <a:gd name="adj" fmla="val 25000"/>
              </a:avLst>
            </a:prstGeom>
            <a:grpFill/>
            <a:ln w="12700">
              <a:solidFill>
                <a:srgbClr val="9999A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43" eaLnBrk="0" hangingPunct="0">
                <a:defRPr/>
              </a:pPr>
              <a:endParaRPr lang="en-US" sz="1199" kern="0" dirty="0">
                <a:solidFill>
                  <a:srgbClr val="000000"/>
                </a:solidFill>
                <a:sym typeface="Arial"/>
              </a:endParaRPr>
            </a:p>
          </p:txBody>
        </p:sp>
        <p:sp>
          <p:nvSpPr>
            <p:cNvPr id="210" name="AutoShape 13"/>
            <p:cNvSpPr>
              <a:spLocks noChangeArrowheads="1"/>
            </p:cNvSpPr>
            <p:nvPr/>
          </p:nvSpPr>
          <p:spPr bwMode="auto">
            <a:xfrm>
              <a:off x="1937886" y="2484532"/>
              <a:ext cx="1747763" cy="1750424"/>
            </a:xfrm>
            <a:prstGeom prst="cube">
              <a:avLst>
                <a:gd name="adj" fmla="val 25000"/>
              </a:avLst>
            </a:prstGeom>
            <a:solidFill>
              <a:srgbClr val="00AF8E"/>
            </a:solidFill>
            <a:ln w="12700">
              <a:solidFill>
                <a:srgbClr val="CCCCD4"/>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43" eaLnBrk="0" hangingPunct="0">
                <a:defRPr/>
              </a:pPr>
              <a:endParaRPr lang="en-US" sz="1199" kern="0" dirty="0">
                <a:solidFill>
                  <a:srgbClr val="000000"/>
                </a:solidFill>
                <a:sym typeface="Arial"/>
              </a:endParaRPr>
            </a:p>
          </p:txBody>
        </p:sp>
      </p:grpSp>
      <p:grpSp>
        <p:nvGrpSpPr>
          <p:cNvPr id="16" name="Group 15"/>
          <p:cNvGrpSpPr>
            <a:grpSpLocks noChangeAspect="1"/>
          </p:cNvGrpSpPr>
          <p:nvPr/>
        </p:nvGrpSpPr>
        <p:grpSpPr>
          <a:xfrm>
            <a:off x="8330400" y="2026800"/>
            <a:ext cx="3455826" cy="3456000"/>
            <a:chOff x="8497741" y="2069839"/>
            <a:chExt cx="3477759" cy="3477934"/>
          </a:xfrm>
          <a:solidFill>
            <a:schemeClr val="bg2"/>
          </a:solidFill>
        </p:grpSpPr>
        <p:sp>
          <p:nvSpPr>
            <p:cNvPr id="534" name="AutoShape 40"/>
            <p:cNvSpPr>
              <a:spLocks noChangeAspect="1" noChangeArrowheads="1"/>
            </p:cNvSpPr>
            <p:nvPr/>
          </p:nvSpPr>
          <p:spPr bwMode="auto">
            <a:xfrm>
              <a:off x="9178354" y="4167940"/>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35" name="AutoShape 40"/>
            <p:cNvSpPr>
              <a:spLocks noChangeAspect="1" noChangeArrowheads="1"/>
            </p:cNvSpPr>
            <p:nvPr/>
          </p:nvSpPr>
          <p:spPr bwMode="auto">
            <a:xfrm>
              <a:off x="9178354" y="3643414"/>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36" name="AutoShape 40"/>
            <p:cNvSpPr>
              <a:spLocks noChangeAspect="1" noChangeArrowheads="1"/>
            </p:cNvSpPr>
            <p:nvPr/>
          </p:nvSpPr>
          <p:spPr bwMode="auto">
            <a:xfrm>
              <a:off x="9178354" y="3118889"/>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37" name="AutoShape 40"/>
            <p:cNvSpPr>
              <a:spLocks noChangeAspect="1" noChangeArrowheads="1"/>
            </p:cNvSpPr>
            <p:nvPr/>
          </p:nvSpPr>
          <p:spPr bwMode="auto">
            <a:xfrm>
              <a:off x="9178354" y="2594364"/>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38" name="AutoShape 40"/>
            <p:cNvSpPr>
              <a:spLocks noChangeAspect="1" noChangeArrowheads="1"/>
            </p:cNvSpPr>
            <p:nvPr/>
          </p:nvSpPr>
          <p:spPr bwMode="auto">
            <a:xfrm>
              <a:off x="9178354" y="2069839"/>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29" name="AutoShape 40"/>
            <p:cNvSpPr>
              <a:spLocks noChangeAspect="1" noChangeArrowheads="1"/>
            </p:cNvSpPr>
            <p:nvPr/>
          </p:nvSpPr>
          <p:spPr bwMode="auto">
            <a:xfrm>
              <a:off x="9703041" y="4167940"/>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30" name="AutoShape 40"/>
            <p:cNvSpPr>
              <a:spLocks noChangeAspect="1" noChangeArrowheads="1"/>
            </p:cNvSpPr>
            <p:nvPr/>
          </p:nvSpPr>
          <p:spPr bwMode="auto">
            <a:xfrm>
              <a:off x="9703041" y="3643414"/>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31" name="AutoShape 40"/>
            <p:cNvSpPr>
              <a:spLocks noChangeAspect="1" noChangeArrowheads="1"/>
            </p:cNvSpPr>
            <p:nvPr/>
          </p:nvSpPr>
          <p:spPr bwMode="auto">
            <a:xfrm>
              <a:off x="9703041" y="3118889"/>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32" name="AutoShape 40"/>
            <p:cNvSpPr>
              <a:spLocks noChangeAspect="1" noChangeArrowheads="1"/>
            </p:cNvSpPr>
            <p:nvPr/>
          </p:nvSpPr>
          <p:spPr bwMode="auto">
            <a:xfrm>
              <a:off x="9703041" y="2594364"/>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33" name="AutoShape 40"/>
            <p:cNvSpPr>
              <a:spLocks noChangeAspect="1" noChangeArrowheads="1"/>
            </p:cNvSpPr>
            <p:nvPr/>
          </p:nvSpPr>
          <p:spPr bwMode="auto">
            <a:xfrm>
              <a:off x="9703041" y="2069839"/>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24" name="AutoShape 40"/>
            <p:cNvSpPr>
              <a:spLocks noChangeAspect="1" noChangeArrowheads="1"/>
            </p:cNvSpPr>
            <p:nvPr/>
          </p:nvSpPr>
          <p:spPr bwMode="auto">
            <a:xfrm>
              <a:off x="10227728" y="4167940"/>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25" name="AutoShape 40"/>
            <p:cNvSpPr>
              <a:spLocks noChangeAspect="1" noChangeArrowheads="1"/>
            </p:cNvSpPr>
            <p:nvPr/>
          </p:nvSpPr>
          <p:spPr bwMode="auto">
            <a:xfrm>
              <a:off x="10227728" y="3643414"/>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26" name="AutoShape 40"/>
            <p:cNvSpPr>
              <a:spLocks noChangeAspect="1" noChangeArrowheads="1"/>
            </p:cNvSpPr>
            <p:nvPr/>
          </p:nvSpPr>
          <p:spPr bwMode="auto">
            <a:xfrm>
              <a:off x="10227728" y="3118889"/>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27" name="AutoShape 40"/>
            <p:cNvSpPr>
              <a:spLocks noChangeAspect="1" noChangeArrowheads="1"/>
            </p:cNvSpPr>
            <p:nvPr/>
          </p:nvSpPr>
          <p:spPr bwMode="auto">
            <a:xfrm>
              <a:off x="10227728" y="2594364"/>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28" name="AutoShape 40"/>
            <p:cNvSpPr>
              <a:spLocks noChangeAspect="1" noChangeArrowheads="1"/>
            </p:cNvSpPr>
            <p:nvPr/>
          </p:nvSpPr>
          <p:spPr bwMode="auto">
            <a:xfrm>
              <a:off x="10227728" y="2069839"/>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19" name="AutoShape 40"/>
            <p:cNvSpPr>
              <a:spLocks noChangeAspect="1" noChangeArrowheads="1"/>
            </p:cNvSpPr>
            <p:nvPr/>
          </p:nvSpPr>
          <p:spPr bwMode="auto">
            <a:xfrm>
              <a:off x="10752415" y="4167940"/>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20" name="AutoShape 40"/>
            <p:cNvSpPr>
              <a:spLocks noChangeAspect="1" noChangeArrowheads="1"/>
            </p:cNvSpPr>
            <p:nvPr/>
          </p:nvSpPr>
          <p:spPr bwMode="auto">
            <a:xfrm>
              <a:off x="10752415" y="3643414"/>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21" name="AutoShape 40"/>
            <p:cNvSpPr>
              <a:spLocks noChangeAspect="1" noChangeArrowheads="1"/>
            </p:cNvSpPr>
            <p:nvPr/>
          </p:nvSpPr>
          <p:spPr bwMode="auto">
            <a:xfrm>
              <a:off x="10752415" y="3118889"/>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22" name="AutoShape 40"/>
            <p:cNvSpPr>
              <a:spLocks noChangeAspect="1" noChangeArrowheads="1"/>
            </p:cNvSpPr>
            <p:nvPr/>
          </p:nvSpPr>
          <p:spPr bwMode="auto">
            <a:xfrm>
              <a:off x="10752415" y="2594364"/>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23" name="AutoShape 40"/>
            <p:cNvSpPr>
              <a:spLocks noChangeAspect="1" noChangeArrowheads="1"/>
            </p:cNvSpPr>
            <p:nvPr/>
          </p:nvSpPr>
          <p:spPr bwMode="auto">
            <a:xfrm>
              <a:off x="10752415" y="2069839"/>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14" name="AutoShape 40"/>
            <p:cNvSpPr>
              <a:spLocks noChangeAspect="1" noChangeArrowheads="1"/>
            </p:cNvSpPr>
            <p:nvPr/>
          </p:nvSpPr>
          <p:spPr bwMode="auto">
            <a:xfrm>
              <a:off x="11277100" y="4167940"/>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15" name="AutoShape 40"/>
            <p:cNvSpPr>
              <a:spLocks noChangeAspect="1" noChangeArrowheads="1"/>
            </p:cNvSpPr>
            <p:nvPr/>
          </p:nvSpPr>
          <p:spPr bwMode="auto">
            <a:xfrm>
              <a:off x="11277100" y="3643414"/>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16" name="AutoShape 40"/>
            <p:cNvSpPr>
              <a:spLocks noChangeAspect="1" noChangeArrowheads="1"/>
            </p:cNvSpPr>
            <p:nvPr/>
          </p:nvSpPr>
          <p:spPr bwMode="auto">
            <a:xfrm>
              <a:off x="11277100" y="3118889"/>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17" name="AutoShape 40"/>
            <p:cNvSpPr>
              <a:spLocks noChangeAspect="1" noChangeArrowheads="1"/>
            </p:cNvSpPr>
            <p:nvPr/>
          </p:nvSpPr>
          <p:spPr bwMode="auto">
            <a:xfrm>
              <a:off x="11277100" y="2594364"/>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18" name="AutoShape 40"/>
            <p:cNvSpPr>
              <a:spLocks noChangeAspect="1" noChangeArrowheads="1"/>
            </p:cNvSpPr>
            <p:nvPr/>
          </p:nvSpPr>
          <p:spPr bwMode="auto">
            <a:xfrm>
              <a:off x="11277100" y="2069839"/>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03" name="AutoShape 40"/>
            <p:cNvSpPr>
              <a:spLocks noChangeAspect="1" noChangeArrowheads="1"/>
            </p:cNvSpPr>
            <p:nvPr/>
          </p:nvSpPr>
          <p:spPr bwMode="auto">
            <a:xfrm>
              <a:off x="9008200" y="4338298"/>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04" name="AutoShape 40"/>
            <p:cNvSpPr>
              <a:spLocks noChangeAspect="1" noChangeArrowheads="1"/>
            </p:cNvSpPr>
            <p:nvPr/>
          </p:nvSpPr>
          <p:spPr bwMode="auto">
            <a:xfrm>
              <a:off x="9008200" y="3813772"/>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05" name="AutoShape 40"/>
            <p:cNvSpPr>
              <a:spLocks noChangeAspect="1" noChangeArrowheads="1"/>
            </p:cNvSpPr>
            <p:nvPr/>
          </p:nvSpPr>
          <p:spPr bwMode="auto">
            <a:xfrm>
              <a:off x="9008200" y="3289247"/>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06" name="AutoShape 40"/>
            <p:cNvSpPr>
              <a:spLocks noChangeAspect="1" noChangeArrowheads="1"/>
            </p:cNvSpPr>
            <p:nvPr/>
          </p:nvSpPr>
          <p:spPr bwMode="auto">
            <a:xfrm>
              <a:off x="9008200" y="2764722"/>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07" name="AutoShape 40"/>
            <p:cNvSpPr>
              <a:spLocks noChangeAspect="1" noChangeArrowheads="1"/>
            </p:cNvSpPr>
            <p:nvPr/>
          </p:nvSpPr>
          <p:spPr bwMode="auto">
            <a:xfrm>
              <a:off x="9008200" y="2240197"/>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98" name="AutoShape 40"/>
            <p:cNvSpPr>
              <a:spLocks noChangeAspect="1" noChangeArrowheads="1"/>
            </p:cNvSpPr>
            <p:nvPr/>
          </p:nvSpPr>
          <p:spPr bwMode="auto">
            <a:xfrm>
              <a:off x="9532887" y="4338298"/>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99" name="AutoShape 40"/>
            <p:cNvSpPr>
              <a:spLocks noChangeAspect="1" noChangeArrowheads="1"/>
            </p:cNvSpPr>
            <p:nvPr/>
          </p:nvSpPr>
          <p:spPr bwMode="auto">
            <a:xfrm>
              <a:off x="9532887" y="3813772"/>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00" name="AutoShape 40"/>
            <p:cNvSpPr>
              <a:spLocks noChangeAspect="1" noChangeArrowheads="1"/>
            </p:cNvSpPr>
            <p:nvPr/>
          </p:nvSpPr>
          <p:spPr bwMode="auto">
            <a:xfrm>
              <a:off x="9532887" y="3289247"/>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01" name="AutoShape 40"/>
            <p:cNvSpPr>
              <a:spLocks noChangeAspect="1" noChangeArrowheads="1"/>
            </p:cNvSpPr>
            <p:nvPr/>
          </p:nvSpPr>
          <p:spPr bwMode="auto">
            <a:xfrm>
              <a:off x="9532887" y="2764722"/>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502" name="AutoShape 40"/>
            <p:cNvSpPr>
              <a:spLocks noChangeAspect="1" noChangeArrowheads="1"/>
            </p:cNvSpPr>
            <p:nvPr/>
          </p:nvSpPr>
          <p:spPr bwMode="auto">
            <a:xfrm>
              <a:off x="9532887" y="2240197"/>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93" name="AutoShape 40"/>
            <p:cNvSpPr>
              <a:spLocks noChangeAspect="1" noChangeArrowheads="1"/>
            </p:cNvSpPr>
            <p:nvPr/>
          </p:nvSpPr>
          <p:spPr bwMode="auto">
            <a:xfrm>
              <a:off x="10057574" y="4338298"/>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94" name="AutoShape 40"/>
            <p:cNvSpPr>
              <a:spLocks noChangeAspect="1" noChangeArrowheads="1"/>
            </p:cNvSpPr>
            <p:nvPr/>
          </p:nvSpPr>
          <p:spPr bwMode="auto">
            <a:xfrm>
              <a:off x="10057574" y="3813772"/>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95" name="AutoShape 40"/>
            <p:cNvSpPr>
              <a:spLocks noChangeAspect="1" noChangeArrowheads="1"/>
            </p:cNvSpPr>
            <p:nvPr/>
          </p:nvSpPr>
          <p:spPr bwMode="auto">
            <a:xfrm>
              <a:off x="10057574" y="3289247"/>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96" name="AutoShape 40"/>
            <p:cNvSpPr>
              <a:spLocks noChangeAspect="1" noChangeArrowheads="1"/>
            </p:cNvSpPr>
            <p:nvPr/>
          </p:nvSpPr>
          <p:spPr bwMode="auto">
            <a:xfrm>
              <a:off x="10057574" y="2764722"/>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97" name="AutoShape 40"/>
            <p:cNvSpPr>
              <a:spLocks noChangeAspect="1" noChangeArrowheads="1"/>
            </p:cNvSpPr>
            <p:nvPr/>
          </p:nvSpPr>
          <p:spPr bwMode="auto">
            <a:xfrm>
              <a:off x="10057574" y="2240197"/>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88" name="AutoShape 40"/>
            <p:cNvSpPr>
              <a:spLocks noChangeAspect="1" noChangeArrowheads="1"/>
            </p:cNvSpPr>
            <p:nvPr/>
          </p:nvSpPr>
          <p:spPr bwMode="auto">
            <a:xfrm>
              <a:off x="10582261" y="4338298"/>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89" name="AutoShape 40"/>
            <p:cNvSpPr>
              <a:spLocks noChangeAspect="1" noChangeArrowheads="1"/>
            </p:cNvSpPr>
            <p:nvPr/>
          </p:nvSpPr>
          <p:spPr bwMode="auto">
            <a:xfrm>
              <a:off x="10582261" y="3813772"/>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90" name="AutoShape 40"/>
            <p:cNvSpPr>
              <a:spLocks noChangeAspect="1" noChangeArrowheads="1"/>
            </p:cNvSpPr>
            <p:nvPr/>
          </p:nvSpPr>
          <p:spPr bwMode="auto">
            <a:xfrm>
              <a:off x="10582261" y="3289247"/>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91" name="AutoShape 40"/>
            <p:cNvSpPr>
              <a:spLocks noChangeAspect="1" noChangeArrowheads="1"/>
            </p:cNvSpPr>
            <p:nvPr/>
          </p:nvSpPr>
          <p:spPr bwMode="auto">
            <a:xfrm>
              <a:off x="10582261" y="2764722"/>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92" name="AutoShape 40"/>
            <p:cNvSpPr>
              <a:spLocks noChangeAspect="1" noChangeArrowheads="1"/>
            </p:cNvSpPr>
            <p:nvPr/>
          </p:nvSpPr>
          <p:spPr bwMode="auto">
            <a:xfrm>
              <a:off x="10582261" y="2240197"/>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83" name="AutoShape 40"/>
            <p:cNvSpPr>
              <a:spLocks noChangeAspect="1" noChangeArrowheads="1"/>
            </p:cNvSpPr>
            <p:nvPr/>
          </p:nvSpPr>
          <p:spPr bwMode="auto">
            <a:xfrm>
              <a:off x="11106946" y="4338298"/>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84" name="AutoShape 40"/>
            <p:cNvSpPr>
              <a:spLocks noChangeAspect="1" noChangeArrowheads="1"/>
            </p:cNvSpPr>
            <p:nvPr/>
          </p:nvSpPr>
          <p:spPr bwMode="auto">
            <a:xfrm>
              <a:off x="11106946" y="3813772"/>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85" name="AutoShape 40"/>
            <p:cNvSpPr>
              <a:spLocks noChangeAspect="1" noChangeArrowheads="1"/>
            </p:cNvSpPr>
            <p:nvPr/>
          </p:nvSpPr>
          <p:spPr bwMode="auto">
            <a:xfrm>
              <a:off x="11106946" y="3289247"/>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86" name="AutoShape 40"/>
            <p:cNvSpPr>
              <a:spLocks noChangeAspect="1" noChangeArrowheads="1"/>
            </p:cNvSpPr>
            <p:nvPr/>
          </p:nvSpPr>
          <p:spPr bwMode="auto">
            <a:xfrm>
              <a:off x="11106946" y="2764722"/>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87" name="AutoShape 40"/>
            <p:cNvSpPr>
              <a:spLocks noChangeAspect="1" noChangeArrowheads="1"/>
            </p:cNvSpPr>
            <p:nvPr/>
          </p:nvSpPr>
          <p:spPr bwMode="auto">
            <a:xfrm>
              <a:off x="11106946" y="2240197"/>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72" name="AutoShape 40"/>
            <p:cNvSpPr>
              <a:spLocks noChangeAspect="1" noChangeArrowheads="1"/>
            </p:cNvSpPr>
            <p:nvPr/>
          </p:nvSpPr>
          <p:spPr bwMode="auto">
            <a:xfrm>
              <a:off x="8838047" y="4508656"/>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73" name="AutoShape 40"/>
            <p:cNvSpPr>
              <a:spLocks noChangeAspect="1" noChangeArrowheads="1"/>
            </p:cNvSpPr>
            <p:nvPr/>
          </p:nvSpPr>
          <p:spPr bwMode="auto">
            <a:xfrm>
              <a:off x="8838047" y="3984130"/>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74" name="AutoShape 40"/>
            <p:cNvSpPr>
              <a:spLocks noChangeAspect="1" noChangeArrowheads="1"/>
            </p:cNvSpPr>
            <p:nvPr/>
          </p:nvSpPr>
          <p:spPr bwMode="auto">
            <a:xfrm>
              <a:off x="8838047" y="3459605"/>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75" name="AutoShape 40"/>
            <p:cNvSpPr>
              <a:spLocks noChangeAspect="1" noChangeArrowheads="1"/>
            </p:cNvSpPr>
            <p:nvPr/>
          </p:nvSpPr>
          <p:spPr bwMode="auto">
            <a:xfrm>
              <a:off x="8838047" y="2935080"/>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76" name="AutoShape 40"/>
            <p:cNvSpPr>
              <a:spLocks noChangeAspect="1" noChangeArrowheads="1"/>
            </p:cNvSpPr>
            <p:nvPr/>
          </p:nvSpPr>
          <p:spPr bwMode="auto">
            <a:xfrm>
              <a:off x="8838047" y="2410555"/>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67" name="AutoShape 40"/>
            <p:cNvSpPr>
              <a:spLocks noChangeAspect="1" noChangeArrowheads="1"/>
            </p:cNvSpPr>
            <p:nvPr/>
          </p:nvSpPr>
          <p:spPr bwMode="auto">
            <a:xfrm>
              <a:off x="9362734" y="4508656"/>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68" name="AutoShape 40"/>
            <p:cNvSpPr>
              <a:spLocks noChangeAspect="1" noChangeArrowheads="1"/>
            </p:cNvSpPr>
            <p:nvPr/>
          </p:nvSpPr>
          <p:spPr bwMode="auto">
            <a:xfrm>
              <a:off x="9362734" y="3984130"/>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69" name="AutoShape 40"/>
            <p:cNvSpPr>
              <a:spLocks noChangeAspect="1" noChangeArrowheads="1"/>
            </p:cNvSpPr>
            <p:nvPr/>
          </p:nvSpPr>
          <p:spPr bwMode="auto">
            <a:xfrm>
              <a:off x="9362734" y="3459605"/>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70" name="AutoShape 40"/>
            <p:cNvSpPr>
              <a:spLocks noChangeAspect="1" noChangeArrowheads="1"/>
            </p:cNvSpPr>
            <p:nvPr/>
          </p:nvSpPr>
          <p:spPr bwMode="auto">
            <a:xfrm>
              <a:off x="9362734" y="2935080"/>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71" name="AutoShape 40"/>
            <p:cNvSpPr>
              <a:spLocks noChangeAspect="1" noChangeArrowheads="1"/>
            </p:cNvSpPr>
            <p:nvPr/>
          </p:nvSpPr>
          <p:spPr bwMode="auto">
            <a:xfrm>
              <a:off x="9362734" y="2410555"/>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62" name="AutoShape 40"/>
            <p:cNvSpPr>
              <a:spLocks noChangeAspect="1" noChangeArrowheads="1"/>
            </p:cNvSpPr>
            <p:nvPr/>
          </p:nvSpPr>
          <p:spPr bwMode="auto">
            <a:xfrm>
              <a:off x="9887421" y="4508656"/>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63" name="AutoShape 40"/>
            <p:cNvSpPr>
              <a:spLocks noChangeAspect="1" noChangeArrowheads="1"/>
            </p:cNvSpPr>
            <p:nvPr/>
          </p:nvSpPr>
          <p:spPr bwMode="auto">
            <a:xfrm>
              <a:off x="9887421" y="3984130"/>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64" name="AutoShape 40"/>
            <p:cNvSpPr>
              <a:spLocks noChangeAspect="1" noChangeArrowheads="1"/>
            </p:cNvSpPr>
            <p:nvPr/>
          </p:nvSpPr>
          <p:spPr bwMode="auto">
            <a:xfrm>
              <a:off x="9887421" y="3459605"/>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65" name="AutoShape 40"/>
            <p:cNvSpPr>
              <a:spLocks noChangeAspect="1" noChangeArrowheads="1"/>
            </p:cNvSpPr>
            <p:nvPr/>
          </p:nvSpPr>
          <p:spPr bwMode="auto">
            <a:xfrm>
              <a:off x="9887421" y="2935080"/>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66" name="AutoShape 40"/>
            <p:cNvSpPr>
              <a:spLocks noChangeAspect="1" noChangeArrowheads="1"/>
            </p:cNvSpPr>
            <p:nvPr/>
          </p:nvSpPr>
          <p:spPr bwMode="auto">
            <a:xfrm>
              <a:off x="9887421" y="2410555"/>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57" name="AutoShape 40"/>
            <p:cNvSpPr>
              <a:spLocks noChangeAspect="1" noChangeArrowheads="1"/>
            </p:cNvSpPr>
            <p:nvPr/>
          </p:nvSpPr>
          <p:spPr bwMode="auto">
            <a:xfrm>
              <a:off x="10412108" y="4508656"/>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58" name="AutoShape 40"/>
            <p:cNvSpPr>
              <a:spLocks noChangeAspect="1" noChangeArrowheads="1"/>
            </p:cNvSpPr>
            <p:nvPr/>
          </p:nvSpPr>
          <p:spPr bwMode="auto">
            <a:xfrm>
              <a:off x="10412108" y="3984130"/>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59" name="AutoShape 40"/>
            <p:cNvSpPr>
              <a:spLocks noChangeAspect="1" noChangeArrowheads="1"/>
            </p:cNvSpPr>
            <p:nvPr/>
          </p:nvSpPr>
          <p:spPr bwMode="auto">
            <a:xfrm>
              <a:off x="10412108" y="3459605"/>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60" name="AutoShape 40"/>
            <p:cNvSpPr>
              <a:spLocks noChangeAspect="1" noChangeArrowheads="1"/>
            </p:cNvSpPr>
            <p:nvPr/>
          </p:nvSpPr>
          <p:spPr bwMode="auto">
            <a:xfrm>
              <a:off x="10412108" y="2935080"/>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61" name="AutoShape 40"/>
            <p:cNvSpPr>
              <a:spLocks noChangeAspect="1" noChangeArrowheads="1"/>
            </p:cNvSpPr>
            <p:nvPr/>
          </p:nvSpPr>
          <p:spPr bwMode="auto">
            <a:xfrm>
              <a:off x="10412108" y="2410555"/>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52" name="AutoShape 40"/>
            <p:cNvSpPr>
              <a:spLocks noChangeAspect="1" noChangeArrowheads="1"/>
            </p:cNvSpPr>
            <p:nvPr/>
          </p:nvSpPr>
          <p:spPr bwMode="auto">
            <a:xfrm>
              <a:off x="10936793" y="4508656"/>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53" name="AutoShape 40"/>
            <p:cNvSpPr>
              <a:spLocks noChangeAspect="1" noChangeArrowheads="1"/>
            </p:cNvSpPr>
            <p:nvPr/>
          </p:nvSpPr>
          <p:spPr bwMode="auto">
            <a:xfrm>
              <a:off x="10936793" y="3984130"/>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54" name="AutoShape 40"/>
            <p:cNvSpPr>
              <a:spLocks noChangeAspect="1" noChangeArrowheads="1"/>
            </p:cNvSpPr>
            <p:nvPr/>
          </p:nvSpPr>
          <p:spPr bwMode="auto">
            <a:xfrm>
              <a:off x="10936793" y="3459605"/>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55" name="AutoShape 40"/>
            <p:cNvSpPr>
              <a:spLocks noChangeAspect="1" noChangeArrowheads="1"/>
            </p:cNvSpPr>
            <p:nvPr/>
          </p:nvSpPr>
          <p:spPr bwMode="auto">
            <a:xfrm>
              <a:off x="10936793" y="2935080"/>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56" name="AutoShape 40"/>
            <p:cNvSpPr>
              <a:spLocks noChangeAspect="1" noChangeArrowheads="1"/>
            </p:cNvSpPr>
            <p:nvPr/>
          </p:nvSpPr>
          <p:spPr bwMode="auto">
            <a:xfrm>
              <a:off x="10936793" y="2410555"/>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41" name="AutoShape 40"/>
            <p:cNvSpPr>
              <a:spLocks noChangeAspect="1" noChangeArrowheads="1"/>
            </p:cNvSpPr>
            <p:nvPr/>
          </p:nvSpPr>
          <p:spPr bwMode="auto">
            <a:xfrm>
              <a:off x="8667894" y="4679014"/>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42" name="AutoShape 40"/>
            <p:cNvSpPr>
              <a:spLocks noChangeAspect="1" noChangeArrowheads="1"/>
            </p:cNvSpPr>
            <p:nvPr/>
          </p:nvSpPr>
          <p:spPr bwMode="auto">
            <a:xfrm>
              <a:off x="8667894" y="4154488"/>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43" name="AutoShape 40"/>
            <p:cNvSpPr>
              <a:spLocks noChangeAspect="1" noChangeArrowheads="1"/>
            </p:cNvSpPr>
            <p:nvPr/>
          </p:nvSpPr>
          <p:spPr bwMode="auto">
            <a:xfrm>
              <a:off x="8667894" y="3629963"/>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44" name="AutoShape 40"/>
            <p:cNvSpPr>
              <a:spLocks noChangeAspect="1" noChangeArrowheads="1"/>
            </p:cNvSpPr>
            <p:nvPr/>
          </p:nvSpPr>
          <p:spPr bwMode="auto">
            <a:xfrm>
              <a:off x="8667894" y="3105438"/>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45" name="AutoShape 40"/>
            <p:cNvSpPr>
              <a:spLocks noChangeAspect="1" noChangeArrowheads="1"/>
            </p:cNvSpPr>
            <p:nvPr/>
          </p:nvSpPr>
          <p:spPr bwMode="auto">
            <a:xfrm>
              <a:off x="8667894" y="2580913"/>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36" name="AutoShape 40"/>
            <p:cNvSpPr>
              <a:spLocks noChangeAspect="1" noChangeArrowheads="1"/>
            </p:cNvSpPr>
            <p:nvPr/>
          </p:nvSpPr>
          <p:spPr bwMode="auto">
            <a:xfrm>
              <a:off x="9192581" y="4679014"/>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37" name="AutoShape 40"/>
            <p:cNvSpPr>
              <a:spLocks noChangeAspect="1" noChangeArrowheads="1"/>
            </p:cNvSpPr>
            <p:nvPr/>
          </p:nvSpPr>
          <p:spPr bwMode="auto">
            <a:xfrm>
              <a:off x="9192581" y="4154488"/>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38" name="AutoShape 40"/>
            <p:cNvSpPr>
              <a:spLocks noChangeAspect="1" noChangeArrowheads="1"/>
            </p:cNvSpPr>
            <p:nvPr/>
          </p:nvSpPr>
          <p:spPr bwMode="auto">
            <a:xfrm>
              <a:off x="9192581" y="3629963"/>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39" name="AutoShape 40"/>
            <p:cNvSpPr>
              <a:spLocks noChangeAspect="1" noChangeArrowheads="1"/>
            </p:cNvSpPr>
            <p:nvPr/>
          </p:nvSpPr>
          <p:spPr bwMode="auto">
            <a:xfrm>
              <a:off x="9192581" y="3105438"/>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40" name="AutoShape 40"/>
            <p:cNvSpPr>
              <a:spLocks noChangeAspect="1" noChangeArrowheads="1"/>
            </p:cNvSpPr>
            <p:nvPr/>
          </p:nvSpPr>
          <p:spPr bwMode="auto">
            <a:xfrm>
              <a:off x="9192581" y="2580913"/>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31" name="AutoShape 40"/>
            <p:cNvSpPr>
              <a:spLocks noChangeAspect="1" noChangeArrowheads="1"/>
            </p:cNvSpPr>
            <p:nvPr/>
          </p:nvSpPr>
          <p:spPr bwMode="auto">
            <a:xfrm>
              <a:off x="9717268" y="4679014"/>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32" name="AutoShape 40"/>
            <p:cNvSpPr>
              <a:spLocks noChangeAspect="1" noChangeArrowheads="1"/>
            </p:cNvSpPr>
            <p:nvPr/>
          </p:nvSpPr>
          <p:spPr bwMode="auto">
            <a:xfrm>
              <a:off x="9717268" y="4154488"/>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33" name="AutoShape 40"/>
            <p:cNvSpPr>
              <a:spLocks noChangeAspect="1" noChangeArrowheads="1"/>
            </p:cNvSpPr>
            <p:nvPr/>
          </p:nvSpPr>
          <p:spPr bwMode="auto">
            <a:xfrm>
              <a:off x="9717268" y="3629963"/>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34" name="AutoShape 40"/>
            <p:cNvSpPr>
              <a:spLocks noChangeAspect="1" noChangeArrowheads="1"/>
            </p:cNvSpPr>
            <p:nvPr/>
          </p:nvSpPr>
          <p:spPr bwMode="auto">
            <a:xfrm>
              <a:off x="9717268" y="3105438"/>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35" name="AutoShape 40"/>
            <p:cNvSpPr>
              <a:spLocks noChangeAspect="1" noChangeArrowheads="1"/>
            </p:cNvSpPr>
            <p:nvPr/>
          </p:nvSpPr>
          <p:spPr bwMode="auto">
            <a:xfrm>
              <a:off x="9717268" y="2580913"/>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26" name="AutoShape 40"/>
            <p:cNvSpPr>
              <a:spLocks noChangeAspect="1" noChangeArrowheads="1"/>
            </p:cNvSpPr>
            <p:nvPr/>
          </p:nvSpPr>
          <p:spPr bwMode="auto">
            <a:xfrm>
              <a:off x="10241955" y="4679014"/>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27" name="AutoShape 40"/>
            <p:cNvSpPr>
              <a:spLocks noChangeAspect="1" noChangeArrowheads="1"/>
            </p:cNvSpPr>
            <p:nvPr/>
          </p:nvSpPr>
          <p:spPr bwMode="auto">
            <a:xfrm>
              <a:off x="10241955" y="4154488"/>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28" name="AutoShape 40"/>
            <p:cNvSpPr>
              <a:spLocks noChangeAspect="1" noChangeArrowheads="1"/>
            </p:cNvSpPr>
            <p:nvPr/>
          </p:nvSpPr>
          <p:spPr bwMode="auto">
            <a:xfrm>
              <a:off x="10241955" y="3629963"/>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29" name="AutoShape 40"/>
            <p:cNvSpPr>
              <a:spLocks noChangeAspect="1" noChangeArrowheads="1"/>
            </p:cNvSpPr>
            <p:nvPr/>
          </p:nvSpPr>
          <p:spPr bwMode="auto">
            <a:xfrm>
              <a:off x="10241955" y="3105438"/>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30" name="AutoShape 40"/>
            <p:cNvSpPr>
              <a:spLocks noChangeAspect="1" noChangeArrowheads="1"/>
            </p:cNvSpPr>
            <p:nvPr/>
          </p:nvSpPr>
          <p:spPr bwMode="auto">
            <a:xfrm>
              <a:off x="10241955" y="2580913"/>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21" name="AutoShape 40"/>
            <p:cNvSpPr>
              <a:spLocks noChangeAspect="1" noChangeArrowheads="1"/>
            </p:cNvSpPr>
            <p:nvPr/>
          </p:nvSpPr>
          <p:spPr bwMode="auto">
            <a:xfrm>
              <a:off x="10766640" y="4679014"/>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22" name="AutoShape 40"/>
            <p:cNvSpPr>
              <a:spLocks noChangeAspect="1" noChangeArrowheads="1"/>
            </p:cNvSpPr>
            <p:nvPr/>
          </p:nvSpPr>
          <p:spPr bwMode="auto">
            <a:xfrm>
              <a:off x="10766640" y="4154488"/>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23" name="AutoShape 40"/>
            <p:cNvSpPr>
              <a:spLocks noChangeAspect="1" noChangeArrowheads="1"/>
            </p:cNvSpPr>
            <p:nvPr/>
          </p:nvSpPr>
          <p:spPr bwMode="auto">
            <a:xfrm>
              <a:off x="10766640" y="3629963"/>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24" name="AutoShape 40"/>
            <p:cNvSpPr>
              <a:spLocks noChangeAspect="1" noChangeArrowheads="1"/>
            </p:cNvSpPr>
            <p:nvPr/>
          </p:nvSpPr>
          <p:spPr bwMode="auto">
            <a:xfrm>
              <a:off x="10766640" y="3105438"/>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25" name="AutoShape 40"/>
            <p:cNvSpPr>
              <a:spLocks noChangeAspect="1" noChangeArrowheads="1"/>
            </p:cNvSpPr>
            <p:nvPr/>
          </p:nvSpPr>
          <p:spPr bwMode="auto">
            <a:xfrm>
              <a:off x="10766640" y="2580913"/>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377" name="AutoShape 40"/>
            <p:cNvSpPr>
              <a:spLocks noChangeAspect="1" noChangeArrowheads="1"/>
            </p:cNvSpPr>
            <p:nvPr/>
          </p:nvSpPr>
          <p:spPr bwMode="auto">
            <a:xfrm>
              <a:off x="8497741" y="4849373"/>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386" name="AutoShape 40"/>
            <p:cNvSpPr>
              <a:spLocks noChangeAspect="1" noChangeArrowheads="1"/>
            </p:cNvSpPr>
            <p:nvPr/>
          </p:nvSpPr>
          <p:spPr bwMode="auto">
            <a:xfrm>
              <a:off x="8497741" y="4324847"/>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387" name="AutoShape 40"/>
            <p:cNvSpPr>
              <a:spLocks noChangeAspect="1" noChangeArrowheads="1"/>
            </p:cNvSpPr>
            <p:nvPr/>
          </p:nvSpPr>
          <p:spPr bwMode="auto">
            <a:xfrm>
              <a:off x="8497741" y="3800322"/>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388" name="AutoShape 40"/>
            <p:cNvSpPr>
              <a:spLocks noChangeAspect="1" noChangeArrowheads="1"/>
            </p:cNvSpPr>
            <p:nvPr/>
          </p:nvSpPr>
          <p:spPr bwMode="auto">
            <a:xfrm>
              <a:off x="8497741" y="3275797"/>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389" name="AutoShape 40"/>
            <p:cNvSpPr>
              <a:spLocks noChangeAspect="1" noChangeArrowheads="1"/>
            </p:cNvSpPr>
            <p:nvPr/>
          </p:nvSpPr>
          <p:spPr bwMode="auto">
            <a:xfrm>
              <a:off x="8497741" y="2751272"/>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392" name="AutoShape 40"/>
            <p:cNvSpPr>
              <a:spLocks noChangeAspect="1" noChangeArrowheads="1"/>
            </p:cNvSpPr>
            <p:nvPr/>
          </p:nvSpPr>
          <p:spPr bwMode="auto">
            <a:xfrm>
              <a:off x="9022428" y="4849373"/>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393" name="AutoShape 40"/>
            <p:cNvSpPr>
              <a:spLocks noChangeAspect="1" noChangeArrowheads="1"/>
            </p:cNvSpPr>
            <p:nvPr/>
          </p:nvSpPr>
          <p:spPr bwMode="auto">
            <a:xfrm>
              <a:off x="9022428" y="4324847"/>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394" name="AutoShape 40"/>
            <p:cNvSpPr>
              <a:spLocks noChangeAspect="1" noChangeArrowheads="1"/>
            </p:cNvSpPr>
            <p:nvPr/>
          </p:nvSpPr>
          <p:spPr bwMode="auto">
            <a:xfrm>
              <a:off x="9022428" y="3800322"/>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395" name="AutoShape 40"/>
            <p:cNvSpPr>
              <a:spLocks noChangeAspect="1" noChangeArrowheads="1"/>
            </p:cNvSpPr>
            <p:nvPr/>
          </p:nvSpPr>
          <p:spPr bwMode="auto">
            <a:xfrm>
              <a:off x="9022428" y="3275797"/>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396" name="AutoShape 40"/>
            <p:cNvSpPr>
              <a:spLocks noChangeAspect="1" noChangeArrowheads="1"/>
            </p:cNvSpPr>
            <p:nvPr/>
          </p:nvSpPr>
          <p:spPr bwMode="auto">
            <a:xfrm>
              <a:off x="9022428" y="2751272"/>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398" name="AutoShape 40"/>
            <p:cNvSpPr>
              <a:spLocks noChangeAspect="1" noChangeArrowheads="1"/>
            </p:cNvSpPr>
            <p:nvPr/>
          </p:nvSpPr>
          <p:spPr bwMode="auto">
            <a:xfrm>
              <a:off x="9547115" y="4849373"/>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399" name="AutoShape 40"/>
            <p:cNvSpPr>
              <a:spLocks noChangeAspect="1" noChangeArrowheads="1"/>
            </p:cNvSpPr>
            <p:nvPr/>
          </p:nvSpPr>
          <p:spPr bwMode="auto">
            <a:xfrm>
              <a:off x="9547115" y="4324847"/>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00" name="AutoShape 40"/>
            <p:cNvSpPr>
              <a:spLocks noChangeAspect="1" noChangeArrowheads="1"/>
            </p:cNvSpPr>
            <p:nvPr/>
          </p:nvSpPr>
          <p:spPr bwMode="auto">
            <a:xfrm>
              <a:off x="9547115" y="3800322"/>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01" name="AutoShape 40"/>
            <p:cNvSpPr>
              <a:spLocks noChangeAspect="1" noChangeArrowheads="1"/>
            </p:cNvSpPr>
            <p:nvPr/>
          </p:nvSpPr>
          <p:spPr bwMode="auto">
            <a:xfrm>
              <a:off x="9547115" y="3275797"/>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02" name="AutoShape 40"/>
            <p:cNvSpPr>
              <a:spLocks noChangeAspect="1" noChangeArrowheads="1"/>
            </p:cNvSpPr>
            <p:nvPr/>
          </p:nvSpPr>
          <p:spPr bwMode="auto">
            <a:xfrm>
              <a:off x="9547115" y="2751272"/>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04" name="AutoShape 40"/>
            <p:cNvSpPr>
              <a:spLocks noChangeAspect="1" noChangeArrowheads="1"/>
            </p:cNvSpPr>
            <p:nvPr/>
          </p:nvSpPr>
          <p:spPr bwMode="auto">
            <a:xfrm>
              <a:off x="10071802" y="4849373"/>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05" name="AutoShape 40"/>
            <p:cNvSpPr>
              <a:spLocks noChangeAspect="1" noChangeArrowheads="1"/>
            </p:cNvSpPr>
            <p:nvPr/>
          </p:nvSpPr>
          <p:spPr bwMode="auto">
            <a:xfrm>
              <a:off x="10071802" y="4324847"/>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06" name="AutoShape 40"/>
            <p:cNvSpPr>
              <a:spLocks noChangeAspect="1" noChangeArrowheads="1"/>
            </p:cNvSpPr>
            <p:nvPr/>
          </p:nvSpPr>
          <p:spPr bwMode="auto">
            <a:xfrm>
              <a:off x="10071802" y="3800322"/>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07" name="AutoShape 40"/>
            <p:cNvSpPr>
              <a:spLocks noChangeAspect="1" noChangeArrowheads="1"/>
            </p:cNvSpPr>
            <p:nvPr/>
          </p:nvSpPr>
          <p:spPr bwMode="auto">
            <a:xfrm>
              <a:off x="10071802" y="3275797"/>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08" name="AutoShape 40"/>
            <p:cNvSpPr>
              <a:spLocks noChangeAspect="1" noChangeArrowheads="1"/>
            </p:cNvSpPr>
            <p:nvPr/>
          </p:nvSpPr>
          <p:spPr bwMode="auto">
            <a:xfrm>
              <a:off x="10071802" y="2751272"/>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10" name="AutoShape 40"/>
            <p:cNvSpPr>
              <a:spLocks noChangeAspect="1" noChangeArrowheads="1"/>
            </p:cNvSpPr>
            <p:nvPr/>
          </p:nvSpPr>
          <p:spPr bwMode="auto">
            <a:xfrm>
              <a:off x="10596487" y="4849373"/>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11" name="AutoShape 40"/>
            <p:cNvSpPr>
              <a:spLocks noChangeAspect="1" noChangeArrowheads="1"/>
            </p:cNvSpPr>
            <p:nvPr/>
          </p:nvSpPr>
          <p:spPr bwMode="auto">
            <a:xfrm>
              <a:off x="10596487" y="4324847"/>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12" name="AutoShape 40"/>
            <p:cNvSpPr>
              <a:spLocks noChangeAspect="1" noChangeArrowheads="1"/>
            </p:cNvSpPr>
            <p:nvPr/>
          </p:nvSpPr>
          <p:spPr bwMode="auto">
            <a:xfrm>
              <a:off x="10596487" y="3800322"/>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13" name="AutoShape 40"/>
            <p:cNvSpPr>
              <a:spLocks noChangeAspect="1" noChangeArrowheads="1"/>
            </p:cNvSpPr>
            <p:nvPr/>
          </p:nvSpPr>
          <p:spPr bwMode="auto">
            <a:xfrm>
              <a:off x="10596487" y="3275797"/>
              <a:ext cx="698400" cy="698400"/>
            </a:xfrm>
            <a:prstGeom prst="cube">
              <a:avLst>
                <a:gd name="adj" fmla="val 25000"/>
              </a:avLst>
            </a:prstGeom>
            <a:grpFill/>
            <a:ln w="12700">
              <a:solidFill>
                <a:srgbClr val="9999A9"/>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sp>
          <p:nvSpPr>
            <p:cNvPr id="414" name="AutoShape 40"/>
            <p:cNvSpPr>
              <a:spLocks noChangeAspect="1" noChangeArrowheads="1"/>
            </p:cNvSpPr>
            <p:nvPr/>
          </p:nvSpPr>
          <p:spPr bwMode="auto">
            <a:xfrm>
              <a:off x="10596487" y="2751272"/>
              <a:ext cx="698400" cy="698400"/>
            </a:xfrm>
            <a:prstGeom prst="cube">
              <a:avLst>
                <a:gd name="adj" fmla="val 25000"/>
              </a:avLst>
            </a:prstGeom>
            <a:solidFill>
              <a:srgbClr val="AA32BE"/>
            </a:solidFill>
            <a:ln w="12700">
              <a:solidFill>
                <a:srgbClr val="CCCCD4"/>
              </a:solidFill>
            </a:ln>
            <a:effectLst/>
          </p:spPr>
          <p:txBody>
            <a:bodyPr lIns="107944" tIns="71963" rIns="107944" bIns="71963" rtlCol="0" anchor="t" anchorCtr="0"/>
            <a:lstStyle/>
            <a:p>
              <a:endParaRPr lang="en-US" sz="1799" dirty="0">
                <a:solidFill>
                  <a:srgbClr val="0F8287"/>
                </a:solidFill>
                <a:ea typeface="Arial Unicode MS"/>
                <a:sym typeface="Arial"/>
              </a:endParaRPr>
            </a:p>
          </p:txBody>
        </p:sp>
      </p:grpSp>
      <p:sp>
        <p:nvSpPr>
          <p:cNvPr id="3" name="Footer Placeholder 2">
            <a:extLst>
              <a:ext uri="{FF2B5EF4-FFF2-40B4-BE49-F238E27FC236}">
                <a16:creationId xmlns:a16="http://schemas.microsoft.com/office/drawing/2014/main" id="{9F9E0A49-6776-4F52-80A9-AA9639DFEAE4}"/>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07EDB203-AB6A-4447-8004-D4DDE2BF6AB7}"/>
              </a:ext>
            </a:extLst>
          </p:cNvPr>
          <p:cNvSpPr>
            <a:spLocks noGrp="1"/>
          </p:cNvSpPr>
          <p:nvPr>
            <p:ph type="sldNum" sz="quarter" idx="11"/>
          </p:nvPr>
        </p:nvSpPr>
        <p:spPr/>
        <p:txBody>
          <a:bodyPr/>
          <a:lstStyle/>
          <a:p>
            <a:r>
              <a:rPr lang="en-US" dirty="0"/>
              <a:t>Page </a:t>
            </a:r>
            <a:fld id="{15EBE321-CBB1-4E91-BD14-37C8D44326FB}" type="slidenum">
              <a:rPr lang="en-US" smtClean="0"/>
              <a:pPr/>
              <a:t>95</a:t>
            </a:fld>
            <a:endParaRPr lang="en-US" dirty="0"/>
          </a:p>
        </p:txBody>
      </p:sp>
    </p:spTree>
    <p:extLst>
      <p:ext uri="{BB962C8B-B14F-4D97-AF65-F5344CB8AC3E}">
        <p14:creationId xmlns:p14="http://schemas.microsoft.com/office/powerpoint/2010/main" val="363586829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10400" y="478800"/>
            <a:ext cx="9863997" cy="576000"/>
          </a:xfrm>
        </p:spPr>
        <p:txBody>
          <a:bodyPr/>
          <a:lstStyle/>
          <a:p>
            <a:r>
              <a:rPr lang="en-US" dirty="0"/>
              <a:t>Puzzle</a:t>
            </a:r>
          </a:p>
        </p:txBody>
      </p:sp>
      <p:grpSp>
        <p:nvGrpSpPr>
          <p:cNvPr id="6" name="Group 5"/>
          <p:cNvGrpSpPr/>
          <p:nvPr/>
        </p:nvGrpSpPr>
        <p:grpSpPr>
          <a:xfrm>
            <a:off x="410400" y="1415849"/>
            <a:ext cx="3053027" cy="2823997"/>
            <a:chOff x="626400" y="1439999"/>
            <a:chExt cx="3054617" cy="2825468"/>
          </a:xfrm>
          <a:solidFill>
            <a:srgbClr val="00646E"/>
          </a:solidFill>
        </p:grpSpPr>
        <p:sp>
          <p:nvSpPr>
            <p:cNvPr id="111" name="Ellipse 186"/>
            <p:cNvSpPr/>
            <p:nvPr/>
          </p:nvSpPr>
          <p:spPr>
            <a:xfrm>
              <a:off x="2349021" y="1439999"/>
              <a:ext cx="1101472" cy="836467"/>
            </a:xfrm>
            <a:custGeom>
              <a:avLst/>
              <a:gdLst/>
              <a:ahLst/>
              <a:cxnLst/>
              <a:rect l="l" t="t" r="r" b="b"/>
              <a:pathLst>
                <a:path w="806293" h="612306">
                  <a:moveTo>
                    <a:pt x="117200" y="0"/>
                  </a:moveTo>
                  <a:lnTo>
                    <a:pt x="806293" y="0"/>
                  </a:lnTo>
                  <a:lnTo>
                    <a:pt x="806293" y="612306"/>
                  </a:lnTo>
                  <a:lnTo>
                    <a:pt x="578946" y="612306"/>
                  </a:lnTo>
                  <a:cubicBezTo>
                    <a:pt x="578946" y="547578"/>
                    <a:pt x="526474" y="495106"/>
                    <a:pt x="461746" y="495106"/>
                  </a:cubicBezTo>
                  <a:cubicBezTo>
                    <a:pt x="397018" y="495106"/>
                    <a:pt x="344546" y="547578"/>
                    <a:pt x="344546" y="612306"/>
                  </a:cubicBezTo>
                  <a:lnTo>
                    <a:pt x="117200" y="612306"/>
                  </a:lnTo>
                  <a:lnTo>
                    <a:pt x="117200" y="423353"/>
                  </a:lnTo>
                  <a:cubicBezTo>
                    <a:pt x="52472" y="423353"/>
                    <a:pt x="0" y="370881"/>
                    <a:pt x="0" y="306153"/>
                  </a:cubicBezTo>
                  <a:cubicBezTo>
                    <a:pt x="0" y="241425"/>
                    <a:pt x="52472" y="188953"/>
                    <a:pt x="117200" y="188953"/>
                  </a:cubicBezTo>
                  <a:close/>
                </a:path>
              </a:pathLst>
            </a:custGeom>
            <a:grpFill/>
            <a:ln w="19050" cap="flat" cmpd="sng">
              <a:solidFill>
                <a:srgbClr val="FFFFFF"/>
              </a:solidFill>
              <a:prstDash val="solid"/>
              <a:round/>
              <a:headEnd/>
              <a:tailEnd/>
            </a:ln>
            <a:effectLst/>
          </p:spPr>
          <p:txBody>
            <a:bodyPr wrap="none" lIns="0" tIns="0" rIns="0" bIns="0" anchor="ctr">
              <a:noAutofit/>
            </a:bodyPr>
            <a:lstStyle/>
            <a:p>
              <a:endParaRPr lang="en-US" sz="1799" dirty="0"/>
            </a:p>
          </p:txBody>
        </p:sp>
        <p:sp>
          <p:nvSpPr>
            <p:cNvPr id="113" name="Ellipse 192"/>
            <p:cNvSpPr/>
            <p:nvPr/>
          </p:nvSpPr>
          <p:spPr>
            <a:xfrm>
              <a:off x="2509127" y="2116360"/>
              <a:ext cx="941366" cy="1156585"/>
            </a:xfrm>
            <a:custGeom>
              <a:avLst/>
              <a:gdLst/>
              <a:ahLst/>
              <a:cxnLst/>
              <a:rect l="l" t="t" r="r" b="b"/>
              <a:pathLst>
                <a:path w="689093" h="846637">
                  <a:moveTo>
                    <a:pt x="344546" y="0"/>
                  </a:moveTo>
                  <a:cubicBezTo>
                    <a:pt x="409274" y="0"/>
                    <a:pt x="461746" y="52472"/>
                    <a:pt x="461746" y="117200"/>
                  </a:cubicBezTo>
                  <a:lnTo>
                    <a:pt x="689093" y="117200"/>
                  </a:lnTo>
                  <a:lnTo>
                    <a:pt x="689093" y="729506"/>
                  </a:lnTo>
                  <a:lnTo>
                    <a:pt x="461732" y="729506"/>
                  </a:lnTo>
                  <a:cubicBezTo>
                    <a:pt x="461709" y="794202"/>
                    <a:pt x="409251" y="846637"/>
                    <a:pt x="344546" y="846637"/>
                  </a:cubicBezTo>
                  <a:cubicBezTo>
                    <a:pt x="279841" y="846637"/>
                    <a:pt x="227384" y="794202"/>
                    <a:pt x="227360" y="729506"/>
                  </a:cubicBezTo>
                  <a:lnTo>
                    <a:pt x="0" y="729506"/>
                  </a:lnTo>
                  <a:lnTo>
                    <a:pt x="0" y="540553"/>
                  </a:lnTo>
                  <a:cubicBezTo>
                    <a:pt x="64728" y="540553"/>
                    <a:pt x="117200" y="488081"/>
                    <a:pt x="117200" y="423353"/>
                  </a:cubicBezTo>
                  <a:cubicBezTo>
                    <a:pt x="117200" y="358625"/>
                    <a:pt x="64728" y="306153"/>
                    <a:pt x="0" y="306153"/>
                  </a:cubicBezTo>
                  <a:lnTo>
                    <a:pt x="0" y="117200"/>
                  </a:lnTo>
                  <a:lnTo>
                    <a:pt x="227346" y="117200"/>
                  </a:lnTo>
                  <a:cubicBezTo>
                    <a:pt x="227346" y="52472"/>
                    <a:pt x="279818" y="0"/>
                    <a:pt x="344546" y="0"/>
                  </a:cubicBezTo>
                  <a:close/>
                </a:path>
              </a:pathLst>
            </a:custGeom>
            <a:grpFill/>
            <a:ln w="19050" cap="flat" cmpd="sng">
              <a:solidFill>
                <a:srgbClr val="FFFFFF"/>
              </a:solidFill>
              <a:prstDash val="solid"/>
              <a:round/>
              <a:headEnd/>
              <a:tailEnd/>
            </a:ln>
            <a:effectLst/>
          </p:spPr>
          <p:txBody>
            <a:bodyPr wrap="none" lIns="0" tIns="0" rIns="0" bIns="0" anchor="ctr">
              <a:noAutofit/>
            </a:bodyPr>
            <a:lstStyle/>
            <a:p>
              <a:endParaRPr lang="en-US" sz="1799" dirty="0"/>
            </a:p>
          </p:txBody>
        </p:sp>
        <p:sp>
          <p:nvSpPr>
            <p:cNvPr id="105" name="Rechteck 163"/>
            <p:cNvSpPr/>
            <p:nvPr/>
          </p:nvSpPr>
          <p:spPr>
            <a:xfrm>
              <a:off x="1567767" y="1439999"/>
              <a:ext cx="941365" cy="996573"/>
            </a:xfrm>
            <a:custGeom>
              <a:avLst/>
              <a:gdLst/>
              <a:ahLst/>
              <a:cxnLst/>
              <a:rect l="l" t="t" r="r" b="b"/>
              <a:pathLst>
                <a:path w="689093" h="729506">
                  <a:moveTo>
                    <a:pt x="0" y="0"/>
                  </a:moveTo>
                  <a:lnTo>
                    <a:pt x="689093" y="0"/>
                  </a:lnTo>
                  <a:lnTo>
                    <a:pt x="689093" y="188953"/>
                  </a:lnTo>
                  <a:cubicBezTo>
                    <a:pt x="624365" y="188953"/>
                    <a:pt x="571893" y="241425"/>
                    <a:pt x="571893" y="306153"/>
                  </a:cubicBezTo>
                  <a:cubicBezTo>
                    <a:pt x="571893" y="370881"/>
                    <a:pt x="624365" y="423353"/>
                    <a:pt x="689093" y="423353"/>
                  </a:cubicBezTo>
                  <a:lnTo>
                    <a:pt x="689093" y="612306"/>
                  </a:lnTo>
                  <a:lnTo>
                    <a:pt x="461746" y="612306"/>
                  </a:lnTo>
                  <a:cubicBezTo>
                    <a:pt x="461746" y="677034"/>
                    <a:pt x="409274" y="729506"/>
                    <a:pt x="344546" y="729506"/>
                  </a:cubicBezTo>
                  <a:cubicBezTo>
                    <a:pt x="279818" y="729506"/>
                    <a:pt x="227346" y="677034"/>
                    <a:pt x="227346" y="612306"/>
                  </a:cubicBezTo>
                  <a:lnTo>
                    <a:pt x="0" y="612306"/>
                  </a:lnTo>
                  <a:lnTo>
                    <a:pt x="0" y="423353"/>
                  </a:lnTo>
                  <a:cubicBezTo>
                    <a:pt x="64728" y="423353"/>
                    <a:pt x="117200" y="370881"/>
                    <a:pt x="117200" y="306153"/>
                  </a:cubicBezTo>
                  <a:cubicBezTo>
                    <a:pt x="117200" y="241425"/>
                    <a:pt x="64728" y="188953"/>
                    <a:pt x="0" y="188953"/>
                  </a:cubicBezTo>
                  <a:close/>
                </a:path>
              </a:pathLst>
            </a:custGeom>
            <a:grpFill/>
            <a:ln w="19050" cap="flat" cmpd="sng">
              <a:solidFill>
                <a:srgbClr val="FFFFFF"/>
              </a:solidFill>
              <a:prstDash val="solid"/>
              <a:round/>
              <a:headEnd/>
              <a:tailEnd/>
            </a:ln>
            <a:effectLst/>
          </p:spPr>
          <p:txBody>
            <a:bodyPr wrap="none" lIns="0" tIns="0" rIns="0" bIns="0" anchor="ctr">
              <a:noAutofit/>
            </a:bodyPr>
            <a:lstStyle/>
            <a:p>
              <a:endParaRPr lang="en-US" sz="1799" dirty="0"/>
            </a:p>
          </p:txBody>
        </p:sp>
        <p:sp>
          <p:nvSpPr>
            <p:cNvPr id="106" name="Ellipse 183"/>
            <p:cNvSpPr/>
            <p:nvPr/>
          </p:nvSpPr>
          <p:spPr>
            <a:xfrm>
              <a:off x="626400" y="1440000"/>
              <a:ext cx="1101473" cy="836467"/>
            </a:xfrm>
            <a:custGeom>
              <a:avLst/>
              <a:gdLst/>
              <a:ahLst/>
              <a:cxnLst/>
              <a:rect l="l" t="t" r="r" b="b"/>
              <a:pathLst>
                <a:path w="806294" h="612306">
                  <a:moveTo>
                    <a:pt x="0" y="0"/>
                  </a:moveTo>
                  <a:lnTo>
                    <a:pt x="689093" y="0"/>
                  </a:lnTo>
                  <a:lnTo>
                    <a:pt x="689093" y="188953"/>
                  </a:lnTo>
                  <a:cubicBezTo>
                    <a:pt x="753822" y="188953"/>
                    <a:pt x="806294" y="241425"/>
                    <a:pt x="806294" y="306153"/>
                  </a:cubicBezTo>
                  <a:cubicBezTo>
                    <a:pt x="806294" y="370881"/>
                    <a:pt x="753822" y="423353"/>
                    <a:pt x="689094" y="423353"/>
                  </a:cubicBezTo>
                  <a:lnTo>
                    <a:pt x="689093" y="423353"/>
                  </a:lnTo>
                  <a:lnTo>
                    <a:pt x="689093" y="612306"/>
                  </a:lnTo>
                  <a:lnTo>
                    <a:pt x="461746" y="612306"/>
                  </a:lnTo>
                  <a:cubicBezTo>
                    <a:pt x="461746" y="547578"/>
                    <a:pt x="409274" y="495106"/>
                    <a:pt x="344546" y="495106"/>
                  </a:cubicBezTo>
                  <a:cubicBezTo>
                    <a:pt x="279818" y="495106"/>
                    <a:pt x="227346" y="547578"/>
                    <a:pt x="227346" y="612306"/>
                  </a:cubicBezTo>
                  <a:lnTo>
                    <a:pt x="0" y="612306"/>
                  </a:lnTo>
                  <a:close/>
                </a:path>
              </a:pathLst>
            </a:custGeom>
            <a:grpFill/>
            <a:ln w="19050" cap="flat" cmpd="sng">
              <a:solidFill>
                <a:srgbClr val="FFFFFF"/>
              </a:solidFill>
              <a:prstDash val="solid"/>
              <a:round/>
              <a:headEnd/>
              <a:tailEnd/>
            </a:ln>
            <a:effectLst/>
          </p:spPr>
          <p:txBody>
            <a:bodyPr wrap="none" lIns="0" tIns="0" rIns="0" bIns="0" anchor="ctr">
              <a:noAutofit/>
            </a:bodyPr>
            <a:lstStyle/>
            <a:p>
              <a:endParaRPr lang="en-US" sz="1799" dirty="0"/>
            </a:p>
          </p:txBody>
        </p:sp>
        <p:sp>
          <p:nvSpPr>
            <p:cNvPr id="107" name="Ellipse 188"/>
            <p:cNvSpPr/>
            <p:nvPr/>
          </p:nvSpPr>
          <p:spPr>
            <a:xfrm>
              <a:off x="1407661" y="2276467"/>
              <a:ext cx="1261577" cy="836467"/>
            </a:xfrm>
            <a:custGeom>
              <a:avLst/>
              <a:gdLst/>
              <a:ahLst/>
              <a:cxnLst/>
              <a:rect l="l" t="t" r="r" b="b"/>
              <a:pathLst>
                <a:path w="923493" h="612306">
                  <a:moveTo>
                    <a:pt x="117200" y="0"/>
                  </a:moveTo>
                  <a:lnTo>
                    <a:pt x="344546" y="0"/>
                  </a:lnTo>
                  <a:cubicBezTo>
                    <a:pt x="344546" y="64728"/>
                    <a:pt x="397018" y="117200"/>
                    <a:pt x="461746" y="117200"/>
                  </a:cubicBezTo>
                  <a:cubicBezTo>
                    <a:pt x="526474" y="117200"/>
                    <a:pt x="578946" y="64728"/>
                    <a:pt x="578946" y="0"/>
                  </a:cubicBezTo>
                  <a:lnTo>
                    <a:pt x="806293" y="0"/>
                  </a:lnTo>
                  <a:lnTo>
                    <a:pt x="806293" y="188953"/>
                  </a:lnTo>
                  <a:cubicBezTo>
                    <a:pt x="871021" y="188953"/>
                    <a:pt x="923493" y="241425"/>
                    <a:pt x="923493" y="306153"/>
                  </a:cubicBezTo>
                  <a:cubicBezTo>
                    <a:pt x="923493" y="370881"/>
                    <a:pt x="871021" y="423353"/>
                    <a:pt x="806293" y="423353"/>
                  </a:cubicBezTo>
                  <a:lnTo>
                    <a:pt x="806293" y="612306"/>
                  </a:lnTo>
                  <a:lnTo>
                    <a:pt x="578932" y="612306"/>
                  </a:lnTo>
                  <a:lnTo>
                    <a:pt x="578946" y="612237"/>
                  </a:lnTo>
                  <a:cubicBezTo>
                    <a:pt x="578946" y="547509"/>
                    <a:pt x="526474" y="495037"/>
                    <a:pt x="461746" y="495037"/>
                  </a:cubicBezTo>
                  <a:cubicBezTo>
                    <a:pt x="397018" y="495037"/>
                    <a:pt x="344546" y="547509"/>
                    <a:pt x="344546" y="612237"/>
                  </a:cubicBezTo>
                  <a:cubicBezTo>
                    <a:pt x="344546" y="612260"/>
                    <a:pt x="344546" y="612283"/>
                    <a:pt x="344560" y="612306"/>
                  </a:cubicBezTo>
                  <a:lnTo>
                    <a:pt x="117200" y="612306"/>
                  </a:lnTo>
                  <a:lnTo>
                    <a:pt x="117200" y="423353"/>
                  </a:lnTo>
                  <a:cubicBezTo>
                    <a:pt x="52472" y="423353"/>
                    <a:pt x="0" y="370881"/>
                    <a:pt x="0" y="306153"/>
                  </a:cubicBezTo>
                  <a:cubicBezTo>
                    <a:pt x="0" y="241425"/>
                    <a:pt x="52472" y="188953"/>
                    <a:pt x="117200" y="188953"/>
                  </a:cubicBezTo>
                  <a:close/>
                </a:path>
              </a:pathLst>
            </a:custGeom>
            <a:grpFill/>
            <a:ln w="19050" cap="flat" cmpd="sng">
              <a:solidFill>
                <a:srgbClr val="FFFFFF"/>
              </a:solidFill>
              <a:prstDash val="solid"/>
              <a:round/>
              <a:headEnd/>
              <a:tailEnd/>
            </a:ln>
            <a:effectLst/>
          </p:spPr>
          <p:txBody>
            <a:bodyPr wrap="none" lIns="0" tIns="0" rIns="0" bIns="0" anchor="ctr">
              <a:noAutofit/>
            </a:bodyPr>
            <a:lstStyle/>
            <a:p>
              <a:endParaRPr lang="en-US" sz="1799" dirty="0"/>
            </a:p>
          </p:txBody>
        </p:sp>
        <p:sp>
          <p:nvSpPr>
            <p:cNvPr id="108" name="Ellipse 197"/>
            <p:cNvSpPr/>
            <p:nvPr/>
          </p:nvSpPr>
          <p:spPr>
            <a:xfrm>
              <a:off x="626400" y="2116361"/>
              <a:ext cx="941365" cy="1156585"/>
            </a:xfrm>
            <a:custGeom>
              <a:avLst/>
              <a:gdLst/>
              <a:ahLst/>
              <a:cxnLst/>
              <a:rect l="l" t="t" r="r" b="b"/>
              <a:pathLst>
                <a:path w="689093" h="846637">
                  <a:moveTo>
                    <a:pt x="344546" y="0"/>
                  </a:moveTo>
                  <a:cubicBezTo>
                    <a:pt x="409274" y="0"/>
                    <a:pt x="461746" y="52472"/>
                    <a:pt x="461746" y="117200"/>
                  </a:cubicBezTo>
                  <a:lnTo>
                    <a:pt x="689093" y="117200"/>
                  </a:lnTo>
                  <a:lnTo>
                    <a:pt x="689093" y="306153"/>
                  </a:lnTo>
                  <a:cubicBezTo>
                    <a:pt x="624366" y="306154"/>
                    <a:pt x="571894" y="358625"/>
                    <a:pt x="571894" y="423353"/>
                  </a:cubicBezTo>
                  <a:cubicBezTo>
                    <a:pt x="571894" y="488081"/>
                    <a:pt x="624366" y="540553"/>
                    <a:pt x="689093" y="540553"/>
                  </a:cubicBezTo>
                  <a:lnTo>
                    <a:pt x="689093" y="729506"/>
                  </a:lnTo>
                  <a:lnTo>
                    <a:pt x="461732" y="729506"/>
                  </a:lnTo>
                  <a:cubicBezTo>
                    <a:pt x="461709" y="794202"/>
                    <a:pt x="409251" y="846637"/>
                    <a:pt x="344546" y="846637"/>
                  </a:cubicBezTo>
                  <a:cubicBezTo>
                    <a:pt x="279841" y="846637"/>
                    <a:pt x="227384" y="794202"/>
                    <a:pt x="227360" y="729506"/>
                  </a:cubicBezTo>
                  <a:lnTo>
                    <a:pt x="0" y="729506"/>
                  </a:lnTo>
                  <a:lnTo>
                    <a:pt x="0" y="117200"/>
                  </a:lnTo>
                  <a:lnTo>
                    <a:pt x="227346" y="117200"/>
                  </a:lnTo>
                  <a:cubicBezTo>
                    <a:pt x="227346" y="52472"/>
                    <a:pt x="279818" y="0"/>
                    <a:pt x="344546" y="0"/>
                  </a:cubicBezTo>
                  <a:close/>
                </a:path>
              </a:pathLst>
            </a:custGeom>
            <a:grpFill/>
            <a:ln w="19050" cap="flat" cmpd="sng">
              <a:solidFill>
                <a:srgbClr val="FFFFFF"/>
              </a:solidFill>
              <a:prstDash val="solid"/>
              <a:round/>
              <a:headEnd/>
              <a:tailEnd/>
            </a:ln>
            <a:effectLst/>
          </p:spPr>
          <p:txBody>
            <a:bodyPr wrap="none" lIns="0" tIns="0" rIns="0" bIns="0" anchor="ctr">
              <a:noAutofit/>
            </a:bodyPr>
            <a:lstStyle/>
            <a:p>
              <a:endParaRPr lang="en-US" sz="1799" dirty="0"/>
            </a:p>
          </p:txBody>
        </p:sp>
        <p:sp>
          <p:nvSpPr>
            <p:cNvPr id="58" name="Ellipse 186"/>
            <p:cNvSpPr/>
            <p:nvPr/>
          </p:nvSpPr>
          <p:spPr>
            <a:xfrm rot="10800000">
              <a:off x="626400" y="3113448"/>
              <a:ext cx="1101472" cy="836467"/>
            </a:xfrm>
            <a:custGeom>
              <a:avLst/>
              <a:gdLst/>
              <a:ahLst/>
              <a:cxnLst/>
              <a:rect l="l" t="t" r="r" b="b"/>
              <a:pathLst>
                <a:path w="806293" h="612306">
                  <a:moveTo>
                    <a:pt x="117200" y="0"/>
                  </a:moveTo>
                  <a:lnTo>
                    <a:pt x="806293" y="0"/>
                  </a:lnTo>
                  <a:lnTo>
                    <a:pt x="806293" y="612306"/>
                  </a:lnTo>
                  <a:lnTo>
                    <a:pt x="578946" y="612306"/>
                  </a:lnTo>
                  <a:cubicBezTo>
                    <a:pt x="578946" y="547578"/>
                    <a:pt x="526474" y="495106"/>
                    <a:pt x="461746" y="495106"/>
                  </a:cubicBezTo>
                  <a:cubicBezTo>
                    <a:pt x="397018" y="495106"/>
                    <a:pt x="344546" y="547578"/>
                    <a:pt x="344546" y="612306"/>
                  </a:cubicBezTo>
                  <a:lnTo>
                    <a:pt x="117200" y="612306"/>
                  </a:lnTo>
                  <a:lnTo>
                    <a:pt x="117200" y="423353"/>
                  </a:lnTo>
                  <a:cubicBezTo>
                    <a:pt x="52472" y="423353"/>
                    <a:pt x="0" y="370881"/>
                    <a:pt x="0" y="306153"/>
                  </a:cubicBezTo>
                  <a:cubicBezTo>
                    <a:pt x="0" y="241425"/>
                    <a:pt x="52472" y="188953"/>
                    <a:pt x="117200" y="188953"/>
                  </a:cubicBezTo>
                  <a:close/>
                </a:path>
              </a:pathLst>
            </a:custGeom>
            <a:grpFill/>
            <a:ln w="19050" cap="flat" cmpd="sng">
              <a:solidFill>
                <a:srgbClr val="FFFFFF"/>
              </a:solidFill>
              <a:prstDash val="solid"/>
              <a:round/>
              <a:headEnd/>
              <a:tailEnd/>
            </a:ln>
            <a:effectLst/>
          </p:spPr>
          <p:txBody>
            <a:bodyPr wrap="none" lIns="0" tIns="0" rIns="0" bIns="0" anchor="ctr">
              <a:noAutofit/>
            </a:bodyPr>
            <a:lstStyle/>
            <a:p>
              <a:endParaRPr lang="en-US" sz="1799" dirty="0"/>
            </a:p>
          </p:txBody>
        </p:sp>
        <p:sp>
          <p:nvSpPr>
            <p:cNvPr id="59" name="Rechteck 163"/>
            <p:cNvSpPr/>
            <p:nvPr/>
          </p:nvSpPr>
          <p:spPr>
            <a:xfrm rot="10800000">
              <a:off x="1567767" y="2953341"/>
              <a:ext cx="941365" cy="996573"/>
            </a:xfrm>
            <a:custGeom>
              <a:avLst/>
              <a:gdLst/>
              <a:ahLst/>
              <a:cxnLst/>
              <a:rect l="l" t="t" r="r" b="b"/>
              <a:pathLst>
                <a:path w="689093" h="729506">
                  <a:moveTo>
                    <a:pt x="0" y="0"/>
                  </a:moveTo>
                  <a:lnTo>
                    <a:pt x="689093" y="0"/>
                  </a:lnTo>
                  <a:lnTo>
                    <a:pt x="689093" y="188953"/>
                  </a:lnTo>
                  <a:cubicBezTo>
                    <a:pt x="624365" y="188953"/>
                    <a:pt x="571893" y="241425"/>
                    <a:pt x="571893" y="306153"/>
                  </a:cubicBezTo>
                  <a:cubicBezTo>
                    <a:pt x="571893" y="370881"/>
                    <a:pt x="624365" y="423353"/>
                    <a:pt x="689093" y="423353"/>
                  </a:cubicBezTo>
                  <a:lnTo>
                    <a:pt x="689093" y="612306"/>
                  </a:lnTo>
                  <a:lnTo>
                    <a:pt x="461746" y="612306"/>
                  </a:lnTo>
                  <a:cubicBezTo>
                    <a:pt x="461746" y="677034"/>
                    <a:pt x="409274" y="729506"/>
                    <a:pt x="344546" y="729506"/>
                  </a:cubicBezTo>
                  <a:cubicBezTo>
                    <a:pt x="279818" y="729506"/>
                    <a:pt x="227346" y="677034"/>
                    <a:pt x="227346" y="612306"/>
                  </a:cubicBezTo>
                  <a:lnTo>
                    <a:pt x="0" y="612306"/>
                  </a:lnTo>
                  <a:lnTo>
                    <a:pt x="0" y="423353"/>
                  </a:lnTo>
                  <a:cubicBezTo>
                    <a:pt x="64728" y="423353"/>
                    <a:pt x="117200" y="370881"/>
                    <a:pt x="117200" y="306153"/>
                  </a:cubicBezTo>
                  <a:cubicBezTo>
                    <a:pt x="117200" y="241425"/>
                    <a:pt x="64728" y="188953"/>
                    <a:pt x="0" y="188953"/>
                  </a:cubicBezTo>
                  <a:close/>
                </a:path>
              </a:pathLst>
            </a:custGeom>
            <a:grpFill/>
            <a:ln w="19050" cap="flat" cmpd="sng">
              <a:solidFill>
                <a:srgbClr val="FFFFFF"/>
              </a:solidFill>
              <a:prstDash val="solid"/>
              <a:round/>
              <a:headEnd/>
              <a:tailEnd/>
            </a:ln>
            <a:effectLst/>
          </p:spPr>
          <p:txBody>
            <a:bodyPr wrap="none" lIns="0" tIns="0" rIns="0" bIns="0" anchor="ctr">
              <a:noAutofit/>
            </a:bodyPr>
            <a:lstStyle/>
            <a:p>
              <a:endParaRPr lang="en-US" sz="1799" dirty="0"/>
            </a:p>
          </p:txBody>
        </p:sp>
        <p:sp>
          <p:nvSpPr>
            <p:cNvPr id="60" name="Ellipse 183"/>
            <p:cNvSpPr/>
            <p:nvPr/>
          </p:nvSpPr>
          <p:spPr>
            <a:xfrm rot="11908963">
              <a:off x="2579544" y="3429000"/>
              <a:ext cx="1101473" cy="836467"/>
            </a:xfrm>
            <a:custGeom>
              <a:avLst/>
              <a:gdLst/>
              <a:ahLst/>
              <a:cxnLst/>
              <a:rect l="l" t="t" r="r" b="b"/>
              <a:pathLst>
                <a:path w="806294" h="612306">
                  <a:moveTo>
                    <a:pt x="0" y="0"/>
                  </a:moveTo>
                  <a:lnTo>
                    <a:pt x="689093" y="0"/>
                  </a:lnTo>
                  <a:lnTo>
                    <a:pt x="689093" y="188953"/>
                  </a:lnTo>
                  <a:cubicBezTo>
                    <a:pt x="753822" y="188953"/>
                    <a:pt x="806294" y="241425"/>
                    <a:pt x="806294" y="306153"/>
                  </a:cubicBezTo>
                  <a:cubicBezTo>
                    <a:pt x="806294" y="370881"/>
                    <a:pt x="753822" y="423353"/>
                    <a:pt x="689094" y="423353"/>
                  </a:cubicBezTo>
                  <a:lnTo>
                    <a:pt x="689093" y="423353"/>
                  </a:lnTo>
                  <a:lnTo>
                    <a:pt x="689093" y="612306"/>
                  </a:lnTo>
                  <a:lnTo>
                    <a:pt x="461746" y="612306"/>
                  </a:lnTo>
                  <a:cubicBezTo>
                    <a:pt x="461746" y="547578"/>
                    <a:pt x="409274" y="495106"/>
                    <a:pt x="344546" y="495106"/>
                  </a:cubicBezTo>
                  <a:cubicBezTo>
                    <a:pt x="279818" y="495106"/>
                    <a:pt x="227346" y="547578"/>
                    <a:pt x="227346" y="612306"/>
                  </a:cubicBezTo>
                  <a:lnTo>
                    <a:pt x="0" y="612306"/>
                  </a:lnTo>
                  <a:close/>
                </a:path>
              </a:pathLst>
            </a:custGeom>
            <a:solidFill>
              <a:srgbClr val="66667E"/>
            </a:solidFill>
            <a:ln w="19050" cap="flat" cmpd="sng">
              <a:solidFill>
                <a:srgbClr val="FFFFFF"/>
              </a:solidFill>
              <a:prstDash val="solid"/>
              <a:round/>
              <a:headEnd/>
              <a:tailEnd/>
            </a:ln>
            <a:effectLst/>
          </p:spPr>
          <p:txBody>
            <a:bodyPr wrap="none" lIns="0" tIns="0" rIns="0" bIns="0" anchor="ctr">
              <a:noAutofit/>
            </a:bodyPr>
            <a:lstStyle/>
            <a:p>
              <a:endParaRPr lang="en-US" sz="1799" dirty="0"/>
            </a:p>
          </p:txBody>
        </p:sp>
      </p:grpSp>
      <p:grpSp>
        <p:nvGrpSpPr>
          <p:cNvPr id="124" name="Group 123"/>
          <p:cNvGrpSpPr/>
          <p:nvPr/>
        </p:nvGrpSpPr>
        <p:grpSpPr>
          <a:xfrm>
            <a:off x="6314400" y="1415849"/>
            <a:ext cx="3763575" cy="3337508"/>
            <a:chOff x="6248630" y="1592799"/>
            <a:chExt cx="3765535" cy="3339246"/>
          </a:xfrm>
          <a:solidFill>
            <a:srgbClr val="CDD9E1"/>
          </a:solidFill>
        </p:grpSpPr>
        <p:sp>
          <p:nvSpPr>
            <p:cNvPr id="125" name="Freeform 124"/>
            <p:cNvSpPr/>
            <p:nvPr/>
          </p:nvSpPr>
          <p:spPr>
            <a:xfrm>
              <a:off x="8912617" y="2429266"/>
              <a:ext cx="1101473" cy="849600"/>
            </a:xfrm>
            <a:custGeom>
              <a:avLst/>
              <a:gdLst>
                <a:gd name="connsiteX0" fmla="*/ 790877 w 1101473"/>
                <a:gd name="connsiteY0" fmla="*/ 836467 h 844114"/>
                <a:gd name="connsiteX1" fmla="*/ 795959 w 1101473"/>
                <a:gd name="connsiteY1" fmla="*/ 836467 h 844114"/>
                <a:gd name="connsiteX2" fmla="*/ 792518 w 1101473"/>
                <a:gd name="connsiteY2" fmla="*/ 843891 h 844114"/>
                <a:gd name="connsiteX3" fmla="*/ 790877 w 1101473"/>
                <a:gd name="connsiteY3" fmla="*/ 836467 h 844114"/>
                <a:gd name="connsiteX4" fmla="*/ 466003 w 1101473"/>
                <a:gd name="connsiteY4" fmla="*/ 836467 h 844114"/>
                <a:gd name="connsiteX5" fmla="*/ 470702 w 1101473"/>
                <a:gd name="connsiteY5" fmla="*/ 836467 h 844114"/>
                <a:gd name="connsiteX6" fmla="*/ 469261 w 1101473"/>
                <a:gd name="connsiteY6" fmla="*/ 844086 h 844114"/>
                <a:gd name="connsiteX7" fmla="*/ 160107 w 1101473"/>
                <a:gd name="connsiteY7" fmla="*/ 0 h 844114"/>
                <a:gd name="connsiteX8" fmla="*/ 160109 w 1101473"/>
                <a:gd name="connsiteY8" fmla="*/ 0 h 844114"/>
                <a:gd name="connsiteX9" fmla="*/ 160108 w 1101473"/>
                <a:gd name="connsiteY9" fmla="*/ 1 h 844114"/>
                <a:gd name="connsiteX10" fmla="*/ 470684 w 1101473"/>
                <a:gd name="connsiteY10" fmla="*/ 1 h 844114"/>
                <a:gd name="connsiteX11" fmla="*/ 630790 w 1101473"/>
                <a:gd name="connsiteY11" fmla="*/ 160107 h 844114"/>
                <a:gd name="connsiteX12" fmla="*/ 790896 w 1101473"/>
                <a:gd name="connsiteY12" fmla="*/ 1 h 844114"/>
                <a:gd name="connsiteX13" fmla="*/ 1101473 w 1101473"/>
                <a:gd name="connsiteY13" fmla="*/ 1 h 844114"/>
                <a:gd name="connsiteX14" fmla="*/ 1101473 w 1101473"/>
                <a:gd name="connsiteY14" fmla="*/ 0 h 844114"/>
                <a:gd name="connsiteX15" fmla="*/ 1101473 w 1101473"/>
                <a:gd name="connsiteY15" fmla="*/ 0 h 844114"/>
                <a:gd name="connsiteX16" fmla="*/ 1101473 w 1101473"/>
                <a:gd name="connsiteY16" fmla="*/ 836419 h 844114"/>
                <a:gd name="connsiteX17" fmla="*/ 1101473 w 1101473"/>
                <a:gd name="connsiteY17" fmla="*/ 836467 h 844114"/>
                <a:gd name="connsiteX18" fmla="*/ 795959 w 1101473"/>
                <a:gd name="connsiteY18" fmla="*/ 836467 h 844114"/>
                <a:gd name="connsiteX19" fmla="*/ 795981 w 1101473"/>
                <a:gd name="connsiteY19" fmla="*/ 836419 h 844114"/>
                <a:gd name="connsiteX20" fmla="*/ 790896 w 1101473"/>
                <a:gd name="connsiteY20" fmla="*/ 836419 h 844114"/>
                <a:gd name="connsiteX21" fmla="*/ 630790 w 1101473"/>
                <a:gd name="connsiteY21" fmla="*/ 676313 h 844114"/>
                <a:gd name="connsiteX22" fmla="*/ 470683 w 1101473"/>
                <a:gd name="connsiteY22" fmla="*/ 836419 h 844114"/>
                <a:gd name="connsiteX23" fmla="*/ 465982 w 1101473"/>
                <a:gd name="connsiteY23" fmla="*/ 836419 h 844114"/>
                <a:gd name="connsiteX24" fmla="*/ 466003 w 1101473"/>
                <a:gd name="connsiteY24" fmla="*/ 836467 h 844114"/>
                <a:gd name="connsiteX25" fmla="*/ 160119 w 1101473"/>
                <a:gd name="connsiteY25" fmla="*/ 836467 h 844114"/>
                <a:gd name="connsiteX26" fmla="*/ 160106 w 1101473"/>
                <a:gd name="connsiteY26" fmla="*/ 836468 h 844114"/>
                <a:gd name="connsiteX27" fmla="*/ 160106 w 1101473"/>
                <a:gd name="connsiteY27" fmla="*/ 578341 h 844114"/>
                <a:gd name="connsiteX28" fmla="*/ 0 w 1101473"/>
                <a:gd name="connsiteY28" fmla="*/ 418235 h 844114"/>
                <a:gd name="connsiteX29" fmla="*/ 160106 w 1101473"/>
                <a:gd name="connsiteY29" fmla="*/ 258129 h 844114"/>
                <a:gd name="connsiteX30" fmla="*/ 160106 w 1101473"/>
                <a:gd name="connsiteY30" fmla="*/ 1 h 844114"/>
                <a:gd name="connsiteX31" fmla="*/ 160107 w 1101473"/>
                <a:gd name="connsiteY31" fmla="*/ 2 h 844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101473" h="844114">
                  <a:moveTo>
                    <a:pt x="790877" y="836467"/>
                  </a:moveTo>
                  <a:lnTo>
                    <a:pt x="795959" y="836467"/>
                  </a:lnTo>
                  <a:lnTo>
                    <a:pt x="792518" y="843891"/>
                  </a:lnTo>
                  <a:cubicBezTo>
                    <a:pt x="791472" y="844340"/>
                    <a:pt x="790875" y="841991"/>
                    <a:pt x="790877" y="836467"/>
                  </a:cubicBezTo>
                  <a:close/>
                  <a:moveTo>
                    <a:pt x="466003" y="836467"/>
                  </a:moveTo>
                  <a:lnTo>
                    <a:pt x="470702" y="836467"/>
                  </a:lnTo>
                  <a:cubicBezTo>
                    <a:pt x="470704" y="841991"/>
                    <a:pt x="470177" y="844409"/>
                    <a:pt x="469261" y="844086"/>
                  </a:cubicBezTo>
                  <a:close/>
                  <a:moveTo>
                    <a:pt x="160107" y="0"/>
                  </a:moveTo>
                  <a:lnTo>
                    <a:pt x="160109" y="0"/>
                  </a:lnTo>
                  <a:lnTo>
                    <a:pt x="160108" y="1"/>
                  </a:lnTo>
                  <a:lnTo>
                    <a:pt x="470684" y="1"/>
                  </a:lnTo>
                  <a:cubicBezTo>
                    <a:pt x="470684" y="88426"/>
                    <a:pt x="542365" y="160107"/>
                    <a:pt x="630790" y="160107"/>
                  </a:cubicBezTo>
                  <a:cubicBezTo>
                    <a:pt x="719214" y="160107"/>
                    <a:pt x="790896" y="88426"/>
                    <a:pt x="790896" y="1"/>
                  </a:cubicBezTo>
                  <a:lnTo>
                    <a:pt x="1101473" y="1"/>
                  </a:lnTo>
                  <a:lnTo>
                    <a:pt x="1101473" y="0"/>
                  </a:lnTo>
                  <a:lnTo>
                    <a:pt x="1101473" y="0"/>
                  </a:lnTo>
                  <a:lnTo>
                    <a:pt x="1101473" y="836419"/>
                  </a:lnTo>
                  <a:lnTo>
                    <a:pt x="1101473" y="836467"/>
                  </a:lnTo>
                  <a:lnTo>
                    <a:pt x="795959" y="836467"/>
                  </a:lnTo>
                  <a:lnTo>
                    <a:pt x="795981" y="836419"/>
                  </a:lnTo>
                  <a:lnTo>
                    <a:pt x="790896" y="836419"/>
                  </a:lnTo>
                  <a:cubicBezTo>
                    <a:pt x="790896" y="747995"/>
                    <a:pt x="719214" y="676313"/>
                    <a:pt x="630790" y="676313"/>
                  </a:cubicBezTo>
                  <a:cubicBezTo>
                    <a:pt x="542365" y="676313"/>
                    <a:pt x="470683" y="747995"/>
                    <a:pt x="470683" y="836419"/>
                  </a:cubicBezTo>
                  <a:lnTo>
                    <a:pt x="465982" y="836419"/>
                  </a:lnTo>
                  <a:lnTo>
                    <a:pt x="466003" y="836467"/>
                  </a:lnTo>
                  <a:lnTo>
                    <a:pt x="160119" y="836467"/>
                  </a:lnTo>
                  <a:cubicBezTo>
                    <a:pt x="160115" y="836467"/>
                    <a:pt x="160110" y="836468"/>
                    <a:pt x="160106" y="836468"/>
                  </a:cubicBezTo>
                  <a:lnTo>
                    <a:pt x="160106" y="578341"/>
                  </a:lnTo>
                  <a:cubicBezTo>
                    <a:pt x="71682" y="578341"/>
                    <a:pt x="0" y="506659"/>
                    <a:pt x="0" y="418235"/>
                  </a:cubicBezTo>
                  <a:cubicBezTo>
                    <a:pt x="0" y="329810"/>
                    <a:pt x="71682" y="258129"/>
                    <a:pt x="160106" y="258129"/>
                  </a:cubicBezTo>
                  <a:lnTo>
                    <a:pt x="160106" y="1"/>
                  </a:lnTo>
                  <a:lnTo>
                    <a:pt x="160107" y="2"/>
                  </a:lnTo>
                  <a:close/>
                </a:path>
              </a:pathLst>
            </a:custGeom>
            <a:solidFill>
              <a:srgbClr val="CCCCD4"/>
            </a:solidFill>
            <a:ln w="19050" cap="flat" cmpd="sng">
              <a:solidFill>
                <a:srgbClr val="FFFFFF"/>
              </a:solidFill>
              <a:prstDash val="solid"/>
              <a:round/>
              <a:headEnd/>
              <a:tailEnd/>
            </a:ln>
            <a:effectLst/>
          </p:spPr>
          <p:txBody>
            <a:bodyPr wrap="square" lIns="0" tIns="0" rIns="0" bIns="0" anchor="ctr">
              <a:noAutofit/>
            </a:bodyPr>
            <a:lstStyle/>
            <a:p>
              <a:endParaRPr lang="en-US" sz="1799" dirty="0"/>
            </a:p>
          </p:txBody>
        </p:sp>
        <p:sp>
          <p:nvSpPr>
            <p:cNvPr id="126" name="Rechteck 163"/>
            <p:cNvSpPr/>
            <p:nvPr/>
          </p:nvSpPr>
          <p:spPr>
            <a:xfrm>
              <a:off x="7189997" y="1592800"/>
              <a:ext cx="941365" cy="996573"/>
            </a:xfrm>
            <a:custGeom>
              <a:avLst/>
              <a:gdLst/>
              <a:ahLst/>
              <a:cxnLst/>
              <a:rect l="l" t="t" r="r" b="b"/>
              <a:pathLst>
                <a:path w="689093" h="729506">
                  <a:moveTo>
                    <a:pt x="0" y="0"/>
                  </a:moveTo>
                  <a:lnTo>
                    <a:pt x="689093" y="0"/>
                  </a:lnTo>
                  <a:lnTo>
                    <a:pt x="689093" y="188953"/>
                  </a:lnTo>
                  <a:cubicBezTo>
                    <a:pt x="624365" y="188953"/>
                    <a:pt x="571893" y="241425"/>
                    <a:pt x="571893" y="306153"/>
                  </a:cubicBezTo>
                  <a:cubicBezTo>
                    <a:pt x="571893" y="370881"/>
                    <a:pt x="624365" y="423353"/>
                    <a:pt x="689093" y="423353"/>
                  </a:cubicBezTo>
                  <a:lnTo>
                    <a:pt x="689093" y="612306"/>
                  </a:lnTo>
                  <a:lnTo>
                    <a:pt x="461746" y="612306"/>
                  </a:lnTo>
                  <a:cubicBezTo>
                    <a:pt x="461746" y="677034"/>
                    <a:pt x="409274" y="729506"/>
                    <a:pt x="344546" y="729506"/>
                  </a:cubicBezTo>
                  <a:cubicBezTo>
                    <a:pt x="279818" y="729506"/>
                    <a:pt x="227346" y="677034"/>
                    <a:pt x="227346" y="612306"/>
                  </a:cubicBezTo>
                  <a:lnTo>
                    <a:pt x="0" y="612306"/>
                  </a:lnTo>
                  <a:lnTo>
                    <a:pt x="0" y="423353"/>
                  </a:lnTo>
                  <a:cubicBezTo>
                    <a:pt x="64728" y="423353"/>
                    <a:pt x="117200" y="370881"/>
                    <a:pt x="117200" y="306153"/>
                  </a:cubicBezTo>
                  <a:cubicBezTo>
                    <a:pt x="117200" y="241425"/>
                    <a:pt x="64728" y="188953"/>
                    <a:pt x="0" y="188953"/>
                  </a:cubicBezTo>
                  <a:close/>
                </a:path>
              </a:pathLst>
            </a:custGeom>
            <a:solidFill>
              <a:srgbClr val="CCCCD4"/>
            </a:solidFill>
            <a:ln w="19050" cap="flat" cmpd="sng">
              <a:solidFill>
                <a:srgbClr val="FFFFFF"/>
              </a:solidFill>
              <a:prstDash val="solid"/>
              <a:round/>
              <a:headEnd/>
              <a:tailEnd/>
            </a:ln>
            <a:effectLst/>
          </p:spPr>
          <p:txBody>
            <a:bodyPr wrap="none" lIns="0" tIns="0" rIns="0" bIns="0" anchor="ctr">
              <a:noAutofit/>
            </a:bodyPr>
            <a:lstStyle/>
            <a:p>
              <a:endParaRPr lang="en-US" sz="1799" dirty="0"/>
            </a:p>
          </p:txBody>
        </p:sp>
        <p:sp>
          <p:nvSpPr>
            <p:cNvPr id="127" name="Ellipse 183"/>
            <p:cNvSpPr/>
            <p:nvPr/>
          </p:nvSpPr>
          <p:spPr>
            <a:xfrm>
              <a:off x="6248630" y="1592800"/>
              <a:ext cx="1101473" cy="836467"/>
            </a:xfrm>
            <a:custGeom>
              <a:avLst/>
              <a:gdLst/>
              <a:ahLst/>
              <a:cxnLst/>
              <a:rect l="l" t="t" r="r" b="b"/>
              <a:pathLst>
                <a:path w="806294" h="612306">
                  <a:moveTo>
                    <a:pt x="0" y="0"/>
                  </a:moveTo>
                  <a:lnTo>
                    <a:pt x="689093" y="0"/>
                  </a:lnTo>
                  <a:lnTo>
                    <a:pt x="689093" y="188953"/>
                  </a:lnTo>
                  <a:cubicBezTo>
                    <a:pt x="753822" y="188953"/>
                    <a:pt x="806294" y="241425"/>
                    <a:pt x="806294" y="306153"/>
                  </a:cubicBezTo>
                  <a:cubicBezTo>
                    <a:pt x="806294" y="370881"/>
                    <a:pt x="753822" y="423353"/>
                    <a:pt x="689094" y="423353"/>
                  </a:cubicBezTo>
                  <a:lnTo>
                    <a:pt x="689093" y="423353"/>
                  </a:lnTo>
                  <a:lnTo>
                    <a:pt x="689093" y="612306"/>
                  </a:lnTo>
                  <a:lnTo>
                    <a:pt x="461746" y="612306"/>
                  </a:lnTo>
                  <a:cubicBezTo>
                    <a:pt x="461746" y="547578"/>
                    <a:pt x="409274" y="495106"/>
                    <a:pt x="344546" y="495106"/>
                  </a:cubicBezTo>
                  <a:cubicBezTo>
                    <a:pt x="279818" y="495106"/>
                    <a:pt x="227346" y="547578"/>
                    <a:pt x="227346" y="612306"/>
                  </a:cubicBezTo>
                  <a:lnTo>
                    <a:pt x="0" y="612306"/>
                  </a:lnTo>
                  <a:close/>
                </a:path>
              </a:pathLst>
            </a:custGeom>
            <a:solidFill>
              <a:srgbClr val="CCCCD4"/>
            </a:solidFill>
            <a:ln w="19050" cap="flat" cmpd="sng">
              <a:solidFill>
                <a:srgbClr val="FFFFFF"/>
              </a:solidFill>
              <a:prstDash val="solid"/>
              <a:round/>
              <a:headEnd/>
              <a:tailEnd/>
            </a:ln>
            <a:effectLst/>
          </p:spPr>
          <p:txBody>
            <a:bodyPr wrap="none" lIns="0" tIns="0" rIns="0" bIns="0" anchor="ctr">
              <a:noAutofit/>
            </a:bodyPr>
            <a:lstStyle/>
            <a:p>
              <a:endParaRPr lang="en-US" sz="1799" dirty="0"/>
            </a:p>
          </p:txBody>
        </p:sp>
        <p:sp>
          <p:nvSpPr>
            <p:cNvPr id="128" name="Ellipse 197"/>
            <p:cNvSpPr/>
            <p:nvPr/>
          </p:nvSpPr>
          <p:spPr>
            <a:xfrm>
              <a:off x="6248630" y="2269161"/>
              <a:ext cx="941365" cy="1156585"/>
            </a:xfrm>
            <a:custGeom>
              <a:avLst/>
              <a:gdLst/>
              <a:ahLst/>
              <a:cxnLst/>
              <a:rect l="l" t="t" r="r" b="b"/>
              <a:pathLst>
                <a:path w="689093" h="846637">
                  <a:moveTo>
                    <a:pt x="344546" y="0"/>
                  </a:moveTo>
                  <a:cubicBezTo>
                    <a:pt x="409274" y="0"/>
                    <a:pt x="461746" y="52472"/>
                    <a:pt x="461746" y="117200"/>
                  </a:cubicBezTo>
                  <a:lnTo>
                    <a:pt x="689093" y="117200"/>
                  </a:lnTo>
                  <a:lnTo>
                    <a:pt x="689093" y="306153"/>
                  </a:lnTo>
                  <a:cubicBezTo>
                    <a:pt x="624366" y="306154"/>
                    <a:pt x="571894" y="358625"/>
                    <a:pt x="571894" y="423353"/>
                  </a:cubicBezTo>
                  <a:cubicBezTo>
                    <a:pt x="571894" y="488081"/>
                    <a:pt x="624366" y="540553"/>
                    <a:pt x="689093" y="540553"/>
                  </a:cubicBezTo>
                  <a:lnTo>
                    <a:pt x="689093" y="729506"/>
                  </a:lnTo>
                  <a:lnTo>
                    <a:pt x="461732" y="729506"/>
                  </a:lnTo>
                  <a:cubicBezTo>
                    <a:pt x="461709" y="794202"/>
                    <a:pt x="409251" y="846637"/>
                    <a:pt x="344546" y="846637"/>
                  </a:cubicBezTo>
                  <a:cubicBezTo>
                    <a:pt x="279841" y="846637"/>
                    <a:pt x="227384" y="794202"/>
                    <a:pt x="227360" y="729506"/>
                  </a:cubicBezTo>
                  <a:lnTo>
                    <a:pt x="0" y="729506"/>
                  </a:lnTo>
                  <a:lnTo>
                    <a:pt x="0" y="117200"/>
                  </a:lnTo>
                  <a:lnTo>
                    <a:pt x="227346" y="117200"/>
                  </a:lnTo>
                  <a:cubicBezTo>
                    <a:pt x="227346" y="52472"/>
                    <a:pt x="279818" y="0"/>
                    <a:pt x="344546" y="0"/>
                  </a:cubicBezTo>
                  <a:close/>
                </a:path>
              </a:pathLst>
            </a:custGeom>
            <a:solidFill>
              <a:srgbClr val="CCCCD4"/>
            </a:solidFill>
            <a:ln w="19050" cap="flat" cmpd="sng">
              <a:solidFill>
                <a:srgbClr val="FFFFFF"/>
              </a:solidFill>
              <a:prstDash val="solid"/>
              <a:round/>
              <a:headEnd/>
              <a:tailEnd/>
            </a:ln>
            <a:effectLst/>
          </p:spPr>
          <p:txBody>
            <a:bodyPr wrap="none" lIns="0" tIns="0" rIns="0" bIns="0" anchor="ctr">
              <a:noAutofit/>
            </a:bodyPr>
            <a:lstStyle/>
            <a:p>
              <a:endParaRPr lang="en-US" sz="1799" dirty="0"/>
            </a:p>
          </p:txBody>
        </p:sp>
        <p:sp>
          <p:nvSpPr>
            <p:cNvPr id="129" name="Ellipse 188"/>
            <p:cNvSpPr/>
            <p:nvPr/>
          </p:nvSpPr>
          <p:spPr>
            <a:xfrm>
              <a:off x="7029891" y="2429267"/>
              <a:ext cx="1261577" cy="836467"/>
            </a:xfrm>
            <a:custGeom>
              <a:avLst/>
              <a:gdLst/>
              <a:ahLst/>
              <a:cxnLst/>
              <a:rect l="l" t="t" r="r" b="b"/>
              <a:pathLst>
                <a:path w="923493" h="612306">
                  <a:moveTo>
                    <a:pt x="117200" y="0"/>
                  </a:moveTo>
                  <a:lnTo>
                    <a:pt x="344546" y="0"/>
                  </a:lnTo>
                  <a:cubicBezTo>
                    <a:pt x="344546" y="64728"/>
                    <a:pt x="397018" y="117200"/>
                    <a:pt x="461746" y="117200"/>
                  </a:cubicBezTo>
                  <a:cubicBezTo>
                    <a:pt x="526474" y="117200"/>
                    <a:pt x="578946" y="64728"/>
                    <a:pt x="578946" y="0"/>
                  </a:cubicBezTo>
                  <a:lnTo>
                    <a:pt x="806293" y="0"/>
                  </a:lnTo>
                  <a:lnTo>
                    <a:pt x="806293" y="188953"/>
                  </a:lnTo>
                  <a:cubicBezTo>
                    <a:pt x="871021" y="188953"/>
                    <a:pt x="923493" y="241425"/>
                    <a:pt x="923493" y="306153"/>
                  </a:cubicBezTo>
                  <a:cubicBezTo>
                    <a:pt x="923493" y="370881"/>
                    <a:pt x="871021" y="423353"/>
                    <a:pt x="806293" y="423353"/>
                  </a:cubicBezTo>
                  <a:lnTo>
                    <a:pt x="806293" y="612306"/>
                  </a:lnTo>
                  <a:lnTo>
                    <a:pt x="578932" y="612306"/>
                  </a:lnTo>
                  <a:lnTo>
                    <a:pt x="578946" y="612237"/>
                  </a:lnTo>
                  <a:cubicBezTo>
                    <a:pt x="578946" y="547509"/>
                    <a:pt x="526474" y="495037"/>
                    <a:pt x="461746" y="495037"/>
                  </a:cubicBezTo>
                  <a:cubicBezTo>
                    <a:pt x="397018" y="495037"/>
                    <a:pt x="344546" y="547509"/>
                    <a:pt x="344546" y="612237"/>
                  </a:cubicBezTo>
                  <a:cubicBezTo>
                    <a:pt x="344546" y="612260"/>
                    <a:pt x="344546" y="612283"/>
                    <a:pt x="344560" y="612306"/>
                  </a:cubicBezTo>
                  <a:lnTo>
                    <a:pt x="117200" y="612306"/>
                  </a:lnTo>
                  <a:lnTo>
                    <a:pt x="117200" y="423353"/>
                  </a:lnTo>
                  <a:cubicBezTo>
                    <a:pt x="52472" y="423353"/>
                    <a:pt x="0" y="370881"/>
                    <a:pt x="0" y="306153"/>
                  </a:cubicBezTo>
                  <a:cubicBezTo>
                    <a:pt x="0" y="241425"/>
                    <a:pt x="52472" y="188953"/>
                    <a:pt x="117200" y="188953"/>
                  </a:cubicBezTo>
                  <a:close/>
                </a:path>
              </a:pathLst>
            </a:custGeom>
            <a:gradFill flip="none" rotWithShape="1">
              <a:gsLst>
                <a:gs pos="0">
                  <a:srgbClr val="00FFB9"/>
                </a:gs>
                <a:gs pos="100000">
                  <a:srgbClr val="00E6DC"/>
                </a:gs>
              </a:gsLst>
              <a:lin ang="0" scaled="0"/>
              <a:tileRect/>
            </a:gradFill>
            <a:ln w="19050" cap="flat" cmpd="sng">
              <a:solidFill>
                <a:srgbClr val="FFFFFF"/>
              </a:solidFill>
              <a:prstDash val="solid"/>
              <a:round/>
              <a:headEnd/>
              <a:tailEnd/>
            </a:ln>
            <a:effectLst/>
          </p:spPr>
          <p:txBody>
            <a:bodyPr wrap="none" lIns="0" tIns="0" rIns="0" bIns="0" anchor="ctr">
              <a:noAutofit/>
            </a:bodyPr>
            <a:lstStyle/>
            <a:p>
              <a:endParaRPr lang="en-US" sz="1799" dirty="0"/>
            </a:p>
          </p:txBody>
        </p:sp>
        <p:sp>
          <p:nvSpPr>
            <p:cNvPr id="130" name="Freeform 129"/>
            <p:cNvSpPr/>
            <p:nvPr/>
          </p:nvSpPr>
          <p:spPr>
            <a:xfrm>
              <a:off x="7971253" y="1592800"/>
              <a:ext cx="1261577" cy="836468"/>
            </a:xfrm>
            <a:custGeom>
              <a:avLst/>
              <a:gdLst>
                <a:gd name="connsiteX0" fmla="*/ 1101470 w 1261577"/>
                <a:gd name="connsiteY0" fmla="*/ 836467 h 836468"/>
                <a:gd name="connsiteX1" fmla="*/ 1101471 w 1261577"/>
                <a:gd name="connsiteY1" fmla="*/ 836468 h 836468"/>
                <a:gd name="connsiteX2" fmla="*/ 1101470 w 1261577"/>
                <a:gd name="connsiteY2" fmla="*/ 836468 h 836468"/>
                <a:gd name="connsiteX3" fmla="*/ 160106 w 1261577"/>
                <a:gd name="connsiteY3" fmla="*/ 0 h 836468"/>
                <a:gd name="connsiteX4" fmla="*/ 1101471 w 1261577"/>
                <a:gd name="connsiteY4" fmla="*/ 0 h 836468"/>
                <a:gd name="connsiteX5" fmla="*/ 1101471 w 1261577"/>
                <a:gd name="connsiteY5" fmla="*/ 258127 h 836468"/>
                <a:gd name="connsiteX6" fmla="*/ 1261577 w 1261577"/>
                <a:gd name="connsiteY6" fmla="*/ 418233 h 836468"/>
                <a:gd name="connsiteX7" fmla="*/ 1101471 w 1261577"/>
                <a:gd name="connsiteY7" fmla="*/ 578340 h 836468"/>
                <a:gd name="connsiteX8" fmla="*/ 1101471 w 1261577"/>
                <a:gd name="connsiteY8" fmla="*/ 836467 h 836468"/>
                <a:gd name="connsiteX9" fmla="*/ 1101470 w 1261577"/>
                <a:gd name="connsiteY9" fmla="*/ 836467 h 836468"/>
                <a:gd name="connsiteX10" fmla="*/ 790893 w 1261577"/>
                <a:gd name="connsiteY10" fmla="*/ 836467 h 836468"/>
                <a:gd name="connsiteX11" fmla="*/ 630787 w 1261577"/>
                <a:gd name="connsiteY11" fmla="*/ 676361 h 836468"/>
                <a:gd name="connsiteX12" fmla="*/ 470681 w 1261577"/>
                <a:gd name="connsiteY12" fmla="*/ 836467 h 836468"/>
                <a:gd name="connsiteX13" fmla="*/ 160107 w 1261577"/>
                <a:gd name="connsiteY13" fmla="*/ 836467 h 836468"/>
                <a:gd name="connsiteX14" fmla="*/ 160106 w 1261577"/>
                <a:gd name="connsiteY14" fmla="*/ 836467 h 836468"/>
                <a:gd name="connsiteX15" fmla="*/ 160106 w 1261577"/>
                <a:gd name="connsiteY15" fmla="*/ 578340 h 836468"/>
                <a:gd name="connsiteX16" fmla="*/ 0 w 1261577"/>
                <a:gd name="connsiteY16" fmla="*/ 418233 h 836468"/>
                <a:gd name="connsiteX17" fmla="*/ 160106 w 1261577"/>
                <a:gd name="connsiteY17" fmla="*/ 258127 h 836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61577" h="836468">
                  <a:moveTo>
                    <a:pt x="1101470" y="836467"/>
                  </a:moveTo>
                  <a:lnTo>
                    <a:pt x="1101471" y="836468"/>
                  </a:lnTo>
                  <a:lnTo>
                    <a:pt x="1101470" y="836468"/>
                  </a:lnTo>
                  <a:close/>
                  <a:moveTo>
                    <a:pt x="160106" y="0"/>
                  </a:moveTo>
                  <a:lnTo>
                    <a:pt x="1101471" y="0"/>
                  </a:lnTo>
                  <a:lnTo>
                    <a:pt x="1101471" y="258127"/>
                  </a:lnTo>
                  <a:cubicBezTo>
                    <a:pt x="1189896" y="258127"/>
                    <a:pt x="1261577" y="329809"/>
                    <a:pt x="1261577" y="418233"/>
                  </a:cubicBezTo>
                  <a:cubicBezTo>
                    <a:pt x="1261577" y="506658"/>
                    <a:pt x="1189896" y="578340"/>
                    <a:pt x="1101471" y="578340"/>
                  </a:cubicBezTo>
                  <a:lnTo>
                    <a:pt x="1101471" y="836467"/>
                  </a:lnTo>
                  <a:lnTo>
                    <a:pt x="1101470" y="836467"/>
                  </a:lnTo>
                  <a:lnTo>
                    <a:pt x="790893" y="836467"/>
                  </a:lnTo>
                  <a:cubicBezTo>
                    <a:pt x="790893" y="748043"/>
                    <a:pt x="719211" y="676361"/>
                    <a:pt x="630787" y="676361"/>
                  </a:cubicBezTo>
                  <a:cubicBezTo>
                    <a:pt x="542363" y="676361"/>
                    <a:pt x="470681" y="748043"/>
                    <a:pt x="470681" y="836467"/>
                  </a:cubicBezTo>
                  <a:lnTo>
                    <a:pt x="160107" y="836467"/>
                  </a:lnTo>
                  <a:lnTo>
                    <a:pt x="160106" y="836467"/>
                  </a:lnTo>
                  <a:lnTo>
                    <a:pt x="160106" y="578340"/>
                  </a:lnTo>
                  <a:cubicBezTo>
                    <a:pt x="71681" y="578340"/>
                    <a:pt x="0" y="506658"/>
                    <a:pt x="0" y="418233"/>
                  </a:cubicBezTo>
                  <a:cubicBezTo>
                    <a:pt x="0" y="329809"/>
                    <a:pt x="71681" y="258127"/>
                    <a:pt x="160106" y="258127"/>
                  </a:cubicBezTo>
                  <a:close/>
                </a:path>
              </a:pathLst>
            </a:custGeom>
            <a:solidFill>
              <a:srgbClr val="CCCCD4"/>
            </a:solidFill>
            <a:ln w="19050" cap="flat" cmpd="sng">
              <a:solidFill>
                <a:srgbClr val="FFFFFF"/>
              </a:solidFill>
              <a:prstDash val="solid"/>
              <a:round/>
              <a:headEnd/>
              <a:tailEnd/>
            </a:ln>
            <a:effectLst/>
          </p:spPr>
          <p:txBody>
            <a:bodyPr wrap="square" lIns="0" tIns="0" rIns="0" bIns="0" anchor="ctr">
              <a:noAutofit/>
            </a:bodyPr>
            <a:lstStyle/>
            <a:p>
              <a:endParaRPr lang="en-US" sz="1799" dirty="0"/>
            </a:p>
          </p:txBody>
        </p:sp>
        <p:sp>
          <p:nvSpPr>
            <p:cNvPr id="131" name="Freeform 130"/>
            <p:cNvSpPr/>
            <p:nvPr/>
          </p:nvSpPr>
          <p:spPr>
            <a:xfrm>
              <a:off x="8131358" y="2269161"/>
              <a:ext cx="941365" cy="1156585"/>
            </a:xfrm>
            <a:custGeom>
              <a:avLst/>
              <a:gdLst>
                <a:gd name="connsiteX0" fmla="*/ 470682 w 941365"/>
                <a:gd name="connsiteY0" fmla="*/ 0 h 1156585"/>
                <a:gd name="connsiteX1" fmla="*/ 630788 w 941365"/>
                <a:gd name="connsiteY1" fmla="*/ 160106 h 1156585"/>
                <a:gd name="connsiteX2" fmla="*/ 630789 w 941365"/>
                <a:gd name="connsiteY2" fmla="*/ 160106 h 1156585"/>
                <a:gd name="connsiteX3" fmla="*/ 941365 w 941365"/>
                <a:gd name="connsiteY3" fmla="*/ 160106 h 1156585"/>
                <a:gd name="connsiteX4" fmla="*/ 941365 w 941365"/>
                <a:gd name="connsiteY4" fmla="*/ 418233 h 1156585"/>
                <a:gd name="connsiteX5" fmla="*/ 781259 w 941365"/>
                <a:gd name="connsiteY5" fmla="*/ 578339 h 1156585"/>
                <a:gd name="connsiteX6" fmla="*/ 941365 w 941365"/>
                <a:gd name="connsiteY6" fmla="*/ 738446 h 1156585"/>
                <a:gd name="connsiteX7" fmla="*/ 941365 w 941365"/>
                <a:gd name="connsiteY7" fmla="*/ 996573 h 1156585"/>
                <a:gd name="connsiteX8" fmla="*/ 630773 w 941365"/>
                <a:gd name="connsiteY8" fmla="*/ 996573 h 1156585"/>
                <a:gd name="connsiteX9" fmla="*/ 618210 w 941365"/>
                <a:gd name="connsiteY9" fmla="*/ 1058800 h 1156585"/>
                <a:gd name="connsiteX10" fmla="*/ 470686 w 941365"/>
                <a:gd name="connsiteY10" fmla="*/ 1156585 h 1156585"/>
                <a:gd name="connsiteX11" fmla="*/ 310580 w 941365"/>
                <a:gd name="connsiteY11" fmla="*/ 996479 h 1156585"/>
                <a:gd name="connsiteX12" fmla="*/ 310577 w 941365"/>
                <a:gd name="connsiteY12" fmla="*/ 996479 h 1156585"/>
                <a:gd name="connsiteX13" fmla="*/ 310596 w 941365"/>
                <a:gd name="connsiteY13" fmla="*/ 996573 h 1156585"/>
                <a:gd name="connsiteX14" fmla="*/ 4 w 941365"/>
                <a:gd name="connsiteY14" fmla="*/ 996573 h 1156585"/>
                <a:gd name="connsiteX15" fmla="*/ 4 w 941365"/>
                <a:gd name="connsiteY15" fmla="*/ 996479 h 1156585"/>
                <a:gd name="connsiteX16" fmla="*/ 4 w 941365"/>
                <a:gd name="connsiteY16" fmla="*/ 738446 h 1156585"/>
                <a:gd name="connsiteX17" fmla="*/ 160110 w 941365"/>
                <a:gd name="connsiteY17" fmla="*/ 578340 h 1156585"/>
                <a:gd name="connsiteX18" fmla="*/ 4 w 941365"/>
                <a:gd name="connsiteY18" fmla="*/ 418234 h 1156585"/>
                <a:gd name="connsiteX19" fmla="*/ 4 w 941365"/>
                <a:gd name="connsiteY19" fmla="*/ 160114 h 1156585"/>
                <a:gd name="connsiteX20" fmla="*/ 0 w 941365"/>
                <a:gd name="connsiteY20" fmla="*/ 160106 h 1156585"/>
                <a:gd name="connsiteX21" fmla="*/ 4 w 941365"/>
                <a:gd name="connsiteY21" fmla="*/ 160106 h 1156585"/>
                <a:gd name="connsiteX22" fmla="*/ 310576 w 941365"/>
                <a:gd name="connsiteY22" fmla="*/ 160106 h 1156585"/>
                <a:gd name="connsiteX23" fmla="*/ 470682 w 941365"/>
                <a:gd name="connsiteY23" fmla="*/ 0 h 1156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41365" h="1156585">
                  <a:moveTo>
                    <a:pt x="470682" y="0"/>
                  </a:moveTo>
                  <a:cubicBezTo>
                    <a:pt x="559106" y="0"/>
                    <a:pt x="630788" y="71682"/>
                    <a:pt x="630788" y="160106"/>
                  </a:cubicBezTo>
                  <a:lnTo>
                    <a:pt x="630789" y="160106"/>
                  </a:lnTo>
                  <a:lnTo>
                    <a:pt x="941365" y="160106"/>
                  </a:lnTo>
                  <a:lnTo>
                    <a:pt x="941365" y="418233"/>
                  </a:lnTo>
                  <a:cubicBezTo>
                    <a:pt x="852940" y="418233"/>
                    <a:pt x="781259" y="489915"/>
                    <a:pt x="781259" y="578339"/>
                  </a:cubicBezTo>
                  <a:cubicBezTo>
                    <a:pt x="781259" y="666764"/>
                    <a:pt x="852940" y="738446"/>
                    <a:pt x="941365" y="738446"/>
                  </a:cubicBezTo>
                  <a:lnTo>
                    <a:pt x="941365" y="996573"/>
                  </a:lnTo>
                  <a:lnTo>
                    <a:pt x="630773" y="996573"/>
                  </a:lnTo>
                  <a:lnTo>
                    <a:pt x="618210" y="1058800"/>
                  </a:lnTo>
                  <a:cubicBezTo>
                    <a:pt x="593905" y="1116264"/>
                    <a:pt x="537004" y="1156585"/>
                    <a:pt x="470686" y="1156585"/>
                  </a:cubicBezTo>
                  <a:cubicBezTo>
                    <a:pt x="382262" y="1156585"/>
                    <a:pt x="310580" y="1084903"/>
                    <a:pt x="310580" y="996479"/>
                  </a:cubicBezTo>
                  <a:lnTo>
                    <a:pt x="310577" y="996479"/>
                  </a:lnTo>
                  <a:cubicBezTo>
                    <a:pt x="310577" y="996510"/>
                    <a:pt x="310577" y="996542"/>
                    <a:pt x="310596" y="996573"/>
                  </a:cubicBezTo>
                  <a:lnTo>
                    <a:pt x="4" y="996573"/>
                  </a:lnTo>
                  <a:lnTo>
                    <a:pt x="4" y="996479"/>
                  </a:lnTo>
                  <a:lnTo>
                    <a:pt x="4" y="738446"/>
                  </a:lnTo>
                  <a:cubicBezTo>
                    <a:pt x="88429" y="738446"/>
                    <a:pt x="160110" y="666764"/>
                    <a:pt x="160110" y="578340"/>
                  </a:cubicBezTo>
                  <a:cubicBezTo>
                    <a:pt x="160110" y="489915"/>
                    <a:pt x="88429" y="418234"/>
                    <a:pt x="4" y="418234"/>
                  </a:cubicBezTo>
                  <a:lnTo>
                    <a:pt x="4" y="160114"/>
                  </a:lnTo>
                  <a:lnTo>
                    <a:pt x="0" y="160106"/>
                  </a:lnTo>
                  <a:lnTo>
                    <a:pt x="4" y="160106"/>
                  </a:lnTo>
                  <a:lnTo>
                    <a:pt x="310576" y="160106"/>
                  </a:lnTo>
                  <a:cubicBezTo>
                    <a:pt x="310576" y="71682"/>
                    <a:pt x="382258" y="0"/>
                    <a:pt x="470682" y="0"/>
                  </a:cubicBezTo>
                  <a:close/>
                </a:path>
              </a:pathLst>
            </a:custGeom>
            <a:solidFill>
              <a:srgbClr val="CCCCD4"/>
            </a:solidFill>
            <a:ln w="19050" cap="flat" cmpd="sng">
              <a:solidFill>
                <a:srgbClr val="FFFFFF"/>
              </a:solidFill>
              <a:prstDash val="solid"/>
              <a:round/>
              <a:headEnd/>
              <a:tailEnd/>
            </a:ln>
            <a:effectLst/>
          </p:spPr>
          <p:txBody>
            <a:bodyPr wrap="square" lIns="0" tIns="0" rIns="0" bIns="0" anchor="ctr">
              <a:noAutofit/>
            </a:bodyPr>
            <a:lstStyle/>
            <a:p>
              <a:endParaRPr lang="en-US" sz="1799" dirty="0"/>
            </a:p>
          </p:txBody>
        </p:sp>
        <p:sp>
          <p:nvSpPr>
            <p:cNvPr id="132" name="Freeform 131"/>
            <p:cNvSpPr/>
            <p:nvPr/>
          </p:nvSpPr>
          <p:spPr>
            <a:xfrm>
              <a:off x="9072725" y="1592799"/>
              <a:ext cx="941439" cy="996574"/>
            </a:xfrm>
            <a:custGeom>
              <a:avLst/>
              <a:gdLst>
                <a:gd name="connsiteX0" fmla="*/ 0 w 941439"/>
                <a:gd name="connsiteY0" fmla="*/ 0 h 996574"/>
                <a:gd name="connsiteX1" fmla="*/ 941366 w 941439"/>
                <a:gd name="connsiteY1" fmla="*/ 0 h 996574"/>
                <a:gd name="connsiteX2" fmla="*/ 941366 w 941439"/>
                <a:gd name="connsiteY2" fmla="*/ 820491 h 996574"/>
                <a:gd name="connsiteX3" fmla="*/ 941439 w 941439"/>
                <a:gd name="connsiteY3" fmla="*/ 820667 h 996574"/>
                <a:gd name="connsiteX4" fmla="*/ 941366 w 941439"/>
                <a:gd name="connsiteY4" fmla="*/ 836359 h 996574"/>
                <a:gd name="connsiteX5" fmla="*/ 941366 w 941439"/>
                <a:gd name="connsiteY5" fmla="*/ 836467 h 996574"/>
                <a:gd name="connsiteX6" fmla="*/ 941366 w 941439"/>
                <a:gd name="connsiteY6" fmla="*/ 836467 h 996574"/>
                <a:gd name="connsiteX7" fmla="*/ 941366 w 941439"/>
                <a:gd name="connsiteY7" fmla="*/ 836468 h 996574"/>
                <a:gd name="connsiteX8" fmla="*/ 630789 w 941439"/>
                <a:gd name="connsiteY8" fmla="*/ 836468 h 996574"/>
                <a:gd name="connsiteX9" fmla="*/ 470683 w 941439"/>
                <a:gd name="connsiteY9" fmla="*/ 996574 h 996574"/>
                <a:gd name="connsiteX10" fmla="*/ 310577 w 941439"/>
                <a:gd name="connsiteY10" fmla="*/ 836468 h 996574"/>
                <a:gd name="connsiteX11" fmla="*/ 1 w 941439"/>
                <a:gd name="connsiteY11" fmla="*/ 836468 h 996574"/>
                <a:gd name="connsiteX12" fmla="*/ 2 w 941439"/>
                <a:gd name="connsiteY12" fmla="*/ 836467 h 996574"/>
                <a:gd name="connsiteX13" fmla="*/ 0 w 941439"/>
                <a:gd name="connsiteY13" fmla="*/ 836467 h 996574"/>
                <a:gd name="connsiteX14" fmla="*/ 0 w 941439"/>
                <a:gd name="connsiteY14" fmla="*/ 578341 h 996574"/>
                <a:gd name="connsiteX15" fmla="*/ 160106 w 941439"/>
                <a:gd name="connsiteY15" fmla="*/ 418234 h 996574"/>
                <a:gd name="connsiteX16" fmla="*/ 0 w 941439"/>
                <a:gd name="connsiteY16" fmla="*/ 258128 h 996574"/>
                <a:gd name="connsiteX17" fmla="*/ 0 w 941439"/>
                <a:gd name="connsiteY17" fmla="*/ 258127 h 996574"/>
                <a:gd name="connsiteX18" fmla="*/ 0 w 941439"/>
                <a:gd name="connsiteY18" fmla="*/ 1 h 996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41439" h="996574">
                  <a:moveTo>
                    <a:pt x="0" y="0"/>
                  </a:moveTo>
                  <a:lnTo>
                    <a:pt x="941366" y="0"/>
                  </a:lnTo>
                  <a:lnTo>
                    <a:pt x="941366" y="820491"/>
                  </a:lnTo>
                  <a:lnTo>
                    <a:pt x="941439" y="820667"/>
                  </a:lnTo>
                  <a:lnTo>
                    <a:pt x="941366" y="836359"/>
                  </a:lnTo>
                  <a:lnTo>
                    <a:pt x="941366" y="836467"/>
                  </a:lnTo>
                  <a:lnTo>
                    <a:pt x="941366" y="836467"/>
                  </a:lnTo>
                  <a:lnTo>
                    <a:pt x="941366" y="836468"/>
                  </a:lnTo>
                  <a:lnTo>
                    <a:pt x="630789" y="836468"/>
                  </a:lnTo>
                  <a:cubicBezTo>
                    <a:pt x="630789" y="924893"/>
                    <a:pt x="559107" y="996574"/>
                    <a:pt x="470683" y="996574"/>
                  </a:cubicBezTo>
                  <a:cubicBezTo>
                    <a:pt x="382258" y="996574"/>
                    <a:pt x="310577" y="924893"/>
                    <a:pt x="310577" y="836468"/>
                  </a:cubicBezTo>
                  <a:lnTo>
                    <a:pt x="1" y="836468"/>
                  </a:lnTo>
                  <a:lnTo>
                    <a:pt x="2" y="836467"/>
                  </a:lnTo>
                  <a:lnTo>
                    <a:pt x="0" y="836467"/>
                  </a:lnTo>
                  <a:lnTo>
                    <a:pt x="0" y="578341"/>
                  </a:lnTo>
                  <a:cubicBezTo>
                    <a:pt x="88425" y="578341"/>
                    <a:pt x="160106" y="506659"/>
                    <a:pt x="160106" y="418234"/>
                  </a:cubicBezTo>
                  <a:cubicBezTo>
                    <a:pt x="160106" y="329810"/>
                    <a:pt x="88425" y="258128"/>
                    <a:pt x="0" y="258128"/>
                  </a:cubicBezTo>
                  <a:lnTo>
                    <a:pt x="0" y="258127"/>
                  </a:lnTo>
                  <a:lnTo>
                    <a:pt x="0" y="1"/>
                  </a:lnTo>
                  <a:close/>
                </a:path>
              </a:pathLst>
            </a:custGeom>
            <a:solidFill>
              <a:srgbClr val="CCCCD4"/>
            </a:solidFill>
            <a:ln w="19050" cap="flat" cmpd="sng">
              <a:solidFill>
                <a:srgbClr val="FFFFFF"/>
              </a:solidFill>
              <a:prstDash val="solid"/>
              <a:round/>
              <a:headEnd/>
              <a:tailEnd/>
            </a:ln>
            <a:effectLst/>
          </p:spPr>
          <p:txBody>
            <a:bodyPr wrap="square" lIns="0" tIns="0" rIns="0" bIns="0" anchor="ctr">
              <a:noAutofit/>
            </a:bodyPr>
            <a:lstStyle/>
            <a:p>
              <a:endParaRPr lang="en-US" sz="1799" dirty="0"/>
            </a:p>
          </p:txBody>
        </p:sp>
        <p:sp>
          <p:nvSpPr>
            <p:cNvPr id="133" name="Freeform 132"/>
            <p:cNvSpPr/>
            <p:nvPr/>
          </p:nvSpPr>
          <p:spPr>
            <a:xfrm flipH="1">
              <a:off x="6248630" y="3266293"/>
              <a:ext cx="1101473" cy="846000"/>
            </a:xfrm>
            <a:custGeom>
              <a:avLst/>
              <a:gdLst>
                <a:gd name="connsiteX0" fmla="*/ 790877 w 1101473"/>
                <a:gd name="connsiteY0" fmla="*/ 836467 h 844114"/>
                <a:gd name="connsiteX1" fmla="*/ 795959 w 1101473"/>
                <a:gd name="connsiteY1" fmla="*/ 836467 h 844114"/>
                <a:gd name="connsiteX2" fmla="*/ 792518 w 1101473"/>
                <a:gd name="connsiteY2" fmla="*/ 843891 h 844114"/>
                <a:gd name="connsiteX3" fmla="*/ 790877 w 1101473"/>
                <a:gd name="connsiteY3" fmla="*/ 836467 h 844114"/>
                <a:gd name="connsiteX4" fmla="*/ 466003 w 1101473"/>
                <a:gd name="connsiteY4" fmla="*/ 836467 h 844114"/>
                <a:gd name="connsiteX5" fmla="*/ 470702 w 1101473"/>
                <a:gd name="connsiteY5" fmla="*/ 836467 h 844114"/>
                <a:gd name="connsiteX6" fmla="*/ 469261 w 1101473"/>
                <a:gd name="connsiteY6" fmla="*/ 844086 h 844114"/>
                <a:gd name="connsiteX7" fmla="*/ 160107 w 1101473"/>
                <a:gd name="connsiteY7" fmla="*/ 0 h 844114"/>
                <a:gd name="connsiteX8" fmla="*/ 160109 w 1101473"/>
                <a:gd name="connsiteY8" fmla="*/ 0 h 844114"/>
                <a:gd name="connsiteX9" fmla="*/ 160108 w 1101473"/>
                <a:gd name="connsiteY9" fmla="*/ 1 h 844114"/>
                <a:gd name="connsiteX10" fmla="*/ 470684 w 1101473"/>
                <a:gd name="connsiteY10" fmla="*/ 1 h 844114"/>
                <a:gd name="connsiteX11" fmla="*/ 630790 w 1101473"/>
                <a:gd name="connsiteY11" fmla="*/ 160107 h 844114"/>
                <a:gd name="connsiteX12" fmla="*/ 790896 w 1101473"/>
                <a:gd name="connsiteY12" fmla="*/ 1 h 844114"/>
                <a:gd name="connsiteX13" fmla="*/ 1101473 w 1101473"/>
                <a:gd name="connsiteY13" fmla="*/ 1 h 844114"/>
                <a:gd name="connsiteX14" fmla="*/ 1101473 w 1101473"/>
                <a:gd name="connsiteY14" fmla="*/ 0 h 844114"/>
                <a:gd name="connsiteX15" fmla="*/ 1101473 w 1101473"/>
                <a:gd name="connsiteY15" fmla="*/ 0 h 844114"/>
                <a:gd name="connsiteX16" fmla="*/ 1101473 w 1101473"/>
                <a:gd name="connsiteY16" fmla="*/ 836419 h 844114"/>
                <a:gd name="connsiteX17" fmla="*/ 1101473 w 1101473"/>
                <a:gd name="connsiteY17" fmla="*/ 836467 h 844114"/>
                <a:gd name="connsiteX18" fmla="*/ 795959 w 1101473"/>
                <a:gd name="connsiteY18" fmla="*/ 836467 h 844114"/>
                <a:gd name="connsiteX19" fmla="*/ 795981 w 1101473"/>
                <a:gd name="connsiteY19" fmla="*/ 836419 h 844114"/>
                <a:gd name="connsiteX20" fmla="*/ 790896 w 1101473"/>
                <a:gd name="connsiteY20" fmla="*/ 836419 h 844114"/>
                <a:gd name="connsiteX21" fmla="*/ 630790 w 1101473"/>
                <a:gd name="connsiteY21" fmla="*/ 676313 h 844114"/>
                <a:gd name="connsiteX22" fmla="*/ 470683 w 1101473"/>
                <a:gd name="connsiteY22" fmla="*/ 836419 h 844114"/>
                <a:gd name="connsiteX23" fmla="*/ 465982 w 1101473"/>
                <a:gd name="connsiteY23" fmla="*/ 836419 h 844114"/>
                <a:gd name="connsiteX24" fmla="*/ 466003 w 1101473"/>
                <a:gd name="connsiteY24" fmla="*/ 836467 h 844114"/>
                <a:gd name="connsiteX25" fmla="*/ 160119 w 1101473"/>
                <a:gd name="connsiteY25" fmla="*/ 836467 h 844114"/>
                <a:gd name="connsiteX26" fmla="*/ 160106 w 1101473"/>
                <a:gd name="connsiteY26" fmla="*/ 836468 h 844114"/>
                <a:gd name="connsiteX27" fmla="*/ 160106 w 1101473"/>
                <a:gd name="connsiteY27" fmla="*/ 578341 h 844114"/>
                <a:gd name="connsiteX28" fmla="*/ 0 w 1101473"/>
                <a:gd name="connsiteY28" fmla="*/ 418235 h 844114"/>
                <a:gd name="connsiteX29" fmla="*/ 160106 w 1101473"/>
                <a:gd name="connsiteY29" fmla="*/ 258129 h 844114"/>
                <a:gd name="connsiteX30" fmla="*/ 160106 w 1101473"/>
                <a:gd name="connsiteY30" fmla="*/ 1 h 844114"/>
                <a:gd name="connsiteX31" fmla="*/ 160107 w 1101473"/>
                <a:gd name="connsiteY31" fmla="*/ 2 h 844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101473" h="844114">
                  <a:moveTo>
                    <a:pt x="790877" y="836467"/>
                  </a:moveTo>
                  <a:lnTo>
                    <a:pt x="795959" y="836467"/>
                  </a:lnTo>
                  <a:lnTo>
                    <a:pt x="792518" y="843891"/>
                  </a:lnTo>
                  <a:cubicBezTo>
                    <a:pt x="791472" y="844340"/>
                    <a:pt x="790875" y="841991"/>
                    <a:pt x="790877" y="836467"/>
                  </a:cubicBezTo>
                  <a:close/>
                  <a:moveTo>
                    <a:pt x="466003" y="836467"/>
                  </a:moveTo>
                  <a:lnTo>
                    <a:pt x="470702" y="836467"/>
                  </a:lnTo>
                  <a:cubicBezTo>
                    <a:pt x="470704" y="841991"/>
                    <a:pt x="470177" y="844409"/>
                    <a:pt x="469261" y="844086"/>
                  </a:cubicBezTo>
                  <a:close/>
                  <a:moveTo>
                    <a:pt x="160107" y="0"/>
                  </a:moveTo>
                  <a:lnTo>
                    <a:pt x="160109" y="0"/>
                  </a:lnTo>
                  <a:lnTo>
                    <a:pt x="160108" y="1"/>
                  </a:lnTo>
                  <a:lnTo>
                    <a:pt x="470684" y="1"/>
                  </a:lnTo>
                  <a:cubicBezTo>
                    <a:pt x="470684" y="88426"/>
                    <a:pt x="542365" y="160107"/>
                    <a:pt x="630790" y="160107"/>
                  </a:cubicBezTo>
                  <a:cubicBezTo>
                    <a:pt x="719214" y="160107"/>
                    <a:pt x="790896" y="88426"/>
                    <a:pt x="790896" y="1"/>
                  </a:cubicBezTo>
                  <a:lnTo>
                    <a:pt x="1101473" y="1"/>
                  </a:lnTo>
                  <a:lnTo>
                    <a:pt x="1101473" y="0"/>
                  </a:lnTo>
                  <a:lnTo>
                    <a:pt x="1101473" y="0"/>
                  </a:lnTo>
                  <a:lnTo>
                    <a:pt x="1101473" y="836419"/>
                  </a:lnTo>
                  <a:lnTo>
                    <a:pt x="1101473" y="836467"/>
                  </a:lnTo>
                  <a:lnTo>
                    <a:pt x="795959" y="836467"/>
                  </a:lnTo>
                  <a:lnTo>
                    <a:pt x="795981" y="836419"/>
                  </a:lnTo>
                  <a:lnTo>
                    <a:pt x="790896" y="836419"/>
                  </a:lnTo>
                  <a:cubicBezTo>
                    <a:pt x="790896" y="747995"/>
                    <a:pt x="719214" y="676313"/>
                    <a:pt x="630790" y="676313"/>
                  </a:cubicBezTo>
                  <a:cubicBezTo>
                    <a:pt x="542365" y="676313"/>
                    <a:pt x="470683" y="747995"/>
                    <a:pt x="470683" y="836419"/>
                  </a:cubicBezTo>
                  <a:lnTo>
                    <a:pt x="465982" y="836419"/>
                  </a:lnTo>
                  <a:lnTo>
                    <a:pt x="466003" y="836467"/>
                  </a:lnTo>
                  <a:lnTo>
                    <a:pt x="160119" y="836467"/>
                  </a:lnTo>
                  <a:cubicBezTo>
                    <a:pt x="160115" y="836467"/>
                    <a:pt x="160110" y="836468"/>
                    <a:pt x="160106" y="836468"/>
                  </a:cubicBezTo>
                  <a:lnTo>
                    <a:pt x="160106" y="578341"/>
                  </a:lnTo>
                  <a:cubicBezTo>
                    <a:pt x="71682" y="578341"/>
                    <a:pt x="0" y="506659"/>
                    <a:pt x="0" y="418235"/>
                  </a:cubicBezTo>
                  <a:cubicBezTo>
                    <a:pt x="0" y="329810"/>
                    <a:pt x="71682" y="258129"/>
                    <a:pt x="160106" y="258129"/>
                  </a:cubicBezTo>
                  <a:lnTo>
                    <a:pt x="160106" y="1"/>
                  </a:lnTo>
                  <a:lnTo>
                    <a:pt x="160107" y="2"/>
                  </a:lnTo>
                  <a:close/>
                </a:path>
              </a:pathLst>
            </a:custGeom>
            <a:solidFill>
              <a:srgbClr val="CCCCD4"/>
            </a:solidFill>
            <a:ln w="19050" cap="flat" cmpd="sng">
              <a:solidFill>
                <a:srgbClr val="FFFFFF"/>
              </a:solidFill>
              <a:prstDash val="solid"/>
              <a:round/>
              <a:headEnd/>
              <a:tailEnd/>
            </a:ln>
            <a:effectLst/>
          </p:spPr>
          <p:txBody>
            <a:bodyPr wrap="square" lIns="0" tIns="0" rIns="0" bIns="0" anchor="ctr">
              <a:noAutofit/>
            </a:bodyPr>
            <a:lstStyle/>
            <a:p>
              <a:endParaRPr lang="en-US" sz="1799" dirty="0"/>
            </a:p>
          </p:txBody>
        </p:sp>
        <p:sp>
          <p:nvSpPr>
            <p:cNvPr id="134" name="Ellipse 197"/>
            <p:cNvSpPr/>
            <p:nvPr/>
          </p:nvSpPr>
          <p:spPr>
            <a:xfrm flipH="1">
              <a:off x="9072725" y="3106188"/>
              <a:ext cx="941365" cy="1156585"/>
            </a:xfrm>
            <a:custGeom>
              <a:avLst/>
              <a:gdLst/>
              <a:ahLst/>
              <a:cxnLst/>
              <a:rect l="l" t="t" r="r" b="b"/>
              <a:pathLst>
                <a:path w="689093" h="846637">
                  <a:moveTo>
                    <a:pt x="344546" y="0"/>
                  </a:moveTo>
                  <a:cubicBezTo>
                    <a:pt x="409274" y="0"/>
                    <a:pt x="461746" y="52472"/>
                    <a:pt x="461746" y="117200"/>
                  </a:cubicBezTo>
                  <a:lnTo>
                    <a:pt x="689093" y="117200"/>
                  </a:lnTo>
                  <a:lnTo>
                    <a:pt x="689093" y="306153"/>
                  </a:lnTo>
                  <a:cubicBezTo>
                    <a:pt x="624366" y="306154"/>
                    <a:pt x="571894" y="358625"/>
                    <a:pt x="571894" y="423353"/>
                  </a:cubicBezTo>
                  <a:cubicBezTo>
                    <a:pt x="571894" y="488081"/>
                    <a:pt x="624366" y="540553"/>
                    <a:pt x="689093" y="540553"/>
                  </a:cubicBezTo>
                  <a:lnTo>
                    <a:pt x="689093" y="729506"/>
                  </a:lnTo>
                  <a:lnTo>
                    <a:pt x="461732" y="729506"/>
                  </a:lnTo>
                  <a:cubicBezTo>
                    <a:pt x="461709" y="794202"/>
                    <a:pt x="409251" y="846637"/>
                    <a:pt x="344546" y="846637"/>
                  </a:cubicBezTo>
                  <a:cubicBezTo>
                    <a:pt x="279841" y="846637"/>
                    <a:pt x="227384" y="794202"/>
                    <a:pt x="227360" y="729506"/>
                  </a:cubicBezTo>
                  <a:lnTo>
                    <a:pt x="0" y="729506"/>
                  </a:lnTo>
                  <a:lnTo>
                    <a:pt x="0" y="117200"/>
                  </a:lnTo>
                  <a:lnTo>
                    <a:pt x="227346" y="117200"/>
                  </a:lnTo>
                  <a:cubicBezTo>
                    <a:pt x="227346" y="52472"/>
                    <a:pt x="279818" y="0"/>
                    <a:pt x="344546" y="0"/>
                  </a:cubicBezTo>
                  <a:close/>
                </a:path>
              </a:pathLst>
            </a:custGeom>
            <a:solidFill>
              <a:srgbClr val="CCCCD4"/>
            </a:solidFill>
            <a:ln w="19050" cap="flat" cmpd="sng">
              <a:solidFill>
                <a:srgbClr val="FFFFFF"/>
              </a:solidFill>
              <a:prstDash val="solid"/>
              <a:round/>
              <a:headEnd/>
              <a:tailEnd/>
            </a:ln>
            <a:effectLst/>
          </p:spPr>
          <p:txBody>
            <a:bodyPr wrap="none" lIns="0" tIns="0" rIns="0" bIns="0" anchor="ctr">
              <a:noAutofit/>
            </a:bodyPr>
            <a:lstStyle/>
            <a:p>
              <a:endParaRPr lang="en-US" sz="1799" dirty="0"/>
            </a:p>
          </p:txBody>
        </p:sp>
        <p:sp>
          <p:nvSpPr>
            <p:cNvPr id="135" name="Ellipse 188"/>
            <p:cNvSpPr/>
            <p:nvPr/>
          </p:nvSpPr>
          <p:spPr>
            <a:xfrm flipH="1">
              <a:off x="7971252" y="3266294"/>
              <a:ext cx="1261577" cy="836467"/>
            </a:xfrm>
            <a:custGeom>
              <a:avLst/>
              <a:gdLst/>
              <a:ahLst/>
              <a:cxnLst/>
              <a:rect l="l" t="t" r="r" b="b"/>
              <a:pathLst>
                <a:path w="923493" h="612306">
                  <a:moveTo>
                    <a:pt x="117200" y="0"/>
                  </a:moveTo>
                  <a:lnTo>
                    <a:pt x="344546" y="0"/>
                  </a:lnTo>
                  <a:cubicBezTo>
                    <a:pt x="344546" y="64728"/>
                    <a:pt x="397018" y="117200"/>
                    <a:pt x="461746" y="117200"/>
                  </a:cubicBezTo>
                  <a:cubicBezTo>
                    <a:pt x="526474" y="117200"/>
                    <a:pt x="578946" y="64728"/>
                    <a:pt x="578946" y="0"/>
                  </a:cubicBezTo>
                  <a:lnTo>
                    <a:pt x="806293" y="0"/>
                  </a:lnTo>
                  <a:lnTo>
                    <a:pt x="806293" y="188953"/>
                  </a:lnTo>
                  <a:cubicBezTo>
                    <a:pt x="871021" y="188953"/>
                    <a:pt x="923493" y="241425"/>
                    <a:pt x="923493" y="306153"/>
                  </a:cubicBezTo>
                  <a:cubicBezTo>
                    <a:pt x="923493" y="370881"/>
                    <a:pt x="871021" y="423353"/>
                    <a:pt x="806293" y="423353"/>
                  </a:cubicBezTo>
                  <a:lnTo>
                    <a:pt x="806293" y="612306"/>
                  </a:lnTo>
                  <a:lnTo>
                    <a:pt x="578932" y="612306"/>
                  </a:lnTo>
                  <a:lnTo>
                    <a:pt x="578946" y="612237"/>
                  </a:lnTo>
                  <a:cubicBezTo>
                    <a:pt x="578946" y="547509"/>
                    <a:pt x="526474" y="495037"/>
                    <a:pt x="461746" y="495037"/>
                  </a:cubicBezTo>
                  <a:cubicBezTo>
                    <a:pt x="397018" y="495037"/>
                    <a:pt x="344546" y="547509"/>
                    <a:pt x="344546" y="612237"/>
                  </a:cubicBezTo>
                  <a:cubicBezTo>
                    <a:pt x="344546" y="612260"/>
                    <a:pt x="344546" y="612283"/>
                    <a:pt x="344560" y="612306"/>
                  </a:cubicBezTo>
                  <a:lnTo>
                    <a:pt x="117200" y="612306"/>
                  </a:lnTo>
                  <a:lnTo>
                    <a:pt x="117200" y="423353"/>
                  </a:lnTo>
                  <a:cubicBezTo>
                    <a:pt x="52472" y="423353"/>
                    <a:pt x="0" y="370881"/>
                    <a:pt x="0" y="306153"/>
                  </a:cubicBezTo>
                  <a:cubicBezTo>
                    <a:pt x="0" y="241425"/>
                    <a:pt x="52472" y="188953"/>
                    <a:pt x="117200" y="188953"/>
                  </a:cubicBezTo>
                  <a:close/>
                </a:path>
              </a:pathLst>
            </a:custGeom>
            <a:solidFill>
              <a:srgbClr val="CCCCD4"/>
            </a:solidFill>
            <a:ln w="19050" cap="flat" cmpd="sng">
              <a:solidFill>
                <a:srgbClr val="FFFFFF"/>
              </a:solidFill>
              <a:prstDash val="solid"/>
              <a:round/>
              <a:headEnd/>
              <a:tailEnd/>
            </a:ln>
            <a:effectLst/>
          </p:spPr>
          <p:txBody>
            <a:bodyPr wrap="none" lIns="0" tIns="0" rIns="0" bIns="0" anchor="ctr">
              <a:noAutofit/>
            </a:bodyPr>
            <a:lstStyle/>
            <a:p>
              <a:endParaRPr lang="en-US" sz="1799" dirty="0"/>
            </a:p>
          </p:txBody>
        </p:sp>
        <p:sp>
          <p:nvSpPr>
            <p:cNvPr id="136" name="Freeform 135"/>
            <p:cNvSpPr/>
            <p:nvPr/>
          </p:nvSpPr>
          <p:spPr>
            <a:xfrm flipH="1">
              <a:off x="7189997" y="3106188"/>
              <a:ext cx="941365" cy="1156585"/>
            </a:xfrm>
            <a:custGeom>
              <a:avLst/>
              <a:gdLst>
                <a:gd name="connsiteX0" fmla="*/ 470682 w 941365"/>
                <a:gd name="connsiteY0" fmla="*/ 0 h 1156585"/>
                <a:gd name="connsiteX1" fmla="*/ 630788 w 941365"/>
                <a:gd name="connsiteY1" fmla="*/ 160106 h 1156585"/>
                <a:gd name="connsiteX2" fmla="*/ 630789 w 941365"/>
                <a:gd name="connsiteY2" fmla="*/ 160106 h 1156585"/>
                <a:gd name="connsiteX3" fmla="*/ 941365 w 941365"/>
                <a:gd name="connsiteY3" fmla="*/ 160106 h 1156585"/>
                <a:gd name="connsiteX4" fmla="*/ 941365 w 941365"/>
                <a:gd name="connsiteY4" fmla="*/ 418233 h 1156585"/>
                <a:gd name="connsiteX5" fmla="*/ 781259 w 941365"/>
                <a:gd name="connsiteY5" fmla="*/ 578339 h 1156585"/>
                <a:gd name="connsiteX6" fmla="*/ 941365 w 941365"/>
                <a:gd name="connsiteY6" fmla="*/ 738446 h 1156585"/>
                <a:gd name="connsiteX7" fmla="*/ 941365 w 941365"/>
                <a:gd name="connsiteY7" fmla="*/ 996573 h 1156585"/>
                <a:gd name="connsiteX8" fmla="*/ 630773 w 941365"/>
                <a:gd name="connsiteY8" fmla="*/ 996573 h 1156585"/>
                <a:gd name="connsiteX9" fmla="*/ 618210 w 941365"/>
                <a:gd name="connsiteY9" fmla="*/ 1058800 h 1156585"/>
                <a:gd name="connsiteX10" fmla="*/ 470686 w 941365"/>
                <a:gd name="connsiteY10" fmla="*/ 1156585 h 1156585"/>
                <a:gd name="connsiteX11" fmla="*/ 310580 w 941365"/>
                <a:gd name="connsiteY11" fmla="*/ 996479 h 1156585"/>
                <a:gd name="connsiteX12" fmla="*/ 310577 w 941365"/>
                <a:gd name="connsiteY12" fmla="*/ 996479 h 1156585"/>
                <a:gd name="connsiteX13" fmla="*/ 310596 w 941365"/>
                <a:gd name="connsiteY13" fmla="*/ 996573 h 1156585"/>
                <a:gd name="connsiteX14" fmla="*/ 4 w 941365"/>
                <a:gd name="connsiteY14" fmla="*/ 996573 h 1156585"/>
                <a:gd name="connsiteX15" fmla="*/ 4 w 941365"/>
                <a:gd name="connsiteY15" fmla="*/ 996479 h 1156585"/>
                <a:gd name="connsiteX16" fmla="*/ 4 w 941365"/>
                <a:gd name="connsiteY16" fmla="*/ 738446 h 1156585"/>
                <a:gd name="connsiteX17" fmla="*/ 160110 w 941365"/>
                <a:gd name="connsiteY17" fmla="*/ 578340 h 1156585"/>
                <a:gd name="connsiteX18" fmla="*/ 4 w 941365"/>
                <a:gd name="connsiteY18" fmla="*/ 418234 h 1156585"/>
                <a:gd name="connsiteX19" fmla="*/ 4 w 941365"/>
                <a:gd name="connsiteY19" fmla="*/ 160114 h 1156585"/>
                <a:gd name="connsiteX20" fmla="*/ 0 w 941365"/>
                <a:gd name="connsiteY20" fmla="*/ 160106 h 1156585"/>
                <a:gd name="connsiteX21" fmla="*/ 4 w 941365"/>
                <a:gd name="connsiteY21" fmla="*/ 160106 h 1156585"/>
                <a:gd name="connsiteX22" fmla="*/ 310576 w 941365"/>
                <a:gd name="connsiteY22" fmla="*/ 160106 h 1156585"/>
                <a:gd name="connsiteX23" fmla="*/ 470682 w 941365"/>
                <a:gd name="connsiteY23" fmla="*/ 0 h 1156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41365" h="1156585">
                  <a:moveTo>
                    <a:pt x="470682" y="0"/>
                  </a:moveTo>
                  <a:cubicBezTo>
                    <a:pt x="559106" y="0"/>
                    <a:pt x="630788" y="71682"/>
                    <a:pt x="630788" y="160106"/>
                  </a:cubicBezTo>
                  <a:lnTo>
                    <a:pt x="630789" y="160106"/>
                  </a:lnTo>
                  <a:lnTo>
                    <a:pt x="941365" y="160106"/>
                  </a:lnTo>
                  <a:lnTo>
                    <a:pt x="941365" y="418233"/>
                  </a:lnTo>
                  <a:cubicBezTo>
                    <a:pt x="852940" y="418233"/>
                    <a:pt x="781259" y="489915"/>
                    <a:pt x="781259" y="578339"/>
                  </a:cubicBezTo>
                  <a:cubicBezTo>
                    <a:pt x="781259" y="666764"/>
                    <a:pt x="852940" y="738446"/>
                    <a:pt x="941365" y="738446"/>
                  </a:cubicBezTo>
                  <a:lnTo>
                    <a:pt x="941365" y="996573"/>
                  </a:lnTo>
                  <a:lnTo>
                    <a:pt x="630773" y="996573"/>
                  </a:lnTo>
                  <a:lnTo>
                    <a:pt x="618210" y="1058800"/>
                  </a:lnTo>
                  <a:cubicBezTo>
                    <a:pt x="593905" y="1116264"/>
                    <a:pt x="537004" y="1156585"/>
                    <a:pt x="470686" y="1156585"/>
                  </a:cubicBezTo>
                  <a:cubicBezTo>
                    <a:pt x="382262" y="1156585"/>
                    <a:pt x="310580" y="1084903"/>
                    <a:pt x="310580" y="996479"/>
                  </a:cubicBezTo>
                  <a:lnTo>
                    <a:pt x="310577" y="996479"/>
                  </a:lnTo>
                  <a:cubicBezTo>
                    <a:pt x="310577" y="996510"/>
                    <a:pt x="310577" y="996542"/>
                    <a:pt x="310596" y="996573"/>
                  </a:cubicBezTo>
                  <a:lnTo>
                    <a:pt x="4" y="996573"/>
                  </a:lnTo>
                  <a:lnTo>
                    <a:pt x="4" y="996479"/>
                  </a:lnTo>
                  <a:lnTo>
                    <a:pt x="4" y="738446"/>
                  </a:lnTo>
                  <a:cubicBezTo>
                    <a:pt x="88429" y="738446"/>
                    <a:pt x="160110" y="666764"/>
                    <a:pt x="160110" y="578340"/>
                  </a:cubicBezTo>
                  <a:cubicBezTo>
                    <a:pt x="160110" y="489915"/>
                    <a:pt x="88429" y="418234"/>
                    <a:pt x="4" y="418234"/>
                  </a:cubicBezTo>
                  <a:lnTo>
                    <a:pt x="4" y="160114"/>
                  </a:lnTo>
                  <a:lnTo>
                    <a:pt x="0" y="160106"/>
                  </a:lnTo>
                  <a:lnTo>
                    <a:pt x="4" y="160106"/>
                  </a:lnTo>
                  <a:lnTo>
                    <a:pt x="310576" y="160106"/>
                  </a:lnTo>
                  <a:cubicBezTo>
                    <a:pt x="310576" y="71682"/>
                    <a:pt x="382258" y="0"/>
                    <a:pt x="470682" y="0"/>
                  </a:cubicBezTo>
                  <a:close/>
                </a:path>
              </a:pathLst>
            </a:custGeom>
            <a:solidFill>
              <a:srgbClr val="CCCCD4"/>
            </a:solidFill>
            <a:ln w="19050" cap="flat" cmpd="sng">
              <a:solidFill>
                <a:srgbClr val="FFFFFF"/>
              </a:solidFill>
              <a:prstDash val="solid"/>
              <a:round/>
              <a:headEnd/>
              <a:tailEnd/>
            </a:ln>
            <a:effectLst/>
          </p:spPr>
          <p:txBody>
            <a:bodyPr wrap="square" lIns="0" tIns="0" rIns="0" bIns="0" anchor="ctr">
              <a:noAutofit/>
            </a:bodyPr>
            <a:lstStyle/>
            <a:p>
              <a:endParaRPr lang="en-US" sz="1799" dirty="0"/>
            </a:p>
          </p:txBody>
        </p:sp>
        <p:sp>
          <p:nvSpPr>
            <p:cNvPr id="137" name="Freeform 136"/>
            <p:cNvSpPr/>
            <p:nvPr/>
          </p:nvSpPr>
          <p:spPr>
            <a:xfrm rot="10800000">
              <a:off x="6248631" y="3935471"/>
              <a:ext cx="941439" cy="996574"/>
            </a:xfrm>
            <a:custGeom>
              <a:avLst/>
              <a:gdLst>
                <a:gd name="connsiteX0" fmla="*/ 0 w 941439"/>
                <a:gd name="connsiteY0" fmla="*/ 0 h 996574"/>
                <a:gd name="connsiteX1" fmla="*/ 941366 w 941439"/>
                <a:gd name="connsiteY1" fmla="*/ 0 h 996574"/>
                <a:gd name="connsiteX2" fmla="*/ 941366 w 941439"/>
                <a:gd name="connsiteY2" fmla="*/ 820491 h 996574"/>
                <a:gd name="connsiteX3" fmla="*/ 941439 w 941439"/>
                <a:gd name="connsiteY3" fmla="*/ 820667 h 996574"/>
                <a:gd name="connsiteX4" fmla="*/ 941366 w 941439"/>
                <a:gd name="connsiteY4" fmla="*/ 836359 h 996574"/>
                <a:gd name="connsiteX5" fmla="*/ 941366 w 941439"/>
                <a:gd name="connsiteY5" fmla="*/ 836467 h 996574"/>
                <a:gd name="connsiteX6" fmla="*/ 941366 w 941439"/>
                <a:gd name="connsiteY6" fmla="*/ 836467 h 996574"/>
                <a:gd name="connsiteX7" fmla="*/ 941366 w 941439"/>
                <a:gd name="connsiteY7" fmla="*/ 836468 h 996574"/>
                <a:gd name="connsiteX8" fmla="*/ 630789 w 941439"/>
                <a:gd name="connsiteY8" fmla="*/ 836468 h 996574"/>
                <a:gd name="connsiteX9" fmla="*/ 470683 w 941439"/>
                <a:gd name="connsiteY9" fmla="*/ 996574 h 996574"/>
                <a:gd name="connsiteX10" fmla="*/ 310577 w 941439"/>
                <a:gd name="connsiteY10" fmla="*/ 836468 h 996574"/>
                <a:gd name="connsiteX11" fmla="*/ 1 w 941439"/>
                <a:gd name="connsiteY11" fmla="*/ 836468 h 996574"/>
                <a:gd name="connsiteX12" fmla="*/ 2 w 941439"/>
                <a:gd name="connsiteY12" fmla="*/ 836467 h 996574"/>
                <a:gd name="connsiteX13" fmla="*/ 0 w 941439"/>
                <a:gd name="connsiteY13" fmla="*/ 836467 h 996574"/>
                <a:gd name="connsiteX14" fmla="*/ 0 w 941439"/>
                <a:gd name="connsiteY14" fmla="*/ 578341 h 996574"/>
                <a:gd name="connsiteX15" fmla="*/ 160106 w 941439"/>
                <a:gd name="connsiteY15" fmla="*/ 418234 h 996574"/>
                <a:gd name="connsiteX16" fmla="*/ 0 w 941439"/>
                <a:gd name="connsiteY16" fmla="*/ 258128 h 996574"/>
                <a:gd name="connsiteX17" fmla="*/ 0 w 941439"/>
                <a:gd name="connsiteY17" fmla="*/ 258127 h 996574"/>
                <a:gd name="connsiteX18" fmla="*/ 0 w 941439"/>
                <a:gd name="connsiteY18" fmla="*/ 1 h 996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41439" h="996574">
                  <a:moveTo>
                    <a:pt x="0" y="0"/>
                  </a:moveTo>
                  <a:lnTo>
                    <a:pt x="941366" y="0"/>
                  </a:lnTo>
                  <a:lnTo>
                    <a:pt x="941366" y="820491"/>
                  </a:lnTo>
                  <a:lnTo>
                    <a:pt x="941439" y="820667"/>
                  </a:lnTo>
                  <a:lnTo>
                    <a:pt x="941366" y="836359"/>
                  </a:lnTo>
                  <a:lnTo>
                    <a:pt x="941366" y="836467"/>
                  </a:lnTo>
                  <a:lnTo>
                    <a:pt x="941366" y="836467"/>
                  </a:lnTo>
                  <a:lnTo>
                    <a:pt x="941366" y="836468"/>
                  </a:lnTo>
                  <a:lnTo>
                    <a:pt x="630789" y="836468"/>
                  </a:lnTo>
                  <a:cubicBezTo>
                    <a:pt x="630789" y="924893"/>
                    <a:pt x="559107" y="996574"/>
                    <a:pt x="470683" y="996574"/>
                  </a:cubicBezTo>
                  <a:cubicBezTo>
                    <a:pt x="382258" y="996574"/>
                    <a:pt x="310577" y="924893"/>
                    <a:pt x="310577" y="836468"/>
                  </a:cubicBezTo>
                  <a:lnTo>
                    <a:pt x="1" y="836468"/>
                  </a:lnTo>
                  <a:lnTo>
                    <a:pt x="2" y="836467"/>
                  </a:lnTo>
                  <a:lnTo>
                    <a:pt x="0" y="836467"/>
                  </a:lnTo>
                  <a:lnTo>
                    <a:pt x="0" y="578341"/>
                  </a:lnTo>
                  <a:cubicBezTo>
                    <a:pt x="88425" y="578341"/>
                    <a:pt x="160106" y="506659"/>
                    <a:pt x="160106" y="418234"/>
                  </a:cubicBezTo>
                  <a:cubicBezTo>
                    <a:pt x="160106" y="329810"/>
                    <a:pt x="88425" y="258128"/>
                    <a:pt x="0" y="258128"/>
                  </a:cubicBezTo>
                  <a:lnTo>
                    <a:pt x="0" y="258127"/>
                  </a:lnTo>
                  <a:lnTo>
                    <a:pt x="0" y="1"/>
                  </a:lnTo>
                  <a:close/>
                </a:path>
              </a:pathLst>
            </a:custGeom>
            <a:solidFill>
              <a:srgbClr val="CCCCD4"/>
            </a:solidFill>
            <a:ln w="19050" cap="flat" cmpd="sng">
              <a:solidFill>
                <a:srgbClr val="FFFFFF"/>
              </a:solidFill>
              <a:prstDash val="solid"/>
              <a:round/>
              <a:headEnd/>
              <a:tailEnd/>
            </a:ln>
            <a:effectLst/>
          </p:spPr>
          <p:txBody>
            <a:bodyPr wrap="square" lIns="0" tIns="0" rIns="0" bIns="0" anchor="ctr">
              <a:noAutofit/>
            </a:bodyPr>
            <a:lstStyle/>
            <a:p>
              <a:endParaRPr lang="en-US" sz="1799" dirty="0"/>
            </a:p>
          </p:txBody>
        </p:sp>
        <p:sp>
          <p:nvSpPr>
            <p:cNvPr id="138" name="Freeform 137"/>
            <p:cNvSpPr/>
            <p:nvPr/>
          </p:nvSpPr>
          <p:spPr>
            <a:xfrm rot="10800000">
              <a:off x="7029965" y="4095576"/>
              <a:ext cx="1261577" cy="836468"/>
            </a:xfrm>
            <a:custGeom>
              <a:avLst/>
              <a:gdLst>
                <a:gd name="connsiteX0" fmla="*/ 1101470 w 1261577"/>
                <a:gd name="connsiteY0" fmla="*/ 836467 h 836468"/>
                <a:gd name="connsiteX1" fmla="*/ 1101471 w 1261577"/>
                <a:gd name="connsiteY1" fmla="*/ 836468 h 836468"/>
                <a:gd name="connsiteX2" fmla="*/ 1101470 w 1261577"/>
                <a:gd name="connsiteY2" fmla="*/ 836468 h 836468"/>
                <a:gd name="connsiteX3" fmla="*/ 160106 w 1261577"/>
                <a:gd name="connsiteY3" fmla="*/ 0 h 836468"/>
                <a:gd name="connsiteX4" fmla="*/ 1101471 w 1261577"/>
                <a:gd name="connsiteY4" fmla="*/ 0 h 836468"/>
                <a:gd name="connsiteX5" fmla="*/ 1101471 w 1261577"/>
                <a:gd name="connsiteY5" fmla="*/ 258127 h 836468"/>
                <a:gd name="connsiteX6" fmla="*/ 1261577 w 1261577"/>
                <a:gd name="connsiteY6" fmla="*/ 418233 h 836468"/>
                <a:gd name="connsiteX7" fmla="*/ 1101471 w 1261577"/>
                <a:gd name="connsiteY7" fmla="*/ 578340 h 836468"/>
                <a:gd name="connsiteX8" fmla="*/ 1101471 w 1261577"/>
                <a:gd name="connsiteY8" fmla="*/ 836467 h 836468"/>
                <a:gd name="connsiteX9" fmla="*/ 1101470 w 1261577"/>
                <a:gd name="connsiteY9" fmla="*/ 836467 h 836468"/>
                <a:gd name="connsiteX10" fmla="*/ 790893 w 1261577"/>
                <a:gd name="connsiteY10" fmla="*/ 836467 h 836468"/>
                <a:gd name="connsiteX11" fmla="*/ 630787 w 1261577"/>
                <a:gd name="connsiteY11" fmla="*/ 676361 h 836468"/>
                <a:gd name="connsiteX12" fmla="*/ 470681 w 1261577"/>
                <a:gd name="connsiteY12" fmla="*/ 836467 h 836468"/>
                <a:gd name="connsiteX13" fmla="*/ 160107 w 1261577"/>
                <a:gd name="connsiteY13" fmla="*/ 836467 h 836468"/>
                <a:gd name="connsiteX14" fmla="*/ 160106 w 1261577"/>
                <a:gd name="connsiteY14" fmla="*/ 836467 h 836468"/>
                <a:gd name="connsiteX15" fmla="*/ 160106 w 1261577"/>
                <a:gd name="connsiteY15" fmla="*/ 578340 h 836468"/>
                <a:gd name="connsiteX16" fmla="*/ 0 w 1261577"/>
                <a:gd name="connsiteY16" fmla="*/ 418233 h 836468"/>
                <a:gd name="connsiteX17" fmla="*/ 160106 w 1261577"/>
                <a:gd name="connsiteY17" fmla="*/ 258127 h 836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61577" h="836468">
                  <a:moveTo>
                    <a:pt x="1101470" y="836467"/>
                  </a:moveTo>
                  <a:lnTo>
                    <a:pt x="1101471" y="836468"/>
                  </a:lnTo>
                  <a:lnTo>
                    <a:pt x="1101470" y="836468"/>
                  </a:lnTo>
                  <a:close/>
                  <a:moveTo>
                    <a:pt x="160106" y="0"/>
                  </a:moveTo>
                  <a:lnTo>
                    <a:pt x="1101471" y="0"/>
                  </a:lnTo>
                  <a:lnTo>
                    <a:pt x="1101471" y="258127"/>
                  </a:lnTo>
                  <a:cubicBezTo>
                    <a:pt x="1189896" y="258127"/>
                    <a:pt x="1261577" y="329809"/>
                    <a:pt x="1261577" y="418233"/>
                  </a:cubicBezTo>
                  <a:cubicBezTo>
                    <a:pt x="1261577" y="506658"/>
                    <a:pt x="1189896" y="578340"/>
                    <a:pt x="1101471" y="578340"/>
                  </a:cubicBezTo>
                  <a:lnTo>
                    <a:pt x="1101471" y="836467"/>
                  </a:lnTo>
                  <a:lnTo>
                    <a:pt x="1101470" y="836467"/>
                  </a:lnTo>
                  <a:lnTo>
                    <a:pt x="790893" y="836467"/>
                  </a:lnTo>
                  <a:cubicBezTo>
                    <a:pt x="790893" y="748043"/>
                    <a:pt x="719211" y="676361"/>
                    <a:pt x="630787" y="676361"/>
                  </a:cubicBezTo>
                  <a:cubicBezTo>
                    <a:pt x="542363" y="676361"/>
                    <a:pt x="470681" y="748043"/>
                    <a:pt x="470681" y="836467"/>
                  </a:cubicBezTo>
                  <a:lnTo>
                    <a:pt x="160107" y="836467"/>
                  </a:lnTo>
                  <a:lnTo>
                    <a:pt x="160106" y="836467"/>
                  </a:lnTo>
                  <a:lnTo>
                    <a:pt x="160106" y="578340"/>
                  </a:lnTo>
                  <a:cubicBezTo>
                    <a:pt x="71681" y="578340"/>
                    <a:pt x="0" y="506658"/>
                    <a:pt x="0" y="418233"/>
                  </a:cubicBezTo>
                  <a:cubicBezTo>
                    <a:pt x="0" y="329809"/>
                    <a:pt x="71681" y="258127"/>
                    <a:pt x="160106" y="258127"/>
                  </a:cubicBezTo>
                  <a:close/>
                </a:path>
              </a:pathLst>
            </a:custGeom>
            <a:solidFill>
              <a:srgbClr val="CCCCD4"/>
            </a:solidFill>
            <a:ln w="19050" cap="flat" cmpd="sng">
              <a:solidFill>
                <a:srgbClr val="FFFFFF"/>
              </a:solidFill>
              <a:prstDash val="solid"/>
              <a:round/>
              <a:headEnd/>
              <a:tailEnd/>
            </a:ln>
            <a:effectLst/>
          </p:spPr>
          <p:txBody>
            <a:bodyPr wrap="square" lIns="0" tIns="0" rIns="0" bIns="0" anchor="ctr">
              <a:noAutofit/>
            </a:bodyPr>
            <a:lstStyle/>
            <a:p>
              <a:endParaRPr lang="en-US" sz="1799" dirty="0"/>
            </a:p>
          </p:txBody>
        </p:sp>
        <p:sp>
          <p:nvSpPr>
            <p:cNvPr id="139" name="Rechteck 163"/>
            <p:cNvSpPr/>
            <p:nvPr/>
          </p:nvSpPr>
          <p:spPr>
            <a:xfrm rot="10800000">
              <a:off x="8131433" y="3935471"/>
              <a:ext cx="941365" cy="996573"/>
            </a:xfrm>
            <a:custGeom>
              <a:avLst/>
              <a:gdLst/>
              <a:ahLst/>
              <a:cxnLst/>
              <a:rect l="l" t="t" r="r" b="b"/>
              <a:pathLst>
                <a:path w="689093" h="729506">
                  <a:moveTo>
                    <a:pt x="0" y="0"/>
                  </a:moveTo>
                  <a:lnTo>
                    <a:pt x="689093" y="0"/>
                  </a:lnTo>
                  <a:lnTo>
                    <a:pt x="689093" y="188953"/>
                  </a:lnTo>
                  <a:cubicBezTo>
                    <a:pt x="624365" y="188953"/>
                    <a:pt x="571893" y="241425"/>
                    <a:pt x="571893" y="306153"/>
                  </a:cubicBezTo>
                  <a:cubicBezTo>
                    <a:pt x="571893" y="370881"/>
                    <a:pt x="624365" y="423353"/>
                    <a:pt x="689093" y="423353"/>
                  </a:cubicBezTo>
                  <a:lnTo>
                    <a:pt x="689093" y="612306"/>
                  </a:lnTo>
                  <a:lnTo>
                    <a:pt x="461746" y="612306"/>
                  </a:lnTo>
                  <a:cubicBezTo>
                    <a:pt x="461746" y="677034"/>
                    <a:pt x="409274" y="729506"/>
                    <a:pt x="344546" y="729506"/>
                  </a:cubicBezTo>
                  <a:cubicBezTo>
                    <a:pt x="279818" y="729506"/>
                    <a:pt x="227346" y="677034"/>
                    <a:pt x="227346" y="612306"/>
                  </a:cubicBezTo>
                  <a:lnTo>
                    <a:pt x="0" y="612306"/>
                  </a:lnTo>
                  <a:lnTo>
                    <a:pt x="0" y="423353"/>
                  </a:lnTo>
                  <a:cubicBezTo>
                    <a:pt x="64728" y="423353"/>
                    <a:pt x="117200" y="370881"/>
                    <a:pt x="117200" y="306153"/>
                  </a:cubicBezTo>
                  <a:cubicBezTo>
                    <a:pt x="117200" y="241425"/>
                    <a:pt x="64728" y="188953"/>
                    <a:pt x="0" y="188953"/>
                  </a:cubicBezTo>
                  <a:close/>
                </a:path>
              </a:pathLst>
            </a:custGeom>
            <a:solidFill>
              <a:srgbClr val="CCCCD4"/>
            </a:solidFill>
            <a:ln w="19050" cap="flat" cmpd="sng">
              <a:solidFill>
                <a:srgbClr val="FFFFFF"/>
              </a:solidFill>
              <a:prstDash val="solid"/>
              <a:round/>
              <a:headEnd/>
              <a:tailEnd/>
            </a:ln>
            <a:effectLst/>
          </p:spPr>
          <p:txBody>
            <a:bodyPr wrap="none" lIns="0" tIns="0" rIns="0" bIns="0" anchor="ctr">
              <a:noAutofit/>
            </a:bodyPr>
            <a:lstStyle/>
            <a:p>
              <a:endParaRPr lang="en-US" sz="1799" dirty="0"/>
            </a:p>
          </p:txBody>
        </p:sp>
        <p:sp>
          <p:nvSpPr>
            <p:cNvPr id="140" name="Ellipse 183"/>
            <p:cNvSpPr/>
            <p:nvPr/>
          </p:nvSpPr>
          <p:spPr>
            <a:xfrm rot="10800000">
              <a:off x="8912692" y="4095577"/>
              <a:ext cx="1101473" cy="836467"/>
            </a:xfrm>
            <a:custGeom>
              <a:avLst/>
              <a:gdLst/>
              <a:ahLst/>
              <a:cxnLst/>
              <a:rect l="l" t="t" r="r" b="b"/>
              <a:pathLst>
                <a:path w="806294" h="612306">
                  <a:moveTo>
                    <a:pt x="0" y="0"/>
                  </a:moveTo>
                  <a:lnTo>
                    <a:pt x="689093" y="0"/>
                  </a:lnTo>
                  <a:lnTo>
                    <a:pt x="689093" y="188953"/>
                  </a:lnTo>
                  <a:cubicBezTo>
                    <a:pt x="753822" y="188953"/>
                    <a:pt x="806294" y="241425"/>
                    <a:pt x="806294" y="306153"/>
                  </a:cubicBezTo>
                  <a:cubicBezTo>
                    <a:pt x="806294" y="370881"/>
                    <a:pt x="753822" y="423353"/>
                    <a:pt x="689094" y="423353"/>
                  </a:cubicBezTo>
                  <a:lnTo>
                    <a:pt x="689093" y="423353"/>
                  </a:lnTo>
                  <a:lnTo>
                    <a:pt x="689093" y="612306"/>
                  </a:lnTo>
                  <a:lnTo>
                    <a:pt x="461746" y="612306"/>
                  </a:lnTo>
                  <a:cubicBezTo>
                    <a:pt x="461746" y="547578"/>
                    <a:pt x="409274" y="495106"/>
                    <a:pt x="344546" y="495106"/>
                  </a:cubicBezTo>
                  <a:cubicBezTo>
                    <a:pt x="279818" y="495106"/>
                    <a:pt x="227346" y="547578"/>
                    <a:pt x="227346" y="612306"/>
                  </a:cubicBezTo>
                  <a:lnTo>
                    <a:pt x="0" y="612306"/>
                  </a:lnTo>
                  <a:close/>
                </a:path>
              </a:pathLst>
            </a:custGeom>
            <a:solidFill>
              <a:srgbClr val="CCCCD4"/>
            </a:solidFill>
            <a:ln w="19050" cap="flat" cmpd="sng">
              <a:solidFill>
                <a:srgbClr val="FFFFFF"/>
              </a:solidFill>
              <a:prstDash val="solid"/>
              <a:round/>
              <a:headEnd/>
              <a:tailEnd/>
            </a:ln>
            <a:effectLst/>
          </p:spPr>
          <p:txBody>
            <a:bodyPr wrap="none" lIns="0" tIns="0" rIns="0" bIns="0" anchor="ctr">
              <a:noAutofit/>
            </a:bodyPr>
            <a:lstStyle/>
            <a:p>
              <a:endParaRPr lang="en-US" sz="1799" dirty="0"/>
            </a:p>
          </p:txBody>
        </p:sp>
      </p:grpSp>
      <p:sp>
        <p:nvSpPr>
          <p:cNvPr id="3" name="Footer Placeholder 2">
            <a:extLst>
              <a:ext uri="{FF2B5EF4-FFF2-40B4-BE49-F238E27FC236}">
                <a16:creationId xmlns:a16="http://schemas.microsoft.com/office/drawing/2014/main" id="{EDD9BB0D-7C93-4263-8A45-C142F78FA9F2}"/>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EB966FAA-1FDD-47D5-ABCD-50B68B165BA9}"/>
              </a:ext>
            </a:extLst>
          </p:cNvPr>
          <p:cNvSpPr>
            <a:spLocks noGrp="1"/>
          </p:cNvSpPr>
          <p:nvPr>
            <p:ph type="sldNum" sz="quarter" idx="11"/>
          </p:nvPr>
        </p:nvSpPr>
        <p:spPr/>
        <p:txBody>
          <a:bodyPr/>
          <a:lstStyle/>
          <a:p>
            <a:r>
              <a:rPr lang="en-US" dirty="0"/>
              <a:t>Page </a:t>
            </a:r>
            <a:fld id="{15EBE321-CBB1-4E91-BD14-37C8D44326FB}" type="slidenum">
              <a:rPr lang="en-US" smtClean="0"/>
              <a:pPr/>
              <a:t>96</a:t>
            </a:fld>
            <a:endParaRPr lang="en-US" dirty="0"/>
          </a:p>
        </p:txBody>
      </p:sp>
    </p:spTree>
    <p:extLst>
      <p:ext uri="{BB962C8B-B14F-4D97-AF65-F5344CB8AC3E}">
        <p14:creationId xmlns:p14="http://schemas.microsoft.com/office/powerpoint/2010/main" val="307350226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Puzzle</a:t>
            </a:r>
          </a:p>
        </p:txBody>
      </p:sp>
      <p:grpSp>
        <p:nvGrpSpPr>
          <p:cNvPr id="6" name="Group 5"/>
          <p:cNvGrpSpPr/>
          <p:nvPr/>
        </p:nvGrpSpPr>
        <p:grpSpPr>
          <a:xfrm>
            <a:off x="410400" y="1415849"/>
            <a:ext cx="3053027" cy="2823997"/>
            <a:chOff x="626400" y="1439999"/>
            <a:chExt cx="3054617" cy="2825468"/>
          </a:xfrm>
          <a:solidFill>
            <a:schemeClr val="accent2"/>
          </a:solidFill>
        </p:grpSpPr>
        <p:sp>
          <p:nvSpPr>
            <p:cNvPr id="111" name="Ellipse 186"/>
            <p:cNvSpPr/>
            <p:nvPr/>
          </p:nvSpPr>
          <p:spPr>
            <a:xfrm>
              <a:off x="2349021" y="1439999"/>
              <a:ext cx="1101472" cy="836467"/>
            </a:xfrm>
            <a:custGeom>
              <a:avLst/>
              <a:gdLst/>
              <a:ahLst/>
              <a:cxnLst/>
              <a:rect l="l" t="t" r="r" b="b"/>
              <a:pathLst>
                <a:path w="806293" h="612306">
                  <a:moveTo>
                    <a:pt x="117200" y="0"/>
                  </a:moveTo>
                  <a:lnTo>
                    <a:pt x="806293" y="0"/>
                  </a:lnTo>
                  <a:lnTo>
                    <a:pt x="806293" y="612306"/>
                  </a:lnTo>
                  <a:lnTo>
                    <a:pt x="578946" y="612306"/>
                  </a:lnTo>
                  <a:cubicBezTo>
                    <a:pt x="578946" y="547578"/>
                    <a:pt x="526474" y="495106"/>
                    <a:pt x="461746" y="495106"/>
                  </a:cubicBezTo>
                  <a:cubicBezTo>
                    <a:pt x="397018" y="495106"/>
                    <a:pt x="344546" y="547578"/>
                    <a:pt x="344546" y="612306"/>
                  </a:cubicBezTo>
                  <a:lnTo>
                    <a:pt x="117200" y="612306"/>
                  </a:lnTo>
                  <a:lnTo>
                    <a:pt x="117200" y="423353"/>
                  </a:lnTo>
                  <a:cubicBezTo>
                    <a:pt x="52472" y="423353"/>
                    <a:pt x="0" y="370881"/>
                    <a:pt x="0" y="306153"/>
                  </a:cubicBezTo>
                  <a:cubicBezTo>
                    <a:pt x="0" y="241425"/>
                    <a:pt x="52472" y="188953"/>
                    <a:pt x="117200" y="188953"/>
                  </a:cubicBezTo>
                  <a:close/>
                </a:path>
              </a:pathLst>
            </a:custGeom>
            <a:solidFill>
              <a:srgbClr val="00FFB9"/>
            </a:solidFill>
            <a:ln w="19050" cap="flat" cmpd="sng">
              <a:solidFill>
                <a:schemeClr val="bg2"/>
              </a:solidFill>
              <a:prstDash val="solid"/>
              <a:round/>
              <a:headEnd/>
              <a:tailEnd/>
            </a:ln>
            <a:effectLst/>
          </p:spPr>
          <p:txBody>
            <a:bodyPr wrap="none" lIns="0" tIns="0" rIns="0" bIns="0" anchor="ctr">
              <a:noAutofit/>
            </a:bodyPr>
            <a:lstStyle/>
            <a:p>
              <a:endParaRPr lang="en-US" sz="1799" dirty="0"/>
            </a:p>
          </p:txBody>
        </p:sp>
        <p:sp>
          <p:nvSpPr>
            <p:cNvPr id="113" name="Ellipse 192"/>
            <p:cNvSpPr/>
            <p:nvPr/>
          </p:nvSpPr>
          <p:spPr>
            <a:xfrm>
              <a:off x="2509127" y="2116360"/>
              <a:ext cx="941366" cy="1156585"/>
            </a:xfrm>
            <a:custGeom>
              <a:avLst/>
              <a:gdLst/>
              <a:ahLst/>
              <a:cxnLst/>
              <a:rect l="l" t="t" r="r" b="b"/>
              <a:pathLst>
                <a:path w="689093" h="846637">
                  <a:moveTo>
                    <a:pt x="344546" y="0"/>
                  </a:moveTo>
                  <a:cubicBezTo>
                    <a:pt x="409274" y="0"/>
                    <a:pt x="461746" y="52472"/>
                    <a:pt x="461746" y="117200"/>
                  </a:cubicBezTo>
                  <a:lnTo>
                    <a:pt x="689093" y="117200"/>
                  </a:lnTo>
                  <a:lnTo>
                    <a:pt x="689093" y="729506"/>
                  </a:lnTo>
                  <a:lnTo>
                    <a:pt x="461732" y="729506"/>
                  </a:lnTo>
                  <a:cubicBezTo>
                    <a:pt x="461709" y="794202"/>
                    <a:pt x="409251" y="846637"/>
                    <a:pt x="344546" y="846637"/>
                  </a:cubicBezTo>
                  <a:cubicBezTo>
                    <a:pt x="279841" y="846637"/>
                    <a:pt x="227384" y="794202"/>
                    <a:pt x="227360" y="729506"/>
                  </a:cubicBezTo>
                  <a:lnTo>
                    <a:pt x="0" y="729506"/>
                  </a:lnTo>
                  <a:lnTo>
                    <a:pt x="0" y="540553"/>
                  </a:lnTo>
                  <a:cubicBezTo>
                    <a:pt x="64728" y="540553"/>
                    <a:pt x="117200" y="488081"/>
                    <a:pt x="117200" y="423353"/>
                  </a:cubicBezTo>
                  <a:cubicBezTo>
                    <a:pt x="117200" y="358625"/>
                    <a:pt x="64728" y="306153"/>
                    <a:pt x="0" y="306153"/>
                  </a:cubicBezTo>
                  <a:lnTo>
                    <a:pt x="0" y="117200"/>
                  </a:lnTo>
                  <a:lnTo>
                    <a:pt x="227346" y="117200"/>
                  </a:lnTo>
                  <a:cubicBezTo>
                    <a:pt x="227346" y="52472"/>
                    <a:pt x="279818" y="0"/>
                    <a:pt x="344546" y="0"/>
                  </a:cubicBezTo>
                  <a:close/>
                </a:path>
              </a:pathLst>
            </a:custGeom>
            <a:solidFill>
              <a:srgbClr val="00FFB9"/>
            </a:solidFill>
            <a:ln w="19050" cap="flat" cmpd="sng">
              <a:solidFill>
                <a:schemeClr val="bg2"/>
              </a:solidFill>
              <a:prstDash val="solid"/>
              <a:round/>
              <a:headEnd/>
              <a:tailEnd/>
            </a:ln>
            <a:effectLst/>
          </p:spPr>
          <p:txBody>
            <a:bodyPr wrap="none" lIns="0" tIns="0" rIns="0" bIns="0" anchor="ctr">
              <a:noAutofit/>
            </a:bodyPr>
            <a:lstStyle/>
            <a:p>
              <a:endParaRPr lang="en-US" sz="1799" dirty="0"/>
            </a:p>
          </p:txBody>
        </p:sp>
        <p:sp>
          <p:nvSpPr>
            <p:cNvPr id="105" name="Rechteck 163"/>
            <p:cNvSpPr/>
            <p:nvPr/>
          </p:nvSpPr>
          <p:spPr>
            <a:xfrm>
              <a:off x="1567767" y="1439999"/>
              <a:ext cx="941365" cy="996573"/>
            </a:xfrm>
            <a:custGeom>
              <a:avLst/>
              <a:gdLst/>
              <a:ahLst/>
              <a:cxnLst/>
              <a:rect l="l" t="t" r="r" b="b"/>
              <a:pathLst>
                <a:path w="689093" h="729506">
                  <a:moveTo>
                    <a:pt x="0" y="0"/>
                  </a:moveTo>
                  <a:lnTo>
                    <a:pt x="689093" y="0"/>
                  </a:lnTo>
                  <a:lnTo>
                    <a:pt x="689093" y="188953"/>
                  </a:lnTo>
                  <a:cubicBezTo>
                    <a:pt x="624365" y="188953"/>
                    <a:pt x="571893" y="241425"/>
                    <a:pt x="571893" y="306153"/>
                  </a:cubicBezTo>
                  <a:cubicBezTo>
                    <a:pt x="571893" y="370881"/>
                    <a:pt x="624365" y="423353"/>
                    <a:pt x="689093" y="423353"/>
                  </a:cubicBezTo>
                  <a:lnTo>
                    <a:pt x="689093" y="612306"/>
                  </a:lnTo>
                  <a:lnTo>
                    <a:pt x="461746" y="612306"/>
                  </a:lnTo>
                  <a:cubicBezTo>
                    <a:pt x="461746" y="677034"/>
                    <a:pt x="409274" y="729506"/>
                    <a:pt x="344546" y="729506"/>
                  </a:cubicBezTo>
                  <a:cubicBezTo>
                    <a:pt x="279818" y="729506"/>
                    <a:pt x="227346" y="677034"/>
                    <a:pt x="227346" y="612306"/>
                  </a:cubicBezTo>
                  <a:lnTo>
                    <a:pt x="0" y="612306"/>
                  </a:lnTo>
                  <a:lnTo>
                    <a:pt x="0" y="423353"/>
                  </a:lnTo>
                  <a:cubicBezTo>
                    <a:pt x="64728" y="423353"/>
                    <a:pt x="117200" y="370881"/>
                    <a:pt x="117200" y="306153"/>
                  </a:cubicBezTo>
                  <a:cubicBezTo>
                    <a:pt x="117200" y="241425"/>
                    <a:pt x="64728" y="188953"/>
                    <a:pt x="0" y="188953"/>
                  </a:cubicBezTo>
                  <a:close/>
                </a:path>
              </a:pathLst>
            </a:custGeom>
            <a:solidFill>
              <a:srgbClr val="00FFB9"/>
            </a:solidFill>
            <a:ln w="19050" cap="flat" cmpd="sng">
              <a:solidFill>
                <a:schemeClr val="bg2"/>
              </a:solidFill>
              <a:prstDash val="solid"/>
              <a:round/>
              <a:headEnd/>
              <a:tailEnd/>
            </a:ln>
            <a:effectLst/>
          </p:spPr>
          <p:txBody>
            <a:bodyPr wrap="none" lIns="0" tIns="0" rIns="0" bIns="0" anchor="ctr">
              <a:noAutofit/>
            </a:bodyPr>
            <a:lstStyle/>
            <a:p>
              <a:endParaRPr lang="en-US" sz="1799" dirty="0"/>
            </a:p>
          </p:txBody>
        </p:sp>
        <p:sp>
          <p:nvSpPr>
            <p:cNvPr id="106" name="Ellipse 183"/>
            <p:cNvSpPr/>
            <p:nvPr/>
          </p:nvSpPr>
          <p:spPr>
            <a:xfrm>
              <a:off x="626400" y="1440000"/>
              <a:ext cx="1101473" cy="836467"/>
            </a:xfrm>
            <a:custGeom>
              <a:avLst/>
              <a:gdLst/>
              <a:ahLst/>
              <a:cxnLst/>
              <a:rect l="l" t="t" r="r" b="b"/>
              <a:pathLst>
                <a:path w="806294" h="612306">
                  <a:moveTo>
                    <a:pt x="0" y="0"/>
                  </a:moveTo>
                  <a:lnTo>
                    <a:pt x="689093" y="0"/>
                  </a:lnTo>
                  <a:lnTo>
                    <a:pt x="689093" y="188953"/>
                  </a:lnTo>
                  <a:cubicBezTo>
                    <a:pt x="753822" y="188953"/>
                    <a:pt x="806294" y="241425"/>
                    <a:pt x="806294" y="306153"/>
                  </a:cubicBezTo>
                  <a:cubicBezTo>
                    <a:pt x="806294" y="370881"/>
                    <a:pt x="753822" y="423353"/>
                    <a:pt x="689094" y="423353"/>
                  </a:cubicBezTo>
                  <a:lnTo>
                    <a:pt x="689093" y="423353"/>
                  </a:lnTo>
                  <a:lnTo>
                    <a:pt x="689093" y="612306"/>
                  </a:lnTo>
                  <a:lnTo>
                    <a:pt x="461746" y="612306"/>
                  </a:lnTo>
                  <a:cubicBezTo>
                    <a:pt x="461746" y="547578"/>
                    <a:pt x="409274" y="495106"/>
                    <a:pt x="344546" y="495106"/>
                  </a:cubicBezTo>
                  <a:cubicBezTo>
                    <a:pt x="279818" y="495106"/>
                    <a:pt x="227346" y="547578"/>
                    <a:pt x="227346" y="612306"/>
                  </a:cubicBezTo>
                  <a:lnTo>
                    <a:pt x="0" y="612306"/>
                  </a:lnTo>
                  <a:close/>
                </a:path>
              </a:pathLst>
            </a:custGeom>
            <a:solidFill>
              <a:srgbClr val="00FFB9"/>
            </a:solidFill>
            <a:ln w="19050" cap="flat" cmpd="sng">
              <a:solidFill>
                <a:schemeClr val="bg2"/>
              </a:solidFill>
              <a:prstDash val="solid"/>
              <a:round/>
              <a:headEnd/>
              <a:tailEnd/>
            </a:ln>
            <a:effectLst/>
          </p:spPr>
          <p:txBody>
            <a:bodyPr wrap="none" lIns="0" tIns="0" rIns="0" bIns="0" anchor="ctr">
              <a:noAutofit/>
            </a:bodyPr>
            <a:lstStyle/>
            <a:p>
              <a:endParaRPr lang="en-US" sz="1799" dirty="0"/>
            </a:p>
          </p:txBody>
        </p:sp>
        <p:sp>
          <p:nvSpPr>
            <p:cNvPr id="107" name="Ellipse 188"/>
            <p:cNvSpPr/>
            <p:nvPr/>
          </p:nvSpPr>
          <p:spPr>
            <a:xfrm>
              <a:off x="1407661" y="2276467"/>
              <a:ext cx="1261577" cy="836467"/>
            </a:xfrm>
            <a:custGeom>
              <a:avLst/>
              <a:gdLst/>
              <a:ahLst/>
              <a:cxnLst/>
              <a:rect l="l" t="t" r="r" b="b"/>
              <a:pathLst>
                <a:path w="923493" h="612306">
                  <a:moveTo>
                    <a:pt x="117200" y="0"/>
                  </a:moveTo>
                  <a:lnTo>
                    <a:pt x="344546" y="0"/>
                  </a:lnTo>
                  <a:cubicBezTo>
                    <a:pt x="344546" y="64728"/>
                    <a:pt x="397018" y="117200"/>
                    <a:pt x="461746" y="117200"/>
                  </a:cubicBezTo>
                  <a:cubicBezTo>
                    <a:pt x="526474" y="117200"/>
                    <a:pt x="578946" y="64728"/>
                    <a:pt x="578946" y="0"/>
                  </a:cubicBezTo>
                  <a:lnTo>
                    <a:pt x="806293" y="0"/>
                  </a:lnTo>
                  <a:lnTo>
                    <a:pt x="806293" y="188953"/>
                  </a:lnTo>
                  <a:cubicBezTo>
                    <a:pt x="871021" y="188953"/>
                    <a:pt x="923493" y="241425"/>
                    <a:pt x="923493" y="306153"/>
                  </a:cubicBezTo>
                  <a:cubicBezTo>
                    <a:pt x="923493" y="370881"/>
                    <a:pt x="871021" y="423353"/>
                    <a:pt x="806293" y="423353"/>
                  </a:cubicBezTo>
                  <a:lnTo>
                    <a:pt x="806293" y="612306"/>
                  </a:lnTo>
                  <a:lnTo>
                    <a:pt x="578932" y="612306"/>
                  </a:lnTo>
                  <a:lnTo>
                    <a:pt x="578946" y="612237"/>
                  </a:lnTo>
                  <a:cubicBezTo>
                    <a:pt x="578946" y="547509"/>
                    <a:pt x="526474" y="495037"/>
                    <a:pt x="461746" y="495037"/>
                  </a:cubicBezTo>
                  <a:cubicBezTo>
                    <a:pt x="397018" y="495037"/>
                    <a:pt x="344546" y="547509"/>
                    <a:pt x="344546" y="612237"/>
                  </a:cubicBezTo>
                  <a:cubicBezTo>
                    <a:pt x="344546" y="612260"/>
                    <a:pt x="344546" y="612283"/>
                    <a:pt x="344560" y="612306"/>
                  </a:cubicBezTo>
                  <a:lnTo>
                    <a:pt x="117200" y="612306"/>
                  </a:lnTo>
                  <a:lnTo>
                    <a:pt x="117200" y="423353"/>
                  </a:lnTo>
                  <a:cubicBezTo>
                    <a:pt x="52472" y="423353"/>
                    <a:pt x="0" y="370881"/>
                    <a:pt x="0" y="306153"/>
                  </a:cubicBezTo>
                  <a:cubicBezTo>
                    <a:pt x="0" y="241425"/>
                    <a:pt x="52472" y="188953"/>
                    <a:pt x="117200" y="188953"/>
                  </a:cubicBezTo>
                  <a:close/>
                </a:path>
              </a:pathLst>
            </a:custGeom>
            <a:solidFill>
              <a:srgbClr val="00FFB9"/>
            </a:solidFill>
            <a:ln w="19050" cap="flat" cmpd="sng">
              <a:solidFill>
                <a:schemeClr val="bg2"/>
              </a:solidFill>
              <a:prstDash val="solid"/>
              <a:round/>
              <a:headEnd/>
              <a:tailEnd/>
            </a:ln>
            <a:effectLst/>
          </p:spPr>
          <p:txBody>
            <a:bodyPr wrap="none" lIns="0" tIns="0" rIns="0" bIns="0" anchor="ctr">
              <a:noAutofit/>
            </a:bodyPr>
            <a:lstStyle/>
            <a:p>
              <a:endParaRPr lang="en-US" sz="1799" dirty="0"/>
            </a:p>
          </p:txBody>
        </p:sp>
        <p:sp>
          <p:nvSpPr>
            <p:cNvPr id="108" name="Ellipse 197"/>
            <p:cNvSpPr/>
            <p:nvPr/>
          </p:nvSpPr>
          <p:spPr>
            <a:xfrm>
              <a:off x="626400" y="2116361"/>
              <a:ext cx="941365" cy="1156585"/>
            </a:xfrm>
            <a:custGeom>
              <a:avLst/>
              <a:gdLst/>
              <a:ahLst/>
              <a:cxnLst/>
              <a:rect l="l" t="t" r="r" b="b"/>
              <a:pathLst>
                <a:path w="689093" h="846637">
                  <a:moveTo>
                    <a:pt x="344546" y="0"/>
                  </a:moveTo>
                  <a:cubicBezTo>
                    <a:pt x="409274" y="0"/>
                    <a:pt x="461746" y="52472"/>
                    <a:pt x="461746" y="117200"/>
                  </a:cubicBezTo>
                  <a:lnTo>
                    <a:pt x="689093" y="117200"/>
                  </a:lnTo>
                  <a:lnTo>
                    <a:pt x="689093" y="306153"/>
                  </a:lnTo>
                  <a:cubicBezTo>
                    <a:pt x="624366" y="306154"/>
                    <a:pt x="571894" y="358625"/>
                    <a:pt x="571894" y="423353"/>
                  </a:cubicBezTo>
                  <a:cubicBezTo>
                    <a:pt x="571894" y="488081"/>
                    <a:pt x="624366" y="540553"/>
                    <a:pt x="689093" y="540553"/>
                  </a:cubicBezTo>
                  <a:lnTo>
                    <a:pt x="689093" y="729506"/>
                  </a:lnTo>
                  <a:lnTo>
                    <a:pt x="461732" y="729506"/>
                  </a:lnTo>
                  <a:cubicBezTo>
                    <a:pt x="461709" y="794202"/>
                    <a:pt x="409251" y="846637"/>
                    <a:pt x="344546" y="846637"/>
                  </a:cubicBezTo>
                  <a:cubicBezTo>
                    <a:pt x="279841" y="846637"/>
                    <a:pt x="227384" y="794202"/>
                    <a:pt x="227360" y="729506"/>
                  </a:cubicBezTo>
                  <a:lnTo>
                    <a:pt x="0" y="729506"/>
                  </a:lnTo>
                  <a:lnTo>
                    <a:pt x="0" y="117200"/>
                  </a:lnTo>
                  <a:lnTo>
                    <a:pt x="227346" y="117200"/>
                  </a:lnTo>
                  <a:cubicBezTo>
                    <a:pt x="227346" y="52472"/>
                    <a:pt x="279818" y="0"/>
                    <a:pt x="344546" y="0"/>
                  </a:cubicBezTo>
                  <a:close/>
                </a:path>
              </a:pathLst>
            </a:custGeom>
            <a:solidFill>
              <a:srgbClr val="00FFB9"/>
            </a:solidFill>
            <a:ln w="19050" cap="flat" cmpd="sng">
              <a:solidFill>
                <a:schemeClr val="bg2"/>
              </a:solidFill>
              <a:prstDash val="solid"/>
              <a:round/>
              <a:headEnd/>
              <a:tailEnd/>
            </a:ln>
            <a:effectLst/>
          </p:spPr>
          <p:txBody>
            <a:bodyPr wrap="none" lIns="0" tIns="0" rIns="0" bIns="0" anchor="ctr">
              <a:noAutofit/>
            </a:bodyPr>
            <a:lstStyle/>
            <a:p>
              <a:endParaRPr lang="en-US" sz="1799" dirty="0"/>
            </a:p>
          </p:txBody>
        </p:sp>
        <p:sp>
          <p:nvSpPr>
            <p:cNvPr id="58" name="Ellipse 186"/>
            <p:cNvSpPr/>
            <p:nvPr/>
          </p:nvSpPr>
          <p:spPr>
            <a:xfrm rot="10800000">
              <a:off x="626400" y="3113448"/>
              <a:ext cx="1101472" cy="836467"/>
            </a:xfrm>
            <a:custGeom>
              <a:avLst/>
              <a:gdLst/>
              <a:ahLst/>
              <a:cxnLst/>
              <a:rect l="l" t="t" r="r" b="b"/>
              <a:pathLst>
                <a:path w="806293" h="612306">
                  <a:moveTo>
                    <a:pt x="117200" y="0"/>
                  </a:moveTo>
                  <a:lnTo>
                    <a:pt x="806293" y="0"/>
                  </a:lnTo>
                  <a:lnTo>
                    <a:pt x="806293" y="612306"/>
                  </a:lnTo>
                  <a:lnTo>
                    <a:pt x="578946" y="612306"/>
                  </a:lnTo>
                  <a:cubicBezTo>
                    <a:pt x="578946" y="547578"/>
                    <a:pt x="526474" y="495106"/>
                    <a:pt x="461746" y="495106"/>
                  </a:cubicBezTo>
                  <a:cubicBezTo>
                    <a:pt x="397018" y="495106"/>
                    <a:pt x="344546" y="547578"/>
                    <a:pt x="344546" y="612306"/>
                  </a:cubicBezTo>
                  <a:lnTo>
                    <a:pt x="117200" y="612306"/>
                  </a:lnTo>
                  <a:lnTo>
                    <a:pt x="117200" y="423353"/>
                  </a:lnTo>
                  <a:cubicBezTo>
                    <a:pt x="52472" y="423353"/>
                    <a:pt x="0" y="370881"/>
                    <a:pt x="0" y="306153"/>
                  </a:cubicBezTo>
                  <a:cubicBezTo>
                    <a:pt x="0" y="241425"/>
                    <a:pt x="52472" y="188953"/>
                    <a:pt x="117200" y="188953"/>
                  </a:cubicBezTo>
                  <a:close/>
                </a:path>
              </a:pathLst>
            </a:custGeom>
            <a:solidFill>
              <a:srgbClr val="00FFB9"/>
            </a:solidFill>
            <a:ln w="19050" cap="flat" cmpd="sng">
              <a:solidFill>
                <a:schemeClr val="bg2"/>
              </a:solidFill>
              <a:prstDash val="solid"/>
              <a:round/>
              <a:headEnd/>
              <a:tailEnd/>
            </a:ln>
            <a:effectLst/>
          </p:spPr>
          <p:txBody>
            <a:bodyPr wrap="none" lIns="0" tIns="0" rIns="0" bIns="0" anchor="ctr">
              <a:noAutofit/>
            </a:bodyPr>
            <a:lstStyle/>
            <a:p>
              <a:endParaRPr lang="en-US" sz="1799" dirty="0"/>
            </a:p>
          </p:txBody>
        </p:sp>
        <p:sp>
          <p:nvSpPr>
            <p:cNvPr id="59" name="Rechteck 163"/>
            <p:cNvSpPr/>
            <p:nvPr/>
          </p:nvSpPr>
          <p:spPr>
            <a:xfrm rot="10800000">
              <a:off x="1567767" y="2953341"/>
              <a:ext cx="941365" cy="996573"/>
            </a:xfrm>
            <a:custGeom>
              <a:avLst/>
              <a:gdLst/>
              <a:ahLst/>
              <a:cxnLst/>
              <a:rect l="l" t="t" r="r" b="b"/>
              <a:pathLst>
                <a:path w="689093" h="729506">
                  <a:moveTo>
                    <a:pt x="0" y="0"/>
                  </a:moveTo>
                  <a:lnTo>
                    <a:pt x="689093" y="0"/>
                  </a:lnTo>
                  <a:lnTo>
                    <a:pt x="689093" y="188953"/>
                  </a:lnTo>
                  <a:cubicBezTo>
                    <a:pt x="624365" y="188953"/>
                    <a:pt x="571893" y="241425"/>
                    <a:pt x="571893" y="306153"/>
                  </a:cubicBezTo>
                  <a:cubicBezTo>
                    <a:pt x="571893" y="370881"/>
                    <a:pt x="624365" y="423353"/>
                    <a:pt x="689093" y="423353"/>
                  </a:cubicBezTo>
                  <a:lnTo>
                    <a:pt x="689093" y="612306"/>
                  </a:lnTo>
                  <a:lnTo>
                    <a:pt x="461746" y="612306"/>
                  </a:lnTo>
                  <a:cubicBezTo>
                    <a:pt x="461746" y="677034"/>
                    <a:pt x="409274" y="729506"/>
                    <a:pt x="344546" y="729506"/>
                  </a:cubicBezTo>
                  <a:cubicBezTo>
                    <a:pt x="279818" y="729506"/>
                    <a:pt x="227346" y="677034"/>
                    <a:pt x="227346" y="612306"/>
                  </a:cubicBezTo>
                  <a:lnTo>
                    <a:pt x="0" y="612306"/>
                  </a:lnTo>
                  <a:lnTo>
                    <a:pt x="0" y="423353"/>
                  </a:lnTo>
                  <a:cubicBezTo>
                    <a:pt x="64728" y="423353"/>
                    <a:pt x="117200" y="370881"/>
                    <a:pt x="117200" y="306153"/>
                  </a:cubicBezTo>
                  <a:cubicBezTo>
                    <a:pt x="117200" y="241425"/>
                    <a:pt x="64728" y="188953"/>
                    <a:pt x="0" y="188953"/>
                  </a:cubicBezTo>
                  <a:close/>
                </a:path>
              </a:pathLst>
            </a:custGeom>
            <a:solidFill>
              <a:srgbClr val="00FFB9"/>
            </a:solidFill>
            <a:ln w="19050" cap="flat" cmpd="sng">
              <a:solidFill>
                <a:schemeClr val="bg2"/>
              </a:solidFill>
              <a:prstDash val="solid"/>
              <a:round/>
              <a:headEnd/>
              <a:tailEnd/>
            </a:ln>
            <a:effectLst/>
          </p:spPr>
          <p:txBody>
            <a:bodyPr wrap="none" lIns="0" tIns="0" rIns="0" bIns="0" anchor="ctr">
              <a:noAutofit/>
            </a:bodyPr>
            <a:lstStyle/>
            <a:p>
              <a:endParaRPr lang="en-US" sz="1799" dirty="0"/>
            </a:p>
          </p:txBody>
        </p:sp>
        <p:sp>
          <p:nvSpPr>
            <p:cNvPr id="60" name="Ellipse 183"/>
            <p:cNvSpPr/>
            <p:nvPr/>
          </p:nvSpPr>
          <p:spPr>
            <a:xfrm rot="11908963">
              <a:off x="2579544" y="3429000"/>
              <a:ext cx="1101473" cy="836467"/>
            </a:xfrm>
            <a:custGeom>
              <a:avLst/>
              <a:gdLst/>
              <a:ahLst/>
              <a:cxnLst/>
              <a:rect l="l" t="t" r="r" b="b"/>
              <a:pathLst>
                <a:path w="806294" h="612306">
                  <a:moveTo>
                    <a:pt x="0" y="0"/>
                  </a:moveTo>
                  <a:lnTo>
                    <a:pt x="689093" y="0"/>
                  </a:lnTo>
                  <a:lnTo>
                    <a:pt x="689093" y="188953"/>
                  </a:lnTo>
                  <a:cubicBezTo>
                    <a:pt x="753822" y="188953"/>
                    <a:pt x="806294" y="241425"/>
                    <a:pt x="806294" y="306153"/>
                  </a:cubicBezTo>
                  <a:cubicBezTo>
                    <a:pt x="806294" y="370881"/>
                    <a:pt x="753822" y="423353"/>
                    <a:pt x="689094" y="423353"/>
                  </a:cubicBezTo>
                  <a:lnTo>
                    <a:pt x="689093" y="423353"/>
                  </a:lnTo>
                  <a:lnTo>
                    <a:pt x="689093" y="612306"/>
                  </a:lnTo>
                  <a:lnTo>
                    <a:pt x="461746" y="612306"/>
                  </a:lnTo>
                  <a:cubicBezTo>
                    <a:pt x="461746" y="547578"/>
                    <a:pt x="409274" y="495106"/>
                    <a:pt x="344546" y="495106"/>
                  </a:cubicBezTo>
                  <a:cubicBezTo>
                    <a:pt x="279818" y="495106"/>
                    <a:pt x="227346" y="547578"/>
                    <a:pt x="227346" y="612306"/>
                  </a:cubicBezTo>
                  <a:lnTo>
                    <a:pt x="0" y="612306"/>
                  </a:lnTo>
                  <a:close/>
                </a:path>
              </a:pathLst>
            </a:custGeom>
            <a:solidFill>
              <a:srgbClr val="9999A9"/>
            </a:solidFill>
            <a:ln w="19050" cap="flat" cmpd="sng">
              <a:solidFill>
                <a:schemeClr val="bg2"/>
              </a:solidFill>
              <a:prstDash val="solid"/>
              <a:round/>
              <a:headEnd/>
              <a:tailEnd/>
            </a:ln>
            <a:effectLst/>
          </p:spPr>
          <p:txBody>
            <a:bodyPr wrap="none" lIns="0" tIns="0" rIns="0" bIns="0" anchor="ctr">
              <a:noAutofit/>
            </a:bodyPr>
            <a:lstStyle/>
            <a:p>
              <a:endParaRPr lang="en-US" sz="1799" dirty="0"/>
            </a:p>
          </p:txBody>
        </p:sp>
      </p:grpSp>
      <p:grpSp>
        <p:nvGrpSpPr>
          <p:cNvPr id="124" name="Group 123"/>
          <p:cNvGrpSpPr/>
          <p:nvPr/>
        </p:nvGrpSpPr>
        <p:grpSpPr>
          <a:xfrm>
            <a:off x="6314400" y="1415849"/>
            <a:ext cx="3763575" cy="3337508"/>
            <a:chOff x="6248630" y="1592799"/>
            <a:chExt cx="3765535" cy="3339246"/>
          </a:xfrm>
          <a:solidFill>
            <a:srgbClr val="66667E"/>
          </a:solidFill>
        </p:grpSpPr>
        <p:sp>
          <p:nvSpPr>
            <p:cNvPr id="125" name="Freeform 124"/>
            <p:cNvSpPr/>
            <p:nvPr/>
          </p:nvSpPr>
          <p:spPr>
            <a:xfrm>
              <a:off x="8912617" y="2429266"/>
              <a:ext cx="1101473" cy="849600"/>
            </a:xfrm>
            <a:custGeom>
              <a:avLst/>
              <a:gdLst>
                <a:gd name="connsiteX0" fmla="*/ 790877 w 1101473"/>
                <a:gd name="connsiteY0" fmla="*/ 836467 h 844114"/>
                <a:gd name="connsiteX1" fmla="*/ 795959 w 1101473"/>
                <a:gd name="connsiteY1" fmla="*/ 836467 h 844114"/>
                <a:gd name="connsiteX2" fmla="*/ 792518 w 1101473"/>
                <a:gd name="connsiteY2" fmla="*/ 843891 h 844114"/>
                <a:gd name="connsiteX3" fmla="*/ 790877 w 1101473"/>
                <a:gd name="connsiteY3" fmla="*/ 836467 h 844114"/>
                <a:gd name="connsiteX4" fmla="*/ 466003 w 1101473"/>
                <a:gd name="connsiteY4" fmla="*/ 836467 h 844114"/>
                <a:gd name="connsiteX5" fmla="*/ 470702 w 1101473"/>
                <a:gd name="connsiteY5" fmla="*/ 836467 h 844114"/>
                <a:gd name="connsiteX6" fmla="*/ 469261 w 1101473"/>
                <a:gd name="connsiteY6" fmla="*/ 844086 h 844114"/>
                <a:gd name="connsiteX7" fmla="*/ 160107 w 1101473"/>
                <a:gd name="connsiteY7" fmla="*/ 0 h 844114"/>
                <a:gd name="connsiteX8" fmla="*/ 160109 w 1101473"/>
                <a:gd name="connsiteY8" fmla="*/ 0 h 844114"/>
                <a:gd name="connsiteX9" fmla="*/ 160108 w 1101473"/>
                <a:gd name="connsiteY9" fmla="*/ 1 h 844114"/>
                <a:gd name="connsiteX10" fmla="*/ 470684 w 1101473"/>
                <a:gd name="connsiteY10" fmla="*/ 1 h 844114"/>
                <a:gd name="connsiteX11" fmla="*/ 630790 w 1101473"/>
                <a:gd name="connsiteY11" fmla="*/ 160107 h 844114"/>
                <a:gd name="connsiteX12" fmla="*/ 790896 w 1101473"/>
                <a:gd name="connsiteY12" fmla="*/ 1 h 844114"/>
                <a:gd name="connsiteX13" fmla="*/ 1101473 w 1101473"/>
                <a:gd name="connsiteY13" fmla="*/ 1 h 844114"/>
                <a:gd name="connsiteX14" fmla="*/ 1101473 w 1101473"/>
                <a:gd name="connsiteY14" fmla="*/ 0 h 844114"/>
                <a:gd name="connsiteX15" fmla="*/ 1101473 w 1101473"/>
                <a:gd name="connsiteY15" fmla="*/ 0 h 844114"/>
                <a:gd name="connsiteX16" fmla="*/ 1101473 w 1101473"/>
                <a:gd name="connsiteY16" fmla="*/ 836419 h 844114"/>
                <a:gd name="connsiteX17" fmla="*/ 1101473 w 1101473"/>
                <a:gd name="connsiteY17" fmla="*/ 836467 h 844114"/>
                <a:gd name="connsiteX18" fmla="*/ 795959 w 1101473"/>
                <a:gd name="connsiteY18" fmla="*/ 836467 h 844114"/>
                <a:gd name="connsiteX19" fmla="*/ 795981 w 1101473"/>
                <a:gd name="connsiteY19" fmla="*/ 836419 h 844114"/>
                <a:gd name="connsiteX20" fmla="*/ 790896 w 1101473"/>
                <a:gd name="connsiteY20" fmla="*/ 836419 h 844114"/>
                <a:gd name="connsiteX21" fmla="*/ 630790 w 1101473"/>
                <a:gd name="connsiteY21" fmla="*/ 676313 h 844114"/>
                <a:gd name="connsiteX22" fmla="*/ 470683 w 1101473"/>
                <a:gd name="connsiteY22" fmla="*/ 836419 h 844114"/>
                <a:gd name="connsiteX23" fmla="*/ 465982 w 1101473"/>
                <a:gd name="connsiteY23" fmla="*/ 836419 h 844114"/>
                <a:gd name="connsiteX24" fmla="*/ 466003 w 1101473"/>
                <a:gd name="connsiteY24" fmla="*/ 836467 h 844114"/>
                <a:gd name="connsiteX25" fmla="*/ 160119 w 1101473"/>
                <a:gd name="connsiteY25" fmla="*/ 836467 h 844114"/>
                <a:gd name="connsiteX26" fmla="*/ 160106 w 1101473"/>
                <a:gd name="connsiteY26" fmla="*/ 836468 h 844114"/>
                <a:gd name="connsiteX27" fmla="*/ 160106 w 1101473"/>
                <a:gd name="connsiteY27" fmla="*/ 578341 h 844114"/>
                <a:gd name="connsiteX28" fmla="*/ 0 w 1101473"/>
                <a:gd name="connsiteY28" fmla="*/ 418235 h 844114"/>
                <a:gd name="connsiteX29" fmla="*/ 160106 w 1101473"/>
                <a:gd name="connsiteY29" fmla="*/ 258129 h 844114"/>
                <a:gd name="connsiteX30" fmla="*/ 160106 w 1101473"/>
                <a:gd name="connsiteY30" fmla="*/ 1 h 844114"/>
                <a:gd name="connsiteX31" fmla="*/ 160107 w 1101473"/>
                <a:gd name="connsiteY31" fmla="*/ 2 h 844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101473" h="844114">
                  <a:moveTo>
                    <a:pt x="790877" y="836467"/>
                  </a:moveTo>
                  <a:lnTo>
                    <a:pt x="795959" y="836467"/>
                  </a:lnTo>
                  <a:lnTo>
                    <a:pt x="792518" y="843891"/>
                  </a:lnTo>
                  <a:cubicBezTo>
                    <a:pt x="791472" y="844340"/>
                    <a:pt x="790875" y="841991"/>
                    <a:pt x="790877" y="836467"/>
                  </a:cubicBezTo>
                  <a:close/>
                  <a:moveTo>
                    <a:pt x="466003" y="836467"/>
                  </a:moveTo>
                  <a:lnTo>
                    <a:pt x="470702" y="836467"/>
                  </a:lnTo>
                  <a:cubicBezTo>
                    <a:pt x="470704" y="841991"/>
                    <a:pt x="470177" y="844409"/>
                    <a:pt x="469261" y="844086"/>
                  </a:cubicBezTo>
                  <a:close/>
                  <a:moveTo>
                    <a:pt x="160107" y="0"/>
                  </a:moveTo>
                  <a:lnTo>
                    <a:pt x="160109" y="0"/>
                  </a:lnTo>
                  <a:lnTo>
                    <a:pt x="160108" y="1"/>
                  </a:lnTo>
                  <a:lnTo>
                    <a:pt x="470684" y="1"/>
                  </a:lnTo>
                  <a:cubicBezTo>
                    <a:pt x="470684" y="88426"/>
                    <a:pt x="542365" y="160107"/>
                    <a:pt x="630790" y="160107"/>
                  </a:cubicBezTo>
                  <a:cubicBezTo>
                    <a:pt x="719214" y="160107"/>
                    <a:pt x="790896" y="88426"/>
                    <a:pt x="790896" y="1"/>
                  </a:cubicBezTo>
                  <a:lnTo>
                    <a:pt x="1101473" y="1"/>
                  </a:lnTo>
                  <a:lnTo>
                    <a:pt x="1101473" y="0"/>
                  </a:lnTo>
                  <a:lnTo>
                    <a:pt x="1101473" y="0"/>
                  </a:lnTo>
                  <a:lnTo>
                    <a:pt x="1101473" y="836419"/>
                  </a:lnTo>
                  <a:lnTo>
                    <a:pt x="1101473" y="836467"/>
                  </a:lnTo>
                  <a:lnTo>
                    <a:pt x="795959" y="836467"/>
                  </a:lnTo>
                  <a:lnTo>
                    <a:pt x="795981" y="836419"/>
                  </a:lnTo>
                  <a:lnTo>
                    <a:pt x="790896" y="836419"/>
                  </a:lnTo>
                  <a:cubicBezTo>
                    <a:pt x="790896" y="747995"/>
                    <a:pt x="719214" y="676313"/>
                    <a:pt x="630790" y="676313"/>
                  </a:cubicBezTo>
                  <a:cubicBezTo>
                    <a:pt x="542365" y="676313"/>
                    <a:pt x="470683" y="747995"/>
                    <a:pt x="470683" y="836419"/>
                  </a:cubicBezTo>
                  <a:lnTo>
                    <a:pt x="465982" y="836419"/>
                  </a:lnTo>
                  <a:lnTo>
                    <a:pt x="466003" y="836467"/>
                  </a:lnTo>
                  <a:lnTo>
                    <a:pt x="160119" y="836467"/>
                  </a:lnTo>
                  <a:cubicBezTo>
                    <a:pt x="160115" y="836467"/>
                    <a:pt x="160110" y="836468"/>
                    <a:pt x="160106" y="836468"/>
                  </a:cubicBezTo>
                  <a:lnTo>
                    <a:pt x="160106" y="578341"/>
                  </a:lnTo>
                  <a:cubicBezTo>
                    <a:pt x="71682" y="578341"/>
                    <a:pt x="0" y="506659"/>
                    <a:pt x="0" y="418235"/>
                  </a:cubicBezTo>
                  <a:cubicBezTo>
                    <a:pt x="0" y="329810"/>
                    <a:pt x="71682" y="258129"/>
                    <a:pt x="160106" y="258129"/>
                  </a:cubicBezTo>
                  <a:lnTo>
                    <a:pt x="160106" y="1"/>
                  </a:lnTo>
                  <a:lnTo>
                    <a:pt x="160107" y="2"/>
                  </a:lnTo>
                  <a:close/>
                </a:path>
              </a:pathLst>
            </a:custGeom>
            <a:solidFill>
              <a:srgbClr val="333353"/>
            </a:solidFill>
            <a:ln w="19050" cap="flat" cmpd="sng">
              <a:solidFill>
                <a:schemeClr val="bg2"/>
              </a:solidFill>
              <a:prstDash val="solid"/>
              <a:round/>
              <a:headEnd/>
              <a:tailEnd/>
            </a:ln>
            <a:effectLst/>
          </p:spPr>
          <p:txBody>
            <a:bodyPr wrap="square" lIns="0" tIns="0" rIns="0" bIns="0" anchor="ctr">
              <a:noAutofit/>
            </a:bodyPr>
            <a:lstStyle/>
            <a:p>
              <a:endParaRPr lang="en-US" sz="1799" dirty="0"/>
            </a:p>
          </p:txBody>
        </p:sp>
        <p:sp>
          <p:nvSpPr>
            <p:cNvPr id="126" name="Rechteck 163"/>
            <p:cNvSpPr/>
            <p:nvPr/>
          </p:nvSpPr>
          <p:spPr>
            <a:xfrm>
              <a:off x="7189997" y="1592800"/>
              <a:ext cx="941365" cy="996573"/>
            </a:xfrm>
            <a:custGeom>
              <a:avLst/>
              <a:gdLst/>
              <a:ahLst/>
              <a:cxnLst/>
              <a:rect l="l" t="t" r="r" b="b"/>
              <a:pathLst>
                <a:path w="689093" h="729506">
                  <a:moveTo>
                    <a:pt x="0" y="0"/>
                  </a:moveTo>
                  <a:lnTo>
                    <a:pt x="689093" y="0"/>
                  </a:lnTo>
                  <a:lnTo>
                    <a:pt x="689093" y="188953"/>
                  </a:lnTo>
                  <a:cubicBezTo>
                    <a:pt x="624365" y="188953"/>
                    <a:pt x="571893" y="241425"/>
                    <a:pt x="571893" y="306153"/>
                  </a:cubicBezTo>
                  <a:cubicBezTo>
                    <a:pt x="571893" y="370881"/>
                    <a:pt x="624365" y="423353"/>
                    <a:pt x="689093" y="423353"/>
                  </a:cubicBezTo>
                  <a:lnTo>
                    <a:pt x="689093" y="612306"/>
                  </a:lnTo>
                  <a:lnTo>
                    <a:pt x="461746" y="612306"/>
                  </a:lnTo>
                  <a:cubicBezTo>
                    <a:pt x="461746" y="677034"/>
                    <a:pt x="409274" y="729506"/>
                    <a:pt x="344546" y="729506"/>
                  </a:cubicBezTo>
                  <a:cubicBezTo>
                    <a:pt x="279818" y="729506"/>
                    <a:pt x="227346" y="677034"/>
                    <a:pt x="227346" y="612306"/>
                  </a:cubicBezTo>
                  <a:lnTo>
                    <a:pt x="0" y="612306"/>
                  </a:lnTo>
                  <a:lnTo>
                    <a:pt x="0" y="423353"/>
                  </a:lnTo>
                  <a:cubicBezTo>
                    <a:pt x="64728" y="423353"/>
                    <a:pt x="117200" y="370881"/>
                    <a:pt x="117200" y="306153"/>
                  </a:cubicBezTo>
                  <a:cubicBezTo>
                    <a:pt x="117200" y="241425"/>
                    <a:pt x="64728" y="188953"/>
                    <a:pt x="0" y="188953"/>
                  </a:cubicBezTo>
                  <a:close/>
                </a:path>
              </a:pathLst>
            </a:custGeom>
            <a:solidFill>
              <a:srgbClr val="333353"/>
            </a:solidFill>
            <a:ln w="19050" cap="flat" cmpd="sng">
              <a:solidFill>
                <a:schemeClr val="bg2"/>
              </a:solidFill>
              <a:prstDash val="solid"/>
              <a:round/>
              <a:headEnd/>
              <a:tailEnd/>
            </a:ln>
            <a:effectLst/>
          </p:spPr>
          <p:txBody>
            <a:bodyPr wrap="none" lIns="0" tIns="0" rIns="0" bIns="0" anchor="ctr">
              <a:noAutofit/>
            </a:bodyPr>
            <a:lstStyle/>
            <a:p>
              <a:endParaRPr lang="en-US" sz="1799" dirty="0"/>
            </a:p>
          </p:txBody>
        </p:sp>
        <p:sp>
          <p:nvSpPr>
            <p:cNvPr id="127" name="Ellipse 183"/>
            <p:cNvSpPr/>
            <p:nvPr/>
          </p:nvSpPr>
          <p:spPr>
            <a:xfrm>
              <a:off x="6248630" y="1592800"/>
              <a:ext cx="1101473" cy="836467"/>
            </a:xfrm>
            <a:custGeom>
              <a:avLst/>
              <a:gdLst/>
              <a:ahLst/>
              <a:cxnLst/>
              <a:rect l="l" t="t" r="r" b="b"/>
              <a:pathLst>
                <a:path w="806294" h="612306">
                  <a:moveTo>
                    <a:pt x="0" y="0"/>
                  </a:moveTo>
                  <a:lnTo>
                    <a:pt x="689093" y="0"/>
                  </a:lnTo>
                  <a:lnTo>
                    <a:pt x="689093" y="188953"/>
                  </a:lnTo>
                  <a:cubicBezTo>
                    <a:pt x="753822" y="188953"/>
                    <a:pt x="806294" y="241425"/>
                    <a:pt x="806294" y="306153"/>
                  </a:cubicBezTo>
                  <a:cubicBezTo>
                    <a:pt x="806294" y="370881"/>
                    <a:pt x="753822" y="423353"/>
                    <a:pt x="689094" y="423353"/>
                  </a:cubicBezTo>
                  <a:lnTo>
                    <a:pt x="689093" y="423353"/>
                  </a:lnTo>
                  <a:lnTo>
                    <a:pt x="689093" y="612306"/>
                  </a:lnTo>
                  <a:lnTo>
                    <a:pt x="461746" y="612306"/>
                  </a:lnTo>
                  <a:cubicBezTo>
                    <a:pt x="461746" y="547578"/>
                    <a:pt x="409274" y="495106"/>
                    <a:pt x="344546" y="495106"/>
                  </a:cubicBezTo>
                  <a:cubicBezTo>
                    <a:pt x="279818" y="495106"/>
                    <a:pt x="227346" y="547578"/>
                    <a:pt x="227346" y="612306"/>
                  </a:cubicBezTo>
                  <a:lnTo>
                    <a:pt x="0" y="612306"/>
                  </a:lnTo>
                  <a:close/>
                </a:path>
              </a:pathLst>
            </a:custGeom>
            <a:solidFill>
              <a:srgbClr val="333353"/>
            </a:solidFill>
            <a:ln w="19050" cap="flat" cmpd="sng">
              <a:solidFill>
                <a:schemeClr val="bg2"/>
              </a:solidFill>
              <a:prstDash val="solid"/>
              <a:round/>
              <a:headEnd/>
              <a:tailEnd/>
            </a:ln>
            <a:effectLst/>
          </p:spPr>
          <p:txBody>
            <a:bodyPr wrap="none" lIns="0" tIns="0" rIns="0" bIns="0" anchor="ctr">
              <a:noAutofit/>
            </a:bodyPr>
            <a:lstStyle/>
            <a:p>
              <a:endParaRPr lang="en-US" sz="1799" dirty="0"/>
            </a:p>
          </p:txBody>
        </p:sp>
        <p:sp>
          <p:nvSpPr>
            <p:cNvPr id="128" name="Ellipse 197"/>
            <p:cNvSpPr/>
            <p:nvPr/>
          </p:nvSpPr>
          <p:spPr>
            <a:xfrm>
              <a:off x="6248630" y="2269161"/>
              <a:ext cx="941365" cy="1156585"/>
            </a:xfrm>
            <a:custGeom>
              <a:avLst/>
              <a:gdLst/>
              <a:ahLst/>
              <a:cxnLst/>
              <a:rect l="l" t="t" r="r" b="b"/>
              <a:pathLst>
                <a:path w="689093" h="846637">
                  <a:moveTo>
                    <a:pt x="344546" y="0"/>
                  </a:moveTo>
                  <a:cubicBezTo>
                    <a:pt x="409274" y="0"/>
                    <a:pt x="461746" y="52472"/>
                    <a:pt x="461746" y="117200"/>
                  </a:cubicBezTo>
                  <a:lnTo>
                    <a:pt x="689093" y="117200"/>
                  </a:lnTo>
                  <a:lnTo>
                    <a:pt x="689093" y="306153"/>
                  </a:lnTo>
                  <a:cubicBezTo>
                    <a:pt x="624366" y="306154"/>
                    <a:pt x="571894" y="358625"/>
                    <a:pt x="571894" y="423353"/>
                  </a:cubicBezTo>
                  <a:cubicBezTo>
                    <a:pt x="571894" y="488081"/>
                    <a:pt x="624366" y="540553"/>
                    <a:pt x="689093" y="540553"/>
                  </a:cubicBezTo>
                  <a:lnTo>
                    <a:pt x="689093" y="729506"/>
                  </a:lnTo>
                  <a:lnTo>
                    <a:pt x="461732" y="729506"/>
                  </a:lnTo>
                  <a:cubicBezTo>
                    <a:pt x="461709" y="794202"/>
                    <a:pt x="409251" y="846637"/>
                    <a:pt x="344546" y="846637"/>
                  </a:cubicBezTo>
                  <a:cubicBezTo>
                    <a:pt x="279841" y="846637"/>
                    <a:pt x="227384" y="794202"/>
                    <a:pt x="227360" y="729506"/>
                  </a:cubicBezTo>
                  <a:lnTo>
                    <a:pt x="0" y="729506"/>
                  </a:lnTo>
                  <a:lnTo>
                    <a:pt x="0" y="117200"/>
                  </a:lnTo>
                  <a:lnTo>
                    <a:pt x="227346" y="117200"/>
                  </a:lnTo>
                  <a:cubicBezTo>
                    <a:pt x="227346" y="52472"/>
                    <a:pt x="279818" y="0"/>
                    <a:pt x="344546" y="0"/>
                  </a:cubicBezTo>
                  <a:close/>
                </a:path>
              </a:pathLst>
            </a:custGeom>
            <a:solidFill>
              <a:srgbClr val="333353"/>
            </a:solidFill>
            <a:ln w="19050" cap="flat" cmpd="sng">
              <a:solidFill>
                <a:schemeClr val="bg2"/>
              </a:solidFill>
              <a:prstDash val="solid"/>
              <a:round/>
              <a:headEnd/>
              <a:tailEnd/>
            </a:ln>
            <a:effectLst/>
          </p:spPr>
          <p:txBody>
            <a:bodyPr wrap="none" lIns="0" tIns="0" rIns="0" bIns="0" anchor="ctr">
              <a:noAutofit/>
            </a:bodyPr>
            <a:lstStyle/>
            <a:p>
              <a:endParaRPr lang="en-US" sz="1799" dirty="0"/>
            </a:p>
          </p:txBody>
        </p:sp>
        <p:sp>
          <p:nvSpPr>
            <p:cNvPr id="129" name="Ellipse 188"/>
            <p:cNvSpPr/>
            <p:nvPr/>
          </p:nvSpPr>
          <p:spPr>
            <a:xfrm>
              <a:off x="7029891" y="2429267"/>
              <a:ext cx="1261577" cy="836467"/>
            </a:xfrm>
            <a:custGeom>
              <a:avLst/>
              <a:gdLst/>
              <a:ahLst/>
              <a:cxnLst/>
              <a:rect l="l" t="t" r="r" b="b"/>
              <a:pathLst>
                <a:path w="923493" h="612306">
                  <a:moveTo>
                    <a:pt x="117200" y="0"/>
                  </a:moveTo>
                  <a:lnTo>
                    <a:pt x="344546" y="0"/>
                  </a:lnTo>
                  <a:cubicBezTo>
                    <a:pt x="344546" y="64728"/>
                    <a:pt x="397018" y="117200"/>
                    <a:pt x="461746" y="117200"/>
                  </a:cubicBezTo>
                  <a:cubicBezTo>
                    <a:pt x="526474" y="117200"/>
                    <a:pt x="578946" y="64728"/>
                    <a:pt x="578946" y="0"/>
                  </a:cubicBezTo>
                  <a:lnTo>
                    <a:pt x="806293" y="0"/>
                  </a:lnTo>
                  <a:lnTo>
                    <a:pt x="806293" y="188953"/>
                  </a:lnTo>
                  <a:cubicBezTo>
                    <a:pt x="871021" y="188953"/>
                    <a:pt x="923493" y="241425"/>
                    <a:pt x="923493" y="306153"/>
                  </a:cubicBezTo>
                  <a:cubicBezTo>
                    <a:pt x="923493" y="370881"/>
                    <a:pt x="871021" y="423353"/>
                    <a:pt x="806293" y="423353"/>
                  </a:cubicBezTo>
                  <a:lnTo>
                    <a:pt x="806293" y="612306"/>
                  </a:lnTo>
                  <a:lnTo>
                    <a:pt x="578932" y="612306"/>
                  </a:lnTo>
                  <a:lnTo>
                    <a:pt x="578946" y="612237"/>
                  </a:lnTo>
                  <a:cubicBezTo>
                    <a:pt x="578946" y="547509"/>
                    <a:pt x="526474" y="495037"/>
                    <a:pt x="461746" y="495037"/>
                  </a:cubicBezTo>
                  <a:cubicBezTo>
                    <a:pt x="397018" y="495037"/>
                    <a:pt x="344546" y="547509"/>
                    <a:pt x="344546" y="612237"/>
                  </a:cubicBezTo>
                  <a:cubicBezTo>
                    <a:pt x="344546" y="612260"/>
                    <a:pt x="344546" y="612283"/>
                    <a:pt x="344560" y="612306"/>
                  </a:cubicBezTo>
                  <a:lnTo>
                    <a:pt x="117200" y="612306"/>
                  </a:lnTo>
                  <a:lnTo>
                    <a:pt x="117200" y="423353"/>
                  </a:lnTo>
                  <a:cubicBezTo>
                    <a:pt x="52472" y="423353"/>
                    <a:pt x="0" y="370881"/>
                    <a:pt x="0" y="306153"/>
                  </a:cubicBezTo>
                  <a:cubicBezTo>
                    <a:pt x="0" y="241425"/>
                    <a:pt x="52472" y="188953"/>
                    <a:pt x="117200" y="188953"/>
                  </a:cubicBezTo>
                  <a:close/>
                </a:path>
              </a:pathLst>
            </a:custGeom>
            <a:gradFill flip="none" rotWithShape="1">
              <a:gsLst>
                <a:gs pos="0">
                  <a:srgbClr val="00FFB9"/>
                </a:gs>
                <a:gs pos="100000">
                  <a:srgbClr val="00E6DC"/>
                </a:gs>
              </a:gsLst>
              <a:lin ang="0" scaled="1"/>
              <a:tileRect/>
            </a:gradFill>
            <a:ln w="19050" cap="flat" cmpd="sng">
              <a:solidFill>
                <a:schemeClr val="bg2"/>
              </a:solidFill>
              <a:prstDash val="solid"/>
              <a:round/>
              <a:headEnd/>
              <a:tailEnd/>
            </a:ln>
            <a:effectLst/>
          </p:spPr>
          <p:txBody>
            <a:bodyPr wrap="none" lIns="0" tIns="0" rIns="0" bIns="0" anchor="ctr">
              <a:noAutofit/>
            </a:bodyPr>
            <a:lstStyle/>
            <a:p>
              <a:endParaRPr lang="en-US" sz="1799" dirty="0"/>
            </a:p>
          </p:txBody>
        </p:sp>
        <p:sp>
          <p:nvSpPr>
            <p:cNvPr id="130" name="Freeform 129"/>
            <p:cNvSpPr/>
            <p:nvPr/>
          </p:nvSpPr>
          <p:spPr>
            <a:xfrm>
              <a:off x="7971253" y="1592800"/>
              <a:ext cx="1261577" cy="836468"/>
            </a:xfrm>
            <a:custGeom>
              <a:avLst/>
              <a:gdLst>
                <a:gd name="connsiteX0" fmla="*/ 1101470 w 1261577"/>
                <a:gd name="connsiteY0" fmla="*/ 836467 h 836468"/>
                <a:gd name="connsiteX1" fmla="*/ 1101471 w 1261577"/>
                <a:gd name="connsiteY1" fmla="*/ 836468 h 836468"/>
                <a:gd name="connsiteX2" fmla="*/ 1101470 w 1261577"/>
                <a:gd name="connsiteY2" fmla="*/ 836468 h 836468"/>
                <a:gd name="connsiteX3" fmla="*/ 160106 w 1261577"/>
                <a:gd name="connsiteY3" fmla="*/ 0 h 836468"/>
                <a:gd name="connsiteX4" fmla="*/ 1101471 w 1261577"/>
                <a:gd name="connsiteY4" fmla="*/ 0 h 836468"/>
                <a:gd name="connsiteX5" fmla="*/ 1101471 w 1261577"/>
                <a:gd name="connsiteY5" fmla="*/ 258127 h 836468"/>
                <a:gd name="connsiteX6" fmla="*/ 1261577 w 1261577"/>
                <a:gd name="connsiteY6" fmla="*/ 418233 h 836468"/>
                <a:gd name="connsiteX7" fmla="*/ 1101471 w 1261577"/>
                <a:gd name="connsiteY7" fmla="*/ 578340 h 836468"/>
                <a:gd name="connsiteX8" fmla="*/ 1101471 w 1261577"/>
                <a:gd name="connsiteY8" fmla="*/ 836467 h 836468"/>
                <a:gd name="connsiteX9" fmla="*/ 1101470 w 1261577"/>
                <a:gd name="connsiteY9" fmla="*/ 836467 h 836468"/>
                <a:gd name="connsiteX10" fmla="*/ 790893 w 1261577"/>
                <a:gd name="connsiteY10" fmla="*/ 836467 h 836468"/>
                <a:gd name="connsiteX11" fmla="*/ 630787 w 1261577"/>
                <a:gd name="connsiteY11" fmla="*/ 676361 h 836468"/>
                <a:gd name="connsiteX12" fmla="*/ 470681 w 1261577"/>
                <a:gd name="connsiteY12" fmla="*/ 836467 h 836468"/>
                <a:gd name="connsiteX13" fmla="*/ 160107 w 1261577"/>
                <a:gd name="connsiteY13" fmla="*/ 836467 h 836468"/>
                <a:gd name="connsiteX14" fmla="*/ 160106 w 1261577"/>
                <a:gd name="connsiteY14" fmla="*/ 836467 h 836468"/>
                <a:gd name="connsiteX15" fmla="*/ 160106 w 1261577"/>
                <a:gd name="connsiteY15" fmla="*/ 578340 h 836468"/>
                <a:gd name="connsiteX16" fmla="*/ 0 w 1261577"/>
                <a:gd name="connsiteY16" fmla="*/ 418233 h 836468"/>
                <a:gd name="connsiteX17" fmla="*/ 160106 w 1261577"/>
                <a:gd name="connsiteY17" fmla="*/ 258127 h 836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61577" h="836468">
                  <a:moveTo>
                    <a:pt x="1101470" y="836467"/>
                  </a:moveTo>
                  <a:lnTo>
                    <a:pt x="1101471" y="836468"/>
                  </a:lnTo>
                  <a:lnTo>
                    <a:pt x="1101470" y="836468"/>
                  </a:lnTo>
                  <a:close/>
                  <a:moveTo>
                    <a:pt x="160106" y="0"/>
                  </a:moveTo>
                  <a:lnTo>
                    <a:pt x="1101471" y="0"/>
                  </a:lnTo>
                  <a:lnTo>
                    <a:pt x="1101471" y="258127"/>
                  </a:lnTo>
                  <a:cubicBezTo>
                    <a:pt x="1189896" y="258127"/>
                    <a:pt x="1261577" y="329809"/>
                    <a:pt x="1261577" y="418233"/>
                  </a:cubicBezTo>
                  <a:cubicBezTo>
                    <a:pt x="1261577" y="506658"/>
                    <a:pt x="1189896" y="578340"/>
                    <a:pt x="1101471" y="578340"/>
                  </a:cubicBezTo>
                  <a:lnTo>
                    <a:pt x="1101471" y="836467"/>
                  </a:lnTo>
                  <a:lnTo>
                    <a:pt x="1101470" y="836467"/>
                  </a:lnTo>
                  <a:lnTo>
                    <a:pt x="790893" y="836467"/>
                  </a:lnTo>
                  <a:cubicBezTo>
                    <a:pt x="790893" y="748043"/>
                    <a:pt x="719211" y="676361"/>
                    <a:pt x="630787" y="676361"/>
                  </a:cubicBezTo>
                  <a:cubicBezTo>
                    <a:pt x="542363" y="676361"/>
                    <a:pt x="470681" y="748043"/>
                    <a:pt x="470681" y="836467"/>
                  </a:cubicBezTo>
                  <a:lnTo>
                    <a:pt x="160107" y="836467"/>
                  </a:lnTo>
                  <a:lnTo>
                    <a:pt x="160106" y="836467"/>
                  </a:lnTo>
                  <a:lnTo>
                    <a:pt x="160106" y="578340"/>
                  </a:lnTo>
                  <a:cubicBezTo>
                    <a:pt x="71681" y="578340"/>
                    <a:pt x="0" y="506658"/>
                    <a:pt x="0" y="418233"/>
                  </a:cubicBezTo>
                  <a:cubicBezTo>
                    <a:pt x="0" y="329809"/>
                    <a:pt x="71681" y="258127"/>
                    <a:pt x="160106" y="258127"/>
                  </a:cubicBezTo>
                  <a:close/>
                </a:path>
              </a:pathLst>
            </a:custGeom>
            <a:solidFill>
              <a:srgbClr val="333353"/>
            </a:solidFill>
            <a:ln w="19050" cap="flat" cmpd="sng">
              <a:solidFill>
                <a:schemeClr val="bg2"/>
              </a:solidFill>
              <a:prstDash val="solid"/>
              <a:round/>
              <a:headEnd/>
              <a:tailEnd/>
            </a:ln>
            <a:effectLst/>
          </p:spPr>
          <p:txBody>
            <a:bodyPr wrap="square" lIns="0" tIns="0" rIns="0" bIns="0" anchor="ctr">
              <a:noAutofit/>
            </a:bodyPr>
            <a:lstStyle/>
            <a:p>
              <a:endParaRPr lang="en-US" sz="1799" dirty="0"/>
            </a:p>
          </p:txBody>
        </p:sp>
        <p:sp>
          <p:nvSpPr>
            <p:cNvPr id="131" name="Freeform 130"/>
            <p:cNvSpPr/>
            <p:nvPr/>
          </p:nvSpPr>
          <p:spPr>
            <a:xfrm>
              <a:off x="8131358" y="2269161"/>
              <a:ext cx="941365" cy="1156585"/>
            </a:xfrm>
            <a:custGeom>
              <a:avLst/>
              <a:gdLst>
                <a:gd name="connsiteX0" fmla="*/ 470682 w 941365"/>
                <a:gd name="connsiteY0" fmla="*/ 0 h 1156585"/>
                <a:gd name="connsiteX1" fmla="*/ 630788 w 941365"/>
                <a:gd name="connsiteY1" fmla="*/ 160106 h 1156585"/>
                <a:gd name="connsiteX2" fmla="*/ 630789 w 941365"/>
                <a:gd name="connsiteY2" fmla="*/ 160106 h 1156585"/>
                <a:gd name="connsiteX3" fmla="*/ 941365 w 941365"/>
                <a:gd name="connsiteY3" fmla="*/ 160106 h 1156585"/>
                <a:gd name="connsiteX4" fmla="*/ 941365 w 941365"/>
                <a:gd name="connsiteY4" fmla="*/ 418233 h 1156585"/>
                <a:gd name="connsiteX5" fmla="*/ 781259 w 941365"/>
                <a:gd name="connsiteY5" fmla="*/ 578339 h 1156585"/>
                <a:gd name="connsiteX6" fmla="*/ 941365 w 941365"/>
                <a:gd name="connsiteY6" fmla="*/ 738446 h 1156585"/>
                <a:gd name="connsiteX7" fmla="*/ 941365 w 941365"/>
                <a:gd name="connsiteY7" fmla="*/ 996573 h 1156585"/>
                <a:gd name="connsiteX8" fmla="*/ 630773 w 941365"/>
                <a:gd name="connsiteY8" fmla="*/ 996573 h 1156585"/>
                <a:gd name="connsiteX9" fmla="*/ 618210 w 941365"/>
                <a:gd name="connsiteY9" fmla="*/ 1058800 h 1156585"/>
                <a:gd name="connsiteX10" fmla="*/ 470686 w 941365"/>
                <a:gd name="connsiteY10" fmla="*/ 1156585 h 1156585"/>
                <a:gd name="connsiteX11" fmla="*/ 310580 w 941365"/>
                <a:gd name="connsiteY11" fmla="*/ 996479 h 1156585"/>
                <a:gd name="connsiteX12" fmla="*/ 310577 w 941365"/>
                <a:gd name="connsiteY12" fmla="*/ 996479 h 1156585"/>
                <a:gd name="connsiteX13" fmla="*/ 310596 w 941365"/>
                <a:gd name="connsiteY13" fmla="*/ 996573 h 1156585"/>
                <a:gd name="connsiteX14" fmla="*/ 4 w 941365"/>
                <a:gd name="connsiteY14" fmla="*/ 996573 h 1156585"/>
                <a:gd name="connsiteX15" fmla="*/ 4 w 941365"/>
                <a:gd name="connsiteY15" fmla="*/ 996479 h 1156585"/>
                <a:gd name="connsiteX16" fmla="*/ 4 w 941365"/>
                <a:gd name="connsiteY16" fmla="*/ 738446 h 1156585"/>
                <a:gd name="connsiteX17" fmla="*/ 160110 w 941365"/>
                <a:gd name="connsiteY17" fmla="*/ 578340 h 1156585"/>
                <a:gd name="connsiteX18" fmla="*/ 4 w 941365"/>
                <a:gd name="connsiteY18" fmla="*/ 418234 h 1156585"/>
                <a:gd name="connsiteX19" fmla="*/ 4 w 941365"/>
                <a:gd name="connsiteY19" fmla="*/ 160114 h 1156585"/>
                <a:gd name="connsiteX20" fmla="*/ 0 w 941365"/>
                <a:gd name="connsiteY20" fmla="*/ 160106 h 1156585"/>
                <a:gd name="connsiteX21" fmla="*/ 4 w 941365"/>
                <a:gd name="connsiteY21" fmla="*/ 160106 h 1156585"/>
                <a:gd name="connsiteX22" fmla="*/ 310576 w 941365"/>
                <a:gd name="connsiteY22" fmla="*/ 160106 h 1156585"/>
                <a:gd name="connsiteX23" fmla="*/ 470682 w 941365"/>
                <a:gd name="connsiteY23" fmla="*/ 0 h 1156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41365" h="1156585">
                  <a:moveTo>
                    <a:pt x="470682" y="0"/>
                  </a:moveTo>
                  <a:cubicBezTo>
                    <a:pt x="559106" y="0"/>
                    <a:pt x="630788" y="71682"/>
                    <a:pt x="630788" y="160106"/>
                  </a:cubicBezTo>
                  <a:lnTo>
                    <a:pt x="630789" y="160106"/>
                  </a:lnTo>
                  <a:lnTo>
                    <a:pt x="941365" y="160106"/>
                  </a:lnTo>
                  <a:lnTo>
                    <a:pt x="941365" y="418233"/>
                  </a:lnTo>
                  <a:cubicBezTo>
                    <a:pt x="852940" y="418233"/>
                    <a:pt x="781259" y="489915"/>
                    <a:pt x="781259" y="578339"/>
                  </a:cubicBezTo>
                  <a:cubicBezTo>
                    <a:pt x="781259" y="666764"/>
                    <a:pt x="852940" y="738446"/>
                    <a:pt x="941365" y="738446"/>
                  </a:cubicBezTo>
                  <a:lnTo>
                    <a:pt x="941365" y="996573"/>
                  </a:lnTo>
                  <a:lnTo>
                    <a:pt x="630773" y="996573"/>
                  </a:lnTo>
                  <a:lnTo>
                    <a:pt x="618210" y="1058800"/>
                  </a:lnTo>
                  <a:cubicBezTo>
                    <a:pt x="593905" y="1116264"/>
                    <a:pt x="537004" y="1156585"/>
                    <a:pt x="470686" y="1156585"/>
                  </a:cubicBezTo>
                  <a:cubicBezTo>
                    <a:pt x="382262" y="1156585"/>
                    <a:pt x="310580" y="1084903"/>
                    <a:pt x="310580" y="996479"/>
                  </a:cubicBezTo>
                  <a:lnTo>
                    <a:pt x="310577" y="996479"/>
                  </a:lnTo>
                  <a:cubicBezTo>
                    <a:pt x="310577" y="996510"/>
                    <a:pt x="310577" y="996542"/>
                    <a:pt x="310596" y="996573"/>
                  </a:cubicBezTo>
                  <a:lnTo>
                    <a:pt x="4" y="996573"/>
                  </a:lnTo>
                  <a:lnTo>
                    <a:pt x="4" y="996479"/>
                  </a:lnTo>
                  <a:lnTo>
                    <a:pt x="4" y="738446"/>
                  </a:lnTo>
                  <a:cubicBezTo>
                    <a:pt x="88429" y="738446"/>
                    <a:pt x="160110" y="666764"/>
                    <a:pt x="160110" y="578340"/>
                  </a:cubicBezTo>
                  <a:cubicBezTo>
                    <a:pt x="160110" y="489915"/>
                    <a:pt x="88429" y="418234"/>
                    <a:pt x="4" y="418234"/>
                  </a:cubicBezTo>
                  <a:lnTo>
                    <a:pt x="4" y="160114"/>
                  </a:lnTo>
                  <a:lnTo>
                    <a:pt x="0" y="160106"/>
                  </a:lnTo>
                  <a:lnTo>
                    <a:pt x="4" y="160106"/>
                  </a:lnTo>
                  <a:lnTo>
                    <a:pt x="310576" y="160106"/>
                  </a:lnTo>
                  <a:cubicBezTo>
                    <a:pt x="310576" y="71682"/>
                    <a:pt x="382258" y="0"/>
                    <a:pt x="470682" y="0"/>
                  </a:cubicBezTo>
                  <a:close/>
                </a:path>
              </a:pathLst>
            </a:custGeom>
            <a:solidFill>
              <a:srgbClr val="333353"/>
            </a:solidFill>
            <a:ln w="19050" cap="flat" cmpd="sng">
              <a:solidFill>
                <a:schemeClr val="bg2"/>
              </a:solidFill>
              <a:prstDash val="solid"/>
              <a:round/>
              <a:headEnd/>
              <a:tailEnd/>
            </a:ln>
            <a:effectLst/>
          </p:spPr>
          <p:txBody>
            <a:bodyPr wrap="square" lIns="0" tIns="0" rIns="0" bIns="0" anchor="ctr">
              <a:noAutofit/>
            </a:bodyPr>
            <a:lstStyle/>
            <a:p>
              <a:endParaRPr lang="en-US" sz="1799" dirty="0"/>
            </a:p>
          </p:txBody>
        </p:sp>
        <p:sp>
          <p:nvSpPr>
            <p:cNvPr id="132" name="Freeform 131"/>
            <p:cNvSpPr/>
            <p:nvPr/>
          </p:nvSpPr>
          <p:spPr>
            <a:xfrm>
              <a:off x="9072725" y="1592799"/>
              <a:ext cx="941439" cy="996574"/>
            </a:xfrm>
            <a:custGeom>
              <a:avLst/>
              <a:gdLst>
                <a:gd name="connsiteX0" fmla="*/ 0 w 941439"/>
                <a:gd name="connsiteY0" fmla="*/ 0 h 996574"/>
                <a:gd name="connsiteX1" fmla="*/ 941366 w 941439"/>
                <a:gd name="connsiteY1" fmla="*/ 0 h 996574"/>
                <a:gd name="connsiteX2" fmla="*/ 941366 w 941439"/>
                <a:gd name="connsiteY2" fmla="*/ 820491 h 996574"/>
                <a:gd name="connsiteX3" fmla="*/ 941439 w 941439"/>
                <a:gd name="connsiteY3" fmla="*/ 820667 h 996574"/>
                <a:gd name="connsiteX4" fmla="*/ 941366 w 941439"/>
                <a:gd name="connsiteY4" fmla="*/ 836359 h 996574"/>
                <a:gd name="connsiteX5" fmla="*/ 941366 w 941439"/>
                <a:gd name="connsiteY5" fmla="*/ 836467 h 996574"/>
                <a:gd name="connsiteX6" fmla="*/ 941366 w 941439"/>
                <a:gd name="connsiteY6" fmla="*/ 836467 h 996574"/>
                <a:gd name="connsiteX7" fmla="*/ 941366 w 941439"/>
                <a:gd name="connsiteY7" fmla="*/ 836468 h 996574"/>
                <a:gd name="connsiteX8" fmla="*/ 630789 w 941439"/>
                <a:gd name="connsiteY8" fmla="*/ 836468 h 996574"/>
                <a:gd name="connsiteX9" fmla="*/ 470683 w 941439"/>
                <a:gd name="connsiteY9" fmla="*/ 996574 h 996574"/>
                <a:gd name="connsiteX10" fmla="*/ 310577 w 941439"/>
                <a:gd name="connsiteY10" fmla="*/ 836468 h 996574"/>
                <a:gd name="connsiteX11" fmla="*/ 1 w 941439"/>
                <a:gd name="connsiteY11" fmla="*/ 836468 h 996574"/>
                <a:gd name="connsiteX12" fmla="*/ 2 w 941439"/>
                <a:gd name="connsiteY12" fmla="*/ 836467 h 996574"/>
                <a:gd name="connsiteX13" fmla="*/ 0 w 941439"/>
                <a:gd name="connsiteY13" fmla="*/ 836467 h 996574"/>
                <a:gd name="connsiteX14" fmla="*/ 0 w 941439"/>
                <a:gd name="connsiteY14" fmla="*/ 578341 h 996574"/>
                <a:gd name="connsiteX15" fmla="*/ 160106 w 941439"/>
                <a:gd name="connsiteY15" fmla="*/ 418234 h 996574"/>
                <a:gd name="connsiteX16" fmla="*/ 0 w 941439"/>
                <a:gd name="connsiteY16" fmla="*/ 258128 h 996574"/>
                <a:gd name="connsiteX17" fmla="*/ 0 w 941439"/>
                <a:gd name="connsiteY17" fmla="*/ 258127 h 996574"/>
                <a:gd name="connsiteX18" fmla="*/ 0 w 941439"/>
                <a:gd name="connsiteY18" fmla="*/ 1 h 996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41439" h="996574">
                  <a:moveTo>
                    <a:pt x="0" y="0"/>
                  </a:moveTo>
                  <a:lnTo>
                    <a:pt x="941366" y="0"/>
                  </a:lnTo>
                  <a:lnTo>
                    <a:pt x="941366" y="820491"/>
                  </a:lnTo>
                  <a:lnTo>
                    <a:pt x="941439" y="820667"/>
                  </a:lnTo>
                  <a:lnTo>
                    <a:pt x="941366" y="836359"/>
                  </a:lnTo>
                  <a:lnTo>
                    <a:pt x="941366" y="836467"/>
                  </a:lnTo>
                  <a:lnTo>
                    <a:pt x="941366" y="836467"/>
                  </a:lnTo>
                  <a:lnTo>
                    <a:pt x="941366" y="836468"/>
                  </a:lnTo>
                  <a:lnTo>
                    <a:pt x="630789" y="836468"/>
                  </a:lnTo>
                  <a:cubicBezTo>
                    <a:pt x="630789" y="924893"/>
                    <a:pt x="559107" y="996574"/>
                    <a:pt x="470683" y="996574"/>
                  </a:cubicBezTo>
                  <a:cubicBezTo>
                    <a:pt x="382258" y="996574"/>
                    <a:pt x="310577" y="924893"/>
                    <a:pt x="310577" y="836468"/>
                  </a:cubicBezTo>
                  <a:lnTo>
                    <a:pt x="1" y="836468"/>
                  </a:lnTo>
                  <a:lnTo>
                    <a:pt x="2" y="836467"/>
                  </a:lnTo>
                  <a:lnTo>
                    <a:pt x="0" y="836467"/>
                  </a:lnTo>
                  <a:lnTo>
                    <a:pt x="0" y="578341"/>
                  </a:lnTo>
                  <a:cubicBezTo>
                    <a:pt x="88425" y="578341"/>
                    <a:pt x="160106" y="506659"/>
                    <a:pt x="160106" y="418234"/>
                  </a:cubicBezTo>
                  <a:cubicBezTo>
                    <a:pt x="160106" y="329810"/>
                    <a:pt x="88425" y="258128"/>
                    <a:pt x="0" y="258128"/>
                  </a:cubicBezTo>
                  <a:lnTo>
                    <a:pt x="0" y="258127"/>
                  </a:lnTo>
                  <a:lnTo>
                    <a:pt x="0" y="1"/>
                  </a:lnTo>
                  <a:close/>
                </a:path>
              </a:pathLst>
            </a:custGeom>
            <a:solidFill>
              <a:srgbClr val="333353"/>
            </a:solidFill>
            <a:ln w="19050" cap="flat" cmpd="sng">
              <a:solidFill>
                <a:schemeClr val="bg2"/>
              </a:solidFill>
              <a:prstDash val="solid"/>
              <a:round/>
              <a:headEnd/>
              <a:tailEnd/>
            </a:ln>
            <a:effectLst/>
          </p:spPr>
          <p:txBody>
            <a:bodyPr wrap="square" lIns="0" tIns="0" rIns="0" bIns="0" anchor="ctr">
              <a:noAutofit/>
            </a:bodyPr>
            <a:lstStyle/>
            <a:p>
              <a:endParaRPr lang="en-US" sz="1799" dirty="0"/>
            </a:p>
          </p:txBody>
        </p:sp>
        <p:sp>
          <p:nvSpPr>
            <p:cNvPr id="133" name="Freeform 132"/>
            <p:cNvSpPr/>
            <p:nvPr/>
          </p:nvSpPr>
          <p:spPr>
            <a:xfrm flipH="1">
              <a:off x="6248630" y="3266293"/>
              <a:ext cx="1101473" cy="846000"/>
            </a:xfrm>
            <a:custGeom>
              <a:avLst/>
              <a:gdLst>
                <a:gd name="connsiteX0" fmla="*/ 790877 w 1101473"/>
                <a:gd name="connsiteY0" fmla="*/ 836467 h 844114"/>
                <a:gd name="connsiteX1" fmla="*/ 795959 w 1101473"/>
                <a:gd name="connsiteY1" fmla="*/ 836467 h 844114"/>
                <a:gd name="connsiteX2" fmla="*/ 792518 w 1101473"/>
                <a:gd name="connsiteY2" fmla="*/ 843891 h 844114"/>
                <a:gd name="connsiteX3" fmla="*/ 790877 w 1101473"/>
                <a:gd name="connsiteY3" fmla="*/ 836467 h 844114"/>
                <a:gd name="connsiteX4" fmla="*/ 466003 w 1101473"/>
                <a:gd name="connsiteY4" fmla="*/ 836467 h 844114"/>
                <a:gd name="connsiteX5" fmla="*/ 470702 w 1101473"/>
                <a:gd name="connsiteY5" fmla="*/ 836467 h 844114"/>
                <a:gd name="connsiteX6" fmla="*/ 469261 w 1101473"/>
                <a:gd name="connsiteY6" fmla="*/ 844086 h 844114"/>
                <a:gd name="connsiteX7" fmla="*/ 160107 w 1101473"/>
                <a:gd name="connsiteY7" fmla="*/ 0 h 844114"/>
                <a:gd name="connsiteX8" fmla="*/ 160109 w 1101473"/>
                <a:gd name="connsiteY8" fmla="*/ 0 h 844114"/>
                <a:gd name="connsiteX9" fmla="*/ 160108 w 1101473"/>
                <a:gd name="connsiteY9" fmla="*/ 1 h 844114"/>
                <a:gd name="connsiteX10" fmla="*/ 470684 w 1101473"/>
                <a:gd name="connsiteY10" fmla="*/ 1 h 844114"/>
                <a:gd name="connsiteX11" fmla="*/ 630790 w 1101473"/>
                <a:gd name="connsiteY11" fmla="*/ 160107 h 844114"/>
                <a:gd name="connsiteX12" fmla="*/ 790896 w 1101473"/>
                <a:gd name="connsiteY12" fmla="*/ 1 h 844114"/>
                <a:gd name="connsiteX13" fmla="*/ 1101473 w 1101473"/>
                <a:gd name="connsiteY13" fmla="*/ 1 h 844114"/>
                <a:gd name="connsiteX14" fmla="*/ 1101473 w 1101473"/>
                <a:gd name="connsiteY14" fmla="*/ 0 h 844114"/>
                <a:gd name="connsiteX15" fmla="*/ 1101473 w 1101473"/>
                <a:gd name="connsiteY15" fmla="*/ 0 h 844114"/>
                <a:gd name="connsiteX16" fmla="*/ 1101473 w 1101473"/>
                <a:gd name="connsiteY16" fmla="*/ 836419 h 844114"/>
                <a:gd name="connsiteX17" fmla="*/ 1101473 w 1101473"/>
                <a:gd name="connsiteY17" fmla="*/ 836467 h 844114"/>
                <a:gd name="connsiteX18" fmla="*/ 795959 w 1101473"/>
                <a:gd name="connsiteY18" fmla="*/ 836467 h 844114"/>
                <a:gd name="connsiteX19" fmla="*/ 795981 w 1101473"/>
                <a:gd name="connsiteY19" fmla="*/ 836419 h 844114"/>
                <a:gd name="connsiteX20" fmla="*/ 790896 w 1101473"/>
                <a:gd name="connsiteY20" fmla="*/ 836419 h 844114"/>
                <a:gd name="connsiteX21" fmla="*/ 630790 w 1101473"/>
                <a:gd name="connsiteY21" fmla="*/ 676313 h 844114"/>
                <a:gd name="connsiteX22" fmla="*/ 470683 w 1101473"/>
                <a:gd name="connsiteY22" fmla="*/ 836419 h 844114"/>
                <a:gd name="connsiteX23" fmla="*/ 465982 w 1101473"/>
                <a:gd name="connsiteY23" fmla="*/ 836419 h 844114"/>
                <a:gd name="connsiteX24" fmla="*/ 466003 w 1101473"/>
                <a:gd name="connsiteY24" fmla="*/ 836467 h 844114"/>
                <a:gd name="connsiteX25" fmla="*/ 160119 w 1101473"/>
                <a:gd name="connsiteY25" fmla="*/ 836467 h 844114"/>
                <a:gd name="connsiteX26" fmla="*/ 160106 w 1101473"/>
                <a:gd name="connsiteY26" fmla="*/ 836468 h 844114"/>
                <a:gd name="connsiteX27" fmla="*/ 160106 w 1101473"/>
                <a:gd name="connsiteY27" fmla="*/ 578341 h 844114"/>
                <a:gd name="connsiteX28" fmla="*/ 0 w 1101473"/>
                <a:gd name="connsiteY28" fmla="*/ 418235 h 844114"/>
                <a:gd name="connsiteX29" fmla="*/ 160106 w 1101473"/>
                <a:gd name="connsiteY29" fmla="*/ 258129 h 844114"/>
                <a:gd name="connsiteX30" fmla="*/ 160106 w 1101473"/>
                <a:gd name="connsiteY30" fmla="*/ 1 h 844114"/>
                <a:gd name="connsiteX31" fmla="*/ 160107 w 1101473"/>
                <a:gd name="connsiteY31" fmla="*/ 2 h 844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101473" h="844114">
                  <a:moveTo>
                    <a:pt x="790877" y="836467"/>
                  </a:moveTo>
                  <a:lnTo>
                    <a:pt x="795959" y="836467"/>
                  </a:lnTo>
                  <a:lnTo>
                    <a:pt x="792518" y="843891"/>
                  </a:lnTo>
                  <a:cubicBezTo>
                    <a:pt x="791472" y="844340"/>
                    <a:pt x="790875" y="841991"/>
                    <a:pt x="790877" y="836467"/>
                  </a:cubicBezTo>
                  <a:close/>
                  <a:moveTo>
                    <a:pt x="466003" y="836467"/>
                  </a:moveTo>
                  <a:lnTo>
                    <a:pt x="470702" y="836467"/>
                  </a:lnTo>
                  <a:cubicBezTo>
                    <a:pt x="470704" y="841991"/>
                    <a:pt x="470177" y="844409"/>
                    <a:pt x="469261" y="844086"/>
                  </a:cubicBezTo>
                  <a:close/>
                  <a:moveTo>
                    <a:pt x="160107" y="0"/>
                  </a:moveTo>
                  <a:lnTo>
                    <a:pt x="160109" y="0"/>
                  </a:lnTo>
                  <a:lnTo>
                    <a:pt x="160108" y="1"/>
                  </a:lnTo>
                  <a:lnTo>
                    <a:pt x="470684" y="1"/>
                  </a:lnTo>
                  <a:cubicBezTo>
                    <a:pt x="470684" y="88426"/>
                    <a:pt x="542365" y="160107"/>
                    <a:pt x="630790" y="160107"/>
                  </a:cubicBezTo>
                  <a:cubicBezTo>
                    <a:pt x="719214" y="160107"/>
                    <a:pt x="790896" y="88426"/>
                    <a:pt x="790896" y="1"/>
                  </a:cubicBezTo>
                  <a:lnTo>
                    <a:pt x="1101473" y="1"/>
                  </a:lnTo>
                  <a:lnTo>
                    <a:pt x="1101473" y="0"/>
                  </a:lnTo>
                  <a:lnTo>
                    <a:pt x="1101473" y="0"/>
                  </a:lnTo>
                  <a:lnTo>
                    <a:pt x="1101473" y="836419"/>
                  </a:lnTo>
                  <a:lnTo>
                    <a:pt x="1101473" y="836467"/>
                  </a:lnTo>
                  <a:lnTo>
                    <a:pt x="795959" y="836467"/>
                  </a:lnTo>
                  <a:lnTo>
                    <a:pt x="795981" y="836419"/>
                  </a:lnTo>
                  <a:lnTo>
                    <a:pt x="790896" y="836419"/>
                  </a:lnTo>
                  <a:cubicBezTo>
                    <a:pt x="790896" y="747995"/>
                    <a:pt x="719214" y="676313"/>
                    <a:pt x="630790" y="676313"/>
                  </a:cubicBezTo>
                  <a:cubicBezTo>
                    <a:pt x="542365" y="676313"/>
                    <a:pt x="470683" y="747995"/>
                    <a:pt x="470683" y="836419"/>
                  </a:cubicBezTo>
                  <a:lnTo>
                    <a:pt x="465982" y="836419"/>
                  </a:lnTo>
                  <a:lnTo>
                    <a:pt x="466003" y="836467"/>
                  </a:lnTo>
                  <a:lnTo>
                    <a:pt x="160119" y="836467"/>
                  </a:lnTo>
                  <a:cubicBezTo>
                    <a:pt x="160115" y="836467"/>
                    <a:pt x="160110" y="836468"/>
                    <a:pt x="160106" y="836468"/>
                  </a:cubicBezTo>
                  <a:lnTo>
                    <a:pt x="160106" y="578341"/>
                  </a:lnTo>
                  <a:cubicBezTo>
                    <a:pt x="71682" y="578341"/>
                    <a:pt x="0" y="506659"/>
                    <a:pt x="0" y="418235"/>
                  </a:cubicBezTo>
                  <a:cubicBezTo>
                    <a:pt x="0" y="329810"/>
                    <a:pt x="71682" y="258129"/>
                    <a:pt x="160106" y="258129"/>
                  </a:cubicBezTo>
                  <a:lnTo>
                    <a:pt x="160106" y="1"/>
                  </a:lnTo>
                  <a:lnTo>
                    <a:pt x="160107" y="2"/>
                  </a:lnTo>
                  <a:close/>
                </a:path>
              </a:pathLst>
            </a:custGeom>
            <a:solidFill>
              <a:srgbClr val="333353"/>
            </a:solidFill>
            <a:ln w="19050" cap="flat" cmpd="sng">
              <a:solidFill>
                <a:schemeClr val="bg2"/>
              </a:solidFill>
              <a:prstDash val="solid"/>
              <a:round/>
              <a:headEnd/>
              <a:tailEnd/>
            </a:ln>
            <a:effectLst/>
          </p:spPr>
          <p:txBody>
            <a:bodyPr wrap="square" lIns="0" tIns="0" rIns="0" bIns="0" anchor="ctr">
              <a:noAutofit/>
            </a:bodyPr>
            <a:lstStyle/>
            <a:p>
              <a:endParaRPr lang="en-US" sz="1799" dirty="0"/>
            </a:p>
          </p:txBody>
        </p:sp>
        <p:sp>
          <p:nvSpPr>
            <p:cNvPr id="134" name="Ellipse 197"/>
            <p:cNvSpPr/>
            <p:nvPr/>
          </p:nvSpPr>
          <p:spPr>
            <a:xfrm flipH="1">
              <a:off x="9072725" y="3106188"/>
              <a:ext cx="941365" cy="1156585"/>
            </a:xfrm>
            <a:custGeom>
              <a:avLst/>
              <a:gdLst/>
              <a:ahLst/>
              <a:cxnLst/>
              <a:rect l="l" t="t" r="r" b="b"/>
              <a:pathLst>
                <a:path w="689093" h="846637">
                  <a:moveTo>
                    <a:pt x="344546" y="0"/>
                  </a:moveTo>
                  <a:cubicBezTo>
                    <a:pt x="409274" y="0"/>
                    <a:pt x="461746" y="52472"/>
                    <a:pt x="461746" y="117200"/>
                  </a:cubicBezTo>
                  <a:lnTo>
                    <a:pt x="689093" y="117200"/>
                  </a:lnTo>
                  <a:lnTo>
                    <a:pt x="689093" y="306153"/>
                  </a:lnTo>
                  <a:cubicBezTo>
                    <a:pt x="624366" y="306154"/>
                    <a:pt x="571894" y="358625"/>
                    <a:pt x="571894" y="423353"/>
                  </a:cubicBezTo>
                  <a:cubicBezTo>
                    <a:pt x="571894" y="488081"/>
                    <a:pt x="624366" y="540553"/>
                    <a:pt x="689093" y="540553"/>
                  </a:cubicBezTo>
                  <a:lnTo>
                    <a:pt x="689093" y="729506"/>
                  </a:lnTo>
                  <a:lnTo>
                    <a:pt x="461732" y="729506"/>
                  </a:lnTo>
                  <a:cubicBezTo>
                    <a:pt x="461709" y="794202"/>
                    <a:pt x="409251" y="846637"/>
                    <a:pt x="344546" y="846637"/>
                  </a:cubicBezTo>
                  <a:cubicBezTo>
                    <a:pt x="279841" y="846637"/>
                    <a:pt x="227384" y="794202"/>
                    <a:pt x="227360" y="729506"/>
                  </a:cubicBezTo>
                  <a:lnTo>
                    <a:pt x="0" y="729506"/>
                  </a:lnTo>
                  <a:lnTo>
                    <a:pt x="0" y="117200"/>
                  </a:lnTo>
                  <a:lnTo>
                    <a:pt x="227346" y="117200"/>
                  </a:lnTo>
                  <a:cubicBezTo>
                    <a:pt x="227346" y="52472"/>
                    <a:pt x="279818" y="0"/>
                    <a:pt x="344546" y="0"/>
                  </a:cubicBezTo>
                  <a:close/>
                </a:path>
              </a:pathLst>
            </a:custGeom>
            <a:solidFill>
              <a:srgbClr val="333353"/>
            </a:solidFill>
            <a:ln w="19050" cap="flat" cmpd="sng">
              <a:solidFill>
                <a:schemeClr val="bg2"/>
              </a:solidFill>
              <a:prstDash val="solid"/>
              <a:round/>
              <a:headEnd/>
              <a:tailEnd/>
            </a:ln>
            <a:effectLst/>
          </p:spPr>
          <p:txBody>
            <a:bodyPr wrap="none" lIns="0" tIns="0" rIns="0" bIns="0" anchor="ctr">
              <a:noAutofit/>
            </a:bodyPr>
            <a:lstStyle/>
            <a:p>
              <a:endParaRPr lang="en-US" sz="1799" dirty="0"/>
            </a:p>
          </p:txBody>
        </p:sp>
        <p:sp>
          <p:nvSpPr>
            <p:cNvPr id="135" name="Ellipse 188"/>
            <p:cNvSpPr/>
            <p:nvPr/>
          </p:nvSpPr>
          <p:spPr>
            <a:xfrm flipH="1">
              <a:off x="7971252" y="3266294"/>
              <a:ext cx="1261577" cy="836467"/>
            </a:xfrm>
            <a:custGeom>
              <a:avLst/>
              <a:gdLst/>
              <a:ahLst/>
              <a:cxnLst/>
              <a:rect l="l" t="t" r="r" b="b"/>
              <a:pathLst>
                <a:path w="923493" h="612306">
                  <a:moveTo>
                    <a:pt x="117200" y="0"/>
                  </a:moveTo>
                  <a:lnTo>
                    <a:pt x="344546" y="0"/>
                  </a:lnTo>
                  <a:cubicBezTo>
                    <a:pt x="344546" y="64728"/>
                    <a:pt x="397018" y="117200"/>
                    <a:pt x="461746" y="117200"/>
                  </a:cubicBezTo>
                  <a:cubicBezTo>
                    <a:pt x="526474" y="117200"/>
                    <a:pt x="578946" y="64728"/>
                    <a:pt x="578946" y="0"/>
                  </a:cubicBezTo>
                  <a:lnTo>
                    <a:pt x="806293" y="0"/>
                  </a:lnTo>
                  <a:lnTo>
                    <a:pt x="806293" y="188953"/>
                  </a:lnTo>
                  <a:cubicBezTo>
                    <a:pt x="871021" y="188953"/>
                    <a:pt x="923493" y="241425"/>
                    <a:pt x="923493" y="306153"/>
                  </a:cubicBezTo>
                  <a:cubicBezTo>
                    <a:pt x="923493" y="370881"/>
                    <a:pt x="871021" y="423353"/>
                    <a:pt x="806293" y="423353"/>
                  </a:cubicBezTo>
                  <a:lnTo>
                    <a:pt x="806293" y="612306"/>
                  </a:lnTo>
                  <a:lnTo>
                    <a:pt x="578932" y="612306"/>
                  </a:lnTo>
                  <a:lnTo>
                    <a:pt x="578946" y="612237"/>
                  </a:lnTo>
                  <a:cubicBezTo>
                    <a:pt x="578946" y="547509"/>
                    <a:pt x="526474" y="495037"/>
                    <a:pt x="461746" y="495037"/>
                  </a:cubicBezTo>
                  <a:cubicBezTo>
                    <a:pt x="397018" y="495037"/>
                    <a:pt x="344546" y="547509"/>
                    <a:pt x="344546" y="612237"/>
                  </a:cubicBezTo>
                  <a:cubicBezTo>
                    <a:pt x="344546" y="612260"/>
                    <a:pt x="344546" y="612283"/>
                    <a:pt x="344560" y="612306"/>
                  </a:cubicBezTo>
                  <a:lnTo>
                    <a:pt x="117200" y="612306"/>
                  </a:lnTo>
                  <a:lnTo>
                    <a:pt x="117200" y="423353"/>
                  </a:lnTo>
                  <a:cubicBezTo>
                    <a:pt x="52472" y="423353"/>
                    <a:pt x="0" y="370881"/>
                    <a:pt x="0" y="306153"/>
                  </a:cubicBezTo>
                  <a:cubicBezTo>
                    <a:pt x="0" y="241425"/>
                    <a:pt x="52472" y="188953"/>
                    <a:pt x="117200" y="188953"/>
                  </a:cubicBezTo>
                  <a:close/>
                </a:path>
              </a:pathLst>
            </a:custGeom>
            <a:solidFill>
              <a:srgbClr val="333353"/>
            </a:solidFill>
            <a:ln w="19050" cap="flat" cmpd="sng">
              <a:solidFill>
                <a:schemeClr val="bg2"/>
              </a:solidFill>
              <a:prstDash val="solid"/>
              <a:round/>
              <a:headEnd/>
              <a:tailEnd/>
            </a:ln>
            <a:effectLst/>
          </p:spPr>
          <p:txBody>
            <a:bodyPr wrap="none" lIns="0" tIns="0" rIns="0" bIns="0" anchor="ctr">
              <a:noAutofit/>
            </a:bodyPr>
            <a:lstStyle/>
            <a:p>
              <a:endParaRPr lang="en-US" sz="1799" dirty="0"/>
            </a:p>
          </p:txBody>
        </p:sp>
        <p:sp>
          <p:nvSpPr>
            <p:cNvPr id="136" name="Freeform 135"/>
            <p:cNvSpPr/>
            <p:nvPr/>
          </p:nvSpPr>
          <p:spPr>
            <a:xfrm flipH="1">
              <a:off x="7189997" y="3106188"/>
              <a:ext cx="941365" cy="1156585"/>
            </a:xfrm>
            <a:custGeom>
              <a:avLst/>
              <a:gdLst>
                <a:gd name="connsiteX0" fmla="*/ 470682 w 941365"/>
                <a:gd name="connsiteY0" fmla="*/ 0 h 1156585"/>
                <a:gd name="connsiteX1" fmla="*/ 630788 w 941365"/>
                <a:gd name="connsiteY1" fmla="*/ 160106 h 1156585"/>
                <a:gd name="connsiteX2" fmla="*/ 630789 w 941365"/>
                <a:gd name="connsiteY2" fmla="*/ 160106 h 1156585"/>
                <a:gd name="connsiteX3" fmla="*/ 941365 w 941365"/>
                <a:gd name="connsiteY3" fmla="*/ 160106 h 1156585"/>
                <a:gd name="connsiteX4" fmla="*/ 941365 w 941365"/>
                <a:gd name="connsiteY4" fmla="*/ 418233 h 1156585"/>
                <a:gd name="connsiteX5" fmla="*/ 781259 w 941365"/>
                <a:gd name="connsiteY5" fmla="*/ 578339 h 1156585"/>
                <a:gd name="connsiteX6" fmla="*/ 941365 w 941365"/>
                <a:gd name="connsiteY6" fmla="*/ 738446 h 1156585"/>
                <a:gd name="connsiteX7" fmla="*/ 941365 w 941365"/>
                <a:gd name="connsiteY7" fmla="*/ 996573 h 1156585"/>
                <a:gd name="connsiteX8" fmla="*/ 630773 w 941365"/>
                <a:gd name="connsiteY8" fmla="*/ 996573 h 1156585"/>
                <a:gd name="connsiteX9" fmla="*/ 618210 w 941365"/>
                <a:gd name="connsiteY9" fmla="*/ 1058800 h 1156585"/>
                <a:gd name="connsiteX10" fmla="*/ 470686 w 941365"/>
                <a:gd name="connsiteY10" fmla="*/ 1156585 h 1156585"/>
                <a:gd name="connsiteX11" fmla="*/ 310580 w 941365"/>
                <a:gd name="connsiteY11" fmla="*/ 996479 h 1156585"/>
                <a:gd name="connsiteX12" fmla="*/ 310577 w 941365"/>
                <a:gd name="connsiteY12" fmla="*/ 996479 h 1156585"/>
                <a:gd name="connsiteX13" fmla="*/ 310596 w 941365"/>
                <a:gd name="connsiteY13" fmla="*/ 996573 h 1156585"/>
                <a:gd name="connsiteX14" fmla="*/ 4 w 941365"/>
                <a:gd name="connsiteY14" fmla="*/ 996573 h 1156585"/>
                <a:gd name="connsiteX15" fmla="*/ 4 w 941365"/>
                <a:gd name="connsiteY15" fmla="*/ 996479 h 1156585"/>
                <a:gd name="connsiteX16" fmla="*/ 4 w 941365"/>
                <a:gd name="connsiteY16" fmla="*/ 738446 h 1156585"/>
                <a:gd name="connsiteX17" fmla="*/ 160110 w 941365"/>
                <a:gd name="connsiteY17" fmla="*/ 578340 h 1156585"/>
                <a:gd name="connsiteX18" fmla="*/ 4 w 941365"/>
                <a:gd name="connsiteY18" fmla="*/ 418234 h 1156585"/>
                <a:gd name="connsiteX19" fmla="*/ 4 w 941365"/>
                <a:gd name="connsiteY19" fmla="*/ 160114 h 1156585"/>
                <a:gd name="connsiteX20" fmla="*/ 0 w 941365"/>
                <a:gd name="connsiteY20" fmla="*/ 160106 h 1156585"/>
                <a:gd name="connsiteX21" fmla="*/ 4 w 941365"/>
                <a:gd name="connsiteY21" fmla="*/ 160106 h 1156585"/>
                <a:gd name="connsiteX22" fmla="*/ 310576 w 941365"/>
                <a:gd name="connsiteY22" fmla="*/ 160106 h 1156585"/>
                <a:gd name="connsiteX23" fmla="*/ 470682 w 941365"/>
                <a:gd name="connsiteY23" fmla="*/ 0 h 1156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41365" h="1156585">
                  <a:moveTo>
                    <a:pt x="470682" y="0"/>
                  </a:moveTo>
                  <a:cubicBezTo>
                    <a:pt x="559106" y="0"/>
                    <a:pt x="630788" y="71682"/>
                    <a:pt x="630788" y="160106"/>
                  </a:cubicBezTo>
                  <a:lnTo>
                    <a:pt x="630789" y="160106"/>
                  </a:lnTo>
                  <a:lnTo>
                    <a:pt x="941365" y="160106"/>
                  </a:lnTo>
                  <a:lnTo>
                    <a:pt x="941365" y="418233"/>
                  </a:lnTo>
                  <a:cubicBezTo>
                    <a:pt x="852940" y="418233"/>
                    <a:pt x="781259" y="489915"/>
                    <a:pt x="781259" y="578339"/>
                  </a:cubicBezTo>
                  <a:cubicBezTo>
                    <a:pt x="781259" y="666764"/>
                    <a:pt x="852940" y="738446"/>
                    <a:pt x="941365" y="738446"/>
                  </a:cubicBezTo>
                  <a:lnTo>
                    <a:pt x="941365" y="996573"/>
                  </a:lnTo>
                  <a:lnTo>
                    <a:pt x="630773" y="996573"/>
                  </a:lnTo>
                  <a:lnTo>
                    <a:pt x="618210" y="1058800"/>
                  </a:lnTo>
                  <a:cubicBezTo>
                    <a:pt x="593905" y="1116264"/>
                    <a:pt x="537004" y="1156585"/>
                    <a:pt x="470686" y="1156585"/>
                  </a:cubicBezTo>
                  <a:cubicBezTo>
                    <a:pt x="382262" y="1156585"/>
                    <a:pt x="310580" y="1084903"/>
                    <a:pt x="310580" y="996479"/>
                  </a:cubicBezTo>
                  <a:lnTo>
                    <a:pt x="310577" y="996479"/>
                  </a:lnTo>
                  <a:cubicBezTo>
                    <a:pt x="310577" y="996510"/>
                    <a:pt x="310577" y="996542"/>
                    <a:pt x="310596" y="996573"/>
                  </a:cubicBezTo>
                  <a:lnTo>
                    <a:pt x="4" y="996573"/>
                  </a:lnTo>
                  <a:lnTo>
                    <a:pt x="4" y="996479"/>
                  </a:lnTo>
                  <a:lnTo>
                    <a:pt x="4" y="738446"/>
                  </a:lnTo>
                  <a:cubicBezTo>
                    <a:pt x="88429" y="738446"/>
                    <a:pt x="160110" y="666764"/>
                    <a:pt x="160110" y="578340"/>
                  </a:cubicBezTo>
                  <a:cubicBezTo>
                    <a:pt x="160110" y="489915"/>
                    <a:pt x="88429" y="418234"/>
                    <a:pt x="4" y="418234"/>
                  </a:cubicBezTo>
                  <a:lnTo>
                    <a:pt x="4" y="160114"/>
                  </a:lnTo>
                  <a:lnTo>
                    <a:pt x="0" y="160106"/>
                  </a:lnTo>
                  <a:lnTo>
                    <a:pt x="4" y="160106"/>
                  </a:lnTo>
                  <a:lnTo>
                    <a:pt x="310576" y="160106"/>
                  </a:lnTo>
                  <a:cubicBezTo>
                    <a:pt x="310576" y="71682"/>
                    <a:pt x="382258" y="0"/>
                    <a:pt x="470682" y="0"/>
                  </a:cubicBezTo>
                  <a:close/>
                </a:path>
              </a:pathLst>
            </a:custGeom>
            <a:solidFill>
              <a:srgbClr val="333353"/>
            </a:solidFill>
            <a:ln w="19050" cap="flat" cmpd="sng">
              <a:solidFill>
                <a:schemeClr val="bg2"/>
              </a:solidFill>
              <a:prstDash val="solid"/>
              <a:round/>
              <a:headEnd/>
              <a:tailEnd/>
            </a:ln>
            <a:effectLst/>
          </p:spPr>
          <p:txBody>
            <a:bodyPr wrap="square" lIns="0" tIns="0" rIns="0" bIns="0" anchor="ctr">
              <a:noAutofit/>
            </a:bodyPr>
            <a:lstStyle/>
            <a:p>
              <a:endParaRPr lang="en-US" sz="1799" dirty="0"/>
            </a:p>
          </p:txBody>
        </p:sp>
        <p:sp>
          <p:nvSpPr>
            <p:cNvPr id="137" name="Freeform 136"/>
            <p:cNvSpPr/>
            <p:nvPr/>
          </p:nvSpPr>
          <p:spPr>
            <a:xfrm rot="10800000">
              <a:off x="6248631" y="3935471"/>
              <a:ext cx="941439" cy="996574"/>
            </a:xfrm>
            <a:custGeom>
              <a:avLst/>
              <a:gdLst>
                <a:gd name="connsiteX0" fmla="*/ 0 w 941439"/>
                <a:gd name="connsiteY0" fmla="*/ 0 h 996574"/>
                <a:gd name="connsiteX1" fmla="*/ 941366 w 941439"/>
                <a:gd name="connsiteY1" fmla="*/ 0 h 996574"/>
                <a:gd name="connsiteX2" fmla="*/ 941366 w 941439"/>
                <a:gd name="connsiteY2" fmla="*/ 820491 h 996574"/>
                <a:gd name="connsiteX3" fmla="*/ 941439 w 941439"/>
                <a:gd name="connsiteY3" fmla="*/ 820667 h 996574"/>
                <a:gd name="connsiteX4" fmla="*/ 941366 w 941439"/>
                <a:gd name="connsiteY4" fmla="*/ 836359 h 996574"/>
                <a:gd name="connsiteX5" fmla="*/ 941366 w 941439"/>
                <a:gd name="connsiteY5" fmla="*/ 836467 h 996574"/>
                <a:gd name="connsiteX6" fmla="*/ 941366 w 941439"/>
                <a:gd name="connsiteY6" fmla="*/ 836467 h 996574"/>
                <a:gd name="connsiteX7" fmla="*/ 941366 w 941439"/>
                <a:gd name="connsiteY7" fmla="*/ 836468 h 996574"/>
                <a:gd name="connsiteX8" fmla="*/ 630789 w 941439"/>
                <a:gd name="connsiteY8" fmla="*/ 836468 h 996574"/>
                <a:gd name="connsiteX9" fmla="*/ 470683 w 941439"/>
                <a:gd name="connsiteY9" fmla="*/ 996574 h 996574"/>
                <a:gd name="connsiteX10" fmla="*/ 310577 w 941439"/>
                <a:gd name="connsiteY10" fmla="*/ 836468 h 996574"/>
                <a:gd name="connsiteX11" fmla="*/ 1 w 941439"/>
                <a:gd name="connsiteY11" fmla="*/ 836468 h 996574"/>
                <a:gd name="connsiteX12" fmla="*/ 2 w 941439"/>
                <a:gd name="connsiteY12" fmla="*/ 836467 h 996574"/>
                <a:gd name="connsiteX13" fmla="*/ 0 w 941439"/>
                <a:gd name="connsiteY13" fmla="*/ 836467 h 996574"/>
                <a:gd name="connsiteX14" fmla="*/ 0 w 941439"/>
                <a:gd name="connsiteY14" fmla="*/ 578341 h 996574"/>
                <a:gd name="connsiteX15" fmla="*/ 160106 w 941439"/>
                <a:gd name="connsiteY15" fmla="*/ 418234 h 996574"/>
                <a:gd name="connsiteX16" fmla="*/ 0 w 941439"/>
                <a:gd name="connsiteY16" fmla="*/ 258128 h 996574"/>
                <a:gd name="connsiteX17" fmla="*/ 0 w 941439"/>
                <a:gd name="connsiteY17" fmla="*/ 258127 h 996574"/>
                <a:gd name="connsiteX18" fmla="*/ 0 w 941439"/>
                <a:gd name="connsiteY18" fmla="*/ 1 h 996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41439" h="996574">
                  <a:moveTo>
                    <a:pt x="0" y="0"/>
                  </a:moveTo>
                  <a:lnTo>
                    <a:pt x="941366" y="0"/>
                  </a:lnTo>
                  <a:lnTo>
                    <a:pt x="941366" y="820491"/>
                  </a:lnTo>
                  <a:lnTo>
                    <a:pt x="941439" y="820667"/>
                  </a:lnTo>
                  <a:lnTo>
                    <a:pt x="941366" y="836359"/>
                  </a:lnTo>
                  <a:lnTo>
                    <a:pt x="941366" y="836467"/>
                  </a:lnTo>
                  <a:lnTo>
                    <a:pt x="941366" y="836467"/>
                  </a:lnTo>
                  <a:lnTo>
                    <a:pt x="941366" y="836468"/>
                  </a:lnTo>
                  <a:lnTo>
                    <a:pt x="630789" y="836468"/>
                  </a:lnTo>
                  <a:cubicBezTo>
                    <a:pt x="630789" y="924893"/>
                    <a:pt x="559107" y="996574"/>
                    <a:pt x="470683" y="996574"/>
                  </a:cubicBezTo>
                  <a:cubicBezTo>
                    <a:pt x="382258" y="996574"/>
                    <a:pt x="310577" y="924893"/>
                    <a:pt x="310577" y="836468"/>
                  </a:cubicBezTo>
                  <a:lnTo>
                    <a:pt x="1" y="836468"/>
                  </a:lnTo>
                  <a:lnTo>
                    <a:pt x="2" y="836467"/>
                  </a:lnTo>
                  <a:lnTo>
                    <a:pt x="0" y="836467"/>
                  </a:lnTo>
                  <a:lnTo>
                    <a:pt x="0" y="578341"/>
                  </a:lnTo>
                  <a:cubicBezTo>
                    <a:pt x="88425" y="578341"/>
                    <a:pt x="160106" y="506659"/>
                    <a:pt x="160106" y="418234"/>
                  </a:cubicBezTo>
                  <a:cubicBezTo>
                    <a:pt x="160106" y="329810"/>
                    <a:pt x="88425" y="258128"/>
                    <a:pt x="0" y="258128"/>
                  </a:cubicBezTo>
                  <a:lnTo>
                    <a:pt x="0" y="258127"/>
                  </a:lnTo>
                  <a:lnTo>
                    <a:pt x="0" y="1"/>
                  </a:lnTo>
                  <a:close/>
                </a:path>
              </a:pathLst>
            </a:custGeom>
            <a:solidFill>
              <a:srgbClr val="333353"/>
            </a:solidFill>
            <a:ln w="19050" cap="flat" cmpd="sng">
              <a:solidFill>
                <a:schemeClr val="bg2"/>
              </a:solidFill>
              <a:prstDash val="solid"/>
              <a:round/>
              <a:headEnd/>
              <a:tailEnd/>
            </a:ln>
            <a:effectLst/>
          </p:spPr>
          <p:txBody>
            <a:bodyPr wrap="square" lIns="0" tIns="0" rIns="0" bIns="0" anchor="ctr">
              <a:noAutofit/>
            </a:bodyPr>
            <a:lstStyle/>
            <a:p>
              <a:endParaRPr lang="en-US" sz="1799" dirty="0"/>
            </a:p>
          </p:txBody>
        </p:sp>
        <p:sp>
          <p:nvSpPr>
            <p:cNvPr id="138" name="Freeform 137"/>
            <p:cNvSpPr/>
            <p:nvPr/>
          </p:nvSpPr>
          <p:spPr>
            <a:xfrm rot="10800000">
              <a:off x="7029965" y="4095576"/>
              <a:ext cx="1261577" cy="836468"/>
            </a:xfrm>
            <a:custGeom>
              <a:avLst/>
              <a:gdLst>
                <a:gd name="connsiteX0" fmla="*/ 1101470 w 1261577"/>
                <a:gd name="connsiteY0" fmla="*/ 836467 h 836468"/>
                <a:gd name="connsiteX1" fmla="*/ 1101471 w 1261577"/>
                <a:gd name="connsiteY1" fmla="*/ 836468 h 836468"/>
                <a:gd name="connsiteX2" fmla="*/ 1101470 w 1261577"/>
                <a:gd name="connsiteY2" fmla="*/ 836468 h 836468"/>
                <a:gd name="connsiteX3" fmla="*/ 160106 w 1261577"/>
                <a:gd name="connsiteY3" fmla="*/ 0 h 836468"/>
                <a:gd name="connsiteX4" fmla="*/ 1101471 w 1261577"/>
                <a:gd name="connsiteY4" fmla="*/ 0 h 836468"/>
                <a:gd name="connsiteX5" fmla="*/ 1101471 w 1261577"/>
                <a:gd name="connsiteY5" fmla="*/ 258127 h 836468"/>
                <a:gd name="connsiteX6" fmla="*/ 1261577 w 1261577"/>
                <a:gd name="connsiteY6" fmla="*/ 418233 h 836468"/>
                <a:gd name="connsiteX7" fmla="*/ 1101471 w 1261577"/>
                <a:gd name="connsiteY7" fmla="*/ 578340 h 836468"/>
                <a:gd name="connsiteX8" fmla="*/ 1101471 w 1261577"/>
                <a:gd name="connsiteY8" fmla="*/ 836467 h 836468"/>
                <a:gd name="connsiteX9" fmla="*/ 1101470 w 1261577"/>
                <a:gd name="connsiteY9" fmla="*/ 836467 h 836468"/>
                <a:gd name="connsiteX10" fmla="*/ 790893 w 1261577"/>
                <a:gd name="connsiteY10" fmla="*/ 836467 h 836468"/>
                <a:gd name="connsiteX11" fmla="*/ 630787 w 1261577"/>
                <a:gd name="connsiteY11" fmla="*/ 676361 h 836468"/>
                <a:gd name="connsiteX12" fmla="*/ 470681 w 1261577"/>
                <a:gd name="connsiteY12" fmla="*/ 836467 h 836468"/>
                <a:gd name="connsiteX13" fmla="*/ 160107 w 1261577"/>
                <a:gd name="connsiteY13" fmla="*/ 836467 h 836468"/>
                <a:gd name="connsiteX14" fmla="*/ 160106 w 1261577"/>
                <a:gd name="connsiteY14" fmla="*/ 836467 h 836468"/>
                <a:gd name="connsiteX15" fmla="*/ 160106 w 1261577"/>
                <a:gd name="connsiteY15" fmla="*/ 578340 h 836468"/>
                <a:gd name="connsiteX16" fmla="*/ 0 w 1261577"/>
                <a:gd name="connsiteY16" fmla="*/ 418233 h 836468"/>
                <a:gd name="connsiteX17" fmla="*/ 160106 w 1261577"/>
                <a:gd name="connsiteY17" fmla="*/ 258127 h 836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61577" h="836468">
                  <a:moveTo>
                    <a:pt x="1101470" y="836467"/>
                  </a:moveTo>
                  <a:lnTo>
                    <a:pt x="1101471" y="836468"/>
                  </a:lnTo>
                  <a:lnTo>
                    <a:pt x="1101470" y="836468"/>
                  </a:lnTo>
                  <a:close/>
                  <a:moveTo>
                    <a:pt x="160106" y="0"/>
                  </a:moveTo>
                  <a:lnTo>
                    <a:pt x="1101471" y="0"/>
                  </a:lnTo>
                  <a:lnTo>
                    <a:pt x="1101471" y="258127"/>
                  </a:lnTo>
                  <a:cubicBezTo>
                    <a:pt x="1189896" y="258127"/>
                    <a:pt x="1261577" y="329809"/>
                    <a:pt x="1261577" y="418233"/>
                  </a:cubicBezTo>
                  <a:cubicBezTo>
                    <a:pt x="1261577" y="506658"/>
                    <a:pt x="1189896" y="578340"/>
                    <a:pt x="1101471" y="578340"/>
                  </a:cubicBezTo>
                  <a:lnTo>
                    <a:pt x="1101471" y="836467"/>
                  </a:lnTo>
                  <a:lnTo>
                    <a:pt x="1101470" y="836467"/>
                  </a:lnTo>
                  <a:lnTo>
                    <a:pt x="790893" y="836467"/>
                  </a:lnTo>
                  <a:cubicBezTo>
                    <a:pt x="790893" y="748043"/>
                    <a:pt x="719211" y="676361"/>
                    <a:pt x="630787" y="676361"/>
                  </a:cubicBezTo>
                  <a:cubicBezTo>
                    <a:pt x="542363" y="676361"/>
                    <a:pt x="470681" y="748043"/>
                    <a:pt x="470681" y="836467"/>
                  </a:cubicBezTo>
                  <a:lnTo>
                    <a:pt x="160107" y="836467"/>
                  </a:lnTo>
                  <a:lnTo>
                    <a:pt x="160106" y="836467"/>
                  </a:lnTo>
                  <a:lnTo>
                    <a:pt x="160106" y="578340"/>
                  </a:lnTo>
                  <a:cubicBezTo>
                    <a:pt x="71681" y="578340"/>
                    <a:pt x="0" y="506658"/>
                    <a:pt x="0" y="418233"/>
                  </a:cubicBezTo>
                  <a:cubicBezTo>
                    <a:pt x="0" y="329809"/>
                    <a:pt x="71681" y="258127"/>
                    <a:pt x="160106" y="258127"/>
                  </a:cubicBezTo>
                  <a:close/>
                </a:path>
              </a:pathLst>
            </a:custGeom>
            <a:solidFill>
              <a:srgbClr val="333353"/>
            </a:solidFill>
            <a:ln w="19050" cap="flat" cmpd="sng">
              <a:solidFill>
                <a:schemeClr val="bg2"/>
              </a:solidFill>
              <a:prstDash val="solid"/>
              <a:round/>
              <a:headEnd/>
              <a:tailEnd/>
            </a:ln>
            <a:effectLst/>
          </p:spPr>
          <p:txBody>
            <a:bodyPr wrap="square" lIns="0" tIns="0" rIns="0" bIns="0" anchor="ctr">
              <a:noAutofit/>
            </a:bodyPr>
            <a:lstStyle/>
            <a:p>
              <a:endParaRPr lang="en-US" sz="1799" dirty="0"/>
            </a:p>
          </p:txBody>
        </p:sp>
        <p:sp>
          <p:nvSpPr>
            <p:cNvPr id="139" name="Rechteck 163"/>
            <p:cNvSpPr/>
            <p:nvPr/>
          </p:nvSpPr>
          <p:spPr>
            <a:xfrm rot="10800000">
              <a:off x="8131433" y="3935471"/>
              <a:ext cx="941365" cy="996573"/>
            </a:xfrm>
            <a:custGeom>
              <a:avLst/>
              <a:gdLst/>
              <a:ahLst/>
              <a:cxnLst/>
              <a:rect l="l" t="t" r="r" b="b"/>
              <a:pathLst>
                <a:path w="689093" h="729506">
                  <a:moveTo>
                    <a:pt x="0" y="0"/>
                  </a:moveTo>
                  <a:lnTo>
                    <a:pt x="689093" y="0"/>
                  </a:lnTo>
                  <a:lnTo>
                    <a:pt x="689093" y="188953"/>
                  </a:lnTo>
                  <a:cubicBezTo>
                    <a:pt x="624365" y="188953"/>
                    <a:pt x="571893" y="241425"/>
                    <a:pt x="571893" y="306153"/>
                  </a:cubicBezTo>
                  <a:cubicBezTo>
                    <a:pt x="571893" y="370881"/>
                    <a:pt x="624365" y="423353"/>
                    <a:pt x="689093" y="423353"/>
                  </a:cubicBezTo>
                  <a:lnTo>
                    <a:pt x="689093" y="612306"/>
                  </a:lnTo>
                  <a:lnTo>
                    <a:pt x="461746" y="612306"/>
                  </a:lnTo>
                  <a:cubicBezTo>
                    <a:pt x="461746" y="677034"/>
                    <a:pt x="409274" y="729506"/>
                    <a:pt x="344546" y="729506"/>
                  </a:cubicBezTo>
                  <a:cubicBezTo>
                    <a:pt x="279818" y="729506"/>
                    <a:pt x="227346" y="677034"/>
                    <a:pt x="227346" y="612306"/>
                  </a:cubicBezTo>
                  <a:lnTo>
                    <a:pt x="0" y="612306"/>
                  </a:lnTo>
                  <a:lnTo>
                    <a:pt x="0" y="423353"/>
                  </a:lnTo>
                  <a:cubicBezTo>
                    <a:pt x="64728" y="423353"/>
                    <a:pt x="117200" y="370881"/>
                    <a:pt x="117200" y="306153"/>
                  </a:cubicBezTo>
                  <a:cubicBezTo>
                    <a:pt x="117200" y="241425"/>
                    <a:pt x="64728" y="188953"/>
                    <a:pt x="0" y="188953"/>
                  </a:cubicBezTo>
                  <a:close/>
                </a:path>
              </a:pathLst>
            </a:custGeom>
            <a:solidFill>
              <a:srgbClr val="333353"/>
            </a:solidFill>
            <a:ln w="19050" cap="flat" cmpd="sng">
              <a:solidFill>
                <a:schemeClr val="bg2"/>
              </a:solidFill>
              <a:prstDash val="solid"/>
              <a:round/>
              <a:headEnd/>
              <a:tailEnd/>
            </a:ln>
            <a:effectLst/>
          </p:spPr>
          <p:txBody>
            <a:bodyPr wrap="none" lIns="0" tIns="0" rIns="0" bIns="0" anchor="ctr">
              <a:noAutofit/>
            </a:bodyPr>
            <a:lstStyle/>
            <a:p>
              <a:endParaRPr lang="en-US" sz="1799" dirty="0"/>
            </a:p>
          </p:txBody>
        </p:sp>
        <p:sp>
          <p:nvSpPr>
            <p:cNvPr id="140" name="Ellipse 183"/>
            <p:cNvSpPr/>
            <p:nvPr/>
          </p:nvSpPr>
          <p:spPr>
            <a:xfrm rot="10800000">
              <a:off x="8912692" y="4095577"/>
              <a:ext cx="1101473" cy="836467"/>
            </a:xfrm>
            <a:custGeom>
              <a:avLst/>
              <a:gdLst/>
              <a:ahLst/>
              <a:cxnLst/>
              <a:rect l="l" t="t" r="r" b="b"/>
              <a:pathLst>
                <a:path w="806294" h="612306">
                  <a:moveTo>
                    <a:pt x="0" y="0"/>
                  </a:moveTo>
                  <a:lnTo>
                    <a:pt x="689093" y="0"/>
                  </a:lnTo>
                  <a:lnTo>
                    <a:pt x="689093" y="188953"/>
                  </a:lnTo>
                  <a:cubicBezTo>
                    <a:pt x="753822" y="188953"/>
                    <a:pt x="806294" y="241425"/>
                    <a:pt x="806294" y="306153"/>
                  </a:cubicBezTo>
                  <a:cubicBezTo>
                    <a:pt x="806294" y="370881"/>
                    <a:pt x="753822" y="423353"/>
                    <a:pt x="689094" y="423353"/>
                  </a:cubicBezTo>
                  <a:lnTo>
                    <a:pt x="689093" y="423353"/>
                  </a:lnTo>
                  <a:lnTo>
                    <a:pt x="689093" y="612306"/>
                  </a:lnTo>
                  <a:lnTo>
                    <a:pt x="461746" y="612306"/>
                  </a:lnTo>
                  <a:cubicBezTo>
                    <a:pt x="461746" y="547578"/>
                    <a:pt x="409274" y="495106"/>
                    <a:pt x="344546" y="495106"/>
                  </a:cubicBezTo>
                  <a:cubicBezTo>
                    <a:pt x="279818" y="495106"/>
                    <a:pt x="227346" y="547578"/>
                    <a:pt x="227346" y="612306"/>
                  </a:cubicBezTo>
                  <a:lnTo>
                    <a:pt x="0" y="612306"/>
                  </a:lnTo>
                  <a:close/>
                </a:path>
              </a:pathLst>
            </a:custGeom>
            <a:solidFill>
              <a:srgbClr val="333353"/>
            </a:solidFill>
            <a:ln w="19050" cap="flat" cmpd="sng">
              <a:solidFill>
                <a:schemeClr val="bg2"/>
              </a:solidFill>
              <a:prstDash val="solid"/>
              <a:round/>
              <a:headEnd/>
              <a:tailEnd/>
            </a:ln>
            <a:effectLst/>
          </p:spPr>
          <p:txBody>
            <a:bodyPr wrap="none" lIns="0" tIns="0" rIns="0" bIns="0" anchor="ctr">
              <a:noAutofit/>
            </a:bodyPr>
            <a:lstStyle/>
            <a:p>
              <a:endParaRPr lang="en-US" sz="1799" dirty="0"/>
            </a:p>
          </p:txBody>
        </p:sp>
      </p:grpSp>
      <p:sp>
        <p:nvSpPr>
          <p:cNvPr id="3" name="Footer Placeholder 2">
            <a:extLst>
              <a:ext uri="{FF2B5EF4-FFF2-40B4-BE49-F238E27FC236}">
                <a16:creationId xmlns:a16="http://schemas.microsoft.com/office/drawing/2014/main" id="{3D2C6028-B91F-4445-A763-61C00416627B}"/>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D29F7D55-BED7-466B-9200-0F74A6DB88E3}"/>
              </a:ext>
            </a:extLst>
          </p:cNvPr>
          <p:cNvSpPr>
            <a:spLocks noGrp="1"/>
          </p:cNvSpPr>
          <p:nvPr>
            <p:ph type="sldNum" sz="quarter" idx="11"/>
          </p:nvPr>
        </p:nvSpPr>
        <p:spPr/>
        <p:txBody>
          <a:bodyPr/>
          <a:lstStyle/>
          <a:p>
            <a:r>
              <a:rPr lang="en-US" dirty="0"/>
              <a:t>Page </a:t>
            </a:r>
            <a:fld id="{15EBE321-CBB1-4E91-BD14-37C8D44326FB}" type="slidenum">
              <a:rPr lang="en-US" smtClean="0"/>
              <a:pPr/>
              <a:t>97</a:t>
            </a:fld>
            <a:endParaRPr lang="en-US" dirty="0"/>
          </a:p>
        </p:txBody>
      </p:sp>
    </p:spTree>
    <p:extLst>
      <p:ext uri="{BB962C8B-B14F-4D97-AF65-F5344CB8AC3E}">
        <p14:creationId xmlns:p14="http://schemas.microsoft.com/office/powerpoint/2010/main" val="66335190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8" name="Rectangle 4"/>
          <p:cNvSpPr>
            <a:spLocks noGrp="1" noChangeArrowheads="1"/>
          </p:cNvSpPr>
          <p:nvPr>
            <p:ph type="title"/>
          </p:nvPr>
        </p:nvSpPr>
        <p:spPr/>
        <p:txBody>
          <a:bodyPr/>
          <a:lstStyle/>
          <a:p>
            <a:r>
              <a:rPr lang="en-US" dirty="0"/>
              <a:t>Jigsaw puzzle: four and eight pieces</a:t>
            </a:r>
          </a:p>
        </p:txBody>
      </p:sp>
      <p:grpSp>
        <p:nvGrpSpPr>
          <p:cNvPr id="13" name="Group 12">
            <a:extLst>
              <a:ext uri="{FF2B5EF4-FFF2-40B4-BE49-F238E27FC236}">
                <a16:creationId xmlns:a16="http://schemas.microsoft.com/office/drawing/2014/main" id="{AAADBFA4-1831-48A6-BB12-58E476A6DCBF}"/>
              </a:ext>
            </a:extLst>
          </p:cNvPr>
          <p:cNvGrpSpPr>
            <a:grpSpLocks noChangeAspect="1"/>
          </p:cNvGrpSpPr>
          <p:nvPr/>
        </p:nvGrpSpPr>
        <p:grpSpPr>
          <a:xfrm>
            <a:off x="4298950" y="2134800"/>
            <a:ext cx="6340766" cy="3168000"/>
            <a:chOff x="622800" y="1439999"/>
            <a:chExt cx="9360038" cy="4676502"/>
          </a:xfrm>
        </p:grpSpPr>
        <p:sp>
          <p:nvSpPr>
            <p:cNvPr id="21" name="Freeform 45">
              <a:extLst>
                <a:ext uri="{FF2B5EF4-FFF2-40B4-BE49-F238E27FC236}">
                  <a16:creationId xmlns:a16="http://schemas.microsoft.com/office/drawing/2014/main" id="{96D8E451-EC14-42CA-B1B2-E34718C782AC}"/>
                </a:ext>
              </a:extLst>
            </p:cNvPr>
            <p:cNvSpPr>
              <a:spLocks noChangeArrowheads="1"/>
            </p:cNvSpPr>
            <p:nvPr/>
          </p:nvSpPr>
          <p:spPr bwMode="auto">
            <a:xfrm>
              <a:off x="5302800" y="1439999"/>
              <a:ext cx="2887276" cy="2883740"/>
            </a:xfrm>
            <a:custGeom>
              <a:avLst/>
              <a:gdLst>
                <a:gd name="connsiteX0" fmla="*/ 0 w 2887276"/>
                <a:gd name="connsiteY0" fmla="*/ 0 h 2883740"/>
                <a:gd name="connsiteX1" fmla="*/ 2340000 w 2887276"/>
                <a:gd name="connsiteY1" fmla="*/ 0 h 2883740"/>
                <a:gd name="connsiteX2" fmla="*/ 2340000 w 2887276"/>
                <a:gd name="connsiteY2" fmla="*/ 630000 h 2883740"/>
                <a:gd name="connsiteX3" fmla="*/ 2347276 w 2887276"/>
                <a:gd name="connsiteY3" fmla="*/ 630000 h 2883740"/>
                <a:gd name="connsiteX4" fmla="*/ 2887276 w 2887276"/>
                <a:gd name="connsiteY4" fmla="*/ 1170000 h 2883740"/>
                <a:gd name="connsiteX5" fmla="*/ 2347276 w 2887276"/>
                <a:gd name="connsiteY5" fmla="*/ 1710000 h 2883740"/>
                <a:gd name="connsiteX6" fmla="*/ 2340000 w 2887276"/>
                <a:gd name="connsiteY6" fmla="*/ 1710000 h 2883740"/>
                <a:gd name="connsiteX7" fmla="*/ 2340000 w 2887276"/>
                <a:gd name="connsiteY7" fmla="*/ 2336502 h 2883740"/>
                <a:gd name="connsiteX8" fmla="*/ 1710038 w 2887276"/>
                <a:gd name="connsiteY8" fmla="*/ 2336502 h 2883740"/>
                <a:gd name="connsiteX9" fmla="*/ 1710038 w 2887276"/>
                <a:gd name="connsiteY9" fmla="*/ 2343740 h 2883740"/>
                <a:gd name="connsiteX10" fmla="*/ 1170038 w 2887276"/>
                <a:gd name="connsiteY10" fmla="*/ 2883740 h 2883740"/>
                <a:gd name="connsiteX11" fmla="*/ 630038 w 2887276"/>
                <a:gd name="connsiteY11" fmla="*/ 2343740 h 2883740"/>
                <a:gd name="connsiteX12" fmla="*/ 630038 w 2887276"/>
                <a:gd name="connsiteY12" fmla="*/ 2336502 h 2883740"/>
                <a:gd name="connsiteX13" fmla="*/ 38 w 2887276"/>
                <a:gd name="connsiteY13" fmla="*/ 2336502 h 2883740"/>
                <a:gd name="connsiteX14" fmla="*/ 38 w 2887276"/>
                <a:gd name="connsiteY14" fmla="*/ 2340032 h 2883740"/>
                <a:gd name="connsiteX15" fmla="*/ 0 w 2887276"/>
                <a:gd name="connsiteY15" fmla="*/ 2340000 h 288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87276" h="2883740">
                  <a:moveTo>
                    <a:pt x="0" y="0"/>
                  </a:moveTo>
                  <a:lnTo>
                    <a:pt x="2340000" y="0"/>
                  </a:lnTo>
                  <a:lnTo>
                    <a:pt x="2340000" y="630000"/>
                  </a:lnTo>
                  <a:lnTo>
                    <a:pt x="2347276" y="630000"/>
                  </a:lnTo>
                  <a:lnTo>
                    <a:pt x="2887276" y="1170000"/>
                  </a:lnTo>
                  <a:lnTo>
                    <a:pt x="2347276" y="1710000"/>
                  </a:lnTo>
                  <a:lnTo>
                    <a:pt x="2340000" y="1710000"/>
                  </a:lnTo>
                  <a:lnTo>
                    <a:pt x="2340000" y="2336502"/>
                  </a:lnTo>
                  <a:lnTo>
                    <a:pt x="1710038" y="2336502"/>
                  </a:lnTo>
                  <a:lnTo>
                    <a:pt x="1710038" y="2343740"/>
                  </a:lnTo>
                  <a:lnTo>
                    <a:pt x="1170038" y="2883740"/>
                  </a:lnTo>
                  <a:lnTo>
                    <a:pt x="630038" y="2343740"/>
                  </a:lnTo>
                  <a:lnTo>
                    <a:pt x="630038" y="2336502"/>
                  </a:lnTo>
                  <a:lnTo>
                    <a:pt x="38" y="2336502"/>
                  </a:lnTo>
                  <a:lnTo>
                    <a:pt x="38" y="2340032"/>
                  </a:lnTo>
                  <a:lnTo>
                    <a:pt x="0" y="2340000"/>
                  </a:lnTo>
                  <a:close/>
                </a:path>
              </a:pathLst>
            </a:custGeom>
            <a:solidFill>
              <a:srgbClr val="00D7A0"/>
            </a:solidFill>
            <a:ln w="19050">
              <a:solidFill>
                <a:schemeClr val="bg1"/>
              </a:solidFill>
              <a:round/>
              <a:headEnd/>
              <a:tailEnd/>
            </a:ln>
            <a:effectLst/>
          </p:spPr>
          <p:txBody>
            <a:bodyPr wrap="square" lIns="143925" tIns="71963" rIns="683644" bIns="71963" anchor="t">
              <a:noAutofit/>
            </a:bodyPr>
            <a:lstStyle/>
            <a:p>
              <a:r>
                <a:rPr lang="en-US" sz="1799" b="1" dirty="0">
                  <a:solidFill>
                    <a:schemeClr val="bg1"/>
                  </a:solidFill>
                </a:rPr>
                <a:t>Sadiscing</a:t>
              </a:r>
            </a:p>
          </p:txBody>
        </p:sp>
        <p:sp>
          <p:nvSpPr>
            <p:cNvPr id="14" name="Freeform 48">
              <a:extLst>
                <a:ext uri="{FF2B5EF4-FFF2-40B4-BE49-F238E27FC236}">
                  <a16:creationId xmlns:a16="http://schemas.microsoft.com/office/drawing/2014/main" id="{4C7A88B7-1D5F-4CBA-AA55-DD1A7B1C57FC}"/>
                </a:ext>
              </a:extLst>
            </p:cNvPr>
            <p:cNvSpPr>
              <a:spLocks noChangeArrowheads="1"/>
            </p:cNvSpPr>
            <p:nvPr/>
          </p:nvSpPr>
          <p:spPr bwMode="auto">
            <a:xfrm rot="16200000">
              <a:off x="349163" y="3502863"/>
              <a:ext cx="2887276" cy="2340000"/>
            </a:xfrm>
            <a:custGeom>
              <a:avLst/>
              <a:gdLst>
                <a:gd name="connsiteX0" fmla="*/ 0 w 2887276"/>
                <a:gd name="connsiteY0" fmla="*/ 2340000 h 2340000"/>
                <a:gd name="connsiteX1" fmla="*/ 0 w 2887276"/>
                <a:gd name="connsiteY1" fmla="*/ 0 h 2340000"/>
                <a:gd name="connsiteX2" fmla="*/ 2340000 w 2887276"/>
                <a:gd name="connsiteY2" fmla="*/ 0 h 2340000"/>
                <a:gd name="connsiteX3" fmla="*/ 2340000 w 2887276"/>
                <a:gd name="connsiteY3" fmla="*/ 630000 h 2340000"/>
                <a:gd name="connsiteX4" fmla="*/ 2347276 w 2887276"/>
                <a:gd name="connsiteY4" fmla="*/ 630000 h 2340000"/>
                <a:gd name="connsiteX5" fmla="*/ 2887276 w 2887276"/>
                <a:gd name="connsiteY5" fmla="*/ 1170000 h 2340000"/>
                <a:gd name="connsiteX6" fmla="*/ 2347276 w 2887276"/>
                <a:gd name="connsiteY6" fmla="*/ 1710000 h 2340000"/>
                <a:gd name="connsiteX7" fmla="*/ 2340000 w 2887276"/>
                <a:gd name="connsiteY7" fmla="*/ 1710000 h 2340000"/>
                <a:gd name="connsiteX8" fmla="*/ 2340000 w 2887276"/>
                <a:gd name="connsiteY8" fmla="*/ 2340000 h 2340000"/>
                <a:gd name="connsiteX9" fmla="*/ 1710000 w 2887276"/>
                <a:gd name="connsiteY9" fmla="*/ 2340000 h 2340000"/>
                <a:gd name="connsiteX10" fmla="*/ 1710000 w 2887276"/>
                <a:gd name="connsiteY10" fmla="*/ 2332762 h 2340000"/>
                <a:gd name="connsiteX11" fmla="*/ 1170000 w 2887276"/>
                <a:gd name="connsiteY11" fmla="*/ 1792762 h 2340000"/>
                <a:gd name="connsiteX12" fmla="*/ 630000 w 2887276"/>
                <a:gd name="connsiteY12" fmla="*/ 2332762 h 2340000"/>
                <a:gd name="connsiteX13" fmla="*/ 630000 w 2887276"/>
                <a:gd name="connsiteY13" fmla="*/ 2340000 h 2340000"/>
                <a:gd name="connsiteX0" fmla="*/ 0 w 2887276"/>
                <a:gd name="connsiteY0" fmla="*/ 2340000 h 2340000"/>
                <a:gd name="connsiteX1" fmla="*/ 0 w 2887276"/>
                <a:gd name="connsiteY1" fmla="*/ 0 h 2340000"/>
                <a:gd name="connsiteX2" fmla="*/ 2340000 w 2887276"/>
                <a:gd name="connsiteY2" fmla="*/ 0 h 2340000"/>
                <a:gd name="connsiteX3" fmla="*/ 2340000 w 2887276"/>
                <a:gd name="connsiteY3" fmla="*/ 630000 h 2340000"/>
                <a:gd name="connsiteX4" fmla="*/ 2347276 w 2887276"/>
                <a:gd name="connsiteY4" fmla="*/ 630000 h 2340000"/>
                <a:gd name="connsiteX5" fmla="*/ 2887276 w 2887276"/>
                <a:gd name="connsiteY5" fmla="*/ 1170000 h 2340000"/>
                <a:gd name="connsiteX6" fmla="*/ 2347276 w 2887276"/>
                <a:gd name="connsiteY6" fmla="*/ 1710000 h 2340000"/>
                <a:gd name="connsiteX7" fmla="*/ 2340000 w 2887276"/>
                <a:gd name="connsiteY7" fmla="*/ 1710000 h 2340000"/>
                <a:gd name="connsiteX8" fmla="*/ 2340000 w 2887276"/>
                <a:gd name="connsiteY8" fmla="*/ 2340000 h 2340000"/>
                <a:gd name="connsiteX9" fmla="*/ 1710000 w 2887276"/>
                <a:gd name="connsiteY9" fmla="*/ 2340000 h 2340000"/>
                <a:gd name="connsiteX10" fmla="*/ 1710000 w 2887276"/>
                <a:gd name="connsiteY10" fmla="*/ 2332762 h 2340000"/>
                <a:gd name="connsiteX11" fmla="*/ 630000 w 2887276"/>
                <a:gd name="connsiteY11" fmla="*/ 2332762 h 2340000"/>
                <a:gd name="connsiteX12" fmla="*/ 630000 w 2887276"/>
                <a:gd name="connsiteY12" fmla="*/ 2340000 h 2340000"/>
                <a:gd name="connsiteX13" fmla="*/ 0 w 2887276"/>
                <a:gd name="connsiteY13" fmla="*/ 2340000 h 2340000"/>
                <a:gd name="connsiteX0" fmla="*/ 0 w 2887276"/>
                <a:gd name="connsiteY0" fmla="*/ 2340000 h 2340000"/>
                <a:gd name="connsiteX1" fmla="*/ 0 w 2887276"/>
                <a:gd name="connsiteY1" fmla="*/ 0 h 2340000"/>
                <a:gd name="connsiteX2" fmla="*/ 2340000 w 2887276"/>
                <a:gd name="connsiteY2" fmla="*/ 0 h 2340000"/>
                <a:gd name="connsiteX3" fmla="*/ 2340000 w 2887276"/>
                <a:gd name="connsiteY3" fmla="*/ 630000 h 2340000"/>
                <a:gd name="connsiteX4" fmla="*/ 2347276 w 2887276"/>
                <a:gd name="connsiteY4" fmla="*/ 630000 h 2340000"/>
                <a:gd name="connsiteX5" fmla="*/ 2887276 w 2887276"/>
                <a:gd name="connsiteY5" fmla="*/ 1170000 h 2340000"/>
                <a:gd name="connsiteX6" fmla="*/ 2347276 w 2887276"/>
                <a:gd name="connsiteY6" fmla="*/ 1710000 h 2340000"/>
                <a:gd name="connsiteX7" fmla="*/ 2340000 w 2887276"/>
                <a:gd name="connsiteY7" fmla="*/ 1710000 h 2340000"/>
                <a:gd name="connsiteX8" fmla="*/ 2340000 w 2887276"/>
                <a:gd name="connsiteY8" fmla="*/ 2340000 h 2340000"/>
                <a:gd name="connsiteX9" fmla="*/ 1710000 w 2887276"/>
                <a:gd name="connsiteY9" fmla="*/ 2340000 h 2340000"/>
                <a:gd name="connsiteX10" fmla="*/ 1710000 w 2887276"/>
                <a:gd name="connsiteY10" fmla="*/ 2332762 h 2340000"/>
                <a:gd name="connsiteX11" fmla="*/ 630000 w 2887276"/>
                <a:gd name="connsiteY11" fmla="*/ 2332762 h 2340000"/>
                <a:gd name="connsiteX12" fmla="*/ 0 w 2887276"/>
                <a:gd name="connsiteY12" fmla="*/ 2340000 h 2340000"/>
                <a:gd name="connsiteX0" fmla="*/ 0 w 2887276"/>
                <a:gd name="connsiteY0" fmla="*/ 2340000 h 2340000"/>
                <a:gd name="connsiteX1" fmla="*/ 0 w 2887276"/>
                <a:gd name="connsiteY1" fmla="*/ 0 h 2340000"/>
                <a:gd name="connsiteX2" fmla="*/ 2340000 w 2887276"/>
                <a:gd name="connsiteY2" fmla="*/ 0 h 2340000"/>
                <a:gd name="connsiteX3" fmla="*/ 2340000 w 2887276"/>
                <a:gd name="connsiteY3" fmla="*/ 630000 h 2340000"/>
                <a:gd name="connsiteX4" fmla="*/ 2347276 w 2887276"/>
                <a:gd name="connsiteY4" fmla="*/ 630000 h 2340000"/>
                <a:gd name="connsiteX5" fmla="*/ 2887276 w 2887276"/>
                <a:gd name="connsiteY5" fmla="*/ 1170000 h 2340000"/>
                <a:gd name="connsiteX6" fmla="*/ 2347276 w 2887276"/>
                <a:gd name="connsiteY6" fmla="*/ 1710000 h 2340000"/>
                <a:gd name="connsiteX7" fmla="*/ 2340000 w 2887276"/>
                <a:gd name="connsiteY7" fmla="*/ 1710000 h 2340000"/>
                <a:gd name="connsiteX8" fmla="*/ 2340000 w 2887276"/>
                <a:gd name="connsiteY8" fmla="*/ 2340000 h 2340000"/>
                <a:gd name="connsiteX9" fmla="*/ 1710000 w 2887276"/>
                <a:gd name="connsiteY9" fmla="*/ 2340000 h 2340000"/>
                <a:gd name="connsiteX10" fmla="*/ 630000 w 2887276"/>
                <a:gd name="connsiteY10" fmla="*/ 2332762 h 2340000"/>
                <a:gd name="connsiteX11" fmla="*/ 0 w 2887276"/>
                <a:gd name="connsiteY11" fmla="*/ 2340000 h 2340000"/>
                <a:gd name="connsiteX0" fmla="*/ 0 w 2887276"/>
                <a:gd name="connsiteY0" fmla="*/ 2340000 h 2340000"/>
                <a:gd name="connsiteX1" fmla="*/ 0 w 2887276"/>
                <a:gd name="connsiteY1" fmla="*/ 0 h 2340000"/>
                <a:gd name="connsiteX2" fmla="*/ 2340000 w 2887276"/>
                <a:gd name="connsiteY2" fmla="*/ 0 h 2340000"/>
                <a:gd name="connsiteX3" fmla="*/ 2340000 w 2887276"/>
                <a:gd name="connsiteY3" fmla="*/ 630000 h 2340000"/>
                <a:gd name="connsiteX4" fmla="*/ 2347276 w 2887276"/>
                <a:gd name="connsiteY4" fmla="*/ 630000 h 2340000"/>
                <a:gd name="connsiteX5" fmla="*/ 2887276 w 2887276"/>
                <a:gd name="connsiteY5" fmla="*/ 1170000 h 2340000"/>
                <a:gd name="connsiteX6" fmla="*/ 2347276 w 2887276"/>
                <a:gd name="connsiteY6" fmla="*/ 1710000 h 2340000"/>
                <a:gd name="connsiteX7" fmla="*/ 2340000 w 2887276"/>
                <a:gd name="connsiteY7" fmla="*/ 1710000 h 2340000"/>
                <a:gd name="connsiteX8" fmla="*/ 2340000 w 2887276"/>
                <a:gd name="connsiteY8" fmla="*/ 2340000 h 2340000"/>
                <a:gd name="connsiteX9" fmla="*/ 1710000 w 2887276"/>
                <a:gd name="connsiteY9" fmla="*/ 2340000 h 2340000"/>
                <a:gd name="connsiteX10" fmla="*/ 0 w 2887276"/>
                <a:gd name="connsiteY10" fmla="*/ 2340000 h 2340000"/>
                <a:gd name="connsiteX0" fmla="*/ 0 w 2887276"/>
                <a:gd name="connsiteY0" fmla="*/ 2340000 h 2340000"/>
                <a:gd name="connsiteX1" fmla="*/ 0 w 2887276"/>
                <a:gd name="connsiteY1" fmla="*/ 0 h 2340000"/>
                <a:gd name="connsiteX2" fmla="*/ 2340000 w 2887276"/>
                <a:gd name="connsiteY2" fmla="*/ 0 h 2340000"/>
                <a:gd name="connsiteX3" fmla="*/ 2340000 w 2887276"/>
                <a:gd name="connsiteY3" fmla="*/ 630000 h 2340000"/>
                <a:gd name="connsiteX4" fmla="*/ 2347276 w 2887276"/>
                <a:gd name="connsiteY4" fmla="*/ 630000 h 2340000"/>
                <a:gd name="connsiteX5" fmla="*/ 2887276 w 2887276"/>
                <a:gd name="connsiteY5" fmla="*/ 1170000 h 2340000"/>
                <a:gd name="connsiteX6" fmla="*/ 2347276 w 2887276"/>
                <a:gd name="connsiteY6" fmla="*/ 1710000 h 2340000"/>
                <a:gd name="connsiteX7" fmla="*/ 2340000 w 2887276"/>
                <a:gd name="connsiteY7" fmla="*/ 1710000 h 2340000"/>
                <a:gd name="connsiteX8" fmla="*/ 2340000 w 2887276"/>
                <a:gd name="connsiteY8" fmla="*/ 2340000 h 2340000"/>
                <a:gd name="connsiteX9" fmla="*/ 0 w 2887276"/>
                <a:gd name="connsiteY9" fmla="*/ 2340000 h 23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87276" h="2340000">
                  <a:moveTo>
                    <a:pt x="0" y="2340000"/>
                  </a:moveTo>
                  <a:lnTo>
                    <a:pt x="0" y="0"/>
                  </a:lnTo>
                  <a:lnTo>
                    <a:pt x="2340000" y="0"/>
                  </a:lnTo>
                  <a:lnTo>
                    <a:pt x="2340000" y="630000"/>
                  </a:lnTo>
                  <a:lnTo>
                    <a:pt x="2347276" y="630000"/>
                  </a:lnTo>
                  <a:lnTo>
                    <a:pt x="2887276" y="1170000"/>
                  </a:lnTo>
                  <a:lnTo>
                    <a:pt x="2347276" y="1710000"/>
                  </a:lnTo>
                  <a:lnTo>
                    <a:pt x="2340000" y="1710000"/>
                  </a:lnTo>
                  <a:lnTo>
                    <a:pt x="2340000" y="2340000"/>
                  </a:lnTo>
                  <a:lnTo>
                    <a:pt x="0" y="2340000"/>
                  </a:lnTo>
                  <a:close/>
                </a:path>
              </a:pathLst>
            </a:custGeom>
            <a:solidFill>
              <a:srgbClr val="E5E5E9"/>
            </a:solidFill>
            <a:ln w="19050">
              <a:solidFill>
                <a:schemeClr val="bg1"/>
              </a:solidFill>
              <a:round/>
              <a:headEnd/>
              <a:tailEnd/>
            </a:ln>
            <a:effectLst/>
          </p:spPr>
          <p:txBody>
            <a:bodyPr vert="vert" wrap="square" lIns="71963" tIns="143925" rIns="71963" bIns="143925" anchor="b">
              <a:noAutofit/>
            </a:bodyPr>
            <a:lstStyle/>
            <a:p>
              <a:r>
                <a:rPr lang="en-US" sz="1799" b="1" dirty="0">
                  <a:solidFill>
                    <a:srgbClr val="9999A9"/>
                  </a:solidFill>
                </a:rPr>
                <a:t>Sedam non</a:t>
              </a:r>
            </a:p>
          </p:txBody>
        </p:sp>
        <p:sp>
          <p:nvSpPr>
            <p:cNvPr id="15" name="Freeform 50">
              <a:extLst>
                <a:ext uri="{FF2B5EF4-FFF2-40B4-BE49-F238E27FC236}">
                  <a16:creationId xmlns:a16="http://schemas.microsoft.com/office/drawing/2014/main" id="{05A5AEF4-E248-4012-8128-5359F563C4E5}"/>
                </a:ext>
              </a:extLst>
            </p:cNvPr>
            <p:cNvSpPr/>
            <p:nvPr/>
          </p:nvSpPr>
          <p:spPr bwMode="auto">
            <a:xfrm>
              <a:off x="2415562" y="3776501"/>
              <a:ext cx="2887276" cy="2340000"/>
            </a:xfrm>
            <a:custGeom>
              <a:avLst/>
              <a:gdLst>
                <a:gd name="connsiteX0" fmla="*/ 547276 w 2887276"/>
                <a:gd name="connsiteY0" fmla="*/ 0 h 2340000"/>
                <a:gd name="connsiteX1" fmla="*/ 2887276 w 2887276"/>
                <a:gd name="connsiteY1" fmla="*/ 0 h 2340000"/>
                <a:gd name="connsiteX2" fmla="*/ 2887276 w 2887276"/>
                <a:gd name="connsiteY2" fmla="*/ 2340000 h 2340000"/>
                <a:gd name="connsiteX3" fmla="*/ 547276 w 2887276"/>
                <a:gd name="connsiteY3" fmla="*/ 2340000 h 2340000"/>
                <a:gd name="connsiteX4" fmla="*/ 547276 w 2887276"/>
                <a:gd name="connsiteY4" fmla="*/ 1710000 h 2340000"/>
                <a:gd name="connsiteX5" fmla="*/ 540000 w 2887276"/>
                <a:gd name="connsiteY5" fmla="*/ 1710000 h 2340000"/>
                <a:gd name="connsiteX6" fmla="*/ 0 w 2887276"/>
                <a:gd name="connsiteY6" fmla="*/ 1170000 h 2340000"/>
                <a:gd name="connsiteX7" fmla="*/ 540000 w 2887276"/>
                <a:gd name="connsiteY7" fmla="*/ 630000 h 2340000"/>
                <a:gd name="connsiteX8" fmla="*/ 547276 w 2887276"/>
                <a:gd name="connsiteY8" fmla="*/ 630000 h 23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87276" h="2340000">
                  <a:moveTo>
                    <a:pt x="547276" y="0"/>
                  </a:moveTo>
                  <a:lnTo>
                    <a:pt x="2887276" y="0"/>
                  </a:lnTo>
                  <a:lnTo>
                    <a:pt x="2887276" y="2340000"/>
                  </a:lnTo>
                  <a:lnTo>
                    <a:pt x="547276" y="2340000"/>
                  </a:lnTo>
                  <a:lnTo>
                    <a:pt x="547276" y="1710000"/>
                  </a:lnTo>
                  <a:lnTo>
                    <a:pt x="540000" y="1710000"/>
                  </a:lnTo>
                  <a:lnTo>
                    <a:pt x="0" y="1170000"/>
                  </a:lnTo>
                  <a:lnTo>
                    <a:pt x="540000" y="630000"/>
                  </a:lnTo>
                  <a:lnTo>
                    <a:pt x="547276" y="630000"/>
                  </a:lnTo>
                  <a:close/>
                </a:path>
              </a:pathLst>
            </a:custGeom>
            <a:solidFill>
              <a:srgbClr val="CCCCD4"/>
            </a:solidFill>
            <a:ln w="19050">
              <a:solidFill>
                <a:schemeClr val="bg1"/>
              </a:solidFill>
              <a:round/>
            </a:ln>
            <a:effectLst/>
          </p:spPr>
          <p:txBody>
            <a:bodyPr wrap="square" lIns="539719" tIns="71963" rIns="143925" bIns="71963" numCol="1" spcCol="72000" rtlCol="0" anchor="b">
              <a:noAutofit/>
            </a:bodyPr>
            <a:lstStyle/>
            <a:p>
              <a:r>
                <a:rPr lang="en-US" sz="1799" b="1" dirty="0">
                  <a:solidFill>
                    <a:srgbClr val="66667E"/>
                  </a:solidFill>
                </a:rPr>
                <a:t>Dolor amet</a:t>
              </a:r>
            </a:p>
          </p:txBody>
        </p:sp>
        <p:sp>
          <p:nvSpPr>
            <p:cNvPr id="16" name="Freeform 51">
              <a:extLst>
                <a:ext uri="{FF2B5EF4-FFF2-40B4-BE49-F238E27FC236}">
                  <a16:creationId xmlns:a16="http://schemas.microsoft.com/office/drawing/2014/main" id="{3B98AC2C-48C7-453D-9549-64327BBE891B}"/>
                </a:ext>
              </a:extLst>
            </p:cNvPr>
            <p:cNvSpPr/>
            <p:nvPr/>
          </p:nvSpPr>
          <p:spPr bwMode="auto">
            <a:xfrm>
              <a:off x="4755562" y="3776501"/>
              <a:ext cx="2887276" cy="2340000"/>
            </a:xfrm>
            <a:custGeom>
              <a:avLst/>
              <a:gdLst>
                <a:gd name="connsiteX0" fmla="*/ 547276 w 2887276"/>
                <a:gd name="connsiteY0" fmla="*/ 0 h 2340000"/>
                <a:gd name="connsiteX1" fmla="*/ 2887276 w 2887276"/>
                <a:gd name="connsiteY1" fmla="*/ 0 h 2340000"/>
                <a:gd name="connsiteX2" fmla="*/ 2887276 w 2887276"/>
                <a:gd name="connsiteY2" fmla="*/ 2340000 h 2340000"/>
                <a:gd name="connsiteX3" fmla="*/ 547276 w 2887276"/>
                <a:gd name="connsiteY3" fmla="*/ 2340000 h 2340000"/>
                <a:gd name="connsiteX4" fmla="*/ 547276 w 2887276"/>
                <a:gd name="connsiteY4" fmla="*/ 1710000 h 2340000"/>
                <a:gd name="connsiteX5" fmla="*/ 540000 w 2887276"/>
                <a:gd name="connsiteY5" fmla="*/ 1710000 h 2340000"/>
                <a:gd name="connsiteX6" fmla="*/ 0 w 2887276"/>
                <a:gd name="connsiteY6" fmla="*/ 1170000 h 2340000"/>
                <a:gd name="connsiteX7" fmla="*/ 540000 w 2887276"/>
                <a:gd name="connsiteY7" fmla="*/ 630000 h 2340000"/>
                <a:gd name="connsiteX8" fmla="*/ 547276 w 2887276"/>
                <a:gd name="connsiteY8" fmla="*/ 630000 h 23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87276" h="2340000">
                  <a:moveTo>
                    <a:pt x="547276" y="0"/>
                  </a:moveTo>
                  <a:lnTo>
                    <a:pt x="2887276" y="0"/>
                  </a:lnTo>
                  <a:lnTo>
                    <a:pt x="2887276" y="2340000"/>
                  </a:lnTo>
                  <a:lnTo>
                    <a:pt x="547276" y="2340000"/>
                  </a:lnTo>
                  <a:lnTo>
                    <a:pt x="547276" y="1710000"/>
                  </a:lnTo>
                  <a:lnTo>
                    <a:pt x="540000" y="1710000"/>
                  </a:lnTo>
                  <a:lnTo>
                    <a:pt x="0" y="1170000"/>
                  </a:lnTo>
                  <a:lnTo>
                    <a:pt x="540000" y="630000"/>
                  </a:lnTo>
                  <a:lnTo>
                    <a:pt x="547276" y="630000"/>
                  </a:lnTo>
                  <a:close/>
                </a:path>
              </a:pathLst>
            </a:custGeom>
            <a:solidFill>
              <a:srgbClr val="9999A9"/>
            </a:solidFill>
            <a:ln w="19050">
              <a:solidFill>
                <a:schemeClr val="bg1"/>
              </a:solidFill>
              <a:round/>
            </a:ln>
            <a:effectLst/>
          </p:spPr>
          <p:txBody>
            <a:bodyPr wrap="square" lIns="539719" tIns="71963" rIns="143925" bIns="71963" numCol="1" spcCol="72000" rtlCol="0" anchor="b">
              <a:noAutofit/>
            </a:bodyPr>
            <a:lstStyle/>
            <a:p>
              <a:r>
                <a:rPr lang="en-US" sz="1799" b="1" dirty="0">
                  <a:solidFill>
                    <a:schemeClr val="bg1"/>
                  </a:solidFill>
                </a:rPr>
                <a:t>Cras cies</a:t>
              </a:r>
            </a:p>
          </p:txBody>
        </p:sp>
        <p:sp>
          <p:nvSpPr>
            <p:cNvPr id="17" name="Freeform 55">
              <a:extLst>
                <a:ext uri="{FF2B5EF4-FFF2-40B4-BE49-F238E27FC236}">
                  <a16:creationId xmlns:a16="http://schemas.microsoft.com/office/drawing/2014/main" id="{B936A003-161E-4AA4-BA24-5F806733E382}"/>
                </a:ext>
              </a:extLst>
            </p:cNvPr>
            <p:cNvSpPr/>
            <p:nvPr/>
          </p:nvSpPr>
          <p:spPr bwMode="auto">
            <a:xfrm>
              <a:off x="7095562" y="3779999"/>
              <a:ext cx="2887276" cy="2336502"/>
            </a:xfrm>
            <a:custGeom>
              <a:avLst/>
              <a:gdLst>
                <a:gd name="connsiteX0" fmla="*/ 547276 w 2887276"/>
                <a:gd name="connsiteY0" fmla="*/ 0 h 2336502"/>
                <a:gd name="connsiteX1" fmla="*/ 1177276 w 2887276"/>
                <a:gd name="connsiteY1" fmla="*/ 0 h 2336502"/>
                <a:gd name="connsiteX2" fmla="*/ 1177276 w 2887276"/>
                <a:gd name="connsiteY2" fmla="*/ 7276 h 2336502"/>
                <a:gd name="connsiteX3" fmla="*/ 1717276 w 2887276"/>
                <a:gd name="connsiteY3" fmla="*/ 547276 h 2336502"/>
                <a:gd name="connsiteX4" fmla="*/ 2257276 w 2887276"/>
                <a:gd name="connsiteY4" fmla="*/ 7276 h 2336502"/>
                <a:gd name="connsiteX5" fmla="*/ 2257276 w 2887276"/>
                <a:gd name="connsiteY5" fmla="*/ 0 h 2336502"/>
                <a:gd name="connsiteX6" fmla="*/ 2887276 w 2887276"/>
                <a:gd name="connsiteY6" fmla="*/ 0 h 2336502"/>
                <a:gd name="connsiteX7" fmla="*/ 2887276 w 2887276"/>
                <a:gd name="connsiteY7" fmla="*/ 2336502 h 2336502"/>
                <a:gd name="connsiteX8" fmla="*/ 547276 w 2887276"/>
                <a:gd name="connsiteY8" fmla="*/ 2336502 h 2336502"/>
                <a:gd name="connsiteX9" fmla="*/ 547276 w 2887276"/>
                <a:gd name="connsiteY9" fmla="*/ 1706502 h 2336502"/>
                <a:gd name="connsiteX10" fmla="*/ 540000 w 2887276"/>
                <a:gd name="connsiteY10" fmla="*/ 1706502 h 2336502"/>
                <a:gd name="connsiteX11" fmla="*/ 0 w 2887276"/>
                <a:gd name="connsiteY11" fmla="*/ 1166502 h 2336502"/>
                <a:gd name="connsiteX12" fmla="*/ 540000 w 2887276"/>
                <a:gd name="connsiteY12" fmla="*/ 626502 h 2336502"/>
                <a:gd name="connsiteX13" fmla="*/ 547276 w 2887276"/>
                <a:gd name="connsiteY13" fmla="*/ 626502 h 2336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87276" h="2336502">
                  <a:moveTo>
                    <a:pt x="547276" y="0"/>
                  </a:moveTo>
                  <a:lnTo>
                    <a:pt x="1177276" y="0"/>
                  </a:lnTo>
                  <a:lnTo>
                    <a:pt x="1177276" y="7276"/>
                  </a:lnTo>
                  <a:lnTo>
                    <a:pt x="1717276" y="547276"/>
                  </a:lnTo>
                  <a:lnTo>
                    <a:pt x="2257276" y="7276"/>
                  </a:lnTo>
                  <a:lnTo>
                    <a:pt x="2257276" y="0"/>
                  </a:lnTo>
                  <a:lnTo>
                    <a:pt x="2887276" y="0"/>
                  </a:lnTo>
                  <a:lnTo>
                    <a:pt x="2887276" y="2336502"/>
                  </a:lnTo>
                  <a:lnTo>
                    <a:pt x="547276" y="2336502"/>
                  </a:lnTo>
                  <a:lnTo>
                    <a:pt x="547276" y="1706502"/>
                  </a:lnTo>
                  <a:lnTo>
                    <a:pt x="540000" y="1706502"/>
                  </a:lnTo>
                  <a:lnTo>
                    <a:pt x="0" y="1166502"/>
                  </a:lnTo>
                  <a:lnTo>
                    <a:pt x="540000" y="626502"/>
                  </a:lnTo>
                  <a:lnTo>
                    <a:pt x="547276" y="626502"/>
                  </a:lnTo>
                  <a:close/>
                </a:path>
              </a:pathLst>
            </a:custGeom>
            <a:solidFill>
              <a:srgbClr val="66667E"/>
            </a:solidFill>
            <a:ln w="19050">
              <a:solidFill>
                <a:schemeClr val="bg1"/>
              </a:solidFill>
              <a:round/>
            </a:ln>
            <a:effectLst/>
          </p:spPr>
          <p:txBody>
            <a:bodyPr wrap="square" lIns="539719" tIns="71963" rIns="143925" bIns="71963" numCol="1" spcCol="72000" rtlCol="0" anchor="b">
              <a:noAutofit/>
            </a:bodyPr>
            <a:lstStyle/>
            <a:p>
              <a:r>
                <a:rPr lang="en-US" sz="1799" b="1" dirty="0">
                  <a:solidFill>
                    <a:schemeClr val="bg1"/>
                  </a:solidFill>
                </a:rPr>
                <a:t>Accusam</a:t>
              </a:r>
            </a:p>
          </p:txBody>
        </p:sp>
        <p:sp>
          <p:nvSpPr>
            <p:cNvPr id="18" name="Freeform 46">
              <a:extLst>
                <a:ext uri="{FF2B5EF4-FFF2-40B4-BE49-F238E27FC236}">
                  <a16:creationId xmlns:a16="http://schemas.microsoft.com/office/drawing/2014/main" id="{6C6F0E6F-F642-4D33-9564-C4F646275F4D}"/>
                </a:ext>
              </a:extLst>
            </p:cNvPr>
            <p:cNvSpPr>
              <a:spLocks noChangeArrowheads="1"/>
            </p:cNvSpPr>
            <p:nvPr/>
          </p:nvSpPr>
          <p:spPr bwMode="auto">
            <a:xfrm>
              <a:off x="2962800" y="1439999"/>
              <a:ext cx="2887276" cy="2883740"/>
            </a:xfrm>
            <a:custGeom>
              <a:avLst/>
              <a:gdLst>
                <a:gd name="connsiteX0" fmla="*/ 0 w 2887276"/>
                <a:gd name="connsiteY0" fmla="*/ 0 h 2883740"/>
                <a:gd name="connsiteX1" fmla="*/ 2340000 w 2887276"/>
                <a:gd name="connsiteY1" fmla="*/ 0 h 2883740"/>
                <a:gd name="connsiteX2" fmla="*/ 2340000 w 2887276"/>
                <a:gd name="connsiteY2" fmla="*/ 630000 h 2883740"/>
                <a:gd name="connsiteX3" fmla="*/ 2347276 w 2887276"/>
                <a:gd name="connsiteY3" fmla="*/ 630000 h 2883740"/>
                <a:gd name="connsiteX4" fmla="*/ 2887276 w 2887276"/>
                <a:gd name="connsiteY4" fmla="*/ 1170000 h 2883740"/>
                <a:gd name="connsiteX5" fmla="*/ 2347276 w 2887276"/>
                <a:gd name="connsiteY5" fmla="*/ 1710000 h 2883740"/>
                <a:gd name="connsiteX6" fmla="*/ 2340000 w 2887276"/>
                <a:gd name="connsiteY6" fmla="*/ 1710000 h 2883740"/>
                <a:gd name="connsiteX7" fmla="*/ 2340000 w 2887276"/>
                <a:gd name="connsiteY7" fmla="*/ 2336502 h 2883740"/>
                <a:gd name="connsiteX8" fmla="*/ 1710038 w 2887276"/>
                <a:gd name="connsiteY8" fmla="*/ 2336502 h 2883740"/>
                <a:gd name="connsiteX9" fmla="*/ 1710038 w 2887276"/>
                <a:gd name="connsiteY9" fmla="*/ 2343740 h 2883740"/>
                <a:gd name="connsiteX10" fmla="*/ 1170038 w 2887276"/>
                <a:gd name="connsiteY10" fmla="*/ 2883740 h 2883740"/>
                <a:gd name="connsiteX11" fmla="*/ 630038 w 2887276"/>
                <a:gd name="connsiteY11" fmla="*/ 2343740 h 2883740"/>
                <a:gd name="connsiteX12" fmla="*/ 630038 w 2887276"/>
                <a:gd name="connsiteY12" fmla="*/ 2336502 h 2883740"/>
                <a:gd name="connsiteX13" fmla="*/ 38 w 2887276"/>
                <a:gd name="connsiteY13" fmla="*/ 2336502 h 2883740"/>
                <a:gd name="connsiteX14" fmla="*/ 38 w 2887276"/>
                <a:gd name="connsiteY14" fmla="*/ 2340032 h 2883740"/>
                <a:gd name="connsiteX15" fmla="*/ 0 w 2887276"/>
                <a:gd name="connsiteY15" fmla="*/ 2340000 h 288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87276" h="2883740">
                  <a:moveTo>
                    <a:pt x="0" y="0"/>
                  </a:moveTo>
                  <a:lnTo>
                    <a:pt x="2340000" y="0"/>
                  </a:lnTo>
                  <a:lnTo>
                    <a:pt x="2340000" y="630000"/>
                  </a:lnTo>
                  <a:lnTo>
                    <a:pt x="2347276" y="630000"/>
                  </a:lnTo>
                  <a:lnTo>
                    <a:pt x="2887276" y="1170000"/>
                  </a:lnTo>
                  <a:lnTo>
                    <a:pt x="2347276" y="1710000"/>
                  </a:lnTo>
                  <a:lnTo>
                    <a:pt x="2340000" y="1710000"/>
                  </a:lnTo>
                  <a:lnTo>
                    <a:pt x="2340000" y="2336502"/>
                  </a:lnTo>
                  <a:lnTo>
                    <a:pt x="1710038" y="2336502"/>
                  </a:lnTo>
                  <a:lnTo>
                    <a:pt x="1710038" y="2343740"/>
                  </a:lnTo>
                  <a:lnTo>
                    <a:pt x="1170038" y="2883740"/>
                  </a:lnTo>
                  <a:lnTo>
                    <a:pt x="630038" y="2343740"/>
                  </a:lnTo>
                  <a:lnTo>
                    <a:pt x="630038" y="2336502"/>
                  </a:lnTo>
                  <a:lnTo>
                    <a:pt x="38" y="2336502"/>
                  </a:lnTo>
                  <a:lnTo>
                    <a:pt x="38" y="2340032"/>
                  </a:lnTo>
                  <a:lnTo>
                    <a:pt x="0" y="2340000"/>
                  </a:lnTo>
                  <a:close/>
                </a:path>
              </a:pathLst>
            </a:custGeom>
            <a:solidFill>
              <a:srgbClr val="00AF8E"/>
            </a:solidFill>
            <a:ln w="19050">
              <a:solidFill>
                <a:schemeClr val="bg1"/>
              </a:solidFill>
              <a:round/>
              <a:headEnd/>
              <a:tailEnd/>
            </a:ln>
            <a:effectLst/>
          </p:spPr>
          <p:txBody>
            <a:bodyPr wrap="square" lIns="143925" tIns="71963" rIns="143925" bIns="71963" anchor="t">
              <a:noAutofit/>
            </a:bodyPr>
            <a:lstStyle/>
            <a:p>
              <a:r>
                <a:rPr lang="en-US" sz="1799" b="1" dirty="0">
                  <a:solidFill>
                    <a:schemeClr val="bg1"/>
                  </a:solidFill>
                </a:rPr>
                <a:t>Ultricies</a:t>
              </a:r>
            </a:p>
          </p:txBody>
        </p:sp>
        <p:sp>
          <p:nvSpPr>
            <p:cNvPr id="19" name="Freeform 36">
              <a:extLst>
                <a:ext uri="{FF2B5EF4-FFF2-40B4-BE49-F238E27FC236}">
                  <a16:creationId xmlns:a16="http://schemas.microsoft.com/office/drawing/2014/main" id="{DEA30077-C8B4-4723-ADD3-CB7336318CB4}"/>
                </a:ext>
              </a:extLst>
            </p:cNvPr>
            <p:cNvSpPr>
              <a:spLocks noChangeArrowheads="1"/>
            </p:cNvSpPr>
            <p:nvPr/>
          </p:nvSpPr>
          <p:spPr bwMode="auto">
            <a:xfrm>
              <a:off x="622800" y="1439999"/>
              <a:ext cx="2887276" cy="2340000"/>
            </a:xfrm>
            <a:custGeom>
              <a:avLst/>
              <a:gdLst>
                <a:gd name="connsiteX0" fmla="*/ 0 w 2887276"/>
                <a:gd name="connsiteY0" fmla="*/ 2340000 h 2340000"/>
                <a:gd name="connsiteX1" fmla="*/ 0 w 2887276"/>
                <a:gd name="connsiteY1" fmla="*/ 0 h 2340000"/>
                <a:gd name="connsiteX2" fmla="*/ 2340000 w 2887276"/>
                <a:gd name="connsiteY2" fmla="*/ 0 h 2340000"/>
                <a:gd name="connsiteX3" fmla="*/ 2340000 w 2887276"/>
                <a:gd name="connsiteY3" fmla="*/ 630000 h 2340000"/>
                <a:gd name="connsiteX4" fmla="*/ 2347276 w 2887276"/>
                <a:gd name="connsiteY4" fmla="*/ 630000 h 2340000"/>
                <a:gd name="connsiteX5" fmla="*/ 2887276 w 2887276"/>
                <a:gd name="connsiteY5" fmla="*/ 1170000 h 2340000"/>
                <a:gd name="connsiteX6" fmla="*/ 2347276 w 2887276"/>
                <a:gd name="connsiteY6" fmla="*/ 1710000 h 2340000"/>
                <a:gd name="connsiteX7" fmla="*/ 2340000 w 2887276"/>
                <a:gd name="connsiteY7" fmla="*/ 1710000 h 2340000"/>
                <a:gd name="connsiteX8" fmla="*/ 2340000 w 2887276"/>
                <a:gd name="connsiteY8" fmla="*/ 2340000 h 2340000"/>
                <a:gd name="connsiteX9" fmla="*/ 1710000 w 2887276"/>
                <a:gd name="connsiteY9" fmla="*/ 2340000 h 2340000"/>
                <a:gd name="connsiteX10" fmla="*/ 1710000 w 2887276"/>
                <a:gd name="connsiteY10" fmla="*/ 2332762 h 2340000"/>
                <a:gd name="connsiteX11" fmla="*/ 1170000 w 2887276"/>
                <a:gd name="connsiteY11" fmla="*/ 1792762 h 2340000"/>
                <a:gd name="connsiteX12" fmla="*/ 630000 w 2887276"/>
                <a:gd name="connsiteY12" fmla="*/ 2332762 h 2340000"/>
                <a:gd name="connsiteX13" fmla="*/ 630000 w 2887276"/>
                <a:gd name="connsiteY13" fmla="*/ 2340000 h 23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87276" h="2340000">
                  <a:moveTo>
                    <a:pt x="0" y="2340000"/>
                  </a:moveTo>
                  <a:lnTo>
                    <a:pt x="0" y="0"/>
                  </a:lnTo>
                  <a:lnTo>
                    <a:pt x="2340000" y="0"/>
                  </a:lnTo>
                  <a:lnTo>
                    <a:pt x="2340000" y="630000"/>
                  </a:lnTo>
                  <a:lnTo>
                    <a:pt x="2347276" y="630000"/>
                  </a:lnTo>
                  <a:lnTo>
                    <a:pt x="2887276" y="1170000"/>
                  </a:lnTo>
                  <a:lnTo>
                    <a:pt x="2347276" y="1710000"/>
                  </a:lnTo>
                  <a:lnTo>
                    <a:pt x="2340000" y="1710000"/>
                  </a:lnTo>
                  <a:lnTo>
                    <a:pt x="2340000" y="2340000"/>
                  </a:lnTo>
                  <a:lnTo>
                    <a:pt x="1710000" y="2340000"/>
                  </a:lnTo>
                  <a:lnTo>
                    <a:pt x="1710000" y="2332762"/>
                  </a:lnTo>
                  <a:lnTo>
                    <a:pt x="1170000" y="1792762"/>
                  </a:lnTo>
                  <a:lnTo>
                    <a:pt x="630000" y="2332762"/>
                  </a:lnTo>
                  <a:lnTo>
                    <a:pt x="630000" y="2340000"/>
                  </a:lnTo>
                  <a:close/>
                </a:path>
              </a:pathLst>
            </a:custGeom>
            <a:solidFill>
              <a:srgbClr val="00646E"/>
            </a:solidFill>
            <a:ln w="19050">
              <a:solidFill>
                <a:schemeClr val="bg1"/>
              </a:solidFill>
              <a:round/>
              <a:headEnd/>
              <a:tailEnd/>
            </a:ln>
            <a:effectLst/>
          </p:spPr>
          <p:txBody>
            <a:bodyPr wrap="square" lIns="143925" tIns="71963" rIns="683644" bIns="71963" anchor="t">
              <a:noAutofit/>
            </a:bodyPr>
            <a:lstStyle/>
            <a:p>
              <a:r>
                <a:rPr lang="en-US" sz="1799" b="1" dirty="0">
                  <a:solidFill>
                    <a:schemeClr val="bg1"/>
                  </a:solidFill>
                </a:rPr>
                <a:t>Vero eos</a:t>
              </a:r>
            </a:p>
          </p:txBody>
        </p:sp>
        <p:sp>
          <p:nvSpPr>
            <p:cNvPr id="20" name="Freihandform: Form 10">
              <a:extLst>
                <a:ext uri="{FF2B5EF4-FFF2-40B4-BE49-F238E27FC236}">
                  <a16:creationId xmlns:a16="http://schemas.microsoft.com/office/drawing/2014/main" id="{67468BE0-4647-48B8-9049-66FA814B27A2}"/>
                </a:ext>
              </a:extLst>
            </p:cNvPr>
            <p:cNvSpPr>
              <a:spLocks noChangeArrowheads="1"/>
            </p:cNvSpPr>
            <p:nvPr/>
          </p:nvSpPr>
          <p:spPr bwMode="auto">
            <a:xfrm rot="5400000">
              <a:off x="7369200" y="1713637"/>
              <a:ext cx="2887276" cy="2340000"/>
            </a:xfrm>
            <a:custGeom>
              <a:avLst/>
              <a:gdLst>
                <a:gd name="connsiteX0" fmla="*/ 0 w 2887276"/>
                <a:gd name="connsiteY0" fmla="*/ 2340000 h 2340000"/>
                <a:gd name="connsiteX1" fmla="*/ 0 w 2887276"/>
                <a:gd name="connsiteY1" fmla="*/ 0 h 2340000"/>
                <a:gd name="connsiteX2" fmla="*/ 2340000 w 2887276"/>
                <a:gd name="connsiteY2" fmla="*/ 0 h 2340000"/>
                <a:gd name="connsiteX3" fmla="*/ 2340000 w 2887276"/>
                <a:gd name="connsiteY3" fmla="*/ 630000 h 2340000"/>
                <a:gd name="connsiteX4" fmla="*/ 2347276 w 2887276"/>
                <a:gd name="connsiteY4" fmla="*/ 630000 h 2340000"/>
                <a:gd name="connsiteX5" fmla="*/ 2887276 w 2887276"/>
                <a:gd name="connsiteY5" fmla="*/ 1170000 h 2340000"/>
                <a:gd name="connsiteX6" fmla="*/ 2347276 w 2887276"/>
                <a:gd name="connsiteY6" fmla="*/ 1710000 h 2340000"/>
                <a:gd name="connsiteX7" fmla="*/ 2340000 w 2887276"/>
                <a:gd name="connsiteY7" fmla="*/ 1710000 h 2340000"/>
                <a:gd name="connsiteX8" fmla="*/ 2340000 w 2887276"/>
                <a:gd name="connsiteY8" fmla="*/ 2340000 h 2340000"/>
                <a:gd name="connsiteX9" fmla="*/ 1710000 w 2887276"/>
                <a:gd name="connsiteY9" fmla="*/ 2340000 h 2340000"/>
                <a:gd name="connsiteX10" fmla="*/ 1710000 w 2887276"/>
                <a:gd name="connsiteY10" fmla="*/ 2332762 h 2340000"/>
                <a:gd name="connsiteX11" fmla="*/ 1170000 w 2887276"/>
                <a:gd name="connsiteY11" fmla="*/ 1792762 h 2340000"/>
                <a:gd name="connsiteX12" fmla="*/ 630000 w 2887276"/>
                <a:gd name="connsiteY12" fmla="*/ 2332762 h 2340000"/>
                <a:gd name="connsiteX13" fmla="*/ 630000 w 2887276"/>
                <a:gd name="connsiteY13" fmla="*/ 2340000 h 23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87276" h="2340000">
                  <a:moveTo>
                    <a:pt x="0" y="2340000"/>
                  </a:moveTo>
                  <a:lnTo>
                    <a:pt x="0" y="0"/>
                  </a:lnTo>
                  <a:lnTo>
                    <a:pt x="2340000" y="0"/>
                  </a:lnTo>
                  <a:lnTo>
                    <a:pt x="2340000" y="630000"/>
                  </a:lnTo>
                  <a:lnTo>
                    <a:pt x="2347276" y="630000"/>
                  </a:lnTo>
                  <a:lnTo>
                    <a:pt x="2887276" y="1170000"/>
                  </a:lnTo>
                  <a:lnTo>
                    <a:pt x="2347276" y="1710000"/>
                  </a:lnTo>
                  <a:lnTo>
                    <a:pt x="2340000" y="1710000"/>
                  </a:lnTo>
                  <a:lnTo>
                    <a:pt x="2340000" y="2340000"/>
                  </a:lnTo>
                  <a:lnTo>
                    <a:pt x="1710000" y="2340000"/>
                  </a:lnTo>
                  <a:lnTo>
                    <a:pt x="1710000" y="2332762"/>
                  </a:lnTo>
                  <a:lnTo>
                    <a:pt x="1170000" y="1792762"/>
                  </a:lnTo>
                  <a:lnTo>
                    <a:pt x="630000" y="2332762"/>
                  </a:lnTo>
                  <a:lnTo>
                    <a:pt x="630000" y="2340000"/>
                  </a:lnTo>
                  <a:close/>
                </a:path>
              </a:pathLst>
            </a:custGeom>
            <a:solidFill>
              <a:srgbClr val="00FFB9"/>
            </a:solidFill>
            <a:ln w="19050">
              <a:solidFill>
                <a:schemeClr val="bg1"/>
              </a:solidFill>
              <a:round/>
              <a:headEnd/>
              <a:tailEnd/>
            </a:ln>
            <a:effectLst/>
          </p:spPr>
          <p:txBody>
            <a:bodyPr vert="vert270" wrap="square" lIns="71963" tIns="143925" rIns="71963" bIns="143925" anchor="t">
              <a:noAutofit/>
            </a:bodyPr>
            <a:lstStyle/>
            <a:p>
              <a:r>
                <a:rPr lang="en-US" sz="1799" b="1" dirty="0">
                  <a:solidFill>
                    <a:schemeClr val="bg1"/>
                  </a:solidFill>
                </a:rPr>
                <a:t>Stet clita</a:t>
              </a:r>
            </a:p>
          </p:txBody>
        </p:sp>
      </p:grpSp>
      <p:grpSp>
        <p:nvGrpSpPr>
          <p:cNvPr id="2" name="Group 1">
            <a:extLst>
              <a:ext uri="{FF2B5EF4-FFF2-40B4-BE49-F238E27FC236}">
                <a16:creationId xmlns:a16="http://schemas.microsoft.com/office/drawing/2014/main" id="{B36FA331-575F-46CE-BEA9-7B77C7E2DAAA}"/>
              </a:ext>
            </a:extLst>
          </p:cNvPr>
          <p:cNvGrpSpPr>
            <a:grpSpLocks noChangeAspect="1"/>
          </p:cNvGrpSpPr>
          <p:nvPr/>
        </p:nvGrpSpPr>
        <p:grpSpPr>
          <a:xfrm>
            <a:off x="411165" y="2134800"/>
            <a:ext cx="3167921" cy="3168000"/>
            <a:chOff x="622800" y="1439999"/>
            <a:chExt cx="4676385" cy="4676502"/>
          </a:xfrm>
        </p:grpSpPr>
        <p:sp>
          <p:nvSpPr>
            <p:cNvPr id="49" name="Freeform 48"/>
            <p:cNvSpPr>
              <a:spLocks noChangeArrowheads="1"/>
            </p:cNvSpPr>
            <p:nvPr/>
          </p:nvSpPr>
          <p:spPr bwMode="auto">
            <a:xfrm rot="16200000">
              <a:off x="349163" y="3502863"/>
              <a:ext cx="2887276" cy="2340000"/>
            </a:xfrm>
            <a:custGeom>
              <a:avLst/>
              <a:gdLst>
                <a:gd name="connsiteX0" fmla="*/ 0 w 2887276"/>
                <a:gd name="connsiteY0" fmla="*/ 2340000 h 2340000"/>
                <a:gd name="connsiteX1" fmla="*/ 0 w 2887276"/>
                <a:gd name="connsiteY1" fmla="*/ 0 h 2340000"/>
                <a:gd name="connsiteX2" fmla="*/ 2340000 w 2887276"/>
                <a:gd name="connsiteY2" fmla="*/ 0 h 2340000"/>
                <a:gd name="connsiteX3" fmla="*/ 2340000 w 2887276"/>
                <a:gd name="connsiteY3" fmla="*/ 630000 h 2340000"/>
                <a:gd name="connsiteX4" fmla="*/ 2347276 w 2887276"/>
                <a:gd name="connsiteY4" fmla="*/ 630000 h 2340000"/>
                <a:gd name="connsiteX5" fmla="*/ 2887276 w 2887276"/>
                <a:gd name="connsiteY5" fmla="*/ 1170000 h 2340000"/>
                <a:gd name="connsiteX6" fmla="*/ 2347276 w 2887276"/>
                <a:gd name="connsiteY6" fmla="*/ 1710000 h 2340000"/>
                <a:gd name="connsiteX7" fmla="*/ 2340000 w 2887276"/>
                <a:gd name="connsiteY7" fmla="*/ 1710000 h 2340000"/>
                <a:gd name="connsiteX8" fmla="*/ 2340000 w 2887276"/>
                <a:gd name="connsiteY8" fmla="*/ 2340000 h 2340000"/>
                <a:gd name="connsiteX9" fmla="*/ 1710000 w 2887276"/>
                <a:gd name="connsiteY9" fmla="*/ 2340000 h 2340000"/>
                <a:gd name="connsiteX10" fmla="*/ 1710000 w 2887276"/>
                <a:gd name="connsiteY10" fmla="*/ 2332762 h 2340000"/>
                <a:gd name="connsiteX11" fmla="*/ 1170000 w 2887276"/>
                <a:gd name="connsiteY11" fmla="*/ 1792762 h 2340000"/>
                <a:gd name="connsiteX12" fmla="*/ 630000 w 2887276"/>
                <a:gd name="connsiteY12" fmla="*/ 2332762 h 2340000"/>
                <a:gd name="connsiteX13" fmla="*/ 630000 w 2887276"/>
                <a:gd name="connsiteY13" fmla="*/ 2340000 h 2340000"/>
                <a:gd name="connsiteX0" fmla="*/ 0 w 2887276"/>
                <a:gd name="connsiteY0" fmla="*/ 2340000 h 2340000"/>
                <a:gd name="connsiteX1" fmla="*/ 0 w 2887276"/>
                <a:gd name="connsiteY1" fmla="*/ 0 h 2340000"/>
                <a:gd name="connsiteX2" fmla="*/ 2340000 w 2887276"/>
                <a:gd name="connsiteY2" fmla="*/ 0 h 2340000"/>
                <a:gd name="connsiteX3" fmla="*/ 2340000 w 2887276"/>
                <a:gd name="connsiteY3" fmla="*/ 630000 h 2340000"/>
                <a:gd name="connsiteX4" fmla="*/ 2347276 w 2887276"/>
                <a:gd name="connsiteY4" fmla="*/ 630000 h 2340000"/>
                <a:gd name="connsiteX5" fmla="*/ 2887276 w 2887276"/>
                <a:gd name="connsiteY5" fmla="*/ 1170000 h 2340000"/>
                <a:gd name="connsiteX6" fmla="*/ 2347276 w 2887276"/>
                <a:gd name="connsiteY6" fmla="*/ 1710000 h 2340000"/>
                <a:gd name="connsiteX7" fmla="*/ 2340000 w 2887276"/>
                <a:gd name="connsiteY7" fmla="*/ 1710000 h 2340000"/>
                <a:gd name="connsiteX8" fmla="*/ 2340000 w 2887276"/>
                <a:gd name="connsiteY8" fmla="*/ 2340000 h 2340000"/>
                <a:gd name="connsiteX9" fmla="*/ 1710000 w 2887276"/>
                <a:gd name="connsiteY9" fmla="*/ 2340000 h 2340000"/>
                <a:gd name="connsiteX10" fmla="*/ 1710000 w 2887276"/>
                <a:gd name="connsiteY10" fmla="*/ 2332762 h 2340000"/>
                <a:gd name="connsiteX11" fmla="*/ 630000 w 2887276"/>
                <a:gd name="connsiteY11" fmla="*/ 2332762 h 2340000"/>
                <a:gd name="connsiteX12" fmla="*/ 630000 w 2887276"/>
                <a:gd name="connsiteY12" fmla="*/ 2340000 h 2340000"/>
                <a:gd name="connsiteX13" fmla="*/ 0 w 2887276"/>
                <a:gd name="connsiteY13" fmla="*/ 2340000 h 2340000"/>
                <a:gd name="connsiteX0" fmla="*/ 0 w 2887276"/>
                <a:gd name="connsiteY0" fmla="*/ 2340000 h 2340000"/>
                <a:gd name="connsiteX1" fmla="*/ 0 w 2887276"/>
                <a:gd name="connsiteY1" fmla="*/ 0 h 2340000"/>
                <a:gd name="connsiteX2" fmla="*/ 2340000 w 2887276"/>
                <a:gd name="connsiteY2" fmla="*/ 0 h 2340000"/>
                <a:gd name="connsiteX3" fmla="*/ 2340000 w 2887276"/>
                <a:gd name="connsiteY3" fmla="*/ 630000 h 2340000"/>
                <a:gd name="connsiteX4" fmla="*/ 2347276 w 2887276"/>
                <a:gd name="connsiteY4" fmla="*/ 630000 h 2340000"/>
                <a:gd name="connsiteX5" fmla="*/ 2887276 w 2887276"/>
                <a:gd name="connsiteY5" fmla="*/ 1170000 h 2340000"/>
                <a:gd name="connsiteX6" fmla="*/ 2347276 w 2887276"/>
                <a:gd name="connsiteY6" fmla="*/ 1710000 h 2340000"/>
                <a:gd name="connsiteX7" fmla="*/ 2340000 w 2887276"/>
                <a:gd name="connsiteY7" fmla="*/ 1710000 h 2340000"/>
                <a:gd name="connsiteX8" fmla="*/ 2340000 w 2887276"/>
                <a:gd name="connsiteY8" fmla="*/ 2340000 h 2340000"/>
                <a:gd name="connsiteX9" fmla="*/ 1710000 w 2887276"/>
                <a:gd name="connsiteY9" fmla="*/ 2340000 h 2340000"/>
                <a:gd name="connsiteX10" fmla="*/ 1710000 w 2887276"/>
                <a:gd name="connsiteY10" fmla="*/ 2332762 h 2340000"/>
                <a:gd name="connsiteX11" fmla="*/ 630000 w 2887276"/>
                <a:gd name="connsiteY11" fmla="*/ 2332762 h 2340000"/>
                <a:gd name="connsiteX12" fmla="*/ 0 w 2887276"/>
                <a:gd name="connsiteY12" fmla="*/ 2340000 h 2340000"/>
                <a:gd name="connsiteX0" fmla="*/ 0 w 2887276"/>
                <a:gd name="connsiteY0" fmla="*/ 2340000 h 2340000"/>
                <a:gd name="connsiteX1" fmla="*/ 0 w 2887276"/>
                <a:gd name="connsiteY1" fmla="*/ 0 h 2340000"/>
                <a:gd name="connsiteX2" fmla="*/ 2340000 w 2887276"/>
                <a:gd name="connsiteY2" fmla="*/ 0 h 2340000"/>
                <a:gd name="connsiteX3" fmla="*/ 2340000 w 2887276"/>
                <a:gd name="connsiteY3" fmla="*/ 630000 h 2340000"/>
                <a:gd name="connsiteX4" fmla="*/ 2347276 w 2887276"/>
                <a:gd name="connsiteY4" fmla="*/ 630000 h 2340000"/>
                <a:gd name="connsiteX5" fmla="*/ 2887276 w 2887276"/>
                <a:gd name="connsiteY5" fmla="*/ 1170000 h 2340000"/>
                <a:gd name="connsiteX6" fmla="*/ 2347276 w 2887276"/>
                <a:gd name="connsiteY6" fmla="*/ 1710000 h 2340000"/>
                <a:gd name="connsiteX7" fmla="*/ 2340000 w 2887276"/>
                <a:gd name="connsiteY7" fmla="*/ 1710000 h 2340000"/>
                <a:gd name="connsiteX8" fmla="*/ 2340000 w 2887276"/>
                <a:gd name="connsiteY8" fmla="*/ 2340000 h 2340000"/>
                <a:gd name="connsiteX9" fmla="*/ 1710000 w 2887276"/>
                <a:gd name="connsiteY9" fmla="*/ 2340000 h 2340000"/>
                <a:gd name="connsiteX10" fmla="*/ 630000 w 2887276"/>
                <a:gd name="connsiteY10" fmla="*/ 2332762 h 2340000"/>
                <a:gd name="connsiteX11" fmla="*/ 0 w 2887276"/>
                <a:gd name="connsiteY11" fmla="*/ 2340000 h 2340000"/>
                <a:gd name="connsiteX0" fmla="*/ 0 w 2887276"/>
                <a:gd name="connsiteY0" fmla="*/ 2340000 h 2340000"/>
                <a:gd name="connsiteX1" fmla="*/ 0 w 2887276"/>
                <a:gd name="connsiteY1" fmla="*/ 0 h 2340000"/>
                <a:gd name="connsiteX2" fmla="*/ 2340000 w 2887276"/>
                <a:gd name="connsiteY2" fmla="*/ 0 h 2340000"/>
                <a:gd name="connsiteX3" fmla="*/ 2340000 w 2887276"/>
                <a:gd name="connsiteY3" fmla="*/ 630000 h 2340000"/>
                <a:gd name="connsiteX4" fmla="*/ 2347276 w 2887276"/>
                <a:gd name="connsiteY4" fmla="*/ 630000 h 2340000"/>
                <a:gd name="connsiteX5" fmla="*/ 2887276 w 2887276"/>
                <a:gd name="connsiteY5" fmla="*/ 1170000 h 2340000"/>
                <a:gd name="connsiteX6" fmla="*/ 2347276 w 2887276"/>
                <a:gd name="connsiteY6" fmla="*/ 1710000 h 2340000"/>
                <a:gd name="connsiteX7" fmla="*/ 2340000 w 2887276"/>
                <a:gd name="connsiteY7" fmla="*/ 1710000 h 2340000"/>
                <a:gd name="connsiteX8" fmla="*/ 2340000 w 2887276"/>
                <a:gd name="connsiteY8" fmla="*/ 2340000 h 2340000"/>
                <a:gd name="connsiteX9" fmla="*/ 1710000 w 2887276"/>
                <a:gd name="connsiteY9" fmla="*/ 2340000 h 2340000"/>
                <a:gd name="connsiteX10" fmla="*/ 0 w 2887276"/>
                <a:gd name="connsiteY10" fmla="*/ 2340000 h 2340000"/>
                <a:gd name="connsiteX0" fmla="*/ 0 w 2887276"/>
                <a:gd name="connsiteY0" fmla="*/ 2340000 h 2340000"/>
                <a:gd name="connsiteX1" fmla="*/ 0 w 2887276"/>
                <a:gd name="connsiteY1" fmla="*/ 0 h 2340000"/>
                <a:gd name="connsiteX2" fmla="*/ 2340000 w 2887276"/>
                <a:gd name="connsiteY2" fmla="*/ 0 h 2340000"/>
                <a:gd name="connsiteX3" fmla="*/ 2340000 w 2887276"/>
                <a:gd name="connsiteY3" fmla="*/ 630000 h 2340000"/>
                <a:gd name="connsiteX4" fmla="*/ 2347276 w 2887276"/>
                <a:gd name="connsiteY4" fmla="*/ 630000 h 2340000"/>
                <a:gd name="connsiteX5" fmla="*/ 2887276 w 2887276"/>
                <a:gd name="connsiteY5" fmla="*/ 1170000 h 2340000"/>
                <a:gd name="connsiteX6" fmla="*/ 2347276 w 2887276"/>
                <a:gd name="connsiteY6" fmla="*/ 1710000 h 2340000"/>
                <a:gd name="connsiteX7" fmla="*/ 2340000 w 2887276"/>
                <a:gd name="connsiteY7" fmla="*/ 1710000 h 2340000"/>
                <a:gd name="connsiteX8" fmla="*/ 2340000 w 2887276"/>
                <a:gd name="connsiteY8" fmla="*/ 2340000 h 2340000"/>
                <a:gd name="connsiteX9" fmla="*/ 0 w 2887276"/>
                <a:gd name="connsiteY9" fmla="*/ 2340000 h 23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87276" h="2340000">
                  <a:moveTo>
                    <a:pt x="0" y="2340000"/>
                  </a:moveTo>
                  <a:lnTo>
                    <a:pt x="0" y="0"/>
                  </a:lnTo>
                  <a:lnTo>
                    <a:pt x="2340000" y="0"/>
                  </a:lnTo>
                  <a:lnTo>
                    <a:pt x="2340000" y="630000"/>
                  </a:lnTo>
                  <a:lnTo>
                    <a:pt x="2347276" y="630000"/>
                  </a:lnTo>
                  <a:lnTo>
                    <a:pt x="2887276" y="1170000"/>
                  </a:lnTo>
                  <a:lnTo>
                    <a:pt x="2347276" y="1710000"/>
                  </a:lnTo>
                  <a:lnTo>
                    <a:pt x="2340000" y="1710000"/>
                  </a:lnTo>
                  <a:lnTo>
                    <a:pt x="2340000" y="2340000"/>
                  </a:lnTo>
                  <a:lnTo>
                    <a:pt x="0" y="2340000"/>
                  </a:lnTo>
                  <a:close/>
                </a:path>
              </a:pathLst>
            </a:custGeom>
            <a:solidFill>
              <a:srgbClr val="00FFB9"/>
            </a:solidFill>
            <a:ln w="19050">
              <a:solidFill>
                <a:schemeClr val="bg1"/>
              </a:solidFill>
              <a:round/>
              <a:headEnd/>
              <a:tailEnd/>
            </a:ln>
            <a:effectLst/>
          </p:spPr>
          <p:txBody>
            <a:bodyPr vert="vert" wrap="square" lIns="71963" tIns="143925" rIns="71963" bIns="143925" anchor="b">
              <a:noAutofit/>
            </a:bodyPr>
            <a:lstStyle/>
            <a:p>
              <a:r>
                <a:rPr lang="en-US" sz="1799" b="1" dirty="0">
                  <a:solidFill>
                    <a:schemeClr val="bg1"/>
                  </a:solidFill>
                </a:rPr>
                <a:t>Sadipscing</a:t>
              </a:r>
            </a:p>
          </p:txBody>
        </p:sp>
        <p:sp>
          <p:nvSpPr>
            <p:cNvPr id="37" name="Freeform 36"/>
            <p:cNvSpPr>
              <a:spLocks noChangeArrowheads="1"/>
            </p:cNvSpPr>
            <p:nvPr/>
          </p:nvSpPr>
          <p:spPr bwMode="auto">
            <a:xfrm>
              <a:off x="622800" y="1439999"/>
              <a:ext cx="2887276" cy="2340000"/>
            </a:xfrm>
            <a:custGeom>
              <a:avLst/>
              <a:gdLst>
                <a:gd name="connsiteX0" fmla="*/ 0 w 2887276"/>
                <a:gd name="connsiteY0" fmla="*/ 2340000 h 2340000"/>
                <a:gd name="connsiteX1" fmla="*/ 0 w 2887276"/>
                <a:gd name="connsiteY1" fmla="*/ 0 h 2340000"/>
                <a:gd name="connsiteX2" fmla="*/ 2340000 w 2887276"/>
                <a:gd name="connsiteY2" fmla="*/ 0 h 2340000"/>
                <a:gd name="connsiteX3" fmla="*/ 2340000 w 2887276"/>
                <a:gd name="connsiteY3" fmla="*/ 630000 h 2340000"/>
                <a:gd name="connsiteX4" fmla="*/ 2347276 w 2887276"/>
                <a:gd name="connsiteY4" fmla="*/ 630000 h 2340000"/>
                <a:gd name="connsiteX5" fmla="*/ 2887276 w 2887276"/>
                <a:gd name="connsiteY5" fmla="*/ 1170000 h 2340000"/>
                <a:gd name="connsiteX6" fmla="*/ 2347276 w 2887276"/>
                <a:gd name="connsiteY6" fmla="*/ 1710000 h 2340000"/>
                <a:gd name="connsiteX7" fmla="*/ 2340000 w 2887276"/>
                <a:gd name="connsiteY7" fmla="*/ 1710000 h 2340000"/>
                <a:gd name="connsiteX8" fmla="*/ 2340000 w 2887276"/>
                <a:gd name="connsiteY8" fmla="*/ 2340000 h 2340000"/>
                <a:gd name="connsiteX9" fmla="*/ 1710000 w 2887276"/>
                <a:gd name="connsiteY9" fmla="*/ 2340000 h 2340000"/>
                <a:gd name="connsiteX10" fmla="*/ 1710000 w 2887276"/>
                <a:gd name="connsiteY10" fmla="*/ 2332762 h 2340000"/>
                <a:gd name="connsiteX11" fmla="*/ 1170000 w 2887276"/>
                <a:gd name="connsiteY11" fmla="*/ 1792762 h 2340000"/>
                <a:gd name="connsiteX12" fmla="*/ 630000 w 2887276"/>
                <a:gd name="connsiteY12" fmla="*/ 2332762 h 2340000"/>
                <a:gd name="connsiteX13" fmla="*/ 630000 w 2887276"/>
                <a:gd name="connsiteY13" fmla="*/ 2340000 h 23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87276" h="2340000">
                  <a:moveTo>
                    <a:pt x="0" y="2340000"/>
                  </a:moveTo>
                  <a:lnTo>
                    <a:pt x="0" y="0"/>
                  </a:lnTo>
                  <a:lnTo>
                    <a:pt x="2340000" y="0"/>
                  </a:lnTo>
                  <a:lnTo>
                    <a:pt x="2340000" y="630000"/>
                  </a:lnTo>
                  <a:lnTo>
                    <a:pt x="2347276" y="630000"/>
                  </a:lnTo>
                  <a:lnTo>
                    <a:pt x="2887276" y="1170000"/>
                  </a:lnTo>
                  <a:lnTo>
                    <a:pt x="2347276" y="1710000"/>
                  </a:lnTo>
                  <a:lnTo>
                    <a:pt x="2340000" y="1710000"/>
                  </a:lnTo>
                  <a:lnTo>
                    <a:pt x="2340000" y="2340000"/>
                  </a:lnTo>
                  <a:lnTo>
                    <a:pt x="1710000" y="2340000"/>
                  </a:lnTo>
                  <a:lnTo>
                    <a:pt x="1710000" y="2332762"/>
                  </a:lnTo>
                  <a:lnTo>
                    <a:pt x="1170000" y="1792762"/>
                  </a:lnTo>
                  <a:lnTo>
                    <a:pt x="630000" y="2332762"/>
                  </a:lnTo>
                  <a:lnTo>
                    <a:pt x="630000" y="2340000"/>
                  </a:lnTo>
                  <a:close/>
                </a:path>
              </a:pathLst>
            </a:custGeom>
            <a:solidFill>
              <a:srgbClr val="00646E"/>
            </a:solidFill>
            <a:ln w="19050">
              <a:solidFill>
                <a:schemeClr val="bg1"/>
              </a:solidFill>
              <a:round/>
              <a:headEnd/>
              <a:tailEnd/>
            </a:ln>
            <a:effectLst/>
          </p:spPr>
          <p:txBody>
            <a:bodyPr wrap="square" lIns="143925" tIns="71963" rIns="683644" bIns="71963" anchor="t">
              <a:noAutofit/>
            </a:bodyPr>
            <a:lstStyle/>
            <a:p>
              <a:r>
                <a:rPr lang="en-US" sz="1799" b="1" dirty="0">
                  <a:solidFill>
                    <a:schemeClr val="bg1"/>
                  </a:solidFill>
                </a:rPr>
                <a:t>Accusam</a:t>
              </a:r>
            </a:p>
          </p:txBody>
        </p:sp>
        <p:sp>
          <p:nvSpPr>
            <p:cNvPr id="31" name="Freeform 55">
              <a:extLst>
                <a:ext uri="{FF2B5EF4-FFF2-40B4-BE49-F238E27FC236}">
                  <a16:creationId xmlns:a16="http://schemas.microsoft.com/office/drawing/2014/main" id="{F2205010-FEB0-4BB6-B8FD-8B43C2695305}"/>
                </a:ext>
              </a:extLst>
            </p:cNvPr>
            <p:cNvSpPr/>
            <p:nvPr/>
          </p:nvSpPr>
          <p:spPr bwMode="auto">
            <a:xfrm>
              <a:off x="2411909" y="3780000"/>
              <a:ext cx="2887276" cy="2336501"/>
            </a:xfrm>
            <a:custGeom>
              <a:avLst/>
              <a:gdLst>
                <a:gd name="connsiteX0" fmla="*/ 547276 w 2887276"/>
                <a:gd name="connsiteY0" fmla="*/ 0 h 2336502"/>
                <a:gd name="connsiteX1" fmla="*/ 1177276 w 2887276"/>
                <a:gd name="connsiteY1" fmla="*/ 0 h 2336502"/>
                <a:gd name="connsiteX2" fmla="*/ 1177276 w 2887276"/>
                <a:gd name="connsiteY2" fmla="*/ 7276 h 2336502"/>
                <a:gd name="connsiteX3" fmla="*/ 1717276 w 2887276"/>
                <a:gd name="connsiteY3" fmla="*/ 547276 h 2336502"/>
                <a:gd name="connsiteX4" fmla="*/ 2257276 w 2887276"/>
                <a:gd name="connsiteY4" fmla="*/ 7276 h 2336502"/>
                <a:gd name="connsiteX5" fmla="*/ 2257276 w 2887276"/>
                <a:gd name="connsiteY5" fmla="*/ 0 h 2336502"/>
                <a:gd name="connsiteX6" fmla="*/ 2887276 w 2887276"/>
                <a:gd name="connsiteY6" fmla="*/ 0 h 2336502"/>
                <a:gd name="connsiteX7" fmla="*/ 2887276 w 2887276"/>
                <a:gd name="connsiteY7" fmla="*/ 2336502 h 2336502"/>
                <a:gd name="connsiteX8" fmla="*/ 547276 w 2887276"/>
                <a:gd name="connsiteY8" fmla="*/ 2336502 h 2336502"/>
                <a:gd name="connsiteX9" fmla="*/ 547276 w 2887276"/>
                <a:gd name="connsiteY9" fmla="*/ 1706502 h 2336502"/>
                <a:gd name="connsiteX10" fmla="*/ 540000 w 2887276"/>
                <a:gd name="connsiteY10" fmla="*/ 1706502 h 2336502"/>
                <a:gd name="connsiteX11" fmla="*/ 0 w 2887276"/>
                <a:gd name="connsiteY11" fmla="*/ 1166502 h 2336502"/>
                <a:gd name="connsiteX12" fmla="*/ 540000 w 2887276"/>
                <a:gd name="connsiteY12" fmla="*/ 626502 h 2336502"/>
                <a:gd name="connsiteX13" fmla="*/ 547276 w 2887276"/>
                <a:gd name="connsiteY13" fmla="*/ 626502 h 2336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87276" h="2336502">
                  <a:moveTo>
                    <a:pt x="547276" y="0"/>
                  </a:moveTo>
                  <a:lnTo>
                    <a:pt x="1177276" y="0"/>
                  </a:lnTo>
                  <a:lnTo>
                    <a:pt x="1177276" y="7276"/>
                  </a:lnTo>
                  <a:lnTo>
                    <a:pt x="1717276" y="547276"/>
                  </a:lnTo>
                  <a:lnTo>
                    <a:pt x="2257276" y="7276"/>
                  </a:lnTo>
                  <a:lnTo>
                    <a:pt x="2257276" y="0"/>
                  </a:lnTo>
                  <a:lnTo>
                    <a:pt x="2887276" y="0"/>
                  </a:lnTo>
                  <a:lnTo>
                    <a:pt x="2887276" y="2336502"/>
                  </a:lnTo>
                  <a:lnTo>
                    <a:pt x="547276" y="2336502"/>
                  </a:lnTo>
                  <a:lnTo>
                    <a:pt x="547276" y="1706502"/>
                  </a:lnTo>
                  <a:lnTo>
                    <a:pt x="540000" y="1706502"/>
                  </a:lnTo>
                  <a:lnTo>
                    <a:pt x="0" y="1166502"/>
                  </a:lnTo>
                  <a:lnTo>
                    <a:pt x="540000" y="626502"/>
                  </a:lnTo>
                  <a:lnTo>
                    <a:pt x="547276" y="626502"/>
                  </a:lnTo>
                  <a:close/>
                </a:path>
              </a:pathLst>
            </a:custGeom>
            <a:solidFill>
              <a:srgbClr val="00D7A0"/>
            </a:solidFill>
            <a:ln w="19050">
              <a:solidFill>
                <a:schemeClr val="bg1"/>
              </a:solidFill>
              <a:round/>
            </a:ln>
            <a:effectLst/>
          </p:spPr>
          <p:txBody>
            <a:bodyPr wrap="square" lIns="539719" tIns="71963" rIns="143925" bIns="71963" numCol="1" spcCol="72000" rtlCol="0" anchor="b">
              <a:noAutofit/>
            </a:bodyPr>
            <a:lstStyle/>
            <a:p>
              <a:r>
                <a:rPr lang="en-US" sz="1799" b="1" dirty="0">
                  <a:solidFill>
                    <a:schemeClr val="bg1"/>
                  </a:solidFill>
                </a:rPr>
                <a:t>Vero accu</a:t>
              </a:r>
            </a:p>
          </p:txBody>
        </p:sp>
        <p:sp>
          <p:nvSpPr>
            <p:cNvPr id="32" name="Freihandform: Form 10">
              <a:extLst>
                <a:ext uri="{FF2B5EF4-FFF2-40B4-BE49-F238E27FC236}">
                  <a16:creationId xmlns:a16="http://schemas.microsoft.com/office/drawing/2014/main" id="{64C76E03-E054-423F-905F-FCB4DB2B6B04}"/>
                </a:ext>
              </a:extLst>
            </p:cNvPr>
            <p:cNvSpPr>
              <a:spLocks noChangeArrowheads="1"/>
            </p:cNvSpPr>
            <p:nvPr/>
          </p:nvSpPr>
          <p:spPr bwMode="auto">
            <a:xfrm rot="5400000">
              <a:off x="2685546" y="1713637"/>
              <a:ext cx="2887276" cy="2340001"/>
            </a:xfrm>
            <a:custGeom>
              <a:avLst/>
              <a:gdLst>
                <a:gd name="connsiteX0" fmla="*/ 0 w 2887276"/>
                <a:gd name="connsiteY0" fmla="*/ 2340000 h 2340000"/>
                <a:gd name="connsiteX1" fmla="*/ 0 w 2887276"/>
                <a:gd name="connsiteY1" fmla="*/ 0 h 2340000"/>
                <a:gd name="connsiteX2" fmla="*/ 2340000 w 2887276"/>
                <a:gd name="connsiteY2" fmla="*/ 0 h 2340000"/>
                <a:gd name="connsiteX3" fmla="*/ 2340000 w 2887276"/>
                <a:gd name="connsiteY3" fmla="*/ 630000 h 2340000"/>
                <a:gd name="connsiteX4" fmla="*/ 2347276 w 2887276"/>
                <a:gd name="connsiteY4" fmla="*/ 630000 h 2340000"/>
                <a:gd name="connsiteX5" fmla="*/ 2887276 w 2887276"/>
                <a:gd name="connsiteY5" fmla="*/ 1170000 h 2340000"/>
                <a:gd name="connsiteX6" fmla="*/ 2347276 w 2887276"/>
                <a:gd name="connsiteY6" fmla="*/ 1710000 h 2340000"/>
                <a:gd name="connsiteX7" fmla="*/ 2340000 w 2887276"/>
                <a:gd name="connsiteY7" fmla="*/ 1710000 h 2340000"/>
                <a:gd name="connsiteX8" fmla="*/ 2340000 w 2887276"/>
                <a:gd name="connsiteY8" fmla="*/ 2340000 h 2340000"/>
                <a:gd name="connsiteX9" fmla="*/ 1710000 w 2887276"/>
                <a:gd name="connsiteY9" fmla="*/ 2340000 h 2340000"/>
                <a:gd name="connsiteX10" fmla="*/ 1710000 w 2887276"/>
                <a:gd name="connsiteY10" fmla="*/ 2332762 h 2340000"/>
                <a:gd name="connsiteX11" fmla="*/ 1170000 w 2887276"/>
                <a:gd name="connsiteY11" fmla="*/ 1792762 h 2340000"/>
                <a:gd name="connsiteX12" fmla="*/ 630000 w 2887276"/>
                <a:gd name="connsiteY12" fmla="*/ 2332762 h 2340000"/>
                <a:gd name="connsiteX13" fmla="*/ 630000 w 2887276"/>
                <a:gd name="connsiteY13" fmla="*/ 2340000 h 23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87276" h="2340000">
                  <a:moveTo>
                    <a:pt x="0" y="2340000"/>
                  </a:moveTo>
                  <a:lnTo>
                    <a:pt x="0" y="0"/>
                  </a:lnTo>
                  <a:lnTo>
                    <a:pt x="2340000" y="0"/>
                  </a:lnTo>
                  <a:lnTo>
                    <a:pt x="2340000" y="630000"/>
                  </a:lnTo>
                  <a:lnTo>
                    <a:pt x="2347276" y="630000"/>
                  </a:lnTo>
                  <a:lnTo>
                    <a:pt x="2887276" y="1170000"/>
                  </a:lnTo>
                  <a:lnTo>
                    <a:pt x="2347276" y="1710000"/>
                  </a:lnTo>
                  <a:lnTo>
                    <a:pt x="2340000" y="1710000"/>
                  </a:lnTo>
                  <a:lnTo>
                    <a:pt x="2340000" y="2340000"/>
                  </a:lnTo>
                  <a:lnTo>
                    <a:pt x="1710000" y="2340000"/>
                  </a:lnTo>
                  <a:lnTo>
                    <a:pt x="1710000" y="2332762"/>
                  </a:lnTo>
                  <a:lnTo>
                    <a:pt x="1170000" y="1792762"/>
                  </a:lnTo>
                  <a:lnTo>
                    <a:pt x="630000" y="2332762"/>
                  </a:lnTo>
                  <a:lnTo>
                    <a:pt x="630000" y="2340000"/>
                  </a:lnTo>
                  <a:close/>
                </a:path>
              </a:pathLst>
            </a:custGeom>
            <a:solidFill>
              <a:srgbClr val="00AF8E"/>
            </a:solidFill>
            <a:ln w="19050">
              <a:solidFill>
                <a:schemeClr val="bg1"/>
              </a:solidFill>
              <a:round/>
              <a:headEnd/>
              <a:tailEnd/>
            </a:ln>
            <a:effectLst/>
          </p:spPr>
          <p:txBody>
            <a:bodyPr vert="vert270" wrap="square" lIns="71963" tIns="143925" rIns="71963" bIns="143925" anchor="t">
              <a:noAutofit/>
            </a:bodyPr>
            <a:lstStyle/>
            <a:p>
              <a:r>
                <a:rPr lang="en-US" sz="1799" b="1" dirty="0">
                  <a:solidFill>
                    <a:schemeClr val="bg1"/>
                  </a:solidFill>
                </a:rPr>
                <a:t>Stet clita</a:t>
              </a:r>
            </a:p>
          </p:txBody>
        </p:sp>
      </p:grpSp>
      <p:sp>
        <p:nvSpPr>
          <p:cNvPr id="3" name="Footer Placeholder 2">
            <a:extLst>
              <a:ext uri="{FF2B5EF4-FFF2-40B4-BE49-F238E27FC236}">
                <a16:creationId xmlns:a16="http://schemas.microsoft.com/office/drawing/2014/main" id="{094C7616-B795-4DD9-92BE-C743C0D583F3}"/>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1816C3CC-C6E6-4842-A0E8-D15A743D7BE9}"/>
              </a:ext>
            </a:extLst>
          </p:cNvPr>
          <p:cNvSpPr>
            <a:spLocks noGrp="1"/>
          </p:cNvSpPr>
          <p:nvPr>
            <p:ph type="sldNum" sz="quarter" idx="11"/>
          </p:nvPr>
        </p:nvSpPr>
        <p:spPr/>
        <p:txBody>
          <a:bodyPr/>
          <a:lstStyle/>
          <a:p>
            <a:r>
              <a:rPr lang="en-US" dirty="0"/>
              <a:t>Page </a:t>
            </a:r>
            <a:fld id="{15EBE321-CBB1-4E91-BD14-37C8D44326FB}" type="slidenum">
              <a:rPr lang="en-US" smtClean="0"/>
              <a:pPr/>
              <a:t>98</a:t>
            </a:fld>
            <a:endParaRPr lang="en-US" dirty="0"/>
          </a:p>
        </p:txBody>
      </p:sp>
    </p:spTree>
    <p:extLst>
      <p:ext uri="{BB962C8B-B14F-4D97-AF65-F5344CB8AC3E}">
        <p14:creationId xmlns:p14="http://schemas.microsoft.com/office/powerpoint/2010/main" val="406692165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8" name="Rectangle 4"/>
          <p:cNvSpPr>
            <a:spLocks noGrp="1" noChangeArrowheads="1"/>
          </p:cNvSpPr>
          <p:nvPr>
            <p:ph type="title"/>
          </p:nvPr>
        </p:nvSpPr>
        <p:spPr/>
        <p:txBody>
          <a:bodyPr/>
          <a:lstStyle/>
          <a:p>
            <a:r>
              <a:rPr lang="en-US" dirty="0"/>
              <a:t>Jigsaw puzzle: four and eight pieces</a:t>
            </a:r>
          </a:p>
        </p:txBody>
      </p:sp>
      <p:grpSp>
        <p:nvGrpSpPr>
          <p:cNvPr id="13" name="Group 12">
            <a:extLst>
              <a:ext uri="{FF2B5EF4-FFF2-40B4-BE49-F238E27FC236}">
                <a16:creationId xmlns:a16="http://schemas.microsoft.com/office/drawing/2014/main" id="{AAADBFA4-1831-48A6-BB12-58E476A6DCBF}"/>
              </a:ext>
            </a:extLst>
          </p:cNvPr>
          <p:cNvGrpSpPr>
            <a:grpSpLocks noChangeAspect="1"/>
          </p:cNvGrpSpPr>
          <p:nvPr/>
        </p:nvGrpSpPr>
        <p:grpSpPr>
          <a:xfrm>
            <a:off x="4298950" y="2134800"/>
            <a:ext cx="6340766" cy="3168000"/>
            <a:chOff x="622800" y="1439999"/>
            <a:chExt cx="9360038" cy="4676502"/>
          </a:xfrm>
        </p:grpSpPr>
        <p:sp>
          <p:nvSpPr>
            <p:cNvPr id="21" name="Freeform 45">
              <a:extLst>
                <a:ext uri="{FF2B5EF4-FFF2-40B4-BE49-F238E27FC236}">
                  <a16:creationId xmlns:a16="http://schemas.microsoft.com/office/drawing/2014/main" id="{96D8E451-EC14-42CA-B1B2-E34718C782AC}"/>
                </a:ext>
              </a:extLst>
            </p:cNvPr>
            <p:cNvSpPr>
              <a:spLocks noChangeArrowheads="1"/>
            </p:cNvSpPr>
            <p:nvPr/>
          </p:nvSpPr>
          <p:spPr bwMode="auto">
            <a:xfrm>
              <a:off x="5302800" y="1439999"/>
              <a:ext cx="2887276" cy="2883740"/>
            </a:xfrm>
            <a:custGeom>
              <a:avLst/>
              <a:gdLst>
                <a:gd name="connsiteX0" fmla="*/ 0 w 2887276"/>
                <a:gd name="connsiteY0" fmla="*/ 0 h 2883740"/>
                <a:gd name="connsiteX1" fmla="*/ 2340000 w 2887276"/>
                <a:gd name="connsiteY1" fmla="*/ 0 h 2883740"/>
                <a:gd name="connsiteX2" fmla="*/ 2340000 w 2887276"/>
                <a:gd name="connsiteY2" fmla="*/ 630000 h 2883740"/>
                <a:gd name="connsiteX3" fmla="*/ 2347276 w 2887276"/>
                <a:gd name="connsiteY3" fmla="*/ 630000 h 2883740"/>
                <a:gd name="connsiteX4" fmla="*/ 2887276 w 2887276"/>
                <a:gd name="connsiteY4" fmla="*/ 1170000 h 2883740"/>
                <a:gd name="connsiteX5" fmla="*/ 2347276 w 2887276"/>
                <a:gd name="connsiteY5" fmla="*/ 1710000 h 2883740"/>
                <a:gd name="connsiteX6" fmla="*/ 2340000 w 2887276"/>
                <a:gd name="connsiteY6" fmla="*/ 1710000 h 2883740"/>
                <a:gd name="connsiteX7" fmla="*/ 2340000 w 2887276"/>
                <a:gd name="connsiteY7" fmla="*/ 2336502 h 2883740"/>
                <a:gd name="connsiteX8" fmla="*/ 1710038 w 2887276"/>
                <a:gd name="connsiteY8" fmla="*/ 2336502 h 2883740"/>
                <a:gd name="connsiteX9" fmla="*/ 1710038 w 2887276"/>
                <a:gd name="connsiteY9" fmla="*/ 2343740 h 2883740"/>
                <a:gd name="connsiteX10" fmla="*/ 1170038 w 2887276"/>
                <a:gd name="connsiteY10" fmla="*/ 2883740 h 2883740"/>
                <a:gd name="connsiteX11" fmla="*/ 630038 w 2887276"/>
                <a:gd name="connsiteY11" fmla="*/ 2343740 h 2883740"/>
                <a:gd name="connsiteX12" fmla="*/ 630038 w 2887276"/>
                <a:gd name="connsiteY12" fmla="*/ 2336502 h 2883740"/>
                <a:gd name="connsiteX13" fmla="*/ 38 w 2887276"/>
                <a:gd name="connsiteY13" fmla="*/ 2336502 h 2883740"/>
                <a:gd name="connsiteX14" fmla="*/ 38 w 2887276"/>
                <a:gd name="connsiteY14" fmla="*/ 2340032 h 2883740"/>
                <a:gd name="connsiteX15" fmla="*/ 0 w 2887276"/>
                <a:gd name="connsiteY15" fmla="*/ 2340000 h 288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87276" h="2883740">
                  <a:moveTo>
                    <a:pt x="0" y="0"/>
                  </a:moveTo>
                  <a:lnTo>
                    <a:pt x="2340000" y="0"/>
                  </a:lnTo>
                  <a:lnTo>
                    <a:pt x="2340000" y="630000"/>
                  </a:lnTo>
                  <a:lnTo>
                    <a:pt x="2347276" y="630000"/>
                  </a:lnTo>
                  <a:lnTo>
                    <a:pt x="2887276" y="1170000"/>
                  </a:lnTo>
                  <a:lnTo>
                    <a:pt x="2347276" y="1710000"/>
                  </a:lnTo>
                  <a:lnTo>
                    <a:pt x="2340000" y="1710000"/>
                  </a:lnTo>
                  <a:lnTo>
                    <a:pt x="2340000" y="2336502"/>
                  </a:lnTo>
                  <a:lnTo>
                    <a:pt x="1710038" y="2336502"/>
                  </a:lnTo>
                  <a:lnTo>
                    <a:pt x="1710038" y="2343740"/>
                  </a:lnTo>
                  <a:lnTo>
                    <a:pt x="1170038" y="2883740"/>
                  </a:lnTo>
                  <a:lnTo>
                    <a:pt x="630038" y="2343740"/>
                  </a:lnTo>
                  <a:lnTo>
                    <a:pt x="630038" y="2336502"/>
                  </a:lnTo>
                  <a:lnTo>
                    <a:pt x="38" y="2336502"/>
                  </a:lnTo>
                  <a:lnTo>
                    <a:pt x="38" y="2340032"/>
                  </a:lnTo>
                  <a:lnTo>
                    <a:pt x="0" y="2340000"/>
                  </a:lnTo>
                  <a:close/>
                </a:path>
              </a:pathLst>
            </a:custGeom>
            <a:solidFill>
              <a:srgbClr val="00D7A0"/>
            </a:solidFill>
            <a:ln w="19050">
              <a:solidFill>
                <a:schemeClr val="bg2"/>
              </a:solidFill>
              <a:round/>
              <a:headEnd/>
              <a:tailEnd/>
            </a:ln>
            <a:effectLst/>
          </p:spPr>
          <p:txBody>
            <a:bodyPr wrap="square" lIns="143925" tIns="71963" rIns="683644" bIns="71963" anchor="t">
              <a:noAutofit/>
            </a:bodyPr>
            <a:lstStyle/>
            <a:p>
              <a:r>
                <a:rPr lang="en-US" sz="1799" b="1" dirty="0"/>
                <a:t>Sadiscing</a:t>
              </a:r>
            </a:p>
          </p:txBody>
        </p:sp>
        <p:sp>
          <p:nvSpPr>
            <p:cNvPr id="14" name="Freeform 48">
              <a:extLst>
                <a:ext uri="{FF2B5EF4-FFF2-40B4-BE49-F238E27FC236}">
                  <a16:creationId xmlns:a16="http://schemas.microsoft.com/office/drawing/2014/main" id="{4C7A88B7-1D5F-4CBA-AA55-DD1A7B1C57FC}"/>
                </a:ext>
              </a:extLst>
            </p:cNvPr>
            <p:cNvSpPr>
              <a:spLocks noChangeArrowheads="1"/>
            </p:cNvSpPr>
            <p:nvPr/>
          </p:nvSpPr>
          <p:spPr bwMode="auto">
            <a:xfrm rot="16200000">
              <a:off x="349163" y="3502863"/>
              <a:ext cx="2887276" cy="2340000"/>
            </a:xfrm>
            <a:custGeom>
              <a:avLst/>
              <a:gdLst>
                <a:gd name="connsiteX0" fmla="*/ 0 w 2887276"/>
                <a:gd name="connsiteY0" fmla="*/ 2340000 h 2340000"/>
                <a:gd name="connsiteX1" fmla="*/ 0 w 2887276"/>
                <a:gd name="connsiteY1" fmla="*/ 0 h 2340000"/>
                <a:gd name="connsiteX2" fmla="*/ 2340000 w 2887276"/>
                <a:gd name="connsiteY2" fmla="*/ 0 h 2340000"/>
                <a:gd name="connsiteX3" fmla="*/ 2340000 w 2887276"/>
                <a:gd name="connsiteY3" fmla="*/ 630000 h 2340000"/>
                <a:gd name="connsiteX4" fmla="*/ 2347276 w 2887276"/>
                <a:gd name="connsiteY4" fmla="*/ 630000 h 2340000"/>
                <a:gd name="connsiteX5" fmla="*/ 2887276 w 2887276"/>
                <a:gd name="connsiteY5" fmla="*/ 1170000 h 2340000"/>
                <a:gd name="connsiteX6" fmla="*/ 2347276 w 2887276"/>
                <a:gd name="connsiteY6" fmla="*/ 1710000 h 2340000"/>
                <a:gd name="connsiteX7" fmla="*/ 2340000 w 2887276"/>
                <a:gd name="connsiteY7" fmla="*/ 1710000 h 2340000"/>
                <a:gd name="connsiteX8" fmla="*/ 2340000 w 2887276"/>
                <a:gd name="connsiteY8" fmla="*/ 2340000 h 2340000"/>
                <a:gd name="connsiteX9" fmla="*/ 1710000 w 2887276"/>
                <a:gd name="connsiteY9" fmla="*/ 2340000 h 2340000"/>
                <a:gd name="connsiteX10" fmla="*/ 1710000 w 2887276"/>
                <a:gd name="connsiteY10" fmla="*/ 2332762 h 2340000"/>
                <a:gd name="connsiteX11" fmla="*/ 1170000 w 2887276"/>
                <a:gd name="connsiteY11" fmla="*/ 1792762 h 2340000"/>
                <a:gd name="connsiteX12" fmla="*/ 630000 w 2887276"/>
                <a:gd name="connsiteY12" fmla="*/ 2332762 h 2340000"/>
                <a:gd name="connsiteX13" fmla="*/ 630000 w 2887276"/>
                <a:gd name="connsiteY13" fmla="*/ 2340000 h 2340000"/>
                <a:gd name="connsiteX0" fmla="*/ 0 w 2887276"/>
                <a:gd name="connsiteY0" fmla="*/ 2340000 h 2340000"/>
                <a:gd name="connsiteX1" fmla="*/ 0 w 2887276"/>
                <a:gd name="connsiteY1" fmla="*/ 0 h 2340000"/>
                <a:gd name="connsiteX2" fmla="*/ 2340000 w 2887276"/>
                <a:gd name="connsiteY2" fmla="*/ 0 h 2340000"/>
                <a:gd name="connsiteX3" fmla="*/ 2340000 w 2887276"/>
                <a:gd name="connsiteY3" fmla="*/ 630000 h 2340000"/>
                <a:gd name="connsiteX4" fmla="*/ 2347276 w 2887276"/>
                <a:gd name="connsiteY4" fmla="*/ 630000 h 2340000"/>
                <a:gd name="connsiteX5" fmla="*/ 2887276 w 2887276"/>
                <a:gd name="connsiteY5" fmla="*/ 1170000 h 2340000"/>
                <a:gd name="connsiteX6" fmla="*/ 2347276 w 2887276"/>
                <a:gd name="connsiteY6" fmla="*/ 1710000 h 2340000"/>
                <a:gd name="connsiteX7" fmla="*/ 2340000 w 2887276"/>
                <a:gd name="connsiteY7" fmla="*/ 1710000 h 2340000"/>
                <a:gd name="connsiteX8" fmla="*/ 2340000 w 2887276"/>
                <a:gd name="connsiteY8" fmla="*/ 2340000 h 2340000"/>
                <a:gd name="connsiteX9" fmla="*/ 1710000 w 2887276"/>
                <a:gd name="connsiteY9" fmla="*/ 2340000 h 2340000"/>
                <a:gd name="connsiteX10" fmla="*/ 1710000 w 2887276"/>
                <a:gd name="connsiteY10" fmla="*/ 2332762 h 2340000"/>
                <a:gd name="connsiteX11" fmla="*/ 630000 w 2887276"/>
                <a:gd name="connsiteY11" fmla="*/ 2332762 h 2340000"/>
                <a:gd name="connsiteX12" fmla="*/ 630000 w 2887276"/>
                <a:gd name="connsiteY12" fmla="*/ 2340000 h 2340000"/>
                <a:gd name="connsiteX13" fmla="*/ 0 w 2887276"/>
                <a:gd name="connsiteY13" fmla="*/ 2340000 h 2340000"/>
                <a:gd name="connsiteX0" fmla="*/ 0 w 2887276"/>
                <a:gd name="connsiteY0" fmla="*/ 2340000 h 2340000"/>
                <a:gd name="connsiteX1" fmla="*/ 0 w 2887276"/>
                <a:gd name="connsiteY1" fmla="*/ 0 h 2340000"/>
                <a:gd name="connsiteX2" fmla="*/ 2340000 w 2887276"/>
                <a:gd name="connsiteY2" fmla="*/ 0 h 2340000"/>
                <a:gd name="connsiteX3" fmla="*/ 2340000 w 2887276"/>
                <a:gd name="connsiteY3" fmla="*/ 630000 h 2340000"/>
                <a:gd name="connsiteX4" fmla="*/ 2347276 w 2887276"/>
                <a:gd name="connsiteY4" fmla="*/ 630000 h 2340000"/>
                <a:gd name="connsiteX5" fmla="*/ 2887276 w 2887276"/>
                <a:gd name="connsiteY5" fmla="*/ 1170000 h 2340000"/>
                <a:gd name="connsiteX6" fmla="*/ 2347276 w 2887276"/>
                <a:gd name="connsiteY6" fmla="*/ 1710000 h 2340000"/>
                <a:gd name="connsiteX7" fmla="*/ 2340000 w 2887276"/>
                <a:gd name="connsiteY7" fmla="*/ 1710000 h 2340000"/>
                <a:gd name="connsiteX8" fmla="*/ 2340000 w 2887276"/>
                <a:gd name="connsiteY8" fmla="*/ 2340000 h 2340000"/>
                <a:gd name="connsiteX9" fmla="*/ 1710000 w 2887276"/>
                <a:gd name="connsiteY9" fmla="*/ 2340000 h 2340000"/>
                <a:gd name="connsiteX10" fmla="*/ 1710000 w 2887276"/>
                <a:gd name="connsiteY10" fmla="*/ 2332762 h 2340000"/>
                <a:gd name="connsiteX11" fmla="*/ 630000 w 2887276"/>
                <a:gd name="connsiteY11" fmla="*/ 2332762 h 2340000"/>
                <a:gd name="connsiteX12" fmla="*/ 0 w 2887276"/>
                <a:gd name="connsiteY12" fmla="*/ 2340000 h 2340000"/>
                <a:gd name="connsiteX0" fmla="*/ 0 w 2887276"/>
                <a:gd name="connsiteY0" fmla="*/ 2340000 h 2340000"/>
                <a:gd name="connsiteX1" fmla="*/ 0 w 2887276"/>
                <a:gd name="connsiteY1" fmla="*/ 0 h 2340000"/>
                <a:gd name="connsiteX2" fmla="*/ 2340000 w 2887276"/>
                <a:gd name="connsiteY2" fmla="*/ 0 h 2340000"/>
                <a:gd name="connsiteX3" fmla="*/ 2340000 w 2887276"/>
                <a:gd name="connsiteY3" fmla="*/ 630000 h 2340000"/>
                <a:gd name="connsiteX4" fmla="*/ 2347276 w 2887276"/>
                <a:gd name="connsiteY4" fmla="*/ 630000 h 2340000"/>
                <a:gd name="connsiteX5" fmla="*/ 2887276 w 2887276"/>
                <a:gd name="connsiteY5" fmla="*/ 1170000 h 2340000"/>
                <a:gd name="connsiteX6" fmla="*/ 2347276 w 2887276"/>
                <a:gd name="connsiteY6" fmla="*/ 1710000 h 2340000"/>
                <a:gd name="connsiteX7" fmla="*/ 2340000 w 2887276"/>
                <a:gd name="connsiteY7" fmla="*/ 1710000 h 2340000"/>
                <a:gd name="connsiteX8" fmla="*/ 2340000 w 2887276"/>
                <a:gd name="connsiteY8" fmla="*/ 2340000 h 2340000"/>
                <a:gd name="connsiteX9" fmla="*/ 1710000 w 2887276"/>
                <a:gd name="connsiteY9" fmla="*/ 2340000 h 2340000"/>
                <a:gd name="connsiteX10" fmla="*/ 630000 w 2887276"/>
                <a:gd name="connsiteY10" fmla="*/ 2332762 h 2340000"/>
                <a:gd name="connsiteX11" fmla="*/ 0 w 2887276"/>
                <a:gd name="connsiteY11" fmla="*/ 2340000 h 2340000"/>
                <a:gd name="connsiteX0" fmla="*/ 0 w 2887276"/>
                <a:gd name="connsiteY0" fmla="*/ 2340000 h 2340000"/>
                <a:gd name="connsiteX1" fmla="*/ 0 w 2887276"/>
                <a:gd name="connsiteY1" fmla="*/ 0 h 2340000"/>
                <a:gd name="connsiteX2" fmla="*/ 2340000 w 2887276"/>
                <a:gd name="connsiteY2" fmla="*/ 0 h 2340000"/>
                <a:gd name="connsiteX3" fmla="*/ 2340000 w 2887276"/>
                <a:gd name="connsiteY3" fmla="*/ 630000 h 2340000"/>
                <a:gd name="connsiteX4" fmla="*/ 2347276 w 2887276"/>
                <a:gd name="connsiteY4" fmla="*/ 630000 h 2340000"/>
                <a:gd name="connsiteX5" fmla="*/ 2887276 w 2887276"/>
                <a:gd name="connsiteY5" fmla="*/ 1170000 h 2340000"/>
                <a:gd name="connsiteX6" fmla="*/ 2347276 w 2887276"/>
                <a:gd name="connsiteY6" fmla="*/ 1710000 h 2340000"/>
                <a:gd name="connsiteX7" fmla="*/ 2340000 w 2887276"/>
                <a:gd name="connsiteY7" fmla="*/ 1710000 h 2340000"/>
                <a:gd name="connsiteX8" fmla="*/ 2340000 w 2887276"/>
                <a:gd name="connsiteY8" fmla="*/ 2340000 h 2340000"/>
                <a:gd name="connsiteX9" fmla="*/ 1710000 w 2887276"/>
                <a:gd name="connsiteY9" fmla="*/ 2340000 h 2340000"/>
                <a:gd name="connsiteX10" fmla="*/ 0 w 2887276"/>
                <a:gd name="connsiteY10" fmla="*/ 2340000 h 2340000"/>
                <a:gd name="connsiteX0" fmla="*/ 0 w 2887276"/>
                <a:gd name="connsiteY0" fmla="*/ 2340000 h 2340000"/>
                <a:gd name="connsiteX1" fmla="*/ 0 w 2887276"/>
                <a:gd name="connsiteY1" fmla="*/ 0 h 2340000"/>
                <a:gd name="connsiteX2" fmla="*/ 2340000 w 2887276"/>
                <a:gd name="connsiteY2" fmla="*/ 0 h 2340000"/>
                <a:gd name="connsiteX3" fmla="*/ 2340000 w 2887276"/>
                <a:gd name="connsiteY3" fmla="*/ 630000 h 2340000"/>
                <a:gd name="connsiteX4" fmla="*/ 2347276 w 2887276"/>
                <a:gd name="connsiteY4" fmla="*/ 630000 h 2340000"/>
                <a:gd name="connsiteX5" fmla="*/ 2887276 w 2887276"/>
                <a:gd name="connsiteY5" fmla="*/ 1170000 h 2340000"/>
                <a:gd name="connsiteX6" fmla="*/ 2347276 w 2887276"/>
                <a:gd name="connsiteY6" fmla="*/ 1710000 h 2340000"/>
                <a:gd name="connsiteX7" fmla="*/ 2340000 w 2887276"/>
                <a:gd name="connsiteY7" fmla="*/ 1710000 h 2340000"/>
                <a:gd name="connsiteX8" fmla="*/ 2340000 w 2887276"/>
                <a:gd name="connsiteY8" fmla="*/ 2340000 h 2340000"/>
                <a:gd name="connsiteX9" fmla="*/ 0 w 2887276"/>
                <a:gd name="connsiteY9" fmla="*/ 2340000 h 23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87276" h="2340000">
                  <a:moveTo>
                    <a:pt x="0" y="2340000"/>
                  </a:moveTo>
                  <a:lnTo>
                    <a:pt x="0" y="0"/>
                  </a:lnTo>
                  <a:lnTo>
                    <a:pt x="2340000" y="0"/>
                  </a:lnTo>
                  <a:lnTo>
                    <a:pt x="2340000" y="630000"/>
                  </a:lnTo>
                  <a:lnTo>
                    <a:pt x="2347276" y="630000"/>
                  </a:lnTo>
                  <a:lnTo>
                    <a:pt x="2887276" y="1170000"/>
                  </a:lnTo>
                  <a:lnTo>
                    <a:pt x="2347276" y="1710000"/>
                  </a:lnTo>
                  <a:lnTo>
                    <a:pt x="2340000" y="1710000"/>
                  </a:lnTo>
                  <a:lnTo>
                    <a:pt x="2340000" y="2340000"/>
                  </a:lnTo>
                  <a:lnTo>
                    <a:pt x="0" y="2340000"/>
                  </a:lnTo>
                  <a:close/>
                </a:path>
              </a:pathLst>
            </a:custGeom>
            <a:solidFill>
              <a:srgbClr val="E5E5E9"/>
            </a:solidFill>
            <a:ln w="19050">
              <a:solidFill>
                <a:schemeClr val="bg2"/>
              </a:solidFill>
              <a:round/>
              <a:headEnd/>
              <a:tailEnd/>
            </a:ln>
            <a:effectLst/>
          </p:spPr>
          <p:txBody>
            <a:bodyPr vert="vert" wrap="square" lIns="71963" tIns="143925" rIns="71963" bIns="143925" anchor="b">
              <a:noAutofit/>
            </a:bodyPr>
            <a:lstStyle/>
            <a:p>
              <a:r>
                <a:rPr lang="en-US" sz="1799" b="1" dirty="0">
                  <a:solidFill>
                    <a:srgbClr val="9999A9"/>
                  </a:solidFill>
                </a:rPr>
                <a:t>Sedam non</a:t>
              </a:r>
            </a:p>
          </p:txBody>
        </p:sp>
        <p:sp>
          <p:nvSpPr>
            <p:cNvPr id="15" name="Freeform 50">
              <a:extLst>
                <a:ext uri="{FF2B5EF4-FFF2-40B4-BE49-F238E27FC236}">
                  <a16:creationId xmlns:a16="http://schemas.microsoft.com/office/drawing/2014/main" id="{05A5AEF4-E248-4012-8128-5359F563C4E5}"/>
                </a:ext>
              </a:extLst>
            </p:cNvPr>
            <p:cNvSpPr/>
            <p:nvPr/>
          </p:nvSpPr>
          <p:spPr bwMode="auto">
            <a:xfrm>
              <a:off x="2415562" y="3776501"/>
              <a:ext cx="2887276" cy="2340000"/>
            </a:xfrm>
            <a:custGeom>
              <a:avLst/>
              <a:gdLst>
                <a:gd name="connsiteX0" fmla="*/ 547276 w 2887276"/>
                <a:gd name="connsiteY0" fmla="*/ 0 h 2340000"/>
                <a:gd name="connsiteX1" fmla="*/ 2887276 w 2887276"/>
                <a:gd name="connsiteY1" fmla="*/ 0 h 2340000"/>
                <a:gd name="connsiteX2" fmla="*/ 2887276 w 2887276"/>
                <a:gd name="connsiteY2" fmla="*/ 2340000 h 2340000"/>
                <a:gd name="connsiteX3" fmla="*/ 547276 w 2887276"/>
                <a:gd name="connsiteY3" fmla="*/ 2340000 h 2340000"/>
                <a:gd name="connsiteX4" fmla="*/ 547276 w 2887276"/>
                <a:gd name="connsiteY4" fmla="*/ 1710000 h 2340000"/>
                <a:gd name="connsiteX5" fmla="*/ 540000 w 2887276"/>
                <a:gd name="connsiteY5" fmla="*/ 1710000 h 2340000"/>
                <a:gd name="connsiteX6" fmla="*/ 0 w 2887276"/>
                <a:gd name="connsiteY6" fmla="*/ 1170000 h 2340000"/>
                <a:gd name="connsiteX7" fmla="*/ 540000 w 2887276"/>
                <a:gd name="connsiteY7" fmla="*/ 630000 h 2340000"/>
                <a:gd name="connsiteX8" fmla="*/ 547276 w 2887276"/>
                <a:gd name="connsiteY8" fmla="*/ 630000 h 23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87276" h="2340000">
                  <a:moveTo>
                    <a:pt x="547276" y="0"/>
                  </a:moveTo>
                  <a:lnTo>
                    <a:pt x="2887276" y="0"/>
                  </a:lnTo>
                  <a:lnTo>
                    <a:pt x="2887276" y="2340000"/>
                  </a:lnTo>
                  <a:lnTo>
                    <a:pt x="547276" y="2340000"/>
                  </a:lnTo>
                  <a:lnTo>
                    <a:pt x="547276" y="1710000"/>
                  </a:lnTo>
                  <a:lnTo>
                    <a:pt x="540000" y="1710000"/>
                  </a:lnTo>
                  <a:lnTo>
                    <a:pt x="0" y="1170000"/>
                  </a:lnTo>
                  <a:lnTo>
                    <a:pt x="540000" y="630000"/>
                  </a:lnTo>
                  <a:lnTo>
                    <a:pt x="547276" y="630000"/>
                  </a:lnTo>
                  <a:close/>
                </a:path>
              </a:pathLst>
            </a:custGeom>
            <a:solidFill>
              <a:srgbClr val="CCCCD4"/>
            </a:solidFill>
            <a:ln w="19050">
              <a:solidFill>
                <a:schemeClr val="bg2"/>
              </a:solidFill>
              <a:round/>
            </a:ln>
            <a:effectLst/>
          </p:spPr>
          <p:txBody>
            <a:bodyPr wrap="square" lIns="539719" tIns="71963" rIns="143925" bIns="71963" numCol="1" spcCol="72000" rtlCol="0" anchor="b">
              <a:noAutofit/>
            </a:bodyPr>
            <a:lstStyle/>
            <a:p>
              <a:r>
                <a:rPr lang="en-US" sz="1799" b="1" dirty="0">
                  <a:solidFill>
                    <a:srgbClr val="66667E"/>
                  </a:solidFill>
                </a:rPr>
                <a:t>Dolor amet</a:t>
              </a:r>
            </a:p>
          </p:txBody>
        </p:sp>
        <p:sp>
          <p:nvSpPr>
            <p:cNvPr id="16" name="Freeform 51">
              <a:extLst>
                <a:ext uri="{FF2B5EF4-FFF2-40B4-BE49-F238E27FC236}">
                  <a16:creationId xmlns:a16="http://schemas.microsoft.com/office/drawing/2014/main" id="{3B98AC2C-48C7-453D-9549-64327BBE891B}"/>
                </a:ext>
              </a:extLst>
            </p:cNvPr>
            <p:cNvSpPr/>
            <p:nvPr/>
          </p:nvSpPr>
          <p:spPr bwMode="auto">
            <a:xfrm>
              <a:off x="4755562" y="3776501"/>
              <a:ext cx="2887276" cy="2340000"/>
            </a:xfrm>
            <a:custGeom>
              <a:avLst/>
              <a:gdLst>
                <a:gd name="connsiteX0" fmla="*/ 547276 w 2887276"/>
                <a:gd name="connsiteY0" fmla="*/ 0 h 2340000"/>
                <a:gd name="connsiteX1" fmla="*/ 2887276 w 2887276"/>
                <a:gd name="connsiteY1" fmla="*/ 0 h 2340000"/>
                <a:gd name="connsiteX2" fmla="*/ 2887276 w 2887276"/>
                <a:gd name="connsiteY2" fmla="*/ 2340000 h 2340000"/>
                <a:gd name="connsiteX3" fmla="*/ 547276 w 2887276"/>
                <a:gd name="connsiteY3" fmla="*/ 2340000 h 2340000"/>
                <a:gd name="connsiteX4" fmla="*/ 547276 w 2887276"/>
                <a:gd name="connsiteY4" fmla="*/ 1710000 h 2340000"/>
                <a:gd name="connsiteX5" fmla="*/ 540000 w 2887276"/>
                <a:gd name="connsiteY5" fmla="*/ 1710000 h 2340000"/>
                <a:gd name="connsiteX6" fmla="*/ 0 w 2887276"/>
                <a:gd name="connsiteY6" fmla="*/ 1170000 h 2340000"/>
                <a:gd name="connsiteX7" fmla="*/ 540000 w 2887276"/>
                <a:gd name="connsiteY7" fmla="*/ 630000 h 2340000"/>
                <a:gd name="connsiteX8" fmla="*/ 547276 w 2887276"/>
                <a:gd name="connsiteY8" fmla="*/ 630000 h 23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87276" h="2340000">
                  <a:moveTo>
                    <a:pt x="547276" y="0"/>
                  </a:moveTo>
                  <a:lnTo>
                    <a:pt x="2887276" y="0"/>
                  </a:lnTo>
                  <a:lnTo>
                    <a:pt x="2887276" y="2340000"/>
                  </a:lnTo>
                  <a:lnTo>
                    <a:pt x="547276" y="2340000"/>
                  </a:lnTo>
                  <a:lnTo>
                    <a:pt x="547276" y="1710000"/>
                  </a:lnTo>
                  <a:lnTo>
                    <a:pt x="540000" y="1710000"/>
                  </a:lnTo>
                  <a:lnTo>
                    <a:pt x="0" y="1170000"/>
                  </a:lnTo>
                  <a:lnTo>
                    <a:pt x="540000" y="630000"/>
                  </a:lnTo>
                  <a:lnTo>
                    <a:pt x="547276" y="630000"/>
                  </a:lnTo>
                  <a:close/>
                </a:path>
              </a:pathLst>
            </a:custGeom>
            <a:solidFill>
              <a:srgbClr val="9999A9"/>
            </a:solidFill>
            <a:ln w="19050">
              <a:solidFill>
                <a:schemeClr val="bg2"/>
              </a:solidFill>
              <a:round/>
            </a:ln>
            <a:effectLst/>
          </p:spPr>
          <p:txBody>
            <a:bodyPr wrap="square" lIns="539719" tIns="71963" rIns="143925" bIns="71963" numCol="1" spcCol="72000" rtlCol="0" anchor="b">
              <a:noAutofit/>
            </a:bodyPr>
            <a:lstStyle/>
            <a:p>
              <a:r>
                <a:rPr lang="en-US" sz="1799" b="1" dirty="0"/>
                <a:t>Cras cies</a:t>
              </a:r>
            </a:p>
          </p:txBody>
        </p:sp>
        <p:sp>
          <p:nvSpPr>
            <p:cNvPr id="17" name="Freeform 55">
              <a:extLst>
                <a:ext uri="{FF2B5EF4-FFF2-40B4-BE49-F238E27FC236}">
                  <a16:creationId xmlns:a16="http://schemas.microsoft.com/office/drawing/2014/main" id="{B936A003-161E-4AA4-BA24-5F806733E382}"/>
                </a:ext>
              </a:extLst>
            </p:cNvPr>
            <p:cNvSpPr/>
            <p:nvPr/>
          </p:nvSpPr>
          <p:spPr bwMode="auto">
            <a:xfrm>
              <a:off x="7095562" y="3779999"/>
              <a:ext cx="2887276" cy="2336502"/>
            </a:xfrm>
            <a:custGeom>
              <a:avLst/>
              <a:gdLst>
                <a:gd name="connsiteX0" fmla="*/ 547276 w 2887276"/>
                <a:gd name="connsiteY0" fmla="*/ 0 h 2336502"/>
                <a:gd name="connsiteX1" fmla="*/ 1177276 w 2887276"/>
                <a:gd name="connsiteY1" fmla="*/ 0 h 2336502"/>
                <a:gd name="connsiteX2" fmla="*/ 1177276 w 2887276"/>
                <a:gd name="connsiteY2" fmla="*/ 7276 h 2336502"/>
                <a:gd name="connsiteX3" fmla="*/ 1717276 w 2887276"/>
                <a:gd name="connsiteY3" fmla="*/ 547276 h 2336502"/>
                <a:gd name="connsiteX4" fmla="*/ 2257276 w 2887276"/>
                <a:gd name="connsiteY4" fmla="*/ 7276 h 2336502"/>
                <a:gd name="connsiteX5" fmla="*/ 2257276 w 2887276"/>
                <a:gd name="connsiteY5" fmla="*/ 0 h 2336502"/>
                <a:gd name="connsiteX6" fmla="*/ 2887276 w 2887276"/>
                <a:gd name="connsiteY6" fmla="*/ 0 h 2336502"/>
                <a:gd name="connsiteX7" fmla="*/ 2887276 w 2887276"/>
                <a:gd name="connsiteY7" fmla="*/ 2336502 h 2336502"/>
                <a:gd name="connsiteX8" fmla="*/ 547276 w 2887276"/>
                <a:gd name="connsiteY8" fmla="*/ 2336502 h 2336502"/>
                <a:gd name="connsiteX9" fmla="*/ 547276 w 2887276"/>
                <a:gd name="connsiteY9" fmla="*/ 1706502 h 2336502"/>
                <a:gd name="connsiteX10" fmla="*/ 540000 w 2887276"/>
                <a:gd name="connsiteY10" fmla="*/ 1706502 h 2336502"/>
                <a:gd name="connsiteX11" fmla="*/ 0 w 2887276"/>
                <a:gd name="connsiteY11" fmla="*/ 1166502 h 2336502"/>
                <a:gd name="connsiteX12" fmla="*/ 540000 w 2887276"/>
                <a:gd name="connsiteY12" fmla="*/ 626502 h 2336502"/>
                <a:gd name="connsiteX13" fmla="*/ 547276 w 2887276"/>
                <a:gd name="connsiteY13" fmla="*/ 626502 h 2336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87276" h="2336502">
                  <a:moveTo>
                    <a:pt x="547276" y="0"/>
                  </a:moveTo>
                  <a:lnTo>
                    <a:pt x="1177276" y="0"/>
                  </a:lnTo>
                  <a:lnTo>
                    <a:pt x="1177276" y="7276"/>
                  </a:lnTo>
                  <a:lnTo>
                    <a:pt x="1717276" y="547276"/>
                  </a:lnTo>
                  <a:lnTo>
                    <a:pt x="2257276" y="7276"/>
                  </a:lnTo>
                  <a:lnTo>
                    <a:pt x="2257276" y="0"/>
                  </a:lnTo>
                  <a:lnTo>
                    <a:pt x="2887276" y="0"/>
                  </a:lnTo>
                  <a:lnTo>
                    <a:pt x="2887276" y="2336502"/>
                  </a:lnTo>
                  <a:lnTo>
                    <a:pt x="547276" y="2336502"/>
                  </a:lnTo>
                  <a:lnTo>
                    <a:pt x="547276" y="1706502"/>
                  </a:lnTo>
                  <a:lnTo>
                    <a:pt x="540000" y="1706502"/>
                  </a:lnTo>
                  <a:lnTo>
                    <a:pt x="0" y="1166502"/>
                  </a:lnTo>
                  <a:lnTo>
                    <a:pt x="540000" y="626502"/>
                  </a:lnTo>
                  <a:lnTo>
                    <a:pt x="547276" y="626502"/>
                  </a:lnTo>
                  <a:close/>
                </a:path>
              </a:pathLst>
            </a:custGeom>
            <a:solidFill>
              <a:srgbClr val="66667E"/>
            </a:solidFill>
            <a:ln w="19050">
              <a:solidFill>
                <a:schemeClr val="bg2"/>
              </a:solidFill>
              <a:round/>
            </a:ln>
            <a:effectLst/>
          </p:spPr>
          <p:txBody>
            <a:bodyPr wrap="square" lIns="539719" tIns="71963" rIns="143925" bIns="71963" numCol="1" spcCol="72000" rtlCol="0" anchor="b">
              <a:noAutofit/>
            </a:bodyPr>
            <a:lstStyle/>
            <a:p>
              <a:r>
                <a:rPr lang="en-US" sz="1799" b="1" dirty="0"/>
                <a:t>Accusam</a:t>
              </a:r>
            </a:p>
          </p:txBody>
        </p:sp>
        <p:sp>
          <p:nvSpPr>
            <p:cNvPr id="18" name="Freeform 46">
              <a:extLst>
                <a:ext uri="{FF2B5EF4-FFF2-40B4-BE49-F238E27FC236}">
                  <a16:creationId xmlns:a16="http://schemas.microsoft.com/office/drawing/2014/main" id="{6C6F0E6F-F642-4D33-9564-C4F646275F4D}"/>
                </a:ext>
              </a:extLst>
            </p:cNvPr>
            <p:cNvSpPr>
              <a:spLocks noChangeArrowheads="1"/>
            </p:cNvSpPr>
            <p:nvPr/>
          </p:nvSpPr>
          <p:spPr bwMode="auto">
            <a:xfrm>
              <a:off x="2962800" y="1439999"/>
              <a:ext cx="2887276" cy="2883740"/>
            </a:xfrm>
            <a:custGeom>
              <a:avLst/>
              <a:gdLst>
                <a:gd name="connsiteX0" fmla="*/ 0 w 2887276"/>
                <a:gd name="connsiteY0" fmla="*/ 0 h 2883740"/>
                <a:gd name="connsiteX1" fmla="*/ 2340000 w 2887276"/>
                <a:gd name="connsiteY1" fmla="*/ 0 h 2883740"/>
                <a:gd name="connsiteX2" fmla="*/ 2340000 w 2887276"/>
                <a:gd name="connsiteY2" fmla="*/ 630000 h 2883740"/>
                <a:gd name="connsiteX3" fmla="*/ 2347276 w 2887276"/>
                <a:gd name="connsiteY3" fmla="*/ 630000 h 2883740"/>
                <a:gd name="connsiteX4" fmla="*/ 2887276 w 2887276"/>
                <a:gd name="connsiteY4" fmla="*/ 1170000 h 2883740"/>
                <a:gd name="connsiteX5" fmla="*/ 2347276 w 2887276"/>
                <a:gd name="connsiteY5" fmla="*/ 1710000 h 2883740"/>
                <a:gd name="connsiteX6" fmla="*/ 2340000 w 2887276"/>
                <a:gd name="connsiteY6" fmla="*/ 1710000 h 2883740"/>
                <a:gd name="connsiteX7" fmla="*/ 2340000 w 2887276"/>
                <a:gd name="connsiteY7" fmla="*/ 2336502 h 2883740"/>
                <a:gd name="connsiteX8" fmla="*/ 1710038 w 2887276"/>
                <a:gd name="connsiteY8" fmla="*/ 2336502 h 2883740"/>
                <a:gd name="connsiteX9" fmla="*/ 1710038 w 2887276"/>
                <a:gd name="connsiteY9" fmla="*/ 2343740 h 2883740"/>
                <a:gd name="connsiteX10" fmla="*/ 1170038 w 2887276"/>
                <a:gd name="connsiteY10" fmla="*/ 2883740 h 2883740"/>
                <a:gd name="connsiteX11" fmla="*/ 630038 w 2887276"/>
                <a:gd name="connsiteY11" fmla="*/ 2343740 h 2883740"/>
                <a:gd name="connsiteX12" fmla="*/ 630038 w 2887276"/>
                <a:gd name="connsiteY12" fmla="*/ 2336502 h 2883740"/>
                <a:gd name="connsiteX13" fmla="*/ 38 w 2887276"/>
                <a:gd name="connsiteY13" fmla="*/ 2336502 h 2883740"/>
                <a:gd name="connsiteX14" fmla="*/ 38 w 2887276"/>
                <a:gd name="connsiteY14" fmla="*/ 2340032 h 2883740"/>
                <a:gd name="connsiteX15" fmla="*/ 0 w 2887276"/>
                <a:gd name="connsiteY15" fmla="*/ 2340000 h 288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87276" h="2883740">
                  <a:moveTo>
                    <a:pt x="0" y="0"/>
                  </a:moveTo>
                  <a:lnTo>
                    <a:pt x="2340000" y="0"/>
                  </a:lnTo>
                  <a:lnTo>
                    <a:pt x="2340000" y="630000"/>
                  </a:lnTo>
                  <a:lnTo>
                    <a:pt x="2347276" y="630000"/>
                  </a:lnTo>
                  <a:lnTo>
                    <a:pt x="2887276" y="1170000"/>
                  </a:lnTo>
                  <a:lnTo>
                    <a:pt x="2347276" y="1710000"/>
                  </a:lnTo>
                  <a:lnTo>
                    <a:pt x="2340000" y="1710000"/>
                  </a:lnTo>
                  <a:lnTo>
                    <a:pt x="2340000" y="2336502"/>
                  </a:lnTo>
                  <a:lnTo>
                    <a:pt x="1710038" y="2336502"/>
                  </a:lnTo>
                  <a:lnTo>
                    <a:pt x="1710038" y="2343740"/>
                  </a:lnTo>
                  <a:lnTo>
                    <a:pt x="1170038" y="2883740"/>
                  </a:lnTo>
                  <a:lnTo>
                    <a:pt x="630038" y="2343740"/>
                  </a:lnTo>
                  <a:lnTo>
                    <a:pt x="630038" y="2336502"/>
                  </a:lnTo>
                  <a:lnTo>
                    <a:pt x="38" y="2336502"/>
                  </a:lnTo>
                  <a:lnTo>
                    <a:pt x="38" y="2340032"/>
                  </a:lnTo>
                  <a:lnTo>
                    <a:pt x="0" y="2340000"/>
                  </a:lnTo>
                  <a:close/>
                </a:path>
              </a:pathLst>
            </a:custGeom>
            <a:solidFill>
              <a:srgbClr val="00AF8E"/>
            </a:solidFill>
            <a:ln w="19050">
              <a:solidFill>
                <a:schemeClr val="bg2"/>
              </a:solidFill>
              <a:round/>
              <a:headEnd/>
              <a:tailEnd/>
            </a:ln>
            <a:effectLst/>
          </p:spPr>
          <p:txBody>
            <a:bodyPr wrap="square" lIns="143925" tIns="71963" rIns="143925" bIns="71963" anchor="t">
              <a:noAutofit/>
            </a:bodyPr>
            <a:lstStyle/>
            <a:p>
              <a:r>
                <a:rPr lang="en-US" sz="1799" b="1" dirty="0"/>
                <a:t>Ultricies</a:t>
              </a:r>
            </a:p>
          </p:txBody>
        </p:sp>
        <p:sp>
          <p:nvSpPr>
            <p:cNvPr id="19" name="Freeform 36">
              <a:extLst>
                <a:ext uri="{FF2B5EF4-FFF2-40B4-BE49-F238E27FC236}">
                  <a16:creationId xmlns:a16="http://schemas.microsoft.com/office/drawing/2014/main" id="{DEA30077-C8B4-4723-ADD3-CB7336318CB4}"/>
                </a:ext>
              </a:extLst>
            </p:cNvPr>
            <p:cNvSpPr>
              <a:spLocks noChangeArrowheads="1"/>
            </p:cNvSpPr>
            <p:nvPr/>
          </p:nvSpPr>
          <p:spPr bwMode="auto">
            <a:xfrm>
              <a:off x="622800" y="1439999"/>
              <a:ext cx="2887276" cy="2340000"/>
            </a:xfrm>
            <a:custGeom>
              <a:avLst/>
              <a:gdLst>
                <a:gd name="connsiteX0" fmla="*/ 0 w 2887276"/>
                <a:gd name="connsiteY0" fmla="*/ 2340000 h 2340000"/>
                <a:gd name="connsiteX1" fmla="*/ 0 w 2887276"/>
                <a:gd name="connsiteY1" fmla="*/ 0 h 2340000"/>
                <a:gd name="connsiteX2" fmla="*/ 2340000 w 2887276"/>
                <a:gd name="connsiteY2" fmla="*/ 0 h 2340000"/>
                <a:gd name="connsiteX3" fmla="*/ 2340000 w 2887276"/>
                <a:gd name="connsiteY3" fmla="*/ 630000 h 2340000"/>
                <a:gd name="connsiteX4" fmla="*/ 2347276 w 2887276"/>
                <a:gd name="connsiteY4" fmla="*/ 630000 h 2340000"/>
                <a:gd name="connsiteX5" fmla="*/ 2887276 w 2887276"/>
                <a:gd name="connsiteY5" fmla="*/ 1170000 h 2340000"/>
                <a:gd name="connsiteX6" fmla="*/ 2347276 w 2887276"/>
                <a:gd name="connsiteY6" fmla="*/ 1710000 h 2340000"/>
                <a:gd name="connsiteX7" fmla="*/ 2340000 w 2887276"/>
                <a:gd name="connsiteY7" fmla="*/ 1710000 h 2340000"/>
                <a:gd name="connsiteX8" fmla="*/ 2340000 w 2887276"/>
                <a:gd name="connsiteY8" fmla="*/ 2340000 h 2340000"/>
                <a:gd name="connsiteX9" fmla="*/ 1710000 w 2887276"/>
                <a:gd name="connsiteY9" fmla="*/ 2340000 h 2340000"/>
                <a:gd name="connsiteX10" fmla="*/ 1710000 w 2887276"/>
                <a:gd name="connsiteY10" fmla="*/ 2332762 h 2340000"/>
                <a:gd name="connsiteX11" fmla="*/ 1170000 w 2887276"/>
                <a:gd name="connsiteY11" fmla="*/ 1792762 h 2340000"/>
                <a:gd name="connsiteX12" fmla="*/ 630000 w 2887276"/>
                <a:gd name="connsiteY12" fmla="*/ 2332762 h 2340000"/>
                <a:gd name="connsiteX13" fmla="*/ 630000 w 2887276"/>
                <a:gd name="connsiteY13" fmla="*/ 2340000 h 23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87276" h="2340000">
                  <a:moveTo>
                    <a:pt x="0" y="2340000"/>
                  </a:moveTo>
                  <a:lnTo>
                    <a:pt x="0" y="0"/>
                  </a:lnTo>
                  <a:lnTo>
                    <a:pt x="2340000" y="0"/>
                  </a:lnTo>
                  <a:lnTo>
                    <a:pt x="2340000" y="630000"/>
                  </a:lnTo>
                  <a:lnTo>
                    <a:pt x="2347276" y="630000"/>
                  </a:lnTo>
                  <a:lnTo>
                    <a:pt x="2887276" y="1170000"/>
                  </a:lnTo>
                  <a:lnTo>
                    <a:pt x="2347276" y="1710000"/>
                  </a:lnTo>
                  <a:lnTo>
                    <a:pt x="2340000" y="1710000"/>
                  </a:lnTo>
                  <a:lnTo>
                    <a:pt x="2340000" y="2340000"/>
                  </a:lnTo>
                  <a:lnTo>
                    <a:pt x="1710000" y="2340000"/>
                  </a:lnTo>
                  <a:lnTo>
                    <a:pt x="1710000" y="2332762"/>
                  </a:lnTo>
                  <a:lnTo>
                    <a:pt x="1170000" y="1792762"/>
                  </a:lnTo>
                  <a:lnTo>
                    <a:pt x="630000" y="2332762"/>
                  </a:lnTo>
                  <a:lnTo>
                    <a:pt x="630000" y="2340000"/>
                  </a:lnTo>
                  <a:close/>
                </a:path>
              </a:pathLst>
            </a:custGeom>
            <a:solidFill>
              <a:srgbClr val="00646E"/>
            </a:solidFill>
            <a:ln w="19050">
              <a:solidFill>
                <a:schemeClr val="bg2"/>
              </a:solidFill>
              <a:round/>
              <a:headEnd/>
              <a:tailEnd/>
            </a:ln>
            <a:effectLst/>
          </p:spPr>
          <p:txBody>
            <a:bodyPr wrap="square" lIns="143925" tIns="71963" rIns="683644" bIns="71963" anchor="t">
              <a:noAutofit/>
            </a:bodyPr>
            <a:lstStyle/>
            <a:p>
              <a:r>
                <a:rPr lang="en-US" sz="1799" b="1" dirty="0"/>
                <a:t>Vero eos</a:t>
              </a:r>
            </a:p>
          </p:txBody>
        </p:sp>
        <p:sp>
          <p:nvSpPr>
            <p:cNvPr id="20" name="Freihandform: Form 10">
              <a:extLst>
                <a:ext uri="{FF2B5EF4-FFF2-40B4-BE49-F238E27FC236}">
                  <a16:creationId xmlns:a16="http://schemas.microsoft.com/office/drawing/2014/main" id="{67468BE0-4647-48B8-9049-66FA814B27A2}"/>
                </a:ext>
              </a:extLst>
            </p:cNvPr>
            <p:cNvSpPr>
              <a:spLocks noChangeArrowheads="1"/>
            </p:cNvSpPr>
            <p:nvPr/>
          </p:nvSpPr>
          <p:spPr bwMode="auto">
            <a:xfrm rot="5400000">
              <a:off x="7369200" y="1713637"/>
              <a:ext cx="2887276" cy="2340000"/>
            </a:xfrm>
            <a:custGeom>
              <a:avLst/>
              <a:gdLst>
                <a:gd name="connsiteX0" fmla="*/ 0 w 2887276"/>
                <a:gd name="connsiteY0" fmla="*/ 2340000 h 2340000"/>
                <a:gd name="connsiteX1" fmla="*/ 0 w 2887276"/>
                <a:gd name="connsiteY1" fmla="*/ 0 h 2340000"/>
                <a:gd name="connsiteX2" fmla="*/ 2340000 w 2887276"/>
                <a:gd name="connsiteY2" fmla="*/ 0 h 2340000"/>
                <a:gd name="connsiteX3" fmla="*/ 2340000 w 2887276"/>
                <a:gd name="connsiteY3" fmla="*/ 630000 h 2340000"/>
                <a:gd name="connsiteX4" fmla="*/ 2347276 w 2887276"/>
                <a:gd name="connsiteY4" fmla="*/ 630000 h 2340000"/>
                <a:gd name="connsiteX5" fmla="*/ 2887276 w 2887276"/>
                <a:gd name="connsiteY5" fmla="*/ 1170000 h 2340000"/>
                <a:gd name="connsiteX6" fmla="*/ 2347276 w 2887276"/>
                <a:gd name="connsiteY6" fmla="*/ 1710000 h 2340000"/>
                <a:gd name="connsiteX7" fmla="*/ 2340000 w 2887276"/>
                <a:gd name="connsiteY7" fmla="*/ 1710000 h 2340000"/>
                <a:gd name="connsiteX8" fmla="*/ 2340000 w 2887276"/>
                <a:gd name="connsiteY8" fmla="*/ 2340000 h 2340000"/>
                <a:gd name="connsiteX9" fmla="*/ 1710000 w 2887276"/>
                <a:gd name="connsiteY9" fmla="*/ 2340000 h 2340000"/>
                <a:gd name="connsiteX10" fmla="*/ 1710000 w 2887276"/>
                <a:gd name="connsiteY10" fmla="*/ 2332762 h 2340000"/>
                <a:gd name="connsiteX11" fmla="*/ 1170000 w 2887276"/>
                <a:gd name="connsiteY11" fmla="*/ 1792762 h 2340000"/>
                <a:gd name="connsiteX12" fmla="*/ 630000 w 2887276"/>
                <a:gd name="connsiteY12" fmla="*/ 2332762 h 2340000"/>
                <a:gd name="connsiteX13" fmla="*/ 630000 w 2887276"/>
                <a:gd name="connsiteY13" fmla="*/ 2340000 h 23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87276" h="2340000">
                  <a:moveTo>
                    <a:pt x="0" y="2340000"/>
                  </a:moveTo>
                  <a:lnTo>
                    <a:pt x="0" y="0"/>
                  </a:lnTo>
                  <a:lnTo>
                    <a:pt x="2340000" y="0"/>
                  </a:lnTo>
                  <a:lnTo>
                    <a:pt x="2340000" y="630000"/>
                  </a:lnTo>
                  <a:lnTo>
                    <a:pt x="2347276" y="630000"/>
                  </a:lnTo>
                  <a:lnTo>
                    <a:pt x="2887276" y="1170000"/>
                  </a:lnTo>
                  <a:lnTo>
                    <a:pt x="2347276" y="1710000"/>
                  </a:lnTo>
                  <a:lnTo>
                    <a:pt x="2340000" y="1710000"/>
                  </a:lnTo>
                  <a:lnTo>
                    <a:pt x="2340000" y="2340000"/>
                  </a:lnTo>
                  <a:lnTo>
                    <a:pt x="1710000" y="2340000"/>
                  </a:lnTo>
                  <a:lnTo>
                    <a:pt x="1710000" y="2332762"/>
                  </a:lnTo>
                  <a:lnTo>
                    <a:pt x="1170000" y="1792762"/>
                  </a:lnTo>
                  <a:lnTo>
                    <a:pt x="630000" y="2332762"/>
                  </a:lnTo>
                  <a:lnTo>
                    <a:pt x="630000" y="2340000"/>
                  </a:lnTo>
                  <a:close/>
                </a:path>
              </a:pathLst>
            </a:custGeom>
            <a:solidFill>
              <a:srgbClr val="00FFB9"/>
            </a:solidFill>
            <a:ln w="19050">
              <a:solidFill>
                <a:schemeClr val="bg2"/>
              </a:solidFill>
              <a:round/>
              <a:headEnd/>
              <a:tailEnd/>
            </a:ln>
            <a:effectLst/>
          </p:spPr>
          <p:txBody>
            <a:bodyPr vert="vert270" wrap="square" lIns="71963" tIns="143925" rIns="71963" bIns="143925" anchor="t">
              <a:noAutofit/>
            </a:bodyPr>
            <a:lstStyle/>
            <a:p>
              <a:r>
                <a:rPr lang="en-US" sz="1799" b="1" dirty="0"/>
                <a:t>Stet clita</a:t>
              </a:r>
            </a:p>
          </p:txBody>
        </p:sp>
      </p:grpSp>
      <p:grpSp>
        <p:nvGrpSpPr>
          <p:cNvPr id="2" name="Group 1">
            <a:extLst>
              <a:ext uri="{FF2B5EF4-FFF2-40B4-BE49-F238E27FC236}">
                <a16:creationId xmlns:a16="http://schemas.microsoft.com/office/drawing/2014/main" id="{B36FA331-575F-46CE-BEA9-7B77C7E2DAAA}"/>
              </a:ext>
            </a:extLst>
          </p:cNvPr>
          <p:cNvGrpSpPr>
            <a:grpSpLocks noChangeAspect="1"/>
          </p:cNvGrpSpPr>
          <p:nvPr/>
        </p:nvGrpSpPr>
        <p:grpSpPr>
          <a:xfrm>
            <a:off x="411165" y="2134800"/>
            <a:ext cx="3167921" cy="3168000"/>
            <a:chOff x="622800" y="1439999"/>
            <a:chExt cx="4676385" cy="4676502"/>
          </a:xfrm>
        </p:grpSpPr>
        <p:sp>
          <p:nvSpPr>
            <p:cNvPr id="49" name="Freeform 48"/>
            <p:cNvSpPr>
              <a:spLocks noChangeArrowheads="1"/>
            </p:cNvSpPr>
            <p:nvPr/>
          </p:nvSpPr>
          <p:spPr bwMode="auto">
            <a:xfrm rot="16200000">
              <a:off x="349163" y="3502863"/>
              <a:ext cx="2887276" cy="2340000"/>
            </a:xfrm>
            <a:custGeom>
              <a:avLst/>
              <a:gdLst>
                <a:gd name="connsiteX0" fmla="*/ 0 w 2887276"/>
                <a:gd name="connsiteY0" fmla="*/ 2340000 h 2340000"/>
                <a:gd name="connsiteX1" fmla="*/ 0 w 2887276"/>
                <a:gd name="connsiteY1" fmla="*/ 0 h 2340000"/>
                <a:gd name="connsiteX2" fmla="*/ 2340000 w 2887276"/>
                <a:gd name="connsiteY2" fmla="*/ 0 h 2340000"/>
                <a:gd name="connsiteX3" fmla="*/ 2340000 w 2887276"/>
                <a:gd name="connsiteY3" fmla="*/ 630000 h 2340000"/>
                <a:gd name="connsiteX4" fmla="*/ 2347276 w 2887276"/>
                <a:gd name="connsiteY4" fmla="*/ 630000 h 2340000"/>
                <a:gd name="connsiteX5" fmla="*/ 2887276 w 2887276"/>
                <a:gd name="connsiteY5" fmla="*/ 1170000 h 2340000"/>
                <a:gd name="connsiteX6" fmla="*/ 2347276 w 2887276"/>
                <a:gd name="connsiteY6" fmla="*/ 1710000 h 2340000"/>
                <a:gd name="connsiteX7" fmla="*/ 2340000 w 2887276"/>
                <a:gd name="connsiteY7" fmla="*/ 1710000 h 2340000"/>
                <a:gd name="connsiteX8" fmla="*/ 2340000 w 2887276"/>
                <a:gd name="connsiteY8" fmla="*/ 2340000 h 2340000"/>
                <a:gd name="connsiteX9" fmla="*/ 1710000 w 2887276"/>
                <a:gd name="connsiteY9" fmla="*/ 2340000 h 2340000"/>
                <a:gd name="connsiteX10" fmla="*/ 1710000 w 2887276"/>
                <a:gd name="connsiteY10" fmla="*/ 2332762 h 2340000"/>
                <a:gd name="connsiteX11" fmla="*/ 1170000 w 2887276"/>
                <a:gd name="connsiteY11" fmla="*/ 1792762 h 2340000"/>
                <a:gd name="connsiteX12" fmla="*/ 630000 w 2887276"/>
                <a:gd name="connsiteY12" fmla="*/ 2332762 h 2340000"/>
                <a:gd name="connsiteX13" fmla="*/ 630000 w 2887276"/>
                <a:gd name="connsiteY13" fmla="*/ 2340000 h 2340000"/>
                <a:gd name="connsiteX0" fmla="*/ 0 w 2887276"/>
                <a:gd name="connsiteY0" fmla="*/ 2340000 h 2340000"/>
                <a:gd name="connsiteX1" fmla="*/ 0 w 2887276"/>
                <a:gd name="connsiteY1" fmla="*/ 0 h 2340000"/>
                <a:gd name="connsiteX2" fmla="*/ 2340000 w 2887276"/>
                <a:gd name="connsiteY2" fmla="*/ 0 h 2340000"/>
                <a:gd name="connsiteX3" fmla="*/ 2340000 w 2887276"/>
                <a:gd name="connsiteY3" fmla="*/ 630000 h 2340000"/>
                <a:gd name="connsiteX4" fmla="*/ 2347276 w 2887276"/>
                <a:gd name="connsiteY4" fmla="*/ 630000 h 2340000"/>
                <a:gd name="connsiteX5" fmla="*/ 2887276 w 2887276"/>
                <a:gd name="connsiteY5" fmla="*/ 1170000 h 2340000"/>
                <a:gd name="connsiteX6" fmla="*/ 2347276 w 2887276"/>
                <a:gd name="connsiteY6" fmla="*/ 1710000 h 2340000"/>
                <a:gd name="connsiteX7" fmla="*/ 2340000 w 2887276"/>
                <a:gd name="connsiteY7" fmla="*/ 1710000 h 2340000"/>
                <a:gd name="connsiteX8" fmla="*/ 2340000 w 2887276"/>
                <a:gd name="connsiteY8" fmla="*/ 2340000 h 2340000"/>
                <a:gd name="connsiteX9" fmla="*/ 1710000 w 2887276"/>
                <a:gd name="connsiteY9" fmla="*/ 2340000 h 2340000"/>
                <a:gd name="connsiteX10" fmla="*/ 1710000 w 2887276"/>
                <a:gd name="connsiteY10" fmla="*/ 2332762 h 2340000"/>
                <a:gd name="connsiteX11" fmla="*/ 630000 w 2887276"/>
                <a:gd name="connsiteY11" fmla="*/ 2332762 h 2340000"/>
                <a:gd name="connsiteX12" fmla="*/ 630000 w 2887276"/>
                <a:gd name="connsiteY12" fmla="*/ 2340000 h 2340000"/>
                <a:gd name="connsiteX13" fmla="*/ 0 w 2887276"/>
                <a:gd name="connsiteY13" fmla="*/ 2340000 h 2340000"/>
                <a:gd name="connsiteX0" fmla="*/ 0 w 2887276"/>
                <a:gd name="connsiteY0" fmla="*/ 2340000 h 2340000"/>
                <a:gd name="connsiteX1" fmla="*/ 0 w 2887276"/>
                <a:gd name="connsiteY1" fmla="*/ 0 h 2340000"/>
                <a:gd name="connsiteX2" fmla="*/ 2340000 w 2887276"/>
                <a:gd name="connsiteY2" fmla="*/ 0 h 2340000"/>
                <a:gd name="connsiteX3" fmla="*/ 2340000 w 2887276"/>
                <a:gd name="connsiteY3" fmla="*/ 630000 h 2340000"/>
                <a:gd name="connsiteX4" fmla="*/ 2347276 w 2887276"/>
                <a:gd name="connsiteY4" fmla="*/ 630000 h 2340000"/>
                <a:gd name="connsiteX5" fmla="*/ 2887276 w 2887276"/>
                <a:gd name="connsiteY5" fmla="*/ 1170000 h 2340000"/>
                <a:gd name="connsiteX6" fmla="*/ 2347276 w 2887276"/>
                <a:gd name="connsiteY6" fmla="*/ 1710000 h 2340000"/>
                <a:gd name="connsiteX7" fmla="*/ 2340000 w 2887276"/>
                <a:gd name="connsiteY7" fmla="*/ 1710000 h 2340000"/>
                <a:gd name="connsiteX8" fmla="*/ 2340000 w 2887276"/>
                <a:gd name="connsiteY8" fmla="*/ 2340000 h 2340000"/>
                <a:gd name="connsiteX9" fmla="*/ 1710000 w 2887276"/>
                <a:gd name="connsiteY9" fmla="*/ 2340000 h 2340000"/>
                <a:gd name="connsiteX10" fmla="*/ 1710000 w 2887276"/>
                <a:gd name="connsiteY10" fmla="*/ 2332762 h 2340000"/>
                <a:gd name="connsiteX11" fmla="*/ 630000 w 2887276"/>
                <a:gd name="connsiteY11" fmla="*/ 2332762 h 2340000"/>
                <a:gd name="connsiteX12" fmla="*/ 0 w 2887276"/>
                <a:gd name="connsiteY12" fmla="*/ 2340000 h 2340000"/>
                <a:gd name="connsiteX0" fmla="*/ 0 w 2887276"/>
                <a:gd name="connsiteY0" fmla="*/ 2340000 h 2340000"/>
                <a:gd name="connsiteX1" fmla="*/ 0 w 2887276"/>
                <a:gd name="connsiteY1" fmla="*/ 0 h 2340000"/>
                <a:gd name="connsiteX2" fmla="*/ 2340000 w 2887276"/>
                <a:gd name="connsiteY2" fmla="*/ 0 h 2340000"/>
                <a:gd name="connsiteX3" fmla="*/ 2340000 w 2887276"/>
                <a:gd name="connsiteY3" fmla="*/ 630000 h 2340000"/>
                <a:gd name="connsiteX4" fmla="*/ 2347276 w 2887276"/>
                <a:gd name="connsiteY4" fmla="*/ 630000 h 2340000"/>
                <a:gd name="connsiteX5" fmla="*/ 2887276 w 2887276"/>
                <a:gd name="connsiteY5" fmla="*/ 1170000 h 2340000"/>
                <a:gd name="connsiteX6" fmla="*/ 2347276 w 2887276"/>
                <a:gd name="connsiteY6" fmla="*/ 1710000 h 2340000"/>
                <a:gd name="connsiteX7" fmla="*/ 2340000 w 2887276"/>
                <a:gd name="connsiteY7" fmla="*/ 1710000 h 2340000"/>
                <a:gd name="connsiteX8" fmla="*/ 2340000 w 2887276"/>
                <a:gd name="connsiteY8" fmla="*/ 2340000 h 2340000"/>
                <a:gd name="connsiteX9" fmla="*/ 1710000 w 2887276"/>
                <a:gd name="connsiteY9" fmla="*/ 2340000 h 2340000"/>
                <a:gd name="connsiteX10" fmla="*/ 630000 w 2887276"/>
                <a:gd name="connsiteY10" fmla="*/ 2332762 h 2340000"/>
                <a:gd name="connsiteX11" fmla="*/ 0 w 2887276"/>
                <a:gd name="connsiteY11" fmla="*/ 2340000 h 2340000"/>
                <a:gd name="connsiteX0" fmla="*/ 0 w 2887276"/>
                <a:gd name="connsiteY0" fmla="*/ 2340000 h 2340000"/>
                <a:gd name="connsiteX1" fmla="*/ 0 w 2887276"/>
                <a:gd name="connsiteY1" fmla="*/ 0 h 2340000"/>
                <a:gd name="connsiteX2" fmla="*/ 2340000 w 2887276"/>
                <a:gd name="connsiteY2" fmla="*/ 0 h 2340000"/>
                <a:gd name="connsiteX3" fmla="*/ 2340000 w 2887276"/>
                <a:gd name="connsiteY3" fmla="*/ 630000 h 2340000"/>
                <a:gd name="connsiteX4" fmla="*/ 2347276 w 2887276"/>
                <a:gd name="connsiteY4" fmla="*/ 630000 h 2340000"/>
                <a:gd name="connsiteX5" fmla="*/ 2887276 w 2887276"/>
                <a:gd name="connsiteY5" fmla="*/ 1170000 h 2340000"/>
                <a:gd name="connsiteX6" fmla="*/ 2347276 w 2887276"/>
                <a:gd name="connsiteY6" fmla="*/ 1710000 h 2340000"/>
                <a:gd name="connsiteX7" fmla="*/ 2340000 w 2887276"/>
                <a:gd name="connsiteY7" fmla="*/ 1710000 h 2340000"/>
                <a:gd name="connsiteX8" fmla="*/ 2340000 w 2887276"/>
                <a:gd name="connsiteY8" fmla="*/ 2340000 h 2340000"/>
                <a:gd name="connsiteX9" fmla="*/ 1710000 w 2887276"/>
                <a:gd name="connsiteY9" fmla="*/ 2340000 h 2340000"/>
                <a:gd name="connsiteX10" fmla="*/ 0 w 2887276"/>
                <a:gd name="connsiteY10" fmla="*/ 2340000 h 2340000"/>
                <a:gd name="connsiteX0" fmla="*/ 0 w 2887276"/>
                <a:gd name="connsiteY0" fmla="*/ 2340000 h 2340000"/>
                <a:gd name="connsiteX1" fmla="*/ 0 w 2887276"/>
                <a:gd name="connsiteY1" fmla="*/ 0 h 2340000"/>
                <a:gd name="connsiteX2" fmla="*/ 2340000 w 2887276"/>
                <a:gd name="connsiteY2" fmla="*/ 0 h 2340000"/>
                <a:gd name="connsiteX3" fmla="*/ 2340000 w 2887276"/>
                <a:gd name="connsiteY3" fmla="*/ 630000 h 2340000"/>
                <a:gd name="connsiteX4" fmla="*/ 2347276 w 2887276"/>
                <a:gd name="connsiteY4" fmla="*/ 630000 h 2340000"/>
                <a:gd name="connsiteX5" fmla="*/ 2887276 w 2887276"/>
                <a:gd name="connsiteY5" fmla="*/ 1170000 h 2340000"/>
                <a:gd name="connsiteX6" fmla="*/ 2347276 w 2887276"/>
                <a:gd name="connsiteY6" fmla="*/ 1710000 h 2340000"/>
                <a:gd name="connsiteX7" fmla="*/ 2340000 w 2887276"/>
                <a:gd name="connsiteY7" fmla="*/ 1710000 h 2340000"/>
                <a:gd name="connsiteX8" fmla="*/ 2340000 w 2887276"/>
                <a:gd name="connsiteY8" fmla="*/ 2340000 h 2340000"/>
                <a:gd name="connsiteX9" fmla="*/ 0 w 2887276"/>
                <a:gd name="connsiteY9" fmla="*/ 2340000 h 23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87276" h="2340000">
                  <a:moveTo>
                    <a:pt x="0" y="2340000"/>
                  </a:moveTo>
                  <a:lnTo>
                    <a:pt x="0" y="0"/>
                  </a:lnTo>
                  <a:lnTo>
                    <a:pt x="2340000" y="0"/>
                  </a:lnTo>
                  <a:lnTo>
                    <a:pt x="2340000" y="630000"/>
                  </a:lnTo>
                  <a:lnTo>
                    <a:pt x="2347276" y="630000"/>
                  </a:lnTo>
                  <a:lnTo>
                    <a:pt x="2887276" y="1170000"/>
                  </a:lnTo>
                  <a:lnTo>
                    <a:pt x="2347276" y="1710000"/>
                  </a:lnTo>
                  <a:lnTo>
                    <a:pt x="2340000" y="1710000"/>
                  </a:lnTo>
                  <a:lnTo>
                    <a:pt x="2340000" y="2340000"/>
                  </a:lnTo>
                  <a:lnTo>
                    <a:pt x="0" y="2340000"/>
                  </a:lnTo>
                  <a:close/>
                </a:path>
              </a:pathLst>
            </a:custGeom>
            <a:solidFill>
              <a:srgbClr val="00FFB9"/>
            </a:solidFill>
            <a:ln w="19050">
              <a:solidFill>
                <a:schemeClr val="bg2"/>
              </a:solidFill>
              <a:round/>
              <a:headEnd/>
              <a:tailEnd/>
            </a:ln>
            <a:effectLst/>
          </p:spPr>
          <p:txBody>
            <a:bodyPr vert="vert" wrap="square" lIns="71963" tIns="143925" rIns="71963" bIns="143925" anchor="b">
              <a:noAutofit/>
            </a:bodyPr>
            <a:lstStyle/>
            <a:p>
              <a:r>
                <a:rPr lang="en-US" sz="1799" b="1" dirty="0"/>
                <a:t>Sadipscing</a:t>
              </a:r>
            </a:p>
          </p:txBody>
        </p:sp>
        <p:sp>
          <p:nvSpPr>
            <p:cNvPr id="37" name="Freeform 36"/>
            <p:cNvSpPr>
              <a:spLocks noChangeArrowheads="1"/>
            </p:cNvSpPr>
            <p:nvPr/>
          </p:nvSpPr>
          <p:spPr bwMode="auto">
            <a:xfrm>
              <a:off x="622800" y="1439999"/>
              <a:ext cx="2887276" cy="2340000"/>
            </a:xfrm>
            <a:custGeom>
              <a:avLst/>
              <a:gdLst>
                <a:gd name="connsiteX0" fmla="*/ 0 w 2887276"/>
                <a:gd name="connsiteY0" fmla="*/ 2340000 h 2340000"/>
                <a:gd name="connsiteX1" fmla="*/ 0 w 2887276"/>
                <a:gd name="connsiteY1" fmla="*/ 0 h 2340000"/>
                <a:gd name="connsiteX2" fmla="*/ 2340000 w 2887276"/>
                <a:gd name="connsiteY2" fmla="*/ 0 h 2340000"/>
                <a:gd name="connsiteX3" fmla="*/ 2340000 w 2887276"/>
                <a:gd name="connsiteY3" fmla="*/ 630000 h 2340000"/>
                <a:gd name="connsiteX4" fmla="*/ 2347276 w 2887276"/>
                <a:gd name="connsiteY4" fmla="*/ 630000 h 2340000"/>
                <a:gd name="connsiteX5" fmla="*/ 2887276 w 2887276"/>
                <a:gd name="connsiteY5" fmla="*/ 1170000 h 2340000"/>
                <a:gd name="connsiteX6" fmla="*/ 2347276 w 2887276"/>
                <a:gd name="connsiteY6" fmla="*/ 1710000 h 2340000"/>
                <a:gd name="connsiteX7" fmla="*/ 2340000 w 2887276"/>
                <a:gd name="connsiteY7" fmla="*/ 1710000 h 2340000"/>
                <a:gd name="connsiteX8" fmla="*/ 2340000 w 2887276"/>
                <a:gd name="connsiteY8" fmla="*/ 2340000 h 2340000"/>
                <a:gd name="connsiteX9" fmla="*/ 1710000 w 2887276"/>
                <a:gd name="connsiteY9" fmla="*/ 2340000 h 2340000"/>
                <a:gd name="connsiteX10" fmla="*/ 1710000 w 2887276"/>
                <a:gd name="connsiteY10" fmla="*/ 2332762 h 2340000"/>
                <a:gd name="connsiteX11" fmla="*/ 1170000 w 2887276"/>
                <a:gd name="connsiteY11" fmla="*/ 1792762 h 2340000"/>
                <a:gd name="connsiteX12" fmla="*/ 630000 w 2887276"/>
                <a:gd name="connsiteY12" fmla="*/ 2332762 h 2340000"/>
                <a:gd name="connsiteX13" fmla="*/ 630000 w 2887276"/>
                <a:gd name="connsiteY13" fmla="*/ 2340000 h 23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87276" h="2340000">
                  <a:moveTo>
                    <a:pt x="0" y="2340000"/>
                  </a:moveTo>
                  <a:lnTo>
                    <a:pt x="0" y="0"/>
                  </a:lnTo>
                  <a:lnTo>
                    <a:pt x="2340000" y="0"/>
                  </a:lnTo>
                  <a:lnTo>
                    <a:pt x="2340000" y="630000"/>
                  </a:lnTo>
                  <a:lnTo>
                    <a:pt x="2347276" y="630000"/>
                  </a:lnTo>
                  <a:lnTo>
                    <a:pt x="2887276" y="1170000"/>
                  </a:lnTo>
                  <a:lnTo>
                    <a:pt x="2347276" y="1710000"/>
                  </a:lnTo>
                  <a:lnTo>
                    <a:pt x="2340000" y="1710000"/>
                  </a:lnTo>
                  <a:lnTo>
                    <a:pt x="2340000" y="2340000"/>
                  </a:lnTo>
                  <a:lnTo>
                    <a:pt x="1710000" y="2340000"/>
                  </a:lnTo>
                  <a:lnTo>
                    <a:pt x="1710000" y="2332762"/>
                  </a:lnTo>
                  <a:lnTo>
                    <a:pt x="1170000" y="1792762"/>
                  </a:lnTo>
                  <a:lnTo>
                    <a:pt x="630000" y="2332762"/>
                  </a:lnTo>
                  <a:lnTo>
                    <a:pt x="630000" y="2340000"/>
                  </a:lnTo>
                  <a:close/>
                </a:path>
              </a:pathLst>
            </a:custGeom>
            <a:solidFill>
              <a:srgbClr val="00646E"/>
            </a:solidFill>
            <a:ln w="19050">
              <a:solidFill>
                <a:schemeClr val="bg2"/>
              </a:solidFill>
              <a:round/>
              <a:headEnd/>
              <a:tailEnd/>
            </a:ln>
            <a:effectLst/>
          </p:spPr>
          <p:txBody>
            <a:bodyPr wrap="square" lIns="143925" tIns="71963" rIns="683644" bIns="71963" anchor="t">
              <a:noAutofit/>
            </a:bodyPr>
            <a:lstStyle/>
            <a:p>
              <a:r>
                <a:rPr lang="en-US" sz="1799" b="1" dirty="0"/>
                <a:t>Accusam</a:t>
              </a:r>
            </a:p>
          </p:txBody>
        </p:sp>
        <p:sp>
          <p:nvSpPr>
            <p:cNvPr id="31" name="Freeform 55">
              <a:extLst>
                <a:ext uri="{FF2B5EF4-FFF2-40B4-BE49-F238E27FC236}">
                  <a16:creationId xmlns:a16="http://schemas.microsoft.com/office/drawing/2014/main" id="{F2205010-FEB0-4BB6-B8FD-8B43C2695305}"/>
                </a:ext>
              </a:extLst>
            </p:cNvPr>
            <p:cNvSpPr/>
            <p:nvPr/>
          </p:nvSpPr>
          <p:spPr bwMode="auto">
            <a:xfrm>
              <a:off x="2411909" y="3780000"/>
              <a:ext cx="2887276" cy="2336501"/>
            </a:xfrm>
            <a:custGeom>
              <a:avLst/>
              <a:gdLst>
                <a:gd name="connsiteX0" fmla="*/ 547276 w 2887276"/>
                <a:gd name="connsiteY0" fmla="*/ 0 h 2336502"/>
                <a:gd name="connsiteX1" fmla="*/ 1177276 w 2887276"/>
                <a:gd name="connsiteY1" fmla="*/ 0 h 2336502"/>
                <a:gd name="connsiteX2" fmla="*/ 1177276 w 2887276"/>
                <a:gd name="connsiteY2" fmla="*/ 7276 h 2336502"/>
                <a:gd name="connsiteX3" fmla="*/ 1717276 w 2887276"/>
                <a:gd name="connsiteY3" fmla="*/ 547276 h 2336502"/>
                <a:gd name="connsiteX4" fmla="*/ 2257276 w 2887276"/>
                <a:gd name="connsiteY4" fmla="*/ 7276 h 2336502"/>
                <a:gd name="connsiteX5" fmla="*/ 2257276 w 2887276"/>
                <a:gd name="connsiteY5" fmla="*/ 0 h 2336502"/>
                <a:gd name="connsiteX6" fmla="*/ 2887276 w 2887276"/>
                <a:gd name="connsiteY6" fmla="*/ 0 h 2336502"/>
                <a:gd name="connsiteX7" fmla="*/ 2887276 w 2887276"/>
                <a:gd name="connsiteY7" fmla="*/ 2336502 h 2336502"/>
                <a:gd name="connsiteX8" fmla="*/ 547276 w 2887276"/>
                <a:gd name="connsiteY8" fmla="*/ 2336502 h 2336502"/>
                <a:gd name="connsiteX9" fmla="*/ 547276 w 2887276"/>
                <a:gd name="connsiteY9" fmla="*/ 1706502 h 2336502"/>
                <a:gd name="connsiteX10" fmla="*/ 540000 w 2887276"/>
                <a:gd name="connsiteY10" fmla="*/ 1706502 h 2336502"/>
                <a:gd name="connsiteX11" fmla="*/ 0 w 2887276"/>
                <a:gd name="connsiteY11" fmla="*/ 1166502 h 2336502"/>
                <a:gd name="connsiteX12" fmla="*/ 540000 w 2887276"/>
                <a:gd name="connsiteY12" fmla="*/ 626502 h 2336502"/>
                <a:gd name="connsiteX13" fmla="*/ 547276 w 2887276"/>
                <a:gd name="connsiteY13" fmla="*/ 626502 h 2336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87276" h="2336502">
                  <a:moveTo>
                    <a:pt x="547276" y="0"/>
                  </a:moveTo>
                  <a:lnTo>
                    <a:pt x="1177276" y="0"/>
                  </a:lnTo>
                  <a:lnTo>
                    <a:pt x="1177276" y="7276"/>
                  </a:lnTo>
                  <a:lnTo>
                    <a:pt x="1717276" y="547276"/>
                  </a:lnTo>
                  <a:lnTo>
                    <a:pt x="2257276" y="7276"/>
                  </a:lnTo>
                  <a:lnTo>
                    <a:pt x="2257276" y="0"/>
                  </a:lnTo>
                  <a:lnTo>
                    <a:pt x="2887276" y="0"/>
                  </a:lnTo>
                  <a:lnTo>
                    <a:pt x="2887276" y="2336502"/>
                  </a:lnTo>
                  <a:lnTo>
                    <a:pt x="547276" y="2336502"/>
                  </a:lnTo>
                  <a:lnTo>
                    <a:pt x="547276" y="1706502"/>
                  </a:lnTo>
                  <a:lnTo>
                    <a:pt x="540000" y="1706502"/>
                  </a:lnTo>
                  <a:lnTo>
                    <a:pt x="0" y="1166502"/>
                  </a:lnTo>
                  <a:lnTo>
                    <a:pt x="540000" y="626502"/>
                  </a:lnTo>
                  <a:lnTo>
                    <a:pt x="547276" y="626502"/>
                  </a:lnTo>
                  <a:close/>
                </a:path>
              </a:pathLst>
            </a:custGeom>
            <a:solidFill>
              <a:srgbClr val="00D7A0"/>
            </a:solidFill>
            <a:ln w="19050">
              <a:solidFill>
                <a:schemeClr val="bg2"/>
              </a:solidFill>
              <a:round/>
            </a:ln>
            <a:effectLst/>
          </p:spPr>
          <p:txBody>
            <a:bodyPr wrap="square" lIns="539719" tIns="71963" rIns="143925" bIns="71963" numCol="1" spcCol="72000" rtlCol="0" anchor="b">
              <a:noAutofit/>
            </a:bodyPr>
            <a:lstStyle/>
            <a:p>
              <a:r>
                <a:rPr lang="en-US" sz="1799" b="1" dirty="0"/>
                <a:t>Vero accu</a:t>
              </a:r>
            </a:p>
          </p:txBody>
        </p:sp>
        <p:sp>
          <p:nvSpPr>
            <p:cNvPr id="32" name="Freihandform: Form 10">
              <a:extLst>
                <a:ext uri="{FF2B5EF4-FFF2-40B4-BE49-F238E27FC236}">
                  <a16:creationId xmlns:a16="http://schemas.microsoft.com/office/drawing/2014/main" id="{64C76E03-E054-423F-905F-FCB4DB2B6B04}"/>
                </a:ext>
              </a:extLst>
            </p:cNvPr>
            <p:cNvSpPr>
              <a:spLocks noChangeArrowheads="1"/>
            </p:cNvSpPr>
            <p:nvPr/>
          </p:nvSpPr>
          <p:spPr bwMode="auto">
            <a:xfrm rot="5400000">
              <a:off x="2685546" y="1713637"/>
              <a:ext cx="2887276" cy="2340001"/>
            </a:xfrm>
            <a:custGeom>
              <a:avLst/>
              <a:gdLst>
                <a:gd name="connsiteX0" fmla="*/ 0 w 2887276"/>
                <a:gd name="connsiteY0" fmla="*/ 2340000 h 2340000"/>
                <a:gd name="connsiteX1" fmla="*/ 0 w 2887276"/>
                <a:gd name="connsiteY1" fmla="*/ 0 h 2340000"/>
                <a:gd name="connsiteX2" fmla="*/ 2340000 w 2887276"/>
                <a:gd name="connsiteY2" fmla="*/ 0 h 2340000"/>
                <a:gd name="connsiteX3" fmla="*/ 2340000 w 2887276"/>
                <a:gd name="connsiteY3" fmla="*/ 630000 h 2340000"/>
                <a:gd name="connsiteX4" fmla="*/ 2347276 w 2887276"/>
                <a:gd name="connsiteY4" fmla="*/ 630000 h 2340000"/>
                <a:gd name="connsiteX5" fmla="*/ 2887276 w 2887276"/>
                <a:gd name="connsiteY5" fmla="*/ 1170000 h 2340000"/>
                <a:gd name="connsiteX6" fmla="*/ 2347276 w 2887276"/>
                <a:gd name="connsiteY6" fmla="*/ 1710000 h 2340000"/>
                <a:gd name="connsiteX7" fmla="*/ 2340000 w 2887276"/>
                <a:gd name="connsiteY7" fmla="*/ 1710000 h 2340000"/>
                <a:gd name="connsiteX8" fmla="*/ 2340000 w 2887276"/>
                <a:gd name="connsiteY8" fmla="*/ 2340000 h 2340000"/>
                <a:gd name="connsiteX9" fmla="*/ 1710000 w 2887276"/>
                <a:gd name="connsiteY9" fmla="*/ 2340000 h 2340000"/>
                <a:gd name="connsiteX10" fmla="*/ 1710000 w 2887276"/>
                <a:gd name="connsiteY10" fmla="*/ 2332762 h 2340000"/>
                <a:gd name="connsiteX11" fmla="*/ 1170000 w 2887276"/>
                <a:gd name="connsiteY11" fmla="*/ 1792762 h 2340000"/>
                <a:gd name="connsiteX12" fmla="*/ 630000 w 2887276"/>
                <a:gd name="connsiteY12" fmla="*/ 2332762 h 2340000"/>
                <a:gd name="connsiteX13" fmla="*/ 630000 w 2887276"/>
                <a:gd name="connsiteY13" fmla="*/ 2340000 h 23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87276" h="2340000">
                  <a:moveTo>
                    <a:pt x="0" y="2340000"/>
                  </a:moveTo>
                  <a:lnTo>
                    <a:pt x="0" y="0"/>
                  </a:lnTo>
                  <a:lnTo>
                    <a:pt x="2340000" y="0"/>
                  </a:lnTo>
                  <a:lnTo>
                    <a:pt x="2340000" y="630000"/>
                  </a:lnTo>
                  <a:lnTo>
                    <a:pt x="2347276" y="630000"/>
                  </a:lnTo>
                  <a:lnTo>
                    <a:pt x="2887276" y="1170000"/>
                  </a:lnTo>
                  <a:lnTo>
                    <a:pt x="2347276" y="1710000"/>
                  </a:lnTo>
                  <a:lnTo>
                    <a:pt x="2340000" y="1710000"/>
                  </a:lnTo>
                  <a:lnTo>
                    <a:pt x="2340000" y="2340000"/>
                  </a:lnTo>
                  <a:lnTo>
                    <a:pt x="1710000" y="2340000"/>
                  </a:lnTo>
                  <a:lnTo>
                    <a:pt x="1710000" y="2332762"/>
                  </a:lnTo>
                  <a:lnTo>
                    <a:pt x="1170000" y="1792762"/>
                  </a:lnTo>
                  <a:lnTo>
                    <a:pt x="630000" y="2332762"/>
                  </a:lnTo>
                  <a:lnTo>
                    <a:pt x="630000" y="2340000"/>
                  </a:lnTo>
                  <a:close/>
                </a:path>
              </a:pathLst>
            </a:custGeom>
            <a:solidFill>
              <a:srgbClr val="00AF8E"/>
            </a:solidFill>
            <a:ln w="19050">
              <a:solidFill>
                <a:schemeClr val="bg2"/>
              </a:solidFill>
              <a:round/>
              <a:headEnd/>
              <a:tailEnd/>
            </a:ln>
            <a:effectLst/>
          </p:spPr>
          <p:txBody>
            <a:bodyPr vert="vert270" wrap="square" lIns="71963" tIns="143925" rIns="71963" bIns="143925" anchor="t">
              <a:noAutofit/>
            </a:bodyPr>
            <a:lstStyle/>
            <a:p>
              <a:r>
                <a:rPr lang="en-US" sz="1799" b="1" dirty="0"/>
                <a:t>Stet clita</a:t>
              </a:r>
            </a:p>
          </p:txBody>
        </p:sp>
      </p:grpSp>
      <p:sp>
        <p:nvSpPr>
          <p:cNvPr id="3" name="Footer Placeholder 2">
            <a:extLst>
              <a:ext uri="{FF2B5EF4-FFF2-40B4-BE49-F238E27FC236}">
                <a16:creationId xmlns:a16="http://schemas.microsoft.com/office/drawing/2014/main" id="{F02DFA4E-0CC8-45D8-8AEA-884C6AB5B32F}"/>
              </a:ext>
            </a:extLst>
          </p:cNvPr>
          <p:cNvSpPr>
            <a:spLocks noGrp="1"/>
          </p:cNvSpPr>
          <p:nvPr>
            <p:ph type="ftr" sz="quarter" idx="10"/>
          </p:nvPr>
        </p:nvSpPr>
        <p:spPr/>
        <p:txBody>
          <a:bodyPr/>
          <a:lstStyle/>
          <a:p>
            <a:pPr>
              <a:lnSpc>
                <a:spcPct val="100000"/>
              </a:lnSpc>
            </a:pPr>
            <a:r>
              <a:rPr lang="en-US" dirty="0"/>
              <a:t>Restricted | © Siemens 20XX | Author | Department | YYYY-MM-DD</a:t>
            </a:r>
          </a:p>
        </p:txBody>
      </p:sp>
      <p:sp>
        <p:nvSpPr>
          <p:cNvPr id="4" name="Slide Number Placeholder 3">
            <a:extLst>
              <a:ext uri="{FF2B5EF4-FFF2-40B4-BE49-F238E27FC236}">
                <a16:creationId xmlns:a16="http://schemas.microsoft.com/office/drawing/2014/main" id="{92E7A593-A9C6-4298-9D0C-EBAFD4B095E1}"/>
              </a:ext>
            </a:extLst>
          </p:cNvPr>
          <p:cNvSpPr>
            <a:spLocks noGrp="1"/>
          </p:cNvSpPr>
          <p:nvPr>
            <p:ph type="sldNum" sz="quarter" idx="11"/>
          </p:nvPr>
        </p:nvSpPr>
        <p:spPr/>
        <p:txBody>
          <a:bodyPr/>
          <a:lstStyle/>
          <a:p>
            <a:r>
              <a:rPr lang="en-US" dirty="0"/>
              <a:t>Page </a:t>
            </a:r>
            <a:fld id="{15EBE321-CBB1-4E91-BD14-37C8D44326FB}" type="slidenum">
              <a:rPr lang="en-US" smtClean="0"/>
              <a:pPr/>
              <a:t>99</a:t>
            </a:fld>
            <a:endParaRPr lang="en-US" dirty="0"/>
          </a:p>
        </p:txBody>
      </p:sp>
    </p:spTree>
    <p:extLst>
      <p:ext uri="{BB962C8B-B14F-4D97-AF65-F5344CB8AC3E}">
        <p14:creationId xmlns:p14="http://schemas.microsoft.com/office/powerpoint/2010/main" val="42812511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4bMMeWStc0.k23GyzRI5Q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y1._6i5.Pkq5hUDyR00Xj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YQ0NQREr406gWHYUS0r_Z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k.7wONFC4kmCHuuhyeUAM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xuHFfYH02kOQnDw.1lUV0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ZefZa6.Ru0WVrbYcp3RC7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Oy9xtv6vRkqAD5U72zKcA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L9a_QY.Wvk6RWHT458SUO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ZefZa6.Ru0WVrbYcp3RC7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Oy9xtv6vRkqAD5U72zKcA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L_.7XhcPRUibbkEkwA0WE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FMRTo_U37U.J6_m6RjAcO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SUc51R8EA0mLoIpDZyepk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y1._6i5.Pkq5hUDyR00Xj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L9a_QY.Wvk6RWHT458SUO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L9a_QY.Wvk6RWHT458SUO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L9a_QY.Wvk6RWHT458SUO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L9a_QY.Wvk6RWHT458SUO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L9a_QY.Wvk6RWHT458SUO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L9a_QY.Wvk6RWHT458SUO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YQ0NQREr406gWHYUS0r_Z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k.7wONFC4kmCHuuhyeUAM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FMRTo_U37U.J6_m6RjAcO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xuHFfYH02kOQnDw.1lUV0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ZefZa6.Ru0WVrbYcp3RC7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Oy9xtv6vRkqAD5U72zKcA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L9a_QY.Wvk6RWHT458SUO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ZefZa6.Ru0WVrbYcp3RC7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Oy9xtv6vRkqAD5U72zKcA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L_.7XhcPRUibbkEkwA0WE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SUc51R8EA0mLoIpDZyepk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y1._6i5.Pkq5hUDyR00Xj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L9a_QY.Wvk6RWHT458SUO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4bMMeWStc0.k23GyzRI5Q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L9a_QY.Wvk6RWHT458SUO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L9a_QY.Wvk6RWHT458SUO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L9a_QY.Wvk6RWHT458SUO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L9a_QY.Wvk6RWHT458SUO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L9a_QY.Wvk6RWHT458SUO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ZefZa6.Ru0WVrbYcp3RC7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L9a_QY.Wvk6RWHT458SUO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ZefZa6.Ru0WVrbYcp3RC7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Oy9xtv6vRkqAD5U72zKcA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L9a_QY.Wvk6RWHT458SUO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FMRTo_U37U.J6_m6RjAcO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ZefZa6.Ru0WVrbYcp3RC7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Oy9xtv6vRkqAD5U72zKcA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L9a_QY.Wvk6RWHT458SUO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L_.7XhcPRUibbkEkwA0WE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SUc51R8EA0mLoIpDZyepk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y1._6i5.Pkq5hUDyR00Xj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ZefZa6.Ru0WVrbYcp3RC7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L9a_QY.Wvk6RWHT458SUO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ZefZa6.Ru0WVrbYcp3RC7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Oy9xtv6vRkqAD5U72zKcA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FMRTo_U37U.J6_m6RjAcO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L9a_QY.Wvk6RWHT458SUO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ZefZa6.Ru0WVrbYcp3RC7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Oy9xtv6vRkqAD5U72zKcA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L9a_QY.Wvk6RWHT458SUO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L_.7XhcPRUibbkEkwA0WE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SUc51R8EA0mLoIpDZyepk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y1._6i5.Pkq5hUDyR00Xj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so2KEExpEaKVWsO1l1Rn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SvEbVBPBUWGpXnqKelU.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CyWAcYOEEK3i_Thidh2E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SvEbVBPBUWGpXnqKelU.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CyWAcYOEEK3i_Thidh2E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SvEbVBPBUWGpXnqKelU.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so2KEExpEaKVWsO1l1Rn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CyWAcYOEEK3i_Thidh2E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SvEbVBPBUWGpXnqKelU.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CyWAcYOEEK3i_Thidh2E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4bMMeWStc0.k23GyzRI5Q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FMRTo_U37U.J6_m6RjAcO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FMRTo_U37U.J6_m6RjAcO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fb7wJffnBkiF0YXTIj8cY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fb7wJffnBkiF0YXTIj8cY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VH5AE81EiSDdTNZScWu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VH5AE81EiSDdTNZScWu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Jss0XEkZ30GVgLTJQw.if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Jss0XEkZ30GVgLTJQw.if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Jss0XEkZ30GVgLTJQw.if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Jss0XEkZ30GVgLTJQw.if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gXVjLvoywkGEUodphCAS4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ubQrewpLKkGPs8kb5I7My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VSd.V.wpkOF_VjYjEZj2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5Z6bh2NjGkW8cUyPlWUyF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R9cJxlU33Euo2TT6buDb.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nSlYaxR.40a1Qwmc_8hIR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I02NUtvMRkCsJVqRARnvL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OQBCXtstr0OONzlzWLvry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QGuERHCHw06o84s7YA1Wf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uRrUKfNN4E.9yOs.hZgo9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qVku88papEeA3uV2FJejA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IloPFAuBfUSR0UMIO3qey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cm1qQUKK1Eah4TxGUM7F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gXVjLvoywkGEUodphCAS4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ubQrewpLKkGPs8kb5I7My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IVSd.V.wpkOF_VjYjEZj2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5Z6bh2NjGkW8cUyPlWUyF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R9cJxlU33Euo2TT6buDb.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nSlYaxR.40a1Qwmc_8hIR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I02NUtvMRkCsJVqRARnvL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OQBCXtstr0OONzlzWLvry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QGuERHCHw06o84s7YA1Wf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uRrUKfNN4E.9yOs.hZgo9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2EgbAnX3wUiB66EYfsJ6o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qVku88papEeA3uV2FJejA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IloPFAuBfUSR0UMIO3qey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cm1qQUKK1Eah4TxGUM7FN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2EgbAnX3wUiB66EYfsJ6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2EgbAnX3wUiB66EYfsJ6o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2EgbAnX3wUiB66EYfsJ6o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2EgbAnX3wUiB66EYfsJ6o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2EgbAnX3wUiB66EYfsJ6o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2EgbAnX3wUiB66EYfsJ6o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2EgbAnX3wUiB66EYfsJ6o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2EgbAnX3wUiB66EYfsJ6o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2EgbAnX3wUiB66EYfsJ6o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2EgbAnX3wUiB66EYfsJ6o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2EgbAnX3wUiB66EYfsJ6o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2EgbAnX3wUiB66EYfsJ6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4bMMeWStc0.k23GyzRI5Q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2EgbAnX3wUiB66EYfsJ6o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FMRTo_U37U.J6_m6RjAcO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FMRTo_U37U.J6_m6RjAcO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K328mRt8NUi5JcAz5Kyi5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ZefZa6.Ru0WVrbYcp3RC7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L9a_QY.Wvk6RWHT458SUO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so2KEExpEaKVWsO1l1Rn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L9a_QY.Wvk6RWHT458SUO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L9a_QY.Wvk6RWHT458SUO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L9a_QY.Wvk6RWHT458SUO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L9a_QY.Wvk6RWHT458SUO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L9a_QY.Wvk6RWHT458SUO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L9a_QY.Wvk6RWHT458SUO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L_.7XhcPRUibbkEkwA0WE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SUc51R8EA0mLoIpDZyepk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y1._6i5.Pkq5hUDyR00Xj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so2KEExpEaKVWsO1l1Rn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ZefZa6.Ru0WVrbYcp3RC7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L9a_QY.Wvk6RWHT458SUO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L9a_QY.Wvk6RWHT458SUO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L9a_QY.Wvk6RWHT458SUO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L9a_QY.Wvk6RWHT458SUO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L9a_QY.Wvk6RWHT458SUO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L9a_QY.Wvk6RWHT458SUO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L9a_QY.Wvk6RWHT458SUO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L_.7XhcPRUibbkEkwA0W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SUc51R8EA0mLoIpDZyepkg"/>
</p:tagLst>
</file>

<file path=ppt/theme/theme1.xml><?xml version="1.0" encoding="utf-8"?>
<a:theme xmlns:a="http://schemas.openxmlformats.org/drawingml/2006/main" name="Siemens 2020">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BEDC"/>
      </a:hlink>
      <a:folHlink>
        <a:srgbClr val="0087BE"/>
      </a:folHlink>
    </a:clrScheme>
    <a:fontScheme name="Siemens AG Them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08000" tIns="72000" rIns="108000" bIns="72000" rtlCol="0" anchor="t" anchorCtr="0"/>
      <a:lstStyle>
        <a:defPPr algn="l">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headEnd w="lg" len="lg"/>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custClrLst>
    <a:custClr name="Siemens Petrol | 0 153 153">
      <a:srgbClr val="009999"/>
    </a:custClr>
    <a:custClr name="No color">
      <a:srgbClr val="FFFFFF"/>
    </a:custClr>
    <a:custClr name="Dark Blue | 0 85 124">
      <a:srgbClr val="00557C"/>
    </a:custClr>
    <a:custClr name="Dark Green | 0 100 110">
      <a:srgbClr val="00646E"/>
    </a:custClr>
    <a:custClr name="Dark Sand | 170 170 150">
      <a:srgbClr val="AAAA96"/>
    </a:custClr>
    <a:custClr name="Deep Blue | 0 0 40">
      <a:srgbClr val="000028"/>
    </a:custClr>
    <a:custClr name="Deep Blue 40% (Gray) | 153 153 169">
      <a:srgbClr val="9999A9"/>
    </a:custClr>
    <a:custClr name="Dark Purple | 80 0 120">
      <a:srgbClr val="500078"/>
    </a:custClr>
    <a:custClr name="Dark Orange | 236 102 2">
      <a:srgbClr val="EC6602"/>
    </a:custClr>
    <a:custClr name="Red | 239 1 55">
      <a:srgbClr val="EF0137"/>
    </a:custClr>
    <a:custClr name="Deep Blue | 0 0 40">
      <a:srgbClr val="000028"/>
    </a:custClr>
    <a:custClr name="No color">
      <a:srgbClr val="FFFFFF"/>
    </a:custClr>
    <a:custClr name="Blue | 0 135 190">
      <a:srgbClr val="0087BE"/>
    </a:custClr>
    <a:custClr name="Green | 0 175 142">
      <a:srgbClr val="00AF8E"/>
    </a:custClr>
    <a:custClr name="Soft Sand | 197 197 184">
      <a:srgbClr val="C5C5B8"/>
    </a:custClr>
    <a:custClr name="Deep Blue 80% | 51 51 83">
      <a:srgbClr val="333353"/>
    </a:custClr>
    <a:custClr name="Deep Blue 20% (Soft Gray) | 204 204 212">
      <a:srgbClr val="CCCCD4"/>
    </a:custClr>
    <a:custClr name="Purple | 170 50 190">
      <a:srgbClr val="AA32BE"/>
    </a:custClr>
    <a:custClr name="Orange | 255 144 0">
      <a:srgbClr val="FF9000"/>
    </a:custClr>
    <a:custClr name="Soft Red | 254 131 137">
      <a:srgbClr val="FE8389"/>
    </a:custClr>
    <a:custClr name="Light Sand | 243 243 240">
      <a:srgbClr val="F3F3F0"/>
    </a:custClr>
    <a:custClr name="No color">
      <a:srgbClr val="FFFFFF"/>
    </a:custClr>
    <a:custClr name="Soft Blue | 0 190 220">
      <a:srgbClr val="00BEDC"/>
    </a:custClr>
    <a:custClr name="Soft Green | 0 215 160">
      <a:srgbClr val="00D7A0"/>
    </a:custClr>
    <a:custClr name="Bright Sand | 223 223 217">
      <a:srgbClr val="DFDFD9"/>
    </a:custClr>
    <a:custClr name="Deep Blue 60% (Dark Gray) | 102 102 126">
      <a:srgbClr val="66667E"/>
    </a:custClr>
    <a:custClr name="Deep Blue 10% (Light Gray) | 229 229 233">
      <a:srgbClr val="E5E5E9"/>
    </a:custClr>
    <a:custClr name="Yellow | 255 215 50">
      <a:srgbClr val="FFD732"/>
    </a:custClr>
    <a:custClr name="Bold Green">
      <a:srgbClr val="00FFB9"/>
    </a:custClr>
    <a:custClr name="Bold Blue">
      <a:srgbClr val="00E6DC"/>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BEDC"/>
      </a:hlink>
      <a:folHlink>
        <a:srgbClr val="0087BE"/>
      </a:folHlink>
    </a:clrScheme>
    <a:fontScheme name="Siemens A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Siemens Petrol | 0 153 153">
      <a:srgbClr val="009999"/>
    </a:custClr>
    <a:custClr name="No color">
      <a:srgbClr val="FFFFFF"/>
    </a:custClr>
    <a:custClr name="Dark Blue | 0 85 124">
      <a:srgbClr val="00557C"/>
    </a:custClr>
    <a:custClr name="Dark Green | 0 100 110">
      <a:srgbClr val="00646E"/>
    </a:custClr>
    <a:custClr name="Dark Sand | 170 170 150">
      <a:srgbClr val="AAAA96"/>
    </a:custClr>
    <a:custClr name="Deep Blue | 0 0 40">
      <a:srgbClr val="000028"/>
    </a:custClr>
    <a:custClr name="Deep Blue 40% (Gray) | 153 153 169">
      <a:srgbClr val="9999A9"/>
    </a:custClr>
    <a:custClr name="Dark Purple | 80 0 120">
      <a:srgbClr val="500078"/>
    </a:custClr>
    <a:custClr name="Dark Orange | 236 102 2">
      <a:srgbClr val="EC6602"/>
    </a:custClr>
    <a:custClr name="Red | 239 1 55">
      <a:srgbClr val="EF0137"/>
    </a:custClr>
    <a:custClr name="Deep Blue | 0 0 40">
      <a:srgbClr val="000028"/>
    </a:custClr>
    <a:custClr name="No color">
      <a:srgbClr val="FFFFFF"/>
    </a:custClr>
    <a:custClr name="Blue | 0 135 190">
      <a:srgbClr val="0087BE"/>
    </a:custClr>
    <a:custClr name="Green | 0 175 142">
      <a:srgbClr val="00AF8E"/>
    </a:custClr>
    <a:custClr name="Soft Sand | 197 197 184">
      <a:srgbClr val="C5C5B8"/>
    </a:custClr>
    <a:custClr name="Deep Blue 80% | 51 51 83">
      <a:srgbClr val="333353"/>
    </a:custClr>
    <a:custClr name="Deep Blue 20% (Soft Gray) | 204 204 212">
      <a:srgbClr val="CCCCD4"/>
    </a:custClr>
    <a:custClr name="Purple | 170 50 190">
      <a:srgbClr val="AA32BE"/>
    </a:custClr>
    <a:custClr name="Orange | 255 144 0">
      <a:srgbClr val="FF9000"/>
    </a:custClr>
    <a:custClr name="Soft Red | 254 131 137">
      <a:srgbClr val="FE8389"/>
    </a:custClr>
    <a:custClr name="Light Sand | 243 243 240">
      <a:srgbClr val="F3F3F0"/>
    </a:custClr>
    <a:custClr name="No color">
      <a:srgbClr val="FFFFFF"/>
    </a:custClr>
    <a:custClr name="Soft Blue | 0 190 220">
      <a:srgbClr val="00BEDC"/>
    </a:custClr>
    <a:custClr name="Soft Green | 0 215 160">
      <a:srgbClr val="00D7A0"/>
    </a:custClr>
    <a:custClr name="Bright Sand | 223 223 217">
      <a:srgbClr val="DFDFD9"/>
    </a:custClr>
    <a:custClr name="Deep Blue 60% (Dark Gray) | 102 102 126">
      <a:srgbClr val="66667E"/>
    </a:custClr>
    <a:custClr name="Deep Blue 10% (Light Gray) | 229 229 233">
      <a:srgbClr val="E5E5E9"/>
    </a:custClr>
    <a:custClr name="Yellow | 255 215 50">
      <a:srgbClr val="FFD732"/>
    </a:custClr>
    <a:custClr name="Bold Green">
      <a:srgbClr val="00FFB9"/>
    </a:custClr>
    <a:custClr name="Bold Blue">
      <a:srgbClr val="00E6DC"/>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BEDC"/>
      </a:hlink>
      <a:folHlink>
        <a:srgbClr val="0087BE"/>
      </a:folHlink>
    </a:clrScheme>
    <a:fontScheme name="Siemens A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Siemens Petrol | 0 153 153">
      <a:srgbClr val="009999"/>
    </a:custClr>
    <a:custClr name="No color">
      <a:srgbClr val="FFFFFF"/>
    </a:custClr>
    <a:custClr name="Dark Blue | 0 85 124">
      <a:srgbClr val="00557C"/>
    </a:custClr>
    <a:custClr name="Dark Green | 0 100 110">
      <a:srgbClr val="00646E"/>
    </a:custClr>
    <a:custClr name="Dark Sand | 170 170 150">
      <a:srgbClr val="AAAA96"/>
    </a:custClr>
    <a:custClr name="Deep Blue | 0 0 40">
      <a:srgbClr val="000028"/>
    </a:custClr>
    <a:custClr name="Deep Blue 40% (Gray) | 153 153 169">
      <a:srgbClr val="9999A9"/>
    </a:custClr>
    <a:custClr name="Dark Purple | 80 0 120">
      <a:srgbClr val="500078"/>
    </a:custClr>
    <a:custClr name="Dark Orange | 236 102 2">
      <a:srgbClr val="EC6602"/>
    </a:custClr>
    <a:custClr name="Red | 239 1 55">
      <a:srgbClr val="EF0137"/>
    </a:custClr>
    <a:custClr name="Deep Blue | 0 0 40">
      <a:srgbClr val="000028"/>
    </a:custClr>
    <a:custClr name="No color">
      <a:srgbClr val="FFFFFF"/>
    </a:custClr>
    <a:custClr name="Blue | 0 135 190">
      <a:srgbClr val="0087BE"/>
    </a:custClr>
    <a:custClr name="Green | 0 175 142">
      <a:srgbClr val="00AF8E"/>
    </a:custClr>
    <a:custClr name="Soft Sand | 197 197 184">
      <a:srgbClr val="C5C5B8"/>
    </a:custClr>
    <a:custClr name="Deep Blue 80% | 51 51 83">
      <a:srgbClr val="333353"/>
    </a:custClr>
    <a:custClr name="Deep Blue 20% (Soft Gray) | 204 204 212">
      <a:srgbClr val="CCCCD4"/>
    </a:custClr>
    <a:custClr name="Purple | 170 50 190">
      <a:srgbClr val="AA32BE"/>
    </a:custClr>
    <a:custClr name="Orange | 255 144 0">
      <a:srgbClr val="FF9000"/>
    </a:custClr>
    <a:custClr name="Soft Red | 254 131 137">
      <a:srgbClr val="FE8389"/>
    </a:custClr>
    <a:custClr name="Light Sand | 243 243 240">
      <a:srgbClr val="F3F3F0"/>
    </a:custClr>
    <a:custClr name="No color">
      <a:srgbClr val="FFFFFF"/>
    </a:custClr>
    <a:custClr name="Soft Blue | 0 190 220">
      <a:srgbClr val="00BEDC"/>
    </a:custClr>
    <a:custClr name="Soft Green | 0 215 160">
      <a:srgbClr val="00D7A0"/>
    </a:custClr>
    <a:custClr name="Bright Sand | 223 223 217">
      <a:srgbClr val="DFDFD9"/>
    </a:custClr>
    <a:custClr name="Deep Blue 60% (Dark Gray) | 102 102 126">
      <a:srgbClr val="66667E"/>
    </a:custClr>
    <a:custClr name="Deep Blue 10% (Light Gray) | 229 229 233">
      <a:srgbClr val="E5E5E9"/>
    </a:custClr>
    <a:custClr name="Yellow | 255 215 50">
      <a:srgbClr val="FFD732"/>
    </a:custClr>
    <a:custClr name="Bold Green">
      <a:srgbClr val="00FFB9"/>
    </a:custClr>
    <a:custClr name="Bold Blue">
      <a:srgbClr val="00E6DC"/>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p4ppTags>
  <Name>Free Content</Name>
  <PpLayout>11</PpLayout>
  <Index>9</Index>
</p4ppTags>
</file>

<file path=customXml/item2.xml><?xml version="1.0" encoding="utf-8"?>
<p4ppTags>
  <Name>One object (large)</Name>
  <PpLayout>16</PpLayout>
  <Index>10</Index>
</p4ppTags>
</file>

<file path=customXml/itemProps1.xml><?xml version="1.0" encoding="utf-8"?>
<ds:datastoreItem xmlns:ds="http://schemas.openxmlformats.org/officeDocument/2006/customXml" ds:itemID="{D260391E-C098-44FF-92C5-5D86CE49CFFF}">
  <ds:schemaRefs/>
</ds:datastoreItem>
</file>

<file path=customXml/itemProps2.xml><?xml version="1.0" encoding="utf-8"?>
<ds:datastoreItem xmlns:ds="http://schemas.openxmlformats.org/officeDocument/2006/customXml" ds:itemID="{7E53282A-CFE9-4071-9A5C-90ECCC6C2181}">
  <ds:schemaRefs/>
</ds:datastoreItem>
</file>

<file path=docProps/app.xml><?xml version="1.0" encoding="utf-8"?>
<Properties xmlns="http://schemas.openxmlformats.org/officeDocument/2006/extended-properties" xmlns:vt="http://schemas.openxmlformats.org/officeDocument/2006/docPropsVTypes">
  <TotalTime>0</TotalTime>
  <Words>14294</Words>
  <Application>Microsoft Office PowerPoint</Application>
  <PresentationFormat>Breitbild</PresentationFormat>
  <Paragraphs>3345</Paragraphs>
  <Slides>213</Slides>
  <Notes>83</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213</vt:i4>
      </vt:variant>
    </vt:vector>
  </HeadingPairs>
  <TitlesOfParts>
    <vt:vector size="220" baseType="lpstr">
      <vt:lpstr>Arial</vt:lpstr>
      <vt:lpstr>ArialS</vt:lpstr>
      <vt:lpstr>Siemens Sans</vt:lpstr>
      <vt:lpstr>Symbol</vt:lpstr>
      <vt:lpstr>Wingdings</vt:lpstr>
      <vt:lpstr>Siemens 2020</vt:lpstr>
      <vt:lpstr>think-cell Folie</vt:lpstr>
      <vt:lpstr>Business graphic collection</vt:lpstr>
      <vt:lpstr>Color palette Theme Colors and Custom Colors</vt:lpstr>
      <vt:lpstr>How to use Fonts, Colors, Styles</vt:lpstr>
      <vt:lpstr>Colors in diagrams</vt:lpstr>
      <vt:lpstr>Contents</vt:lpstr>
      <vt:lpstr>Contents</vt:lpstr>
      <vt:lpstr>Table of contents Summary zoom</vt:lpstr>
      <vt:lpstr>Agenda</vt:lpstr>
      <vt:lpstr>Agenda</vt:lpstr>
      <vt:lpstr>Meeting minutes</vt:lpstr>
      <vt:lpstr>Meeting minutes</vt:lpstr>
      <vt:lpstr>Achievements and goals</vt:lpstr>
      <vt:lpstr>Achievements and goals</vt:lpstr>
      <vt:lpstr>Comparison – pro and contra</vt:lpstr>
      <vt:lpstr>Comparison – pro and contra</vt:lpstr>
      <vt:lpstr>Change</vt:lpstr>
      <vt:lpstr>Change</vt:lpstr>
      <vt:lpstr>Consequences</vt:lpstr>
      <vt:lpstr>Consequences</vt:lpstr>
      <vt:lpstr>Factors – list view and description, colored</vt:lpstr>
      <vt:lpstr>Factors – list view and description, colored</vt:lpstr>
      <vt:lpstr>Factors – list view and description, Siemens Petrol</vt:lpstr>
      <vt:lpstr>Factors – list view and description, Siemens Petrol</vt:lpstr>
      <vt:lpstr>Text blocks (three)</vt:lpstr>
      <vt:lpstr>Text blocks (three)</vt:lpstr>
      <vt:lpstr>Text blocks (four)</vt:lpstr>
      <vt:lpstr>Text blocks (four)</vt:lpstr>
      <vt:lpstr>Further topic overviews </vt:lpstr>
      <vt:lpstr>Further topic overviews </vt:lpstr>
      <vt:lpstr>Further topic overviews – with sections</vt:lpstr>
      <vt:lpstr>Further topic overviews – with sections</vt:lpstr>
      <vt:lpstr>Mindmap – network </vt:lpstr>
      <vt:lpstr>Mindmap – network </vt:lpstr>
      <vt:lpstr>Mindmap – network (with softening)</vt:lpstr>
      <vt:lpstr>Mindmap – network (with softening)</vt:lpstr>
      <vt:lpstr>Mindmap – circular</vt:lpstr>
      <vt:lpstr>Mindmap – circular</vt:lpstr>
      <vt:lpstr>Mindmap – linear</vt:lpstr>
      <vt:lpstr>Mindmap – linear</vt:lpstr>
      <vt:lpstr>Change management</vt:lpstr>
      <vt:lpstr>Change management</vt:lpstr>
      <vt:lpstr>SWOT</vt:lpstr>
      <vt:lpstr>SWOT</vt:lpstr>
      <vt:lpstr>SWOT – colored</vt:lpstr>
      <vt:lpstr>SWOT – colored</vt:lpstr>
      <vt:lpstr>Project timeline – simple overview</vt:lpstr>
      <vt:lpstr>Project timeline – simple overview</vt:lpstr>
      <vt:lpstr>Project timeline – detailed</vt:lpstr>
      <vt:lpstr>Project timeline – detailed</vt:lpstr>
      <vt:lpstr>Project timeline – detailed with person Background Light Gray, text black </vt:lpstr>
      <vt:lpstr>Project timeline – detailed with person Background Deep Blue, text white</vt:lpstr>
      <vt:lpstr>Checklist – decisions required</vt:lpstr>
      <vt:lpstr>Checklist – decisions required</vt:lpstr>
      <vt:lpstr>Evaluation – traffic light rating system</vt:lpstr>
      <vt:lpstr>Evaluation – traffic light rating system</vt:lpstr>
      <vt:lpstr>Evaluation – rating system with arrows </vt:lpstr>
      <vt:lpstr>Evaluation – rating system with arrows </vt:lpstr>
      <vt:lpstr>Evaluation – percentage fill rating system</vt:lpstr>
      <vt:lpstr>Evaluation – percentage fill rating system</vt:lpstr>
      <vt:lpstr>Timeline – chronological sequence</vt:lpstr>
      <vt:lpstr>Timeline – chronological sequence</vt:lpstr>
      <vt:lpstr>Timeline – content-related sequence</vt:lpstr>
      <vt:lpstr>Timeline – content-related sequence</vt:lpstr>
      <vt:lpstr>Roadmap</vt:lpstr>
      <vt:lpstr>Roadmap</vt:lpstr>
      <vt:lpstr>Tree diagram (vertical)</vt:lpstr>
      <vt:lpstr>Tree diagram (vertical)</vt:lpstr>
      <vt:lpstr>Tree diagram (vertical) – subsections</vt:lpstr>
      <vt:lpstr>Tree diagram (vertical) – subsections</vt:lpstr>
      <vt:lpstr>Tree diagram (vertical) – with detail box</vt:lpstr>
      <vt:lpstr>Tree diagram (vertical) – with detail box</vt:lpstr>
      <vt:lpstr>Organigram – one main level</vt:lpstr>
      <vt:lpstr>Organigram – one main level</vt:lpstr>
      <vt:lpstr>Organigram – different sublevels</vt:lpstr>
      <vt:lpstr>Organigram – different sublevels</vt:lpstr>
      <vt:lpstr>Organigram – different sublevels with highlights</vt:lpstr>
      <vt:lpstr>Organigram – different sublevels with highlights</vt:lpstr>
      <vt:lpstr>Tree diagram (horizontal)</vt:lpstr>
      <vt:lpstr>Tree diagram (horizontal)</vt:lpstr>
      <vt:lpstr>Tree diagram (horizontal) – with further levels</vt:lpstr>
      <vt:lpstr>Tree diagram (horizontal) – with further levels</vt:lpstr>
      <vt:lpstr>Tree diagram</vt:lpstr>
      <vt:lpstr>Tree diagram</vt:lpstr>
      <vt:lpstr>Flow charts</vt:lpstr>
      <vt:lpstr>Flow charts</vt:lpstr>
      <vt:lpstr>Pyramid</vt:lpstr>
      <vt:lpstr>Pyramid</vt:lpstr>
      <vt:lpstr>Pyramid – focus on text</vt:lpstr>
      <vt:lpstr>Pyramid – focus on text</vt:lpstr>
      <vt:lpstr>Onion diagram</vt:lpstr>
      <vt:lpstr>Onion diagram</vt:lpstr>
      <vt:lpstr>Radial diagram</vt:lpstr>
      <vt:lpstr>Radial diagram</vt:lpstr>
      <vt:lpstr>Backlog items / deliverables</vt:lpstr>
      <vt:lpstr>Backlog items / deliverables</vt:lpstr>
      <vt:lpstr>Puzzle</vt:lpstr>
      <vt:lpstr>Puzzle</vt:lpstr>
      <vt:lpstr>Jigsaw puzzle: four and eight pieces</vt:lpstr>
      <vt:lpstr>Jigsaw puzzle: four and eight pieces</vt:lpstr>
      <vt:lpstr>Influence – alternative level sequence</vt:lpstr>
      <vt:lpstr>Influence – alternative level sequence</vt:lpstr>
      <vt:lpstr>Agile process</vt:lpstr>
      <vt:lpstr>Agile process</vt:lpstr>
      <vt:lpstr>Process and feedback – arrows</vt:lpstr>
      <vt:lpstr>Process and feedback – arrows</vt:lpstr>
      <vt:lpstr>Process and feedback (iteration) – boxes</vt:lpstr>
      <vt:lpstr>Process and feedback (iteration) – boxes</vt:lpstr>
      <vt:lpstr>Process – steps grid</vt:lpstr>
      <vt:lpstr>Process – steps grid</vt:lpstr>
      <vt:lpstr>Development – tree diagram</vt:lpstr>
      <vt:lpstr>Development – tree diagram</vt:lpstr>
      <vt:lpstr>Process – ribbon</vt:lpstr>
      <vt:lpstr>Process – ribbon</vt:lpstr>
      <vt:lpstr>Process – three steps (arrows)</vt:lpstr>
      <vt:lpstr>Process – three steps (arrows)</vt:lpstr>
      <vt:lpstr>Process – five steps overview (arrows)</vt:lpstr>
      <vt:lpstr>Process – five steps overview (arrows)</vt:lpstr>
      <vt:lpstr>Process – five steps highlight (arrows)</vt:lpstr>
      <vt:lpstr>Process – five steps highlight (arrows)</vt:lpstr>
      <vt:lpstr>Process – versioning</vt:lpstr>
      <vt:lpstr>Process – versioning</vt:lpstr>
      <vt:lpstr>Process – countdown</vt:lpstr>
      <vt:lpstr>Process – countdown</vt:lpstr>
      <vt:lpstr>Process – cards</vt:lpstr>
      <vt:lpstr>Process – cards</vt:lpstr>
      <vt:lpstr>Helix (horizontal) – stream</vt:lpstr>
      <vt:lpstr>Helix (horizontal) – stream</vt:lpstr>
      <vt:lpstr>Helix (vertical) – ribbon</vt:lpstr>
      <vt:lpstr>Helix (vertical) – ribbon</vt:lpstr>
      <vt:lpstr>Radial diagram </vt:lpstr>
      <vt:lpstr>Radial diagram </vt:lpstr>
      <vt:lpstr>Radial diagram – two parts</vt:lpstr>
      <vt:lpstr>Radial diagram – two parts</vt:lpstr>
      <vt:lpstr>Radial diagram – three parts</vt:lpstr>
      <vt:lpstr>Radial diagram – three parts</vt:lpstr>
      <vt:lpstr>Radial diagram – four parts</vt:lpstr>
      <vt:lpstr>Radial diagram – four parts</vt:lpstr>
      <vt:lpstr>Scale – unbalanced weight </vt:lpstr>
      <vt:lpstr>Scale – unbalanced weight </vt:lpstr>
      <vt:lpstr>Scale – balanced weight </vt:lpstr>
      <vt:lpstr>Scale – balanced weight </vt:lpstr>
      <vt:lpstr>Matrix – eight boxes, with text and icons</vt:lpstr>
      <vt:lpstr>Matrix – eight boxes, with text and icons</vt:lpstr>
      <vt:lpstr>Matrix – nine boxes, with text</vt:lpstr>
      <vt:lpstr>Matrix – nine boxes, with text</vt:lpstr>
      <vt:lpstr>Matrix – six boxes, with text</vt:lpstr>
      <vt:lpstr>Matrix – six boxes, with text</vt:lpstr>
      <vt:lpstr>Matrix – factors leading to goals / outcomes</vt:lpstr>
      <vt:lpstr>Matrix – factors leading to goals / outcomes</vt:lpstr>
      <vt:lpstr>Matrix – high low matrix</vt:lpstr>
      <vt:lpstr>Matrix – high low matrix</vt:lpstr>
      <vt:lpstr>Matrix – cardinal points diagram</vt:lpstr>
      <vt:lpstr>Matrix – cardinal points diagram</vt:lpstr>
      <vt:lpstr>Gears</vt:lpstr>
      <vt:lpstr>Gears</vt:lpstr>
      <vt:lpstr>Pentagon chart</vt:lpstr>
      <vt:lpstr>Pentagon chart</vt:lpstr>
      <vt:lpstr>Radar chart</vt:lpstr>
      <vt:lpstr>Radar chart</vt:lpstr>
      <vt:lpstr>Column chart</vt:lpstr>
      <vt:lpstr>Column chart</vt:lpstr>
      <vt:lpstr>Column chart – stacked</vt:lpstr>
      <vt:lpstr>Column chart – stacked</vt:lpstr>
      <vt:lpstr>Bar chart – stacked</vt:lpstr>
      <vt:lpstr>Bar chart – stacked</vt:lpstr>
      <vt:lpstr>Bar chart – 100%, stacked</vt:lpstr>
      <vt:lpstr>Bar chart – 100%, stacked</vt:lpstr>
      <vt:lpstr>Pie chart</vt:lpstr>
      <vt:lpstr>Pie chart</vt:lpstr>
      <vt:lpstr>Pie charts</vt:lpstr>
      <vt:lpstr>Pie charts</vt:lpstr>
      <vt:lpstr>Line chart (horizontal)</vt:lpstr>
      <vt:lpstr>Line chart (horizontal)</vt:lpstr>
      <vt:lpstr>Line chart (vertical)</vt:lpstr>
      <vt:lpstr>Line chart (vertical)</vt:lpstr>
      <vt:lpstr>Area chart</vt:lpstr>
      <vt:lpstr>Area chart</vt:lpstr>
      <vt:lpstr>Colors in diagrams Basic color sets</vt:lpstr>
      <vt:lpstr>Colors in diagrams Basic color sets</vt:lpstr>
      <vt:lpstr>Colors in diagrams Extended color sets</vt:lpstr>
      <vt:lpstr>Colors in diagrams Extended color sets</vt:lpstr>
      <vt:lpstr>Examples  Columns – Dark Green to Bold Blue</vt:lpstr>
      <vt:lpstr>Examples  Columns – Dark Green to Bold Blue</vt:lpstr>
      <vt:lpstr>Examples  Columns – Dark Green to Bold Green</vt:lpstr>
      <vt:lpstr>Examples  Columns – Dark Green to Bold Green</vt:lpstr>
      <vt:lpstr>Examples  Columns – Dark Blue to Soft Blue</vt:lpstr>
      <vt:lpstr>Examples  Columns – Dark Blue to Soft Blue</vt:lpstr>
      <vt:lpstr>Examples  Bars – Dark Green to Deep Blue extended</vt:lpstr>
      <vt:lpstr>Examples  Bars – Dark Green to Deep Blue extended</vt:lpstr>
      <vt:lpstr>Examples  Bars – Dark Green to Dark Blue extended</vt:lpstr>
      <vt:lpstr>Examples  Bars – Dark Green to Dark Blue extended</vt:lpstr>
      <vt:lpstr>Examples  Bars – Dark Green to Blue to Purple</vt:lpstr>
      <vt:lpstr>Examples  Bars – Dark Green to Blue to Purple</vt:lpstr>
      <vt:lpstr>Examples  Bars – Dark Green to Grey to Blue to Purple</vt:lpstr>
      <vt:lpstr>Examples  Bars – Dark Green to Grey to Blue to Purple</vt:lpstr>
      <vt:lpstr>Examples  Bars – all colors</vt:lpstr>
      <vt:lpstr>Examples  Bars – all colors</vt:lpstr>
      <vt:lpstr>Project plan and status </vt:lpstr>
      <vt:lpstr>Project plan and status </vt:lpstr>
      <vt:lpstr>PowerPoint-Präsentation</vt:lpstr>
      <vt:lpstr>PowerPoint-Präsentation</vt:lpstr>
      <vt:lpstr>PowerPoint-Präsentation</vt:lpstr>
      <vt:lpstr>PowerPoint-Präsentation</vt:lpstr>
      <vt:lpstr>PowerPoint-Präsentation</vt:lpstr>
      <vt:lpstr>PowerPoint-Präsentation</vt:lpstr>
      <vt:lpstr>Speech bubble</vt:lpstr>
      <vt:lpstr>Speech bubble</vt:lpstr>
      <vt:lpstr>Contact overview – team</vt:lpstr>
      <vt:lpstr>Contact overview – team</vt:lpstr>
      <vt:lpstr>Contact overview – executives</vt:lpstr>
      <vt:lpstr>Contact overview – executives</vt:lpstr>
      <vt:lpstr>Disclaimer</vt:lpstr>
      <vt:lpstr>Contac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iemens AG Business Graphic Collection 3.0</dc:title>
  <cp:keywords>Template</cp:keywords>
  <dc:description>Version 3.0.3
April 2022</dc:description>
  <cp:lastModifiedBy>Arnolin, Frederic J. (DI PA GFE DVC PLA)</cp:lastModifiedBy>
  <cp:revision>1</cp:revision>
  <dcterms:created xsi:type="dcterms:W3CDTF">2020-07-27T12:43:17Z</dcterms:created>
  <dcterms:modified xsi:type="dcterms:W3CDTF">2022-08-29T09:00: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d258917-277f-42cd-a3cd-14c4e9ee58bc_Enabled">
    <vt:lpwstr>true</vt:lpwstr>
  </property>
  <property fmtid="{D5CDD505-2E9C-101B-9397-08002B2CF9AE}" pid="3" name="MSIP_Label_9d258917-277f-42cd-a3cd-14c4e9ee58bc_SetDate">
    <vt:lpwstr>2022-08-29T09:00:32Z</vt:lpwstr>
  </property>
  <property fmtid="{D5CDD505-2E9C-101B-9397-08002B2CF9AE}" pid="4" name="MSIP_Label_9d258917-277f-42cd-a3cd-14c4e9ee58bc_Method">
    <vt:lpwstr>Standard</vt:lpwstr>
  </property>
  <property fmtid="{D5CDD505-2E9C-101B-9397-08002B2CF9AE}" pid="5" name="MSIP_Label_9d258917-277f-42cd-a3cd-14c4e9ee58bc_Name">
    <vt:lpwstr>restricted</vt:lpwstr>
  </property>
  <property fmtid="{D5CDD505-2E9C-101B-9397-08002B2CF9AE}" pid="6" name="MSIP_Label_9d258917-277f-42cd-a3cd-14c4e9ee58bc_SiteId">
    <vt:lpwstr>38ae3bcd-9579-4fd4-adda-b42e1495d55a</vt:lpwstr>
  </property>
  <property fmtid="{D5CDD505-2E9C-101B-9397-08002B2CF9AE}" pid="7" name="MSIP_Label_9d258917-277f-42cd-a3cd-14c4e9ee58bc_ActionId">
    <vt:lpwstr>c5f730a8-69dc-4238-9544-1554ba7c76b1</vt:lpwstr>
  </property>
  <property fmtid="{D5CDD505-2E9C-101B-9397-08002B2CF9AE}" pid="8" name="MSIP_Label_9d258917-277f-42cd-a3cd-14c4e9ee58bc_ContentBits">
    <vt:lpwstr>0</vt:lpwstr>
  </property>
  <property fmtid="{D5CDD505-2E9C-101B-9397-08002B2CF9AE}" pid="9" name="Document_Confidentiality">
    <vt:lpwstr>Restricted</vt:lpwstr>
  </property>
</Properties>
</file>